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67" r:id="rId1"/>
  </p:sldMasterIdLst>
  <p:notesMasterIdLst>
    <p:notesMasterId r:id="rId10"/>
  </p:notesMasterIdLst>
  <p:sldIdLst>
    <p:sldId id="256" r:id="rId2"/>
    <p:sldId id="2147474015" r:id="rId3"/>
    <p:sldId id="263" r:id="rId4"/>
    <p:sldId id="2147471670" r:id="rId5"/>
    <p:sldId id="2147471676" r:id="rId6"/>
    <p:sldId id="2147474016" r:id="rId7"/>
    <p:sldId id="2147471677" r:id="rId8"/>
    <p:sldId id="2147474010" r:id="rId9"/>
  </p:sldIdLst>
  <p:sldSz cx="12192000" cy="6858000"/>
  <p:notesSz cx="12192000" cy="6858000"/>
  <p:embeddedFontLst>
    <p:embeddedFont>
      <p:font typeface="ALS Hauss" panose="00000500000000000000" pitchFamily="50" charset="0"/>
      <p:regular r:id="rId11"/>
      <p:bold r:id="rId12"/>
      <p:italic r:id="rId13"/>
      <p:boldItalic r:id="rId14"/>
    </p:embeddedFont>
    <p:embeddedFont>
      <p:font typeface="ALS Hauss Bold" panose="00000800000000000000" pitchFamily="50" charset="0"/>
      <p:bold r:id="rId15"/>
      <p:boldItalic r:id="rId16"/>
    </p:embeddedFont>
    <p:embeddedFont>
      <p:font typeface="ALS Hauss Medium" panose="00000600000000000000" pitchFamily="50" charset="0"/>
      <p:regular r:id="rId17"/>
      <p:italic r:id="rId18"/>
    </p:embeddedFon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Verdana" panose="020B0604030504040204" pitchFamily="34" charset="0"/>
      <p:regular r:id="rId23"/>
      <p:bold r:id="rId24"/>
      <p:italic r:id="rId25"/>
      <p:boldItalic r:id="rId26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F0FF"/>
    <a:srgbClr val="BEEBFF"/>
    <a:srgbClr val="0059AA"/>
    <a:srgbClr val="00ADEB"/>
    <a:srgbClr val="00AAE6"/>
    <a:srgbClr val="017FAD"/>
    <a:srgbClr val="00AAE5"/>
    <a:srgbClr val="005AAA"/>
    <a:srgbClr val="42DDEE"/>
    <a:srgbClr val="C7F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01427B6-8BFD-181F-1593-35F2678F5D9E}">
  <a:tblStyle styleId="{901427B6-8BFD-181F-1593-35F2678F5D9E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85"/>
    <p:restoredTop sz="96093" autoAdjust="0"/>
  </p:normalViewPr>
  <p:slideViewPr>
    <p:cSldViewPr snapToGrid="0">
      <p:cViewPr varScale="1">
        <p:scale>
          <a:sx n="82" d="100"/>
          <a:sy n="82" d="100"/>
        </p:scale>
        <p:origin x="710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font" Target="fonts/font16.fntdata"/><Relationship Id="rId3" Type="http://schemas.openxmlformats.org/officeDocument/2006/relationships/slide" Target="slides/slide2.xml"/><Relationship Id="rId21" Type="http://schemas.openxmlformats.org/officeDocument/2006/relationships/font" Target="fonts/font11.fntdata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font" Target="fonts/font15.fntdata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24" Type="http://schemas.openxmlformats.org/officeDocument/2006/relationships/font" Target="fonts/font14.fntdata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font" Target="fonts/font13.fntdata"/><Relationship Id="rId28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050136-9A11-5E42-B476-B37F64EF2734}" type="datetimeFigureOut">
              <a:rPr lang="ru-RU" smtClean="0"/>
              <a:t>09.09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EDB9DC-68ED-CF4D-B8D1-C5EF7C9CE7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507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EDB9DC-68ED-CF4D-B8D1-C5EF7C9CE7C0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6073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Титульный слайд">
    <p:bg>
      <p:bgPr>
        <a:solidFill>
          <a:srgbClr val="2043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BA9B75-645B-BC27-AEF9-0E2BA185E0F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2619" y="6190111"/>
            <a:ext cx="582750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20000"/>
              </a:lnSpc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CCE93CD-53AF-4296-9DE1-95A5E6F4B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619" y="3780115"/>
            <a:ext cx="5827503" cy="221900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kern="1200" dirty="0">
                <a:solidFill>
                  <a:schemeClr val="bg1"/>
                </a:solidFill>
                <a:latin typeface="ALS Hauss Medium" panose="00000600000000000000" pitchFamily="50" charset="0"/>
                <a:ea typeface="+mj-ea"/>
                <a:cs typeface="+mj-cs"/>
              </a:defRPr>
            </a:lvl1pPr>
          </a:lstStyle>
          <a:p>
            <a:r>
              <a:rPr lang="ru-RU" dirty="0"/>
              <a:t>Длинный заголовок </a:t>
            </a:r>
            <a:br>
              <a:rPr lang="ru-RU" dirty="0"/>
            </a:br>
            <a:r>
              <a:rPr lang="ru-RU" dirty="0"/>
              <a:t>в три строки</a:t>
            </a:r>
            <a:endParaRPr lang="en-US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10F4F9FA-4A45-4E0B-B79E-8C086B81DC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42914" y="404814"/>
            <a:ext cx="2751699" cy="37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8482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ент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>
            <a:extLst>
              <a:ext uri="{FF2B5EF4-FFF2-40B4-BE49-F238E27FC236}">
                <a16:creationId xmlns:a16="http://schemas.microsoft.com/office/drawing/2014/main" id="{3C47AEBB-213D-4FBA-8C7A-C03182FD0B9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72338" y="0"/>
            <a:ext cx="4919662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>
              <a:defRPr lang="ru-RU" dirty="0"/>
            </a:lvl1pPr>
          </a:lstStyle>
          <a:p>
            <a:pPr lvl="0"/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42323EFF-2090-4E8F-9579-91FA787F0A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0" name="Заголовок 5">
            <a:extLst>
              <a:ext uri="{FF2B5EF4-FFF2-40B4-BE49-F238E27FC236}">
                <a16:creationId xmlns:a16="http://schemas.microsoft.com/office/drawing/2014/main" id="{657222D0-2266-421E-919A-22CDFA5FC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619" y="423292"/>
            <a:ext cx="6266564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/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3" name="Рисунок 2" descr="Изображение выглядит как Шрифт, Графика, символ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BAA310DC-6218-FFF6-A918-D2CFF0C46E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66513" y="451291"/>
            <a:ext cx="2092099" cy="310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875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ент + голубой фон">
    <p:bg>
      <p:bgPr>
        <a:solidFill>
          <a:srgbClr val="2043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CF34B08F-006B-41C1-86DE-CC7D9DD576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619" y="1268936"/>
            <a:ext cx="961625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  <a:latin typeface="ALS Hauss" panose="000005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941D83CA-4626-4E23-9414-D97E3E4406D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Заголовок 5">
            <a:extLst>
              <a:ext uri="{FF2B5EF4-FFF2-40B4-BE49-F238E27FC236}">
                <a16:creationId xmlns:a16="http://schemas.microsoft.com/office/drawing/2014/main" id="{BECC6C19-66D5-4858-A653-52D0D3A09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619" y="423292"/>
            <a:ext cx="9616256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22640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Контент + голубой фон">
    <p:bg>
      <p:bgPr>
        <a:solidFill>
          <a:srgbClr val="2043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CF34B08F-006B-41C1-86DE-CC7D9DD576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619" y="1268936"/>
            <a:ext cx="961625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  <a:latin typeface="ALS Hauss" panose="000005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941D83CA-4626-4E23-9414-D97E3E4406D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Заголовок 5">
            <a:extLst>
              <a:ext uri="{FF2B5EF4-FFF2-40B4-BE49-F238E27FC236}">
                <a16:creationId xmlns:a16="http://schemas.microsoft.com/office/drawing/2014/main" id="{BECC6C19-66D5-4858-A653-52D0D3A09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619" y="423292"/>
            <a:ext cx="8538661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1315951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ент + темный фон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CF34B08F-006B-41C1-86DE-CC7D9DD576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619" y="1268936"/>
            <a:ext cx="961625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  <a:latin typeface="ALS Hauss" panose="000005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D8383D67-81DC-45B3-9E1F-A5A77079388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Заголовок 5">
            <a:extLst>
              <a:ext uri="{FF2B5EF4-FFF2-40B4-BE49-F238E27FC236}">
                <a16:creationId xmlns:a16="http://schemas.microsoft.com/office/drawing/2014/main" id="{86A226E4-7A0D-4EC2-A7C9-D7E18AFCD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619" y="423292"/>
            <a:ext cx="9616256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F21F0E0D-F0F9-4CBE-9827-372BA9425920}"/>
              </a:ext>
            </a:extLst>
          </p:cNvPr>
          <p:cNvSpPr/>
          <p:nvPr/>
        </p:nvSpPr>
        <p:spPr>
          <a:xfrm>
            <a:off x="437544" y="6588140"/>
            <a:ext cx="4854102" cy="96917"/>
          </a:xfrm>
          <a:custGeom>
            <a:avLst/>
            <a:gdLst/>
            <a:ahLst/>
            <a:cxnLst/>
            <a:rect l="l" t="t" r="r" b="b"/>
            <a:pathLst>
              <a:path w="4854102" h="96917">
                <a:moveTo>
                  <a:pt x="4847606" y="65275"/>
                </a:moveTo>
                <a:cubicBezTo>
                  <a:pt x="4849435" y="65312"/>
                  <a:pt x="4850963" y="65919"/>
                  <a:pt x="4852190" y="67096"/>
                </a:cubicBezTo>
                <a:cubicBezTo>
                  <a:pt x="4853416" y="68272"/>
                  <a:pt x="4854054" y="69796"/>
                  <a:pt x="4854102" y="71666"/>
                </a:cubicBezTo>
                <a:cubicBezTo>
                  <a:pt x="4854054" y="73537"/>
                  <a:pt x="4853416" y="75061"/>
                  <a:pt x="4852190" y="76237"/>
                </a:cubicBezTo>
                <a:cubicBezTo>
                  <a:pt x="4850963" y="77414"/>
                  <a:pt x="4849435" y="78020"/>
                  <a:pt x="4847606" y="78058"/>
                </a:cubicBezTo>
                <a:cubicBezTo>
                  <a:pt x="4845777" y="78020"/>
                  <a:pt x="4844248" y="77414"/>
                  <a:pt x="4843022" y="76237"/>
                </a:cubicBezTo>
                <a:cubicBezTo>
                  <a:pt x="4841795" y="75061"/>
                  <a:pt x="4841157" y="73537"/>
                  <a:pt x="4841109" y="71666"/>
                </a:cubicBezTo>
                <a:cubicBezTo>
                  <a:pt x="4841157" y="69796"/>
                  <a:pt x="4841795" y="68272"/>
                  <a:pt x="4843022" y="67096"/>
                </a:cubicBezTo>
                <a:cubicBezTo>
                  <a:pt x="4844248" y="65919"/>
                  <a:pt x="4845777" y="65312"/>
                  <a:pt x="4847606" y="65275"/>
                </a:cubicBezTo>
                <a:close/>
                <a:moveTo>
                  <a:pt x="1856755" y="65275"/>
                </a:moveTo>
                <a:cubicBezTo>
                  <a:pt x="1858585" y="65312"/>
                  <a:pt x="1860113" y="65919"/>
                  <a:pt x="1861339" y="67096"/>
                </a:cubicBezTo>
                <a:cubicBezTo>
                  <a:pt x="1862566" y="68272"/>
                  <a:pt x="1863204" y="69796"/>
                  <a:pt x="1863252" y="71666"/>
                </a:cubicBezTo>
                <a:cubicBezTo>
                  <a:pt x="1863204" y="73537"/>
                  <a:pt x="1862566" y="75061"/>
                  <a:pt x="1861339" y="76237"/>
                </a:cubicBezTo>
                <a:cubicBezTo>
                  <a:pt x="1860113" y="77414"/>
                  <a:pt x="1858585" y="78020"/>
                  <a:pt x="1856755" y="78058"/>
                </a:cubicBezTo>
                <a:cubicBezTo>
                  <a:pt x="1854926" y="78020"/>
                  <a:pt x="1853398" y="77414"/>
                  <a:pt x="1852172" y="76237"/>
                </a:cubicBezTo>
                <a:cubicBezTo>
                  <a:pt x="1850945" y="75061"/>
                  <a:pt x="1850308" y="73537"/>
                  <a:pt x="1850260" y="71666"/>
                </a:cubicBezTo>
                <a:cubicBezTo>
                  <a:pt x="1850308" y="69796"/>
                  <a:pt x="1850945" y="68272"/>
                  <a:pt x="1852172" y="67096"/>
                </a:cubicBezTo>
                <a:cubicBezTo>
                  <a:pt x="1853398" y="65919"/>
                  <a:pt x="1854926" y="65312"/>
                  <a:pt x="1856755" y="65275"/>
                </a:cubicBezTo>
                <a:close/>
                <a:moveTo>
                  <a:pt x="799480" y="65275"/>
                </a:moveTo>
                <a:cubicBezTo>
                  <a:pt x="801310" y="65312"/>
                  <a:pt x="802838" y="65919"/>
                  <a:pt x="804065" y="67096"/>
                </a:cubicBezTo>
                <a:cubicBezTo>
                  <a:pt x="805291" y="68272"/>
                  <a:pt x="805928" y="69796"/>
                  <a:pt x="805977" y="71666"/>
                </a:cubicBezTo>
                <a:cubicBezTo>
                  <a:pt x="805928" y="73537"/>
                  <a:pt x="805291" y="75061"/>
                  <a:pt x="804065" y="76237"/>
                </a:cubicBezTo>
                <a:cubicBezTo>
                  <a:pt x="802838" y="77414"/>
                  <a:pt x="801310" y="78020"/>
                  <a:pt x="799480" y="78058"/>
                </a:cubicBezTo>
                <a:cubicBezTo>
                  <a:pt x="797651" y="78020"/>
                  <a:pt x="796123" y="77414"/>
                  <a:pt x="794897" y="76237"/>
                </a:cubicBezTo>
                <a:cubicBezTo>
                  <a:pt x="793670" y="75061"/>
                  <a:pt x="793033" y="73537"/>
                  <a:pt x="792985" y="71666"/>
                </a:cubicBezTo>
                <a:cubicBezTo>
                  <a:pt x="793033" y="69796"/>
                  <a:pt x="793670" y="68272"/>
                  <a:pt x="794897" y="67096"/>
                </a:cubicBezTo>
                <a:cubicBezTo>
                  <a:pt x="796123" y="65919"/>
                  <a:pt x="797651" y="65312"/>
                  <a:pt x="799480" y="65275"/>
                </a:cubicBezTo>
                <a:close/>
                <a:moveTo>
                  <a:pt x="4793389" y="53645"/>
                </a:moveTo>
                <a:lnTo>
                  <a:pt x="4793389" y="69152"/>
                </a:lnTo>
                <a:lnTo>
                  <a:pt x="4807115" y="69152"/>
                </a:lnTo>
                <a:cubicBezTo>
                  <a:pt x="4810358" y="69128"/>
                  <a:pt x="4812777" y="68416"/>
                  <a:pt x="4814371" y="67017"/>
                </a:cubicBezTo>
                <a:cubicBezTo>
                  <a:pt x="4815964" y="65618"/>
                  <a:pt x="4816758" y="63675"/>
                  <a:pt x="4816754" y="61189"/>
                </a:cubicBezTo>
                <a:cubicBezTo>
                  <a:pt x="4816758" y="58766"/>
                  <a:pt x="4815964" y="56906"/>
                  <a:pt x="4814371" y="55610"/>
                </a:cubicBezTo>
                <a:cubicBezTo>
                  <a:pt x="4812777" y="54313"/>
                  <a:pt x="4810358" y="53658"/>
                  <a:pt x="4807115" y="53645"/>
                </a:cubicBezTo>
                <a:close/>
                <a:moveTo>
                  <a:pt x="4288564" y="53645"/>
                </a:moveTo>
                <a:lnTo>
                  <a:pt x="4288564" y="69152"/>
                </a:lnTo>
                <a:lnTo>
                  <a:pt x="4302290" y="69152"/>
                </a:lnTo>
                <a:cubicBezTo>
                  <a:pt x="4305533" y="69128"/>
                  <a:pt x="4307952" y="68416"/>
                  <a:pt x="4309545" y="67017"/>
                </a:cubicBezTo>
                <a:cubicBezTo>
                  <a:pt x="4311139" y="65618"/>
                  <a:pt x="4311933" y="63675"/>
                  <a:pt x="4311929" y="61189"/>
                </a:cubicBezTo>
                <a:cubicBezTo>
                  <a:pt x="4311933" y="58766"/>
                  <a:pt x="4311139" y="56906"/>
                  <a:pt x="4309545" y="55610"/>
                </a:cubicBezTo>
                <a:cubicBezTo>
                  <a:pt x="4307952" y="54313"/>
                  <a:pt x="4305533" y="53658"/>
                  <a:pt x="4302290" y="53645"/>
                </a:cubicBezTo>
                <a:close/>
                <a:moveTo>
                  <a:pt x="3621814" y="53645"/>
                </a:moveTo>
                <a:lnTo>
                  <a:pt x="3621814" y="69152"/>
                </a:lnTo>
                <a:lnTo>
                  <a:pt x="3635540" y="69152"/>
                </a:lnTo>
                <a:cubicBezTo>
                  <a:pt x="3638783" y="69128"/>
                  <a:pt x="3641202" y="68416"/>
                  <a:pt x="3642795" y="67017"/>
                </a:cubicBezTo>
                <a:cubicBezTo>
                  <a:pt x="3644389" y="65618"/>
                  <a:pt x="3645183" y="63675"/>
                  <a:pt x="3645179" y="61189"/>
                </a:cubicBezTo>
                <a:cubicBezTo>
                  <a:pt x="3645183" y="58766"/>
                  <a:pt x="3644389" y="56906"/>
                  <a:pt x="3642795" y="55610"/>
                </a:cubicBezTo>
                <a:cubicBezTo>
                  <a:pt x="3641202" y="54313"/>
                  <a:pt x="3638783" y="53658"/>
                  <a:pt x="3635540" y="53645"/>
                </a:cubicBezTo>
                <a:close/>
                <a:moveTo>
                  <a:pt x="2926489" y="53645"/>
                </a:moveTo>
                <a:lnTo>
                  <a:pt x="2926489" y="69152"/>
                </a:lnTo>
                <a:lnTo>
                  <a:pt x="2940215" y="69152"/>
                </a:lnTo>
                <a:cubicBezTo>
                  <a:pt x="2943459" y="69128"/>
                  <a:pt x="2945877" y="68416"/>
                  <a:pt x="2947470" y="67017"/>
                </a:cubicBezTo>
                <a:cubicBezTo>
                  <a:pt x="2949064" y="65618"/>
                  <a:pt x="2949858" y="63675"/>
                  <a:pt x="2949854" y="61189"/>
                </a:cubicBezTo>
                <a:cubicBezTo>
                  <a:pt x="2949858" y="58766"/>
                  <a:pt x="2949064" y="56906"/>
                  <a:pt x="2947470" y="55610"/>
                </a:cubicBezTo>
                <a:cubicBezTo>
                  <a:pt x="2945877" y="54313"/>
                  <a:pt x="2943459" y="53658"/>
                  <a:pt x="2940215" y="53645"/>
                </a:cubicBezTo>
                <a:close/>
                <a:moveTo>
                  <a:pt x="2202589" y="53645"/>
                </a:moveTo>
                <a:lnTo>
                  <a:pt x="2202589" y="69152"/>
                </a:lnTo>
                <a:lnTo>
                  <a:pt x="2216315" y="69152"/>
                </a:lnTo>
                <a:cubicBezTo>
                  <a:pt x="2219559" y="69128"/>
                  <a:pt x="2221977" y="68416"/>
                  <a:pt x="2223571" y="67017"/>
                </a:cubicBezTo>
                <a:cubicBezTo>
                  <a:pt x="2225164" y="65618"/>
                  <a:pt x="2225959" y="63675"/>
                  <a:pt x="2225954" y="61189"/>
                </a:cubicBezTo>
                <a:cubicBezTo>
                  <a:pt x="2225959" y="58766"/>
                  <a:pt x="2225164" y="56906"/>
                  <a:pt x="2223571" y="55610"/>
                </a:cubicBezTo>
                <a:cubicBezTo>
                  <a:pt x="2221977" y="54313"/>
                  <a:pt x="2219559" y="53658"/>
                  <a:pt x="2216315" y="53645"/>
                </a:cubicBezTo>
                <a:close/>
                <a:moveTo>
                  <a:pt x="1211989" y="53645"/>
                </a:moveTo>
                <a:lnTo>
                  <a:pt x="1211989" y="69152"/>
                </a:lnTo>
                <a:lnTo>
                  <a:pt x="1225715" y="69152"/>
                </a:lnTo>
                <a:cubicBezTo>
                  <a:pt x="1228959" y="69128"/>
                  <a:pt x="1231377" y="68416"/>
                  <a:pt x="1232970" y="67017"/>
                </a:cubicBezTo>
                <a:cubicBezTo>
                  <a:pt x="1234564" y="65618"/>
                  <a:pt x="1235358" y="63675"/>
                  <a:pt x="1235354" y="61189"/>
                </a:cubicBezTo>
                <a:cubicBezTo>
                  <a:pt x="1235358" y="58766"/>
                  <a:pt x="1234564" y="56906"/>
                  <a:pt x="1232970" y="55610"/>
                </a:cubicBezTo>
                <a:cubicBezTo>
                  <a:pt x="1231377" y="54313"/>
                  <a:pt x="1228959" y="53658"/>
                  <a:pt x="1225715" y="53645"/>
                </a:cubicBezTo>
                <a:close/>
                <a:moveTo>
                  <a:pt x="4411979" y="53121"/>
                </a:moveTo>
                <a:cubicBezTo>
                  <a:pt x="4408311" y="53126"/>
                  <a:pt x="4405381" y="53850"/>
                  <a:pt x="4403192" y="55295"/>
                </a:cubicBezTo>
                <a:cubicBezTo>
                  <a:pt x="4401002" y="56740"/>
                  <a:pt x="4399880" y="58879"/>
                  <a:pt x="4399826" y="61713"/>
                </a:cubicBezTo>
                <a:cubicBezTo>
                  <a:pt x="4399887" y="64496"/>
                  <a:pt x="4400865" y="66604"/>
                  <a:pt x="4402759" y="68038"/>
                </a:cubicBezTo>
                <a:cubicBezTo>
                  <a:pt x="4404654" y="69473"/>
                  <a:pt x="4407099" y="70193"/>
                  <a:pt x="4410094" y="70199"/>
                </a:cubicBezTo>
                <a:cubicBezTo>
                  <a:pt x="4414403" y="70154"/>
                  <a:pt x="4418017" y="68962"/>
                  <a:pt x="4420938" y="66624"/>
                </a:cubicBezTo>
                <a:cubicBezTo>
                  <a:pt x="4423858" y="64286"/>
                  <a:pt x="4425378" y="61077"/>
                  <a:pt x="4425496" y="56998"/>
                </a:cubicBezTo>
                <a:lnTo>
                  <a:pt x="4425496" y="53121"/>
                </a:lnTo>
                <a:close/>
                <a:moveTo>
                  <a:pt x="2697480" y="53121"/>
                </a:moveTo>
                <a:cubicBezTo>
                  <a:pt x="2693810" y="53126"/>
                  <a:pt x="2690881" y="53850"/>
                  <a:pt x="2688692" y="55295"/>
                </a:cubicBezTo>
                <a:cubicBezTo>
                  <a:pt x="2686502" y="56740"/>
                  <a:pt x="2685380" y="58879"/>
                  <a:pt x="2685326" y="61713"/>
                </a:cubicBezTo>
                <a:cubicBezTo>
                  <a:pt x="2685387" y="64496"/>
                  <a:pt x="2686365" y="66604"/>
                  <a:pt x="2688260" y="68038"/>
                </a:cubicBezTo>
                <a:cubicBezTo>
                  <a:pt x="2690154" y="69473"/>
                  <a:pt x="2692599" y="70193"/>
                  <a:pt x="2695593" y="70199"/>
                </a:cubicBezTo>
                <a:cubicBezTo>
                  <a:pt x="2699902" y="70154"/>
                  <a:pt x="2703517" y="68962"/>
                  <a:pt x="2706438" y="66624"/>
                </a:cubicBezTo>
                <a:cubicBezTo>
                  <a:pt x="2709358" y="64286"/>
                  <a:pt x="2710878" y="61077"/>
                  <a:pt x="2710995" y="56998"/>
                </a:cubicBezTo>
                <a:lnTo>
                  <a:pt x="2710995" y="53121"/>
                </a:lnTo>
                <a:close/>
                <a:moveTo>
                  <a:pt x="2268855" y="53121"/>
                </a:moveTo>
                <a:cubicBezTo>
                  <a:pt x="2265186" y="53126"/>
                  <a:pt x="2262256" y="53850"/>
                  <a:pt x="2260067" y="55295"/>
                </a:cubicBezTo>
                <a:cubicBezTo>
                  <a:pt x="2257877" y="56740"/>
                  <a:pt x="2256755" y="58879"/>
                  <a:pt x="2256701" y="61713"/>
                </a:cubicBezTo>
                <a:cubicBezTo>
                  <a:pt x="2256762" y="64496"/>
                  <a:pt x="2257740" y="66604"/>
                  <a:pt x="2259635" y="68038"/>
                </a:cubicBezTo>
                <a:cubicBezTo>
                  <a:pt x="2261529" y="69473"/>
                  <a:pt x="2263974" y="70193"/>
                  <a:pt x="2266969" y="70199"/>
                </a:cubicBezTo>
                <a:cubicBezTo>
                  <a:pt x="2271278" y="70154"/>
                  <a:pt x="2274892" y="68962"/>
                  <a:pt x="2277813" y="66624"/>
                </a:cubicBezTo>
                <a:cubicBezTo>
                  <a:pt x="2280733" y="64286"/>
                  <a:pt x="2282253" y="61077"/>
                  <a:pt x="2282371" y="56998"/>
                </a:cubicBezTo>
                <a:lnTo>
                  <a:pt x="2282371" y="53121"/>
                </a:lnTo>
                <a:close/>
                <a:moveTo>
                  <a:pt x="1402080" y="53121"/>
                </a:moveTo>
                <a:cubicBezTo>
                  <a:pt x="1398410" y="53126"/>
                  <a:pt x="1395481" y="53850"/>
                  <a:pt x="1393292" y="55295"/>
                </a:cubicBezTo>
                <a:cubicBezTo>
                  <a:pt x="1391102" y="56740"/>
                  <a:pt x="1389980" y="58879"/>
                  <a:pt x="1389926" y="61713"/>
                </a:cubicBezTo>
                <a:cubicBezTo>
                  <a:pt x="1389987" y="64496"/>
                  <a:pt x="1390965" y="66604"/>
                  <a:pt x="1392859" y="68038"/>
                </a:cubicBezTo>
                <a:cubicBezTo>
                  <a:pt x="1394754" y="69473"/>
                  <a:pt x="1397199" y="70193"/>
                  <a:pt x="1400194" y="70199"/>
                </a:cubicBezTo>
                <a:cubicBezTo>
                  <a:pt x="1404503" y="70154"/>
                  <a:pt x="1408118" y="68962"/>
                  <a:pt x="1411038" y="66624"/>
                </a:cubicBezTo>
                <a:cubicBezTo>
                  <a:pt x="1413959" y="64286"/>
                  <a:pt x="1415478" y="61077"/>
                  <a:pt x="1415596" y="56998"/>
                </a:cubicBezTo>
                <a:lnTo>
                  <a:pt x="1415596" y="53121"/>
                </a:lnTo>
                <a:close/>
                <a:moveTo>
                  <a:pt x="1278255" y="53121"/>
                </a:moveTo>
                <a:cubicBezTo>
                  <a:pt x="1274585" y="53126"/>
                  <a:pt x="1271656" y="53850"/>
                  <a:pt x="1269467" y="55295"/>
                </a:cubicBezTo>
                <a:cubicBezTo>
                  <a:pt x="1267277" y="56740"/>
                  <a:pt x="1266155" y="58879"/>
                  <a:pt x="1266101" y="61713"/>
                </a:cubicBezTo>
                <a:cubicBezTo>
                  <a:pt x="1266162" y="64496"/>
                  <a:pt x="1267140" y="66604"/>
                  <a:pt x="1269035" y="68038"/>
                </a:cubicBezTo>
                <a:cubicBezTo>
                  <a:pt x="1270929" y="69473"/>
                  <a:pt x="1273374" y="70193"/>
                  <a:pt x="1276369" y="70199"/>
                </a:cubicBezTo>
                <a:cubicBezTo>
                  <a:pt x="1280678" y="70154"/>
                  <a:pt x="1284292" y="68962"/>
                  <a:pt x="1287213" y="66624"/>
                </a:cubicBezTo>
                <a:cubicBezTo>
                  <a:pt x="1290133" y="64286"/>
                  <a:pt x="1291653" y="61077"/>
                  <a:pt x="1291771" y="56998"/>
                </a:cubicBezTo>
                <a:lnTo>
                  <a:pt x="1291771" y="53121"/>
                </a:lnTo>
                <a:close/>
                <a:moveTo>
                  <a:pt x="1173480" y="53121"/>
                </a:moveTo>
                <a:cubicBezTo>
                  <a:pt x="1169811" y="53126"/>
                  <a:pt x="1166881" y="53850"/>
                  <a:pt x="1164692" y="55295"/>
                </a:cubicBezTo>
                <a:cubicBezTo>
                  <a:pt x="1162502" y="56740"/>
                  <a:pt x="1161380" y="58879"/>
                  <a:pt x="1161326" y="61713"/>
                </a:cubicBezTo>
                <a:cubicBezTo>
                  <a:pt x="1161387" y="64496"/>
                  <a:pt x="1162365" y="66604"/>
                  <a:pt x="1164260" y="68038"/>
                </a:cubicBezTo>
                <a:cubicBezTo>
                  <a:pt x="1166154" y="69473"/>
                  <a:pt x="1168599" y="70193"/>
                  <a:pt x="1171594" y="70199"/>
                </a:cubicBezTo>
                <a:cubicBezTo>
                  <a:pt x="1175903" y="70154"/>
                  <a:pt x="1179517" y="68962"/>
                  <a:pt x="1182438" y="66624"/>
                </a:cubicBezTo>
                <a:cubicBezTo>
                  <a:pt x="1185359" y="64286"/>
                  <a:pt x="1186878" y="61077"/>
                  <a:pt x="1186996" y="56998"/>
                </a:cubicBezTo>
                <a:lnTo>
                  <a:pt x="1186996" y="53121"/>
                </a:lnTo>
                <a:close/>
                <a:moveTo>
                  <a:pt x="4631569" y="49140"/>
                </a:moveTo>
                <a:lnTo>
                  <a:pt x="4631569" y="68942"/>
                </a:lnTo>
                <a:lnTo>
                  <a:pt x="4642256" y="68942"/>
                </a:lnTo>
                <a:cubicBezTo>
                  <a:pt x="4645727" y="68877"/>
                  <a:pt x="4648372" y="67908"/>
                  <a:pt x="4650193" y="66035"/>
                </a:cubicBezTo>
                <a:cubicBezTo>
                  <a:pt x="4652013" y="64162"/>
                  <a:pt x="4652930" y="61778"/>
                  <a:pt x="4652943" y="58884"/>
                </a:cubicBezTo>
                <a:cubicBezTo>
                  <a:pt x="4652930" y="56002"/>
                  <a:pt x="4652013" y="53671"/>
                  <a:pt x="4650193" y="51890"/>
                </a:cubicBezTo>
                <a:cubicBezTo>
                  <a:pt x="4648372" y="50109"/>
                  <a:pt x="4645727" y="49192"/>
                  <a:pt x="4642256" y="49140"/>
                </a:cubicBezTo>
                <a:close/>
                <a:moveTo>
                  <a:pt x="4002919" y="49140"/>
                </a:moveTo>
                <a:lnTo>
                  <a:pt x="4002919" y="68942"/>
                </a:lnTo>
                <a:lnTo>
                  <a:pt x="4013606" y="68942"/>
                </a:lnTo>
                <a:cubicBezTo>
                  <a:pt x="4017076" y="68877"/>
                  <a:pt x="4019722" y="67908"/>
                  <a:pt x="4021543" y="66035"/>
                </a:cubicBezTo>
                <a:cubicBezTo>
                  <a:pt x="4023363" y="64162"/>
                  <a:pt x="4024280" y="61778"/>
                  <a:pt x="4024293" y="58884"/>
                </a:cubicBezTo>
                <a:cubicBezTo>
                  <a:pt x="4024280" y="56002"/>
                  <a:pt x="4023363" y="53671"/>
                  <a:pt x="4021543" y="51890"/>
                </a:cubicBezTo>
                <a:cubicBezTo>
                  <a:pt x="4019722" y="50109"/>
                  <a:pt x="4017076" y="49192"/>
                  <a:pt x="4013606" y="49140"/>
                </a:cubicBezTo>
                <a:close/>
                <a:moveTo>
                  <a:pt x="2440819" y="49140"/>
                </a:moveTo>
                <a:lnTo>
                  <a:pt x="2440819" y="68942"/>
                </a:lnTo>
                <a:lnTo>
                  <a:pt x="2451506" y="68942"/>
                </a:lnTo>
                <a:cubicBezTo>
                  <a:pt x="2454977" y="68877"/>
                  <a:pt x="2457623" y="67908"/>
                  <a:pt x="2459443" y="66035"/>
                </a:cubicBezTo>
                <a:cubicBezTo>
                  <a:pt x="2461263" y="64162"/>
                  <a:pt x="2462180" y="61778"/>
                  <a:pt x="2462193" y="58884"/>
                </a:cubicBezTo>
                <a:cubicBezTo>
                  <a:pt x="2462180" y="56002"/>
                  <a:pt x="2461263" y="53671"/>
                  <a:pt x="2459443" y="51890"/>
                </a:cubicBezTo>
                <a:cubicBezTo>
                  <a:pt x="2457623" y="50109"/>
                  <a:pt x="2454977" y="49192"/>
                  <a:pt x="2451506" y="49140"/>
                </a:cubicBezTo>
                <a:close/>
                <a:moveTo>
                  <a:pt x="1783594" y="49140"/>
                </a:moveTo>
                <a:lnTo>
                  <a:pt x="1783594" y="68942"/>
                </a:lnTo>
                <a:lnTo>
                  <a:pt x="1794281" y="68942"/>
                </a:lnTo>
                <a:cubicBezTo>
                  <a:pt x="1797752" y="68877"/>
                  <a:pt x="1800397" y="67908"/>
                  <a:pt x="1802218" y="66035"/>
                </a:cubicBezTo>
                <a:cubicBezTo>
                  <a:pt x="1804038" y="64162"/>
                  <a:pt x="1804955" y="61778"/>
                  <a:pt x="1804968" y="58884"/>
                </a:cubicBezTo>
                <a:cubicBezTo>
                  <a:pt x="1804955" y="56002"/>
                  <a:pt x="1804038" y="53671"/>
                  <a:pt x="1802218" y="51890"/>
                </a:cubicBezTo>
                <a:cubicBezTo>
                  <a:pt x="1800397" y="50109"/>
                  <a:pt x="1797752" y="49192"/>
                  <a:pt x="1794281" y="49140"/>
                </a:cubicBezTo>
                <a:close/>
                <a:moveTo>
                  <a:pt x="1908991" y="43063"/>
                </a:moveTo>
                <a:lnTo>
                  <a:pt x="1908991" y="68523"/>
                </a:lnTo>
                <a:lnTo>
                  <a:pt x="1927117" y="68523"/>
                </a:lnTo>
                <a:cubicBezTo>
                  <a:pt x="1931792" y="68499"/>
                  <a:pt x="1935512" y="67395"/>
                  <a:pt x="1938275" y="65210"/>
                </a:cubicBezTo>
                <a:cubicBezTo>
                  <a:pt x="1941039" y="63025"/>
                  <a:pt x="1942453" y="59903"/>
                  <a:pt x="1942519" y="55845"/>
                </a:cubicBezTo>
                <a:cubicBezTo>
                  <a:pt x="1942469" y="51875"/>
                  <a:pt x="1941128" y="48762"/>
                  <a:pt x="1938498" y="46507"/>
                </a:cubicBezTo>
                <a:cubicBezTo>
                  <a:pt x="1935868" y="44252"/>
                  <a:pt x="1932249" y="43104"/>
                  <a:pt x="1927641" y="43063"/>
                </a:cubicBezTo>
                <a:close/>
                <a:moveTo>
                  <a:pt x="842191" y="43063"/>
                </a:moveTo>
                <a:lnTo>
                  <a:pt x="842191" y="68523"/>
                </a:lnTo>
                <a:lnTo>
                  <a:pt x="860317" y="68523"/>
                </a:lnTo>
                <a:cubicBezTo>
                  <a:pt x="864992" y="68499"/>
                  <a:pt x="868712" y="67395"/>
                  <a:pt x="871475" y="65210"/>
                </a:cubicBezTo>
                <a:cubicBezTo>
                  <a:pt x="874239" y="63025"/>
                  <a:pt x="875653" y="59903"/>
                  <a:pt x="875719" y="55845"/>
                </a:cubicBezTo>
                <a:cubicBezTo>
                  <a:pt x="875669" y="51875"/>
                  <a:pt x="874328" y="48762"/>
                  <a:pt x="871698" y="46507"/>
                </a:cubicBezTo>
                <a:cubicBezTo>
                  <a:pt x="869068" y="44252"/>
                  <a:pt x="865448" y="43104"/>
                  <a:pt x="860841" y="43063"/>
                </a:cubicBezTo>
                <a:close/>
                <a:moveTo>
                  <a:pt x="4465777" y="32166"/>
                </a:moveTo>
                <a:lnTo>
                  <a:pt x="4464310" y="50816"/>
                </a:lnTo>
                <a:cubicBezTo>
                  <a:pt x="4464055" y="54483"/>
                  <a:pt x="4463622" y="57888"/>
                  <a:pt x="4463013" y="61032"/>
                </a:cubicBezTo>
                <a:cubicBezTo>
                  <a:pt x="4462404" y="64175"/>
                  <a:pt x="4461265" y="66742"/>
                  <a:pt x="4459595" y="68733"/>
                </a:cubicBezTo>
                <a:lnTo>
                  <a:pt x="4486627" y="68733"/>
                </a:lnTo>
                <a:lnTo>
                  <a:pt x="4486627" y="32166"/>
                </a:lnTo>
                <a:close/>
                <a:moveTo>
                  <a:pt x="3474872" y="32166"/>
                </a:moveTo>
                <a:cubicBezTo>
                  <a:pt x="3470094" y="32190"/>
                  <a:pt x="3466134" y="33766"/>
                  <a:pt x="3462993" y="36894"/>
                </a:cubicBezTo>
                <a:cubicBezTo>
                  <a:pt x="3459852" y="40022"/>
                  <a:pt x="3458224" y="44558"/>
                  <a:pt x="3458108" y="50502"/>
                </a:cubicBezTo>
                <a:cubicBezTo>
                  <a:pt x="3458180" y="56535"/>
                  <a:pt x="3459712" y="61259"/>
                  <a:pt x="3462705" y="64673"/>
                </a:cubicBezTo>
                <a:cubicBezTo>
                  <a:pt x="3465698" y="68087"/>
                  <a:pt x="3469718" y="69824"/>
                  <a:pt x="3474767" y="69885"/>
                </a:cubicBezTo>
                <a:cubicBezTo>
                  <a:pt x="3479798" y="69783"/>
                  <a:pt x="3483750" y="67997"/>
                  <a:pt x="3486620" y="64529"/>
                </a:cubicBezTo>
                <a:cubicBezTo>
                  <a:pt x="3489490" y="61060"/>
                  <a:pt x="3490953" y="56524"/>
                  <a:pt x="3491007" y="50921"/>
                </a:cubicBezTo>
                <a:cubicBezTo>
                  <a:pt x="3490944" y="45326"/>
                  <a:pt x="3489473" y="40825"/>
                  <a:pt x="3486594" y="37418"/>
                </a:cubicBezTo>
                <a:cubicBezTo>
                  <a:pt x="3483715" y="34011"/>
                  <a:pt x="3479807" y="32260"/>
                  <a:pt x="3474872" y="32166"/>
                </a:cubicBezTo>
                <a:close/>
                <a:moveTo>
                  <a:pt x="3277876" y="31957"/>
                </a:moveTo>
                <a:cubicBezTo>
                  <a:pt x="3274497" y="32007"/>
                  <a:pt x="3271877" y="32902"/>
                  <a:pt x="3270018" y="34641"/>
                </a:cubicBezTo>
                <a:cubicBezTo>
                  <a:pt x="3268158" y="36381"/>
                  <a:pt x="3267215" y="38664"/>
                  <a:pt x="3267189" y="41491"/>
                </a:cubicBezTo>
                <a:cubicBezTo>
                  <a:pt x="3267215" y="44368"/>
                  <a:pt x="3268158" y="46682"/>
                  <a:pt x="3270018" y="48432"/>
                </a:cubicBezTo>
                <a:cubicBezTo>
                  <a:pt x="3271877" y="50183"/>
                  <a:pt x="3274497" y="51082"/>
                  <a:pt x="3277876" y="51130"/>
                </a:cubicBezTo>
                <a:lnTo>
                  <a:pt x="3288772" y="51130"/>
                </a:lnTo>
                <a:lnTo>
                  <a:pt x="3288772" y="31957"/>
                </a:lnTo>
                <a:close/>
                <a:moveTo>
                  <a:pt x="3049276" y="31957"/>
                </a:moveTo>
                <a:cubicBezTo>
                  <a:pt x="3045897" y="32007"/>
                  <a:pt x="3043278" y="32902"/>
                  <a:pt x="3041418" y="34641"/>
                </a:cubicBezTo>
                <a:cubicBezTo>
                  <a:pt x="3039558" y="36381"/>
                  <a:pt x="3038615" y="38664"/>
                  <a:pt x="3038589" y="41491"/>
                </a:cubicBezTo>
                <a:cubicBezTo>
                  <a:pt x="3038615" y="44368"/>
                  <a:pt x="3039558" y="46682"/>
                  <a:pt x="3041418" y="48432"/>
                </a:cubicBezTo>
                <a:cubicBezTo>
                  <a:pt x="3043278" y="50183"/>
                  <a:pt x="3045897" y="51082"/>
                  <a:pt x="3049276" y="51130"/>
                </a:cubicBezTo>
                <a:lnTo>
                  <a:pt x="3060173" y="51130"/>
                </a:lnTo>
                <a:lnTo>
                  <a:pt x="3060173" y="31957"/>
                </a:lnTo>
                <a:close/>
                <a:moveTo>
                  <a:pt x="2887351" y="31957"/>
                </a:moveTo>
                <a:cubicBezTo>
                  <a:pt x="2883972" y="32007"/>
                  <a:pt x="2881352" y="32902"/>
                  <a:pt x="2879493" y="34641"/>
                </a:cubicBezTo>
                <a:cubicBezTo>
                  <a:pt x="2877633" y="36381"/>
                  <a:pt x="2876690" y="38664"/>
                  <a:pt x="2876664" y="41491"/>
                </a:cubicBezTo>
                <a:cubicBezTo>
                  <a:pt x="2876690" y="44368"/>
                  <a:pt x="2877633" y="46682"/>
                  <a:pt x="2879493" y="48432"/>
                </a:cubicBezTo>
                <a:cubicBezTo>
                  <a:pt x="2881352" y="50183"/>
                  <a:pt x="2883972" y="51082"/>
                  <a:pt x="2887351" y="51130"/>
                </a:cubicBezTo>
                <a:lnTo>
                  <a:pt x="2898248" y="51130"/>
                </a:lnTo>
                <a:lnTo>
                  <a:pt x="2898248" y="31957"/>
                </a:lnTo>
                <a:close/>
                <a:moveTo>
                  <a:pt x="4793389" y="31852"/>
                </a:moveTo>
                <a:lnTo>
                  <a:pt x="4793389" y="45996"/>
                </a:lnTo>
                <a:lnTo>
                  <a:pt x="4806067" y="45996"/>
                </a:lnTo>
                <a:cubicBezTo>
                  <a:pt x="4808850" y="45970"/>
                  <a:pt x="4810959" y="45315"/>
                  <a:pt x="4812393" y="44032"/>
                </a:cubicBezTo>
                <a:cubicBezTo>
                  <a:pt x="4813827" y="42748"/>
                  <a:pt x="4814547" y="40993"/>
                  <a:pt x="4814554" y="38767"/>
                </a:cubicBezTo>
                <a:cubicBezTo>
                  <a:pt x="4814547" y="36508"/>
                  <a:pt x="4813827" y="34792"/>
                  <a:pt x="4812393" y="33620"/>
                </a:cubicBezTo>
                <a:cubicBezTo>
                  <a:pt x="4810959" y="32448"/>
                  <a:pt x="4808850" y="31858"/>
                  <a:pt x="4806067" y="31852"/>
                </a:cubicBezTo>
                <a:close/>
                <a:moveTo>
                  <a:pt x="4288564" y="31852"/>
                </a:moveTo>
                <a:lnTo>
                  <a:pt x="4288564" y="45996"/>
                </a:lnTo>
                <a:lnTo>
                  <a:pt x="4301242" y="45996"/>
                </a:lnTo>
                <a:cubicBezTo>
                  <a:pt x="4304025" y="45970"/>
                  <a:pt x="4306134" y="45315"/>
                  <a:pt x="4307568" y="44032"/>
                </a:cubicBezTo>
                <a:cubicBezTo>
                  <a:pt x="4309002" y="42748"/>
                  <a:pt x="4309722" y="40993"/>
                  <a:pt x="4309729" y="38767"/>
                </a:cubicBezTo>
                <a:cubicBezTo>
                  <a:pt x="4309722" y="36508"/>
                  <a:pt x="4309002" y="34792"/>
                  <a:pt x="4307568" y="33620"/>
                </a:cubicBezTo>
                <a:cubicBezTo>
                  <a:pt x="4306134" y="32448"/>
                  <a:pt x="4304025" y="31858"/>
                  <a:pt x="4301242" y="31852"/>
                </a:cubicBezTo>
                <a:close/>
                <a:moveTo>
                  <a:pt x="3621814" y="31852"/>
                </a:moveTo>
                <a:lnTo>
                  <a:pt x="3621814" y="45996"/>
                </a:lnTo>
                <a:lnTo>
                  <a:pt x="3634492" y="45996"/>
                </a:lnTo>
                <a:cubicBezTo>
                  <a:pt x="3637275" y="45970"/>
                  <a:pt x="3639383" y="45315"/>
                  <a:pt x="3640818" y="44032"/>
                </a:cubicBezTo>
                <a:cubicBezTo>
                  <a:pt x="3642252" y="42748"/>
                  <a:pt x="3642972" y="40993"/>
                  <a:pt x="3642979" y="38767"/>
                </a:cubicBezTo>
                <a:cubicBezTo>
                  <a:pt x="3642972" y="36508"/>
                  <a:pt x="3642252" y="34792"/>
                  <a:pt x="3640818" y="33620"/>
                </a:cubicBezTo>
                <a:cubicBezTo>
                  <a:pt x="3639383" y="32448"/>
                  <a:pt x="3637275" y="31858"/>
                  <a:pt x="3634492" y="31852"/>
                </a:cubicBezTo>
                <a:close/>
                <a:moveTo>
                  <a:pt x="2926489" y="31852"/>
                </a:moveTo>
                <a:lnTo>
                  <a:pt x="2926489" y="45996"/>
                </a:lnTo>
                <a:lnTo>
                  <a:pt x="2939167" y="45996"/>
                </a:lnTo>
                <a:cubicBezTo>
                  <a:pt x="2941950" y="45970"/>
                  <a:pt x="2944058" y="45315"/>
                  <a:pt x="2945493" y="44032"/>
                </a:cubicBezTo>
                <a:cubicBezTo>
                  <a:pt x="2946927" y="42748"/>
                  <a:pt x="2947647" y="40993"/>
                  <a:pt x="2947654" y="38767"/>
                </a:cubicBezTo>
                <a:cubicBezTo>
                  <a:pt x="2947647" y="36508"/>
                  <a:pt x="2946927" y="34792"/>
                  <a:pt x="2945493" y="33620"/>
                </a:cubicBezTo>
                <a:cubicBezTo>
                  <a:pt x="2944058" y="32448"/>
                  <a:pt x="2941950" y="31858"/>
                  <a:pt x="2939167" y="31852"/>
                </a:cubicBezTo>
                <a:close/>
                <a:moveTo>
                  <a:pt x="2202589" y="31852"/>
                </a:moveTo>
                <a:lnTo>
                  <a:pt x="2202589" y="45996"/>
                </a:lnTo>
                <a:lnTo>
                  <a:pt x="2215267" y="45996"/>
                </a:lnTo>
                <a:cubicBezTo>
                  <a:pt x="2218050" y="45970"/>
                  <a:pt x="2220159" y="45315"/>
                  <a:pt x="2221593" y="44032"/>
                </a:cubicBezTo>
                <a:cubicBezTo>
                  <a:pt x="2223027" y="42748"/>
                  <a:pt x="2223747" y="40993"/>
                  <a:pt x="2223754" y="38767"/>
                </a:cubicBezTo>
                <a:cubicBezTo>
                  <a:pt x="2223747" y="36508"/>
                  <a:pt x="2223027" y="34792"/>
                  <a:pt x="2221593" y="33620"/>
                </a:cubicBezTo>
                <a:cubicBezTo>
                  <a:pt x="2220159" y="32448"/>
                  <a:pt x="2218050" y="31858"/>
                  <a:pt x="2215267" y="31852"/>
                </a:cubicBezTo>
                <a:close/>
                <a:moveTo>
                  <a:pt x="1211989" y="31852"/>
                </a:moveTo>
                <a:lnTo>
                  <a:pt x="1211989" y="45996"/>
                </a:lnTo>
                <a:lnTo>
                  <a:pt x="1224667" y="45996"/>
                </a:lnTo>
                <a:cubicBezTo>
                  <a:pt x="1227450" y="45970"/>
                  <a:pt x="1229559" y="45315"/>
                  <a:pt x="1230993" y="44032"/>
                </a:cubicBezTo>
                <a:cubicBezTo>
                  <a:pt x="1232427" y="42748"/>
                  <a:pt x="1233147" y="40993"/>
                  <a:pt x="1233154" y="38767"/>
                </a:cubicBezTo>
                <a:cubicBezTo>
                  <a:pt x="1233147" y="36508"/>
                  <a:pt x="1232427" y="34792"/>
                  <a:pt x="1230993" y="33620"/>
                </a:cubicBezTo>
                <a:cubicBezTo>
                  <a:pt x="1229559" y="32448"/>
                  <a:pt x="1227450" y="31858"/>
                  <a:pt x="1224667" y="31852"/>
                </a:cubicBezTo>
                <a:close/>
                <a:moveTo>
                  <a:pt x="4085225" y="31118"/>
                </a:moveTo>
                <a:cubicBezTo>
                  <a:pt x="4080307" y="31206"/>
                  <a:pt x="4076469" y="32996"/>
                  <a:pt x="4073712" y="36488"/>
                </a:cubicBezTo>
                <a:cubicBezTo>
                  <a:pt x="4070955" y="39981"/>
                  <a:pt x="4069554" y="44652"/>
                  <a:pt x="4069508" y="50502"/>
                </a:cubicBezTo>
                <a:cubicBezTo>
                  <a:pt x="4069554" y="56352"/>
                  <a:pt x="4070955" y="61023"/>
                  <a:pt x="4073712" y="64515"/>
                </a:cubicBezTo>
                <a:cubicBezTo>
                  <a:pt x="4076469" y="68008"/>
                  <a:pt x="4080307" y="69798"/>
                  <a:pt x="4085225" y="69885"/>
                </a:cubicBezTo>
                <a:cubicBezTo>
                  <a:pt x="4090142" y="69798"/>
                  <a:pt x="4093980" y="68008"/>
                  <a:pt x="4096737" y="64515"/>
                </a:cubicBezTo>
                <a:cubicBezTo>
                  <a:pt x="4099493" y="61023"/>
                  <a:pt x="4100895" y="56352"/>
                  <a:pt x="4100941" y="50502"/>
                </a:cubicBezTo>
                <a:cubicBezTo>
                  <a:pt x="4100895" y="44652"/>
                  <a:pt x="4099493" y="39981"/>
                  <a:pt x="4096737" y="36488"/>
                </a:cubicBezTo>
                <a:cubicBezTo>
                  <a:pt x="4093980" y="32996"/>
                  <a:pt x="4090142" y="31206"/>
                  <a:pt x="4085225" y="31118"/>
                </a:cubicBezTo>
                <a:close/>
                <a:moveTo>
                  <a:pt x="3854196" y="31118"/>
                </a:moveTo>
                <a:cubicBezTo>
                  <a:pt x="3849168" y="31206"/>
                  <a:pt x="3845235" y="32996"/>
                  <a:pt x="3842395" y="36488"/>
                </a:cubicBezTo>
                <a:cubicBezTo>
                  <a:pt x="3839555" y="39981"/>
                  <a:pt x="3838110" y="44652"/>
                  <a:pt x="3838060" y="50502"/>
                </a:cubicBezTo>
                <a:cubicBezTo>
                  <a:pt x="3838110" y="56352"/>
                  <a:pt x="3839555" y="61023"/>
                  <a:pt x="3842395" y="64515"/>
                </a:cubicBezTo>
                <a:cubicBezTo>
                  <a:pt x="3845235" y="68008"/>
                  <a:pt x="3849168" y="69798"/>
                  <a:pt x="3854196" y="69885"/>
                </a:cubicBezTo>
                <a:cubicBezTo>
                  <a:pt x="3859223" y="69798"/>
                  <a:pt x="3863156" y="68008"/>
                  <a:pt x="3865996" y="64515"/>
                </a:cubicBezTo>
                <a:cubicBezTo>
                  <a:pt x="3868836" y="61023"/>
                  <a:pt x="3870281" y="56352"/>
                  <a:pt x="3870331" y="50502"/>
                </a:cubicBezTo>
                <a:cubicBezTo>
                  <a:pt x="3870281" y="44652"/>
                  <a:pt x="3868836" y="39981"/>
                  <a:pt x="3865996" y="36488"/>
                </a:cubicBezTo>
                <a:cubicBezTo>
                  <a:pt x="3863156" y="32996"/>
                  <a:pt x="3859223" y="31206"/>
                  <a:pt x="3854196" y="31118"/>
                </a:cubicBezTo>
                <a:close/>
                <a:moveTo>
                  <a:pt x="3416046" y="31118"/>
                </a:moveTo>
                <a:cubicBezTo>
                  <a:pt x="3411019" y="31206"/>
                  <a:pt x="3407085" y="32996"/>
                  <a:pt x="3404246" y="36488"/>
                </a:cubicBezTo>
                <a:cubicBezTo>
                  <a:pt x="3401406" y="39981"/>
                  <a:pt x="3399960" y="44652"/>
                  <a:pt x="3399911" y="50502"/>
                </a:cubicBezTo>
                <a:cubicBezTo>
                  <a:pt x="3399960" y="56352"/>
                  <a:pt x="3401406" y="61023"/>
                  <a:pt x="3404246" y="64515"/>
                </a:cubicBezTo>
                <a:cubicBezTo>
                  <a:pt x="3407085" y="68008"/>
                  <a:pt x="3411019" y="69798"/>
                  <a:pt x="3416046" y="69885"/>
                </a:cubicBezTo>
                <a:cubicBezTo>
                  <a:pt x="3421073" y="69798"/>
                  <a:pt x="3425006" y="68008"/>
                  <a:pt x="3427846" y="64515"/>
                </a:cubicBezTo>
                <a:cubicBezTo>
                  <a:pt x="3430686" y="61023"/>
                  <a:pt x="3432130" y="56352"/>
                  <a:pt x="3432181" y="50502"/>
                </a:cubicBezTo>
                <a:cubicBezTo>
                  <a:pt x="3432130" y="44652"/>
                  <a:pt x="3430686" y="39981"/>
                  <a:pt x="3427846" y="36488"/>
                </a:cubicBezTo>
                <a:cubicBezTo>
                  <a:pt x="3425006" y="32996"/>
                  <a:pt x="3421073" y="31206"/>
                  <a:pt x="3416046" y="31118"/>
                </a:cubicBezTo>
                <a:close/>
                <a:moveTo>
                  <a:pt x="3123199" y="31118"/>
                </a:moveTo>
                <a:cubicBezTo>
                  <a:pt x="3118282" y="31206"/>
                  <a:pt x="3114444" y="32996"/>
                  <a:pt x="3111687" y="36488"/>
                </a:cubicBezTo>
                <a:cubicBezTo>
                  <a:pt x="3108931" y="39981"/>
                  <a:pt x="3107529" y="44652"/>
                  <a:pt x="3107483" y="50502"/>
                </a:cubicBezTo>
                <a:cubicBezTo>
                  <a:pt x="3107529" y="56352"/>
                  <a:pt x="3108931" y="61023"/>
                  <a:pt x="3111687" y="64515"/>
                </a:cubicBezTo>
                <a:cubicBezTo>
                  <a:pt x="3114444" y="68008"/>
                  <a:pt x="3118282" y="69798"/>
                  <a:pt x="3123199" y="69885"/>
                </a:cubicBezTo>
                <a:cubicBezTo>
                  <a:pt x="3128118" y="69798"/>
                  <a:pt x="3131955" y="68008"/>
                  <a:pt x="3134712" y="64515"/>
                </a:cubicBezTo>
                <a:cubicBezTo>
                  <a:pt x="3137468" y="61023"/>
                  <a:pt x="3138870" y="56352"/>
                  <a:pt x="3138916" y="50502"/>
                </a:cubicBezTo>
                <a:cubicBezTo>
                  <a:pt x="3138870" y="44652"/>
                  <a:pt x="3137468" y="39981"/>
                  <a:pt x="3134712" y="36488"/>
                </a:cubicBezTo>
                <a:cubicBezTo>
                  <a:pt x="3131955" y="32996"/>
                  <a:pt x="3128118" y="31206"/>
                  <a:pt x="3123199" y="31118"/>
                </a:cubicBezTo>
                <a:close/>
                <a:moveTo>
                  <a:pt x="2332815" y="31118"/>
                </a:moveTo>
                <a:cubicBezTo>
                  <a:pt x="2327880" y="31184"/>
                  <a:pt x="2323972" y="32913"/>
                  <a:pt x="2321093" y="36305"/>
                </a:cubicBezTo>
                <a:cubicBezTo>
                  <a:pt x="2318214" y="39697"/>
                  <a:pt x="2316743" y="44359"/>
                  <a:pt x="2316680" y="50292"/>
                </a:cubicBezTo>
                <a:lnTo>
                  <a:pt x="2316680" y="50711"/>
                </a:lnTo>
                <a:cubicBezTo>
                  <a:pt x="2316743" y="56644"/>
                  <a:pt x="2318214" y="61307"/>
                  <a:pt x="2321093" y="64699"/>
                </a:cubicBezTo>
                <a:cubicBezTo>
                  <a:pt x="2323972" y="68091"/>
                  <a:pt x="2327880" y="69820"/>
                  <a:pt x="2332815" y="69885"/>
                </a:cubicBezTo>
                <a:cubicBezTo>
                  <a:pt x="2337596" y="69798"/>
                  <a:pt x="2341394" y="68008"/>
                  <a:pt x="2344209" y="64515"/>
                </a:cubicBezTo>
                <a:cubicBezTo>
                  <a:pt x="2347025" y="61023"/>
                  <a:pt x="2348466" y="56352"/>
                  <a:pt x="2348531" y="50502"/>
                </a:cubicBezTo>
                <a:cubicBezTo>
                  <a:pt x="2348466" y="44652"/>
                  <a:pt x="2347025" y="39981"/>
                  <a:pt x="2344209" y="36488"/>
                </a:cubicBezTo>
                <a:cubicBezTo>
                  <a:pt x="2341394" y="32996"/>
                  <a:pt x="2337596" y="31206"/>
                  <a:pt x="2332815" y="31118"/>
                </a:cubicBezTo>
                <a:close/>
                <a:moveTo>
                  <a:pt x="2158746" y="31118"/>
                </a:moveTo>
                <a:cubicBezTo>
                  <a:pt x="2153719" y="31206"/>
                  <a:pt x="2149785" y="32996"/>
                  <a:pt x="2146945" y="36488"/>
                </a:cubicBezTo>
                <a:cubicBezTo>
                  <a:pt x="2144106" y="39981"/>
                  <a:pt x="2142660" y="44652"/>
                  <a:pt x="2142611" y="50502"/>
                </a:cubicBezTo>
                <a:cubicBezTo>
                  <a:pt x="2142660" y="56352"/>
                  <a:pt x="2144106" y="61023"/>
                  <a:pt x="2146945" y="64515"/>
                </a:cubicBezTo>
                <a:cubicBezTo>
                  <a:pt x="2149785" y="68008"/>
                  <a:pt x="2153719" y="69798"/>
                  <a:pt x="2158746" y="69885"/>
                </a:cubicBezTo>
                <a:cubicBezTo>
                  <a:pt x="2163773" y="69798"/>
                  <a:pt x="2167706" y="68008"/>
                  <a:pt x="2170546" y="64515"/>
                </a:cubicBezTo>
                <a:cubicBezTo>
                  <a:pt x="2173386" y="61023"/>
                  <a:pt x="2174831" y="56352"/>
                  <a:pt x="2174881" y="50502"/>
                </a:cubicBezTo>
                <a:cubicBezTo>
                  <a:pt x="2174831" y="44652"/>
                  <a:pt x="2173386" y="39981"/>
                  <a:pt x="2170546" y="36488"/>
                </a:cubicBezTo>
                <a:cubicBezTo>
                  <a:pt x="2167706" y="32996"/>
                  <a:pt x="2163773" y="31206"/>
                  <a:pt x="2158746" y="31118"/>
                </a:cubicBezTo>
                <a:close/>
                <a:moveTo>
                  <a:pt x="1113615" y="31118"/>
                </a:moveTo>
                <a:cubicBezTo>
                  <a:pt x="1108680" y="31184"/>
                  <a:pt x="1104773" y="32913"/>
                  <a:pt x="1101893" y="36305"/>
                </a:cubicBezTo>
                <a:cubicBezTo>
                  <a:pt x="1099014" y="39697"/>
                  <a:pt x="1097543" y="44359"/>
                  <a:pt x="1097480" y="50292"/>
                </a:cubicBezTo>
                <a:lnTo>
                  <a:pt x="1097480" y="50711"/>
                </a:lnTo>
                <a:cubicBezTo>
                  <a:pt x="1097543" y="56644"/>
                  <a:pt x="1099014" y="61307"/>
                  <a:pt x="1101893" y="64699"/>
                </a:cubicBezTo>
                <a:cubicBezTo>
                  <a:pt x="1104773" y="68091"/>
                  <a:pt x="1108680" y="69820"/>
                  <a:pt x="1113615" y="69885"/>
                </a:cubicBezTo>
                <a:cubicBezTo>
                  <a:pt x="1118395" y="69798"/>
                  <a:pt x="1122194" y="68008"/>
                  <a:pt x="1125009" y="64515"/>
                </a:cubicBezTo>
                <a:cubicBezTo>
                  <a:pt x="1127825" y="61023"/>
                  <a:pt x="1129266" y="56352"/>
                  <a:pt x="1129331" y="50502"/>
                </a:cubicBezTo>
                <a:cubicBezTo>
                  <a:pt x="1129266" y="44652"/>
                  <a:pt x="1127825" y="39981"/>
                  <a:pt x="1125009" y="36488"/>
                </a:cubicBezTo>
                <a:cubicBezTo>
                  <a:pt x="1122194" y="32996"/>
                  <a:pt x="1118395" y="31206"/>
                  <a:pt x="1113615" y="31118"/>
                </a:cubicBezTo>
                <a:close/>
                <a:moveTo>
                  <a:pt x="4758337" y="31014"/>
                </a:moveTo>
                <a:cubicBezTo>
                  <a:pt x="4753904" y="31077"/>
                  <a:pt x="4750381" y="32417"/>
                  <a:pt x="4747768" y="35034"/>
                </a:cubicBezTo>
                <a:cubicBezTo>
                  <a:pt x="4745155" y="37652"/>
                  <a:pt x="4743649" y="41166"/>
                  <a:pt x="4743250" y="45577"/>
                </a:cubicBezTo>
                <a:lnTo>
                  <a:pt x="4772482" y="45577"/>
                </a:lnTo>
                <a:cubicBezTo>
                  <a:pt x="4772240" y="40983"/>
                  <a:pt x="4770891" y="37416"/>
                  <a:pt x="4768435" y="34877"/>
                </a:cubicBezTo>
                <a:cubicBezTo>
                  <a:pt x="4765979" y="32339"/>
                  <a:pt x="4762613" y="31051"/>
                  <a:pt x="4758337" y="31014"/>
                </a:cubicBezTo>
                <a:close/>
                <a:moveTo>
                  <a:pt x="4529737" y="31014"/>
                </a:moveTo>
                <a:cubicBezTo>
                  <a:pt x="4525304" y="31077"/>
                  <a:pt x="4521781" y="32417"/>
                  <a:pt x="4519168" y="35034"/>
                </a:cubicBezTo>
                <a:cubicBezTo>
                  <a:pt x="4516555" y="37652"/>
                  <a:pt x="4515049" y="41166"/>
                  <a:pt x="4514649" y="45577"/>
                </a:cubicBezTo>
                <a:lnTo>
                  <a:pt x="4543882" y="45577"/>
                </a:lnTo>
                <a:cubicBezTo>
                  <a:pt x="4543639" y="40983"/>
                  <a:pt x="4542290" y="37416"/>
                  <a:pt x="4539835" y="34877"/>
                </a:cubicBezTo>
                <a:cubicBezTo>
                  <a:pt x="4537379" y="32339"/>
                  <a:pt x="4534013" y="31051"/>
                  <a:pt x="4529737" y="31014"/>
                </a:cubicBezTo>
                <a:close/>
                <a:moveTo>
                  <a:pt x="3691537" y="31014"/>
                </a:moveTo>
                <a:cubicBezTo>
                  <a:pt x="3687104" y="31077"/>
                  <a:pt x="3683581" y="32417"/>
                  <a:pt x="3680968" y="35034"/>
                </a:cubicBezTo>
                <a:cubicBezTo>
                  <a:pt x="3678355" y="37652"/>
                  <a:pt x="3676849" y="41166"/>
                  <a:pt x="3676450" y="45577"/>
                </a:cubicBezTo>
                <a:lnTo>
                  <a:pt x="3705682" y="45577"/>
                </a:lnTo>
                <a:cubicBezTo>
                  <a:pt x="3705440" y="40983"/>
                  <a:pt x="3704091" y="37416"/>
                  <a:pt x="3701635" y="34877"/>
                </a:cubicBezTo>
                <a:cubicBezTo>
                  <a:pt x="3699179" y="32339"/>
                  <a:pt x="3695813" y="31051"/>
                  <a:pt x="3691537" y="31014"/>
                </a:cubicBezTo>
                <a:close/>
                <a:moveTo>
                  <a:pt x="2519963" y="31014"/>
                </a:moveTo>
                <a:cubicBezTo>
                  <a:pt x="2515529" y="31077"/>
                  <a:pt x="2512006" y="32417"/>
                  <a:pt x="2509393" y="35034"/>
                </a:cubicBezTo>
                <a:cubicBezTo>
                  <a:pt x="2506780" y="37652"/>
                  <a:pt x="2505274" y="41166"/>
                  <a:pt x="2504875" y="45577"/>
                </a:cubicBezTo>
                <a:lnTo>
                  <a:pt x="2534107" y="45577"/>
                </a:lnTo>
                <a:cubicBezTo>
                  <a:pt x="2533865" y="40983"/>
                  <a:pt x="2532516" y="37416"/>
                  <a:pt x="2530060" y="34877"/>
                </a:cubicBezTo>
                <a:cubicBezTo>
                  <a:pt x="2527605" y="32339"/>
                  <a:pt x="2524238" y="31051"/>
                  <a:pt x="2519963" y="31014"/>
                </a:cubicBezTo>
                <a:close/>
                <a:moveTo>
                  <a:pt x="2043712" y="31014"/>
                </a:moveTo>
                <a:cubicBezTo>
                  <a:pt x="2039279" y="31077"/>
                  <a:pt x="2035756" y="32417"/>
                  <a:pt x="2033143" y="35034"/>
                </a:cubicBezTo>
                <a:cubicBezTo>
                  <a:pt x="2030530" y="37652"/>
                  <a:pt x="2029024" y="41166"/>
                  <a:pt x="2028625" y="45577"/>
                </a:cubicBezTo>
                <a:lnTo>
                  <a:pt x="2057857" y="45577"/>
                </a:lnTo>
                <a:cubicBezTo>
                  <a:pt x="2057615" y="40983"/>
                  <a:pt x="2056266" y="37416"/>
                  <a:pt x="2053810" y="34877"/>
                </a:cubicBezTo>
                <a:cubicBezTo>
                  <a:pt x="2051354" y="32339"/>
                  <a:pt x="2047989" y="31051"/>
                  <a:pt x="2043712" y="31014"/>
                </a:cubicBezTo>
                <a:close/>
                <a:moveTo>
                  <a:pt x="1691287" y="31014"/>
                </a:moveTo>
                <a:cubicBezTo>
                  <a:pt x="1686854" y="31077"/>
                  <a:pt x="1683331" y="32417"/>
                  <a:pt x="1680718" y="35034"/>
                </a:cubicBezTo>
                <a:cubicBezTo>
                  <a:pt x="1678105" y="37652"/>
                  <a:pt x="1676599" y="41166"/>
                  <a:pt x="1676200" y="45577"/>
                </a:cubicBezTo>
                <a:lnTo>
                  <a:pt x="1705432" y="45577"/>
                </a:lnTo>
                <a:cubicBezTo>
                  <a:pt x="1705190" y="40983"/>
                  <a:pt x="1703841" y="37416"/>
                  <a:pt x="1701385" y="34877"/>
                </a:cubicBezTo>
                <a:cubicBezTo>
                  <a:pt x="1698929" y="32339"/>
                  <a:pt x="1695564" y="31051"/>
                  <a:pt x="1691287" y="31014"/>
                </a:cubicBezTo>
                <a:close/>
                <a:moveTo>
                  <a:pt x="976912" y="31014"/>
                </a:moveTo>
                <a:cubicBezTo>
                  <a:pt x="972479" y="31077"/>
                  <a:pt x="968956" y="32417"/>
                  <a:pt x="966343" y="35034"/>
                </a:cubicBezTo>
                <a:cubicBezTo>
                  <a:pt x="963730" y="37652"/>
                  <a:pt x="962224" y="41166"/>
                  <a:pt x="961825" y="45577"/>
                </a:cubicBezTo>
                <a:lnTo>
                  <a:pt x="991057" y="45577"/>
                </a:lnTo>
                <a:cubicBezTo>
                  <a:pt x="990815" y="40983"/>
                  <a:pt x="989465" y="37416"/>
                  <a:pt x="987010" y="34877"/>
                </a:cubicBezTo>
                <a:cubicBezTo>
                  <a:pt x="984554" y="32339"/>
                  <a:pt x="981188" y="31051"/>
                  <a:pt x="976912" y="31014"/>
                </a:cubicBezTo>
                <a:close/>
                <a:moveTo>
                  <a:pt x="747788" y="28185"/>
                </a:moveTo>
                <a:lnTo>
                  <a:pt x="758266" y="28185"/>
                </a:lnTo>
                <a:lnTo>
                  <a:pt x="776497" y="49978"/>
                </a:lnTo>
                <a:lnTo>
                  <a:pt x="758266" y="71771"/>
                </a:lnTo>
                <a:lnTo>
                  <a:pt x="747788" y="71771"/>
                </a:lnTo>
                <a:lnTo>
                  <a:pt x="765705" y="49978"/>
                </a:lnTo>
                <a:close/>
                <a:moveTo>
                  <a:pt x="724214" y="28185"/>
                </a:moveTo>
                <a:lnTo>
                  <a:pt x="734691" y="28185"/>
                </a:lnTo>
                <a:lnTo>
                  <a:pt x="752922" y="49978"/>
                </a:lnTo>
                <a:lnTo>
                  <a:pt x="734691" y="71771"/>
                </a:lnTo>
                <a:lnTo>
                  <a:pt x="724214" y="71771"/>
                </a:lnTo>
                <a:lnTo>
                  <a:pt x="742131" y="49978"/>
                </a:lnTo>
                <a:close/>
                <a:moveTo>
                  <a:pt x="585044" y="28185"/>
                </a:moveTo>
                <a:lnTo>
                  <a:pt x="595522" y="28185"/>
                </a:lnTo>
                <a:lnTo>
                  <a:pt x="577605" y="49978"/>
                </a:lnTo>
                <a:lnTo>
                  <a:pt x="595522" y="71771"/>
                </a:lnTo>
                <a:lnTo>
                  <a:pt x="585044" y="71771"/>
                </a:lnTo>
                <a:lnTo>
                  <a:pt x="566813" y="49978"/>
                </a:lnTo>
                <a:close/>
                <a:moveTo>
                  <a:pt x="561470" y="28185"/>
                </a:moveTo>
                <a:lnTo>
                  <a:pt x="571947" y="28185"/>
                </a:lnTo>
                <a:lnTo>
                  <a:pt x="554031" y="49978"/>
                </a:lnTo>
                <a:lnTo>
                  <a:pt x="571947" y="71771"/>
                </a:lnTo>
                <a:lnTo>
                  <a:pt x="561470" y="71771"/>
                </a:lnTo>
                <a:lnTo>
                  <a:pt x="543239" y="49978"/>
                </a:lnTo>
                <a:close/>
                <a:moveTo>
                  <a:pt x="4784483" y="24098"/>
                </a:moveTo>
                <a:lnTo>
                  <a:pt x="4806905" y="24098"/>
                </a:lnTo>
                <a:cubicBezTo>
                  <a:pt x="4812500" y="24195"/>
                  <a:pt x="4816660" y="25522"/>
                  <a:pt x="4819387" y="28080"/>
                </a:cubicBezTo>
                <a:cubicBezTo>
                  <a:pt x="4822113" y="30638"/>
                  <a:pt x="4823471" y="33851"/>
                  <a:pt x="4823460" y="37719"/>
                </a:cubicBezTo>
                <a:cubicBezTo>
                  <a:pt x="4823388" y="40810"/>
                  <a:pt x="4822667" y="43298"/>
                  <a:pt x="4821299" y="45184"/>
                </a:cubicBezTo>
                <a:cubicBezTo>
                  <a:pt x="4819930" y="47070"/>
                  <a:pt x="4818346" y="48354"/>
                  <a:pt x="4816545" y="49035"/>
                </a:cubicBezTo>
                <a:cubicBezTo>
                  <a:pt x="4818991" y="49664"/>
                  <a:pt x="4821118" y="51052"/>
                  <a:pt x="4822923" y="53200"/>
                </a:cubicBezTo>
                <a:cubicBezTo>
                  <a:pt x="4824728" y="55348"/>
                  <a:pt x="4825675" y="58255"/>
                  <a:pt x="4825765" y="61922"/>
                </a:cubicBezTo>
                <a:cubicBezTo>
                  <a:pt x="4825739" y="66259"/>
                  <a:pt x="4824219" y="69817"/>
                  <a:pt x="4821207" y="72596"/>
                </a:cubicBezTo>
                <a:cubicBezTo>
                  <a:pt x="4818195" y="75375"/>
                  <a:pt x="4813847" y="76811"/>
                  <a:pt x="4808163" y="76905"/>
                </a:cubicBezTo>
                <a:lnTo>
                  <a:pt x="4784483" y="76905"/>
                </a:lnTo>
                <a:close/>
                <a:moveTo>
                  <a:pt x="4670183" y="24098"/>
                </a:moveTo>
                <a:lnTo>
                  <a:pt x="4679194" y="24098"/>
                </a:lnTo>
                <a:lnTo>
                  <a:pt x="4679194" y="68733"/>
                </a:lnTo>
                <a:lnTo>
                  <a:pt x="4704654" y="68733"/>
                </a:lnTo>
                <a:lnTo>
                  <a:pt x="4704654" y="24098"/>
                </a:lnTo>
                <a:lnTo>
                  <a:pt x="4713665" y="24098"/>
                </a:lnTo>
                <a:lnTo>
                  <a:pt x="4713665" y="68733"/>
                </a:lnTo>
                <a:lnTo>
                  <a:pt x="4721418" y="68733"/>
                </a:lnTo>
                <a:lnTo>
                  <a:pt x="4721418" y="90316"/>
                </a:lnTo>
                <a:lnTo>
                  <a:pt x="4712722" y="90316"/>
                </a:lnTo>
                <a:lnTo>
                  <a:pt x="4712722" y="76905"/>
                </a:lnTo>
                <a:lnTo>
                  <a:pt x="4670183" y="76905"/>
                </a:lnTo>
                <a:close/>
                <a:moveTo>
                  <a:pt x="4622558" y="24098"/>
                </a:moveTo>
                <a:lnTo>
                  <a:pt x="4631569" y="24098"/>
                </a:lnTo>
                <a:lnTo>
                  <a:pt x="4631569" y="41177"/>
                </a:lnTo>
                <a:lnTo>
                  <a:pt x="4643408" y="41177"/>
                </a:lnTo>
                <a:cubicBezTo>
                  <a:pt x="4649086" y="41273"/>
                  <a:pt x="4653578" y="42941"/>
                  <a:pt x="4656885" y="46180"/>
                </a:cubicBezTo>
                <a:cubicBezTo>
                  <a:pt x="4660192" y="49419"/>
                  <a:pt x="4661882" y="53654"/>
                  <a:pt x="4661954" y="58884"/>
                </a:cubicBezTo>
                <a:cubicBezTo>
                  <a:pt x="4661884" y="64127"/>
                  <a:pt x="4660190" y="68414"/>
                  <a:pt x="4656872" y="71745"/>
                </a:cubicBezTo>
                <a:cubicBezTo>
                  <a:pt x="4653555" y="75076"/>
                  <a:pt x="4649032" y="76796"/>
                  <a:pt x="4643304" y="76905"/>
                </a:cubicBezTo>
                <a:lnTo>
                  <a:pt x="4622558" y="76905"/>
                </a:lnTo>
                <a:close/>
                <a:moveTo>
                  <a:pt x="4572533" y="24098"/>
                </a:moveTo>
                <a:lnTo>
                  <a:pt x="4608995" y="24098"/>
                </a:lnTo>
                <a:lnTo>
                  <a:pt x="4608995" y="76905"/>
                </a:lnTo>
                <a:lnTo>
                  <a:pt x="4599984" y="76905"/>
                </a:lnTo>
                <a:lnTo>
                  <a:pt x="4599984" y="32166"/>
                </a:lnTo>
                <a:lnTo>
                  <a:pt x="4580601" y="32166"/>
                </a:lnTo>
                <a:lnTo>
                  <a:pt x="4578505" y="57103"/>
                </a:lnTo>
                <a:cubicBezTo>
                  <a:pt x="4577973" y="64216"/>
                  <a:pt x="4576366" y="69346"/>
                  <a:pt x="4573686" y="72491"/>
                </a:cubicBezTo>
                <a:cubicBezTo>
                  <a:pt x="4571005" y="75637"/>
                  <a:pt x="4566989" y="77178"/>
                  <a:pt x="4561637" y="77115"/>
                </a:cubicBezTo>
                <a:lnTo>
                  <a:pt x="4559122" y="77115"/>
                </a:lnTo>
                <a:lnTo>
                  <a:pt x="4559122" y="68942"/>
                </a:lnTo>
                <a:lnTo>
                  <a:pt x="4560589" y="68942"/>
                </a:lnTo>
                <a:cubicBezTo>
                  <a:pt x="4563815" y="68992"/>
                  <a:pt x="4566085" y="68054"/>
                  <a:pt x="4567399" y="66126"/>
                </a:cubicBezTo>
                <a:cubicBezTo>
                  <a:pt x="4568713" y="64199"/>
                  <a:pt x="4569516" y="60981"/>
                  <a:pt x="4569809" y="56474"/>
                </a:cubicBezTo>
                <a:close/>
                <a:moveTo>
                  <a:pt x="4457709" y="24098"/>
                </a:moveTo>
                <a:lnTo>
                  <a:pt x="4495638" y="24098"/>
                </a:lnTo>
                <a:lnTo>
                  <a:pt x="4495638" y="68733"/>
                </a:lnTo>
                <a:lnTo>
                  <a:pt x="4503391" y="68733"/>
                </a:lnTo>
                <a:lnTo>
                  <a:pt x="4503391" y="90316"/>
                </a:lnTo>
                <a:lnTo>
                  <a:pt x="4494695" y="90316"/>
                </a:lnTo>
                <a:lnTo>
                  <a:pt x="4494695" y="76905"/>
                </a:lnTo>
                <a:lnTo>
                  <a:pt x="4453518" y="76905"/>
                </a:lnTo>
                <a:lnTo>
                  <a:pt x="4453518" y="90316"/>
                </a:lnTo>
                <a:lnTo>
                  <a:pt x="4444822" y="90316"/>
                </a:lnTo>
                <a:lnTo>
                  <a:pt x="4444822" y="68733"/>
                </a:lnTo>
                <a:lnTo>
                  <a:pt x="4449327" y="68733"/>
                </a:lnTo>
                <a:cubicBezTo>
                  <a:pt x="4451056" y="67624"/>
                  <a:pt x="4452444" y="65467"/>
                  <a:pt x="4453492" y="62263"/>
                </a:cubicBezTo>
                <a:cubicBezTo>
                  <a:pt x="4454540" y="59058"/>
                  <a:pt x="4455247" y="55173"/>
                  <a:pt x="4455614" y="50607"/>
                </a:cubicBezTo>
                <a:close/>
                <a:moveTo>
                  <a:pt x="4343933" y="24098"/>
                </a:moveTo>
                <a:lnTo>
                  <a:pt x="4380395" y="24098"/>
                </a:lnTo>
                <a:lnTo>
                  <a:pt x="4380395" y="76905"/>
                </a:lnTo>
                <a:lnTo>
                  <a:pt x="4371384" y="76905"/>
                </a:lnTo>
                <a:lnTo>
                  <a:pt x="4371384" y="32166"/>
                </a:lnTo>
                <a:lnTo>
                  <a:pt x="4352001" y="32166"/>
                </a:lnTo>
                <a:lnTo>
                  <a:pt x="4349905" y="57103"/>
                </a:lnTo>
                <a:cubicBezTo>
                  <a:pt x="4349373" y="64216"/>
                  <a:pt x="4347766" y="69346"/>
                  <a:pt x="4345086" y="72491"/>
                </a:cubicBezTo>
                <a:cubicBezTo>
                  <a:pt x="4342405" y="75637"/>
                  <a:pt x="4338389" y="77178"/>
                  <a:pt x="4333037" y="77115"/>
                </a:cubicBezTo>
                <a:lnTo>
                  <a:pt x="4330522" y="77115"/>
                </a:lnTo>
                <a:lnTo>
                  <a:pt x="4330522" y="68942"/>
                </a:lnTo>
                <a:lnTo>
                  <a:pt x="4331989" y="68942"/>
                </a:lnTo>
                <a:cubicBezTo>
                  <a:pt x="4335215" y="68992"/>
                  <a:pt x="4337485" y="68054"/>
                  <a:pt x="4338799" y="66126"/>
                </a:cubicBezTo>
                <a:cubicBezTo>
                  <a:pt x="4340113" y="64199"/>
                  <a:pt x="4340916" y="60981"/>
                  <a:pt x="4341209" y="56474"/>
                </a:cubicBezTo>
                <a:close/>
                <a:moveTo>
                  <a:pt x="4279658" y="24098"/>
                </a:moveTo>
                <a:lnTo>
                  <a:pt x="4302080" y="24098"/>
                </a:lnTo>
                <a:cubicBezTo>
                  <a:pt x="4307675" y="24195"/>
                  <a:pt x="4311835" y="25522"/>
                  <a:pt x="4314562" y="28080"/>
                </a:cubicBezTo>
                <a:cubicBezTo>
                  <a:pt x="4317288" y="30638"/>
                  <a:pt x="4318646" y="33851"/>
                  <a:pt x="4318635" y="37719"/>
                </a:cubicBezTo>
                <a:cubicBezTo>
                  <a:pt x="4318563" y="40810"/>
                  <a:pt x="4317842" y="43298"/>
                  <a:pt x="4316474" y="45184"/>
                </a:cubicBezTo>
                <a:cubicBezTo>
                  <a:pt x="4315105" y="47070"/>
                  <a:pt x="4313520" y="48354"/>
                  <a:pt x="4311720" y="49035"/>
                </a:cubicBezTo>
                <a:cubicBezTo>
                  <a:pt x="4314166" y="49664"/>
                  <a:pt x="4316293" y="51052"/>
                  <a:pt x="4318098" y="53200"/>
                </a:cubicBezTo>
                <a:cubicBezTo>
                  <a:pt x="4319903" y="55348"/>
                  <a:pt x="4320850" y="58255"/>
                  <a:pt x="4320940" y="61922"/>
                </a:cubicBezTo>
                <a:cubicBezTo>
                  <a:pt x="4320914" y="66259"/>
                  <a:pt x="4319394" y="69817"/>
                  <a:pt x="4316382" y="72596"/>
                </a:cubicBezTo>
                <a:cubicBezTo>
                  <a:pt x="4313370" y="75375"/>
                  <a:pt x="4309022" y="76811"/>
                  <a:pt x="4303338" y="76905"/>
                </a:cubicBezTo>
                <a:lnTo>
                  <a:pt x="4279658" y="76905"/>
                </a:lnTo>
                <a:close/>
                <a:moveTo>
                  <a:pt x="4198429" y="24098"/>
                </a:moveTo>
                <a:lnTo>
                  <a:pt x="4209011" y="24098"/>
                </a:lnTo>
                <a:lnTo>
                  <a:pt x="4222947" y="44320"/>
                </a:lnTo>
                <a:lnTo>
                  <a:pt x="4236567" y="24098"/>
                </a:lnTo>
                <a:lnTo>
                  <a:pt x="4246940" y="24098"/>
                </a:lnTo>
                <a:lnTo>
                  <a:pt x="4228395" y="50711"/>
                </a:lnTo>
                <a:lnTo>
                  <a:pt x="4247149" y="76905"/>
                </a:lnTo>
                <a:lnTo>
                  <a:pt x="4236567" y="76905"/>
                </a:lnTo>
                <a:lnTo>
                  <a:pt x="4222527" y="56893"/>
                </a:lnTo>
                <a:lnTo>
                  <a:pt x="4208592" y="76905"/>
                </a:lnTo>
                <a:lnTo>
                  <a:pt x="4198220" y="76905"/>
                </a:lnTo>
                <a:lnTo>
                  <a:pt x="4216974" y="50502"/>
                </a:lnTo>
                <a:close/>
                <a:moveTo>
                  <a:pt x="4146308" y="24098"/>
                </a:moveTo>
                <a:lnTo>
                  <a:pt x="4155214" y="24098"/>
                </a:lnTo>
                <a:lnTo>
                  <a:pt x="4155214" y="62970"/>
                </a:lnTo>
                <a:lnTo>
                  <a:pt x="4182141" y="24098"/>
                </a:lnTo>
                <a:lnTo>
                  <a:pt x="4191047" y="24098"/>
                </a:lnTo>
                <a:lnTo>
                  <a:pt x="4191047" y="76905"/>
                </a:lnTo>
                <a:lnTo>
                  <a:pt x="4182141" y="76905"/>
                </a:lnTo>
                <a:lnTo>
                  <a:pt x="4182141" y="38034"/>
                </a:lnTo>
                <a:lnTo>
                  <a:pt x="4155214" y="76905"/>
                </a:lnTo>
                <a:lnTo>
                  <a:pt x="4146308" y="76905"/>
                </a:lnTo>
                <a:close/>
                <a:moveTo>
                  <a:pt x="3993908" y="24098"/>
                </a:moveTo>
                <a:lnTo>
                  <a:pt x="4002919" y="24098"/>
                </a:lnTo>
                <a:lnTo>
                  <a:pt x="4002919" y="41177"/>
                </a:lnTo>
                <a:lnTo>
                  <a:pt x="4014758" y="41177"/>
                </a:lnTo>
                <a:cubicBezTo>
                  <a:pt x="4020436" y="41273"/>
                  <a:pt x="4024928" y="42941"/>
                  <a:pt x="4028235" y="46180"/>
                </a:cubicBezTo>
                <a:cubicBezTo>
                  <a:pt x="4031542" y="49419"/>
                  <a:pt x="4033232" y="53654"/>
                  <a:pt x="4033304" y="58884"/>
                </a:cubicBezTo>
                <a:cubicBezTo>
                  <a:pt x="4033234" y="64127"/>
                  <a:pt x="4031540" y="68414"/>
                  <a:pt x="4028222" y="71745"/>
                </a:cubicBezTo>
                <a:cubicBezTo>
                  <a:pt x="4024904" y="75076"/>
                  <a:pt x="4020381" y="76796"/>
                  <a:pt x="4014654" y="76905"/>
                </a:cubicBezTo>
                <a:lnTo>
                  <a:pt x="3993908" y="76905"/>
                </a:lnTo>
                <a:close/>
                <a:moveTo>
                  <a:pt x="3941778" y="24098"/>
                </a:moveTo>
                <a:lnTo>
                  <a:pt x="3986307" y="24098"/>
                </a:lnTo>
                <a:lnTo>
                  <a:pt x="3986307" y="32166"/>
                </a:lnTo>
                <a:lnTo>
                  <a:pt x="3968496" y="32166"/>
                </a:lnTo>
                <a:lnTo>
                  <a:pt x="3968496" y="76905"/>
                </a:lnTo>
                <a:lnTo>
                  <a:pt x="3959485" y="76905"/>
                </a:lnTo>
                <a:lnTo>
                  <a:pt x="3959485" y="32166"/>
                </a:lnTo>
                <a:lnTo>
                  <a:pt x="3941778" y="32166"/>
                </a:lnTo>
                <a:close/>
                <a:moveTo>
                  <a:pt x="3774833" y="24098"/>
                </a:moveTo>
                <a:lnTo>
                  <a:pt x="3783844" y="24098"/>
                </a:lnTo>
                <a:lnTo>
                  <a:pt x="3783844" y="45368"/>
                </a:lnTo>
                <a:lnTo>
                  <a:pt x="3809933" y="45368"/>
                </a:lnTo>
                <a:lnTo>
                  <a:pt x="3809933" y="24098"/>
                </a:lnTo>
                <a:lnTo>
                  <a:pt x="3818943" y="24098"/>
                </a:lnTo>
                <a:lnTo>
                  <a:pt x="3818943" y="76905"/>
                </a:lnTo>
                <a:lnTo>
                  <a:pt x="3809933" y="76905"/>
                </a:lnTo>
                <a:lnTo>
                  <a:pt x="3809933" y="53540"/>
                </a:lnTo>
                <a:lnTo>
                  <a:pt x="3783844" y="53540"/>
                </a:lnTo>
                <a:lnTo>
                  <a:pt x="3783844" y="76905"/>
                </a:lnTo>
                <a:lnTo>
                  <a:pt x="3774833" y="76905"/>
                </a:lnTo>
                <a:close/>
                <a:moveTo>
                  <a:pt x="3717683" y="24098"/>
                </a:moveTo>
                <a:lnTo>
                  <a:pt x="3726694" y="24098"/>
                </a:lnTo>
                <a:lnTo>
                  <a:pt x="3726694" y="45368"/>
                </a:lnTo>
                <a:lnTo>
                  <a:pt x="3752783" y="45368"/>
                </a:lnTo>
                <a:lnTo>
                  <a:pt x="3752783" y="24098"/>
                </a:lnTo>
                <a:lnTo>
                  <a:pt x="3761793" y="24098"/>
                </a:lnTo>
                <a:lnTo>
                  <a:pt x="3761793" y="76905"/>
                </a:lnTo>
                <a:lnTo>
                  <a:pt x="3752783" y="76905"/>
                </a:lnTo>
                <a:lnTo>
                  <a:pt x="3752783" y="53540"/>
                </a:lnTo>
                <a:lnTo>
                  <a:pt x="3726694" y="53540"/>
                </a:lnTo>
                <a:lnTo>
                  <a:pt x="3726694" y="76905"/>
                </a:lnTo>
                <a:lnTo>
                  <a:pt x="3717683" y="76905"/>
                </a:lnTo>
                <a:close/>
                <a:moveTo>
                  <a:pt x="3612908" y="24098"/>
                </a:moveTo>
                <a:lnTo>
                  <a:pt x="3635330" y="24098"/>
                </a:lnTo>
                <a:cubicBezTo>
                  <a:pt x="3640925" y="24195"/>
                  <a:pt x="3645085" y="25522"/>
                  <a:pt x="3647812" y="28080"/>
                </a:cubicBezTo>
                <a:cubicBezTo>
                  <a:pt x="3650538" y="30638"/>
                  <a:pt x="3651896" y="33851"/>
                  <a:pt x="3651884" y="37719"/>
                </a:cubicBezTo>
                <a:cubicBezTo>
                  <a:pt x="3651813" y="40810"/>
                  <a:pt x="3651092" y="43298"/>
                  <a:pt x="3649724" y="45184"/>
                </a:cubicBezTo>
                <a:cubicBezTo>
                  <a:pt x="3648355" y="47070"/>
                  <a:pt x="3646770" y="48354"/>
                  <a:pt x="3644969" y="49035"/>
                </a:cubicBezTo>
                <a:cubicBezTo>
                  <a:pt x="3647417" y="49664"/>
                  <a:pt x="3649542" y="51052"/>
                  <a:pt x="3651348" y="53200"/>
                </a:cubicBezTo>
                <a:cubicBezTo>
                  <a:pt x="3653153" y="55348"/>
                  <a:pt x="3654100" y="58255"/>
                  <a:pt x="3654190" y="61922"/>
                </a:cubicBezTo>
                <a:cubicBezTo>
                  <a:pt x="3654164" y="66259"/>
                  <a:pt x="3652644" y="69817"/>
                  <a:pt x="3649632" y="72596"/>
                </a:cubicBezTo>
                <a:cubicBezTo>
                  <a:pt x="3646620" y="75375"/>
                  <a:pt x="3642271" y="76811"/>
                  <a:pt x="3636588" y="76905"/>
                </a:cubicBezTo>
                <a:lnTo>
                  <a:pt x="3612908" y="76905"/>
                </a:lnTo>
                <a:close/>
                <a:moveTo>
                  <a:pt x="3560778" y="24098"/>
                </a:moveTo>
                <a:lnTo>
                  <a:pt x="3605308" y="24098"/>
                </a:lnTo>
                <a:lnTo>
                  <a:pt x="3605308" y="32166"/>
                </a:lnTo>
                <a:lnTo>
                  <a:pt x="3587496" y="32166"/>
                </a:lnTo>
                <a:lnTo>
                  <a:pt x="3587496" y="76905"/>
                </a:lnTo>
                <a:lnTo>
                  <a:pt x="3578485" y="76905"/>
                </a:lnTo>
                <a:lnTo>
                  <a:pt x="3578485" y="32166"/>
                </a:lnTo>
                <a:lnTo>
                  <a:pt x="3560778" y="32166"/>
                </a:lnTo>
                <a:close/>
                <a:moveTo>
                  <a:pt x="3276828" y="24098"/>
                </a:moveTo>
                <a:lnTo>
                  <a:pt x="3297783" y="24098"/>
                </a:lnTo>
                <a:lnTo>
                  <a:pt x="3297783" y="76905"/>
                </a:lnTo>
                <a:lnTo>
                  <a:pt x="3288772" y="76905"/>
                </a:lnTo>
                <a:lnTo>
                  <a:pt x="3288772" y="58989"/>
                </a:lnTo>
                <a:lnTo>
                  <a:pt x="3279343" y="58989"/>
                </a:lnTo>
                <a:lnTo>
                  <a:pt x="3265722" y="76905"/>
                </a:lnTo>
                <a:lnTo>
                  <a:pt x="3255245" y="76905"/>
                </a:lnTo>
                <a:lnTo>
                  <a:pt x="3269808" y="57836"/>
                </a:lnTo>
                <a:cubicBezTo>
                  <a:pt x="3266115" y="56572"/>
                  <a:pt x="3263260" y="54490"/>
                  <a:pt x="3261243" y="51589"/>
                </a:cubicBezTo>
                <a:cubicBezTo>
                  <a:pt x="3259226" y="48688"/>
                  <a:pt x="3258205" y="45322"/>
                  <a:pt x="3258179" y="41491"/>
                </a:cubicBezTo>
                <a:cubicBezTo>
                  <a:pt x="3258209" y="36549"/>
                  <a:pt x="3259824" y="32446"/>
                  <a:pt x="3263024" y="29180"/>
                </a:cubicBezTo>
                <a:cubicBezTo>
                  <a:pt x="3266224" y="25915"/>
                  <a:pt x="3270825" y="24221"/>
                  <a:pt x="3276828" y="24098"/>
                </a:cubicBezTo>
                <a:close/>
                <a:moveTo>
                  <a:pt x="3160728" y="24098"/>
                </a:moveTo>
                <a:lnTo>
                  <a:pt x="3205257" y="24098"/>
                </a:lnTo>
                <a:lnTo>
                  <a:pt x="3205257" y="32166"/>
                </a:lnTo>
                <a:lnTo>
                  <a:pt x="3187446" y="32166"/>
                </a:lnTo>
                <a:lnTo>
                  <a:pt x="3187446" y="76905"/>
                </a:lnTo>
                <a:lnTo>
                  <a:pt x="3178435" y="76905"/>
                </a:lnTo>
                <a:lnTo>
                  <a:pt x="3178435" y="32166"/>
                </a:lnTo>
                <a:lnTo>
                  <a:pt x="3160728" y="32166"/>
                </a:lnTo>
                <a:close/>
                <a:moveTo>
                  <a:pt x="3048228" y="24098"/>
                </a:moveTo>
                <a:lnTo>
                  <a:pt x="3069183" y="24098"/>
                </a:lnTo>
                <a:lnTo>
                  <a:pt x="3069183" y="76905"/>
                </a:lnTo>
                <a:lnTo>
                  <a:pt x="3060173" y="76905"/>
                </a:lnTo>
                <a:lnTo>
                  <a:pt x="3060173" y="58989"/>
                </a:lnTo>
                <a:lnTo>
                  <a:pt x="3050743" y="58989"/>
                </a:lnTo>
                <a:lnTo>
                  <a:pt x="3037122" y="76905"/>
                </a:lnTo>
                <a:lnTo>
                  <a:pt x="3026644" y="76905"/>
                </a:lnTo>
                <a:lnTo>
                  <a:pt x="3041208" y="57836"/>
                </a:lnTo>
                <a:cubicBezTo>
                  <a:pt x="3037515" y="56572"/>
                  <a:pt x="3034660" y="54490"/>
                  <a:pt x="3032643" y="51589"/>
                </a:cubicBezTo>
                <a:cubicBezTo>
                  <a:pt x="3030626" y="48688"/>
                  <a:pt x="3029604" y="45322"/>
                  <a:pt x="3029578" y="41491"/>
                </a:cubicBezTo>
                <a:cubicBezTo>
                  <a:pt x="3029609" y="36549"/>
                  <a:pt x="3031224" y="32446"/>
                  <a:pt x="3034424" y="29180"/>
                </a:cubicBezTo>
                <a:cubicBezTo>
                  <a:pt x="3037625" y="25915"/>
                  <a:pt x="3042225" y="24221"/>
                  <a:pt x="3048228" y="24098"/>
                </a:cubicBezTo>
                <a:close/>
                <a:moveTo>
                  <a:pt x="2981858" y="24098"/>
                </a:moveTo>
                <a:lnTo>
                  <a:pt x="3018320" y="24098"/>
                </a:lnTo>
                <a:lnTo>
                  <a:pt x="3018320" y="76905"/>
                </a:lnTo>
                <a:lnTo>
                  <a:pt x="3009309" y="76905"/>
                </a:lnTo>
                <a:lnTo>
                  <a:pt x="3009309" y="32166"/>
                </a:lnTo>
                <a:lnTo>
                  <a:pt x="2989926" y="32166"/>
                </a:lnTo>
                <a:lnTo>
                  <a:pt x="2987830" y="57103"/>
                </a:lnTo>
                <a:cubicBezTo>
                  <a:pt x="2987298" y="64216"/>
                  <a:pt x="2985691" y="69346"/>
                  <a:pt x="2983011" y="72491"/>
                </a:cubicBezTo>
                <a:cubicBezTo>
                  <a:pt x="2980330" y="75637"/>
                  <a:pt x="2976314" y="77178"/>
                  <a:pt x="2970962" y="77115"/>
                </a:cubicBezTo>
                <a:lnTo>
                  <a:pt x="2968447" y="77115"/>
                </a:lnTo>
                <a:lnTo>
                  <a:pt x="2968447" y="68942"/>
                </a:lnTo>
                <a:lnTo>
                  <a:pt x="2969914" y="68942"/>
                </a:lnTo>
                <a:cubicBezTo>
                  <a:pt x="2973140" y="68992"/>
                  <a:pt x="2975410" y="68054"/>
                  <a:pt x="2976724" y="66126"/>
                </a:cubicBezTo>
                <a:cubicBezTo>
                  <a:pt x="2978038" y="64199"/>
                  <a:pt x="2978842" y="60981"/>
                  <a:pt x="2979134" y="56474"/>
                </a:cubicBezTo>
                <a:close/>
                <a:moveTo>
                  <a:pt x="2917584" y="24098"/>
                </a:moveTo>
                <a:lnTo>
                  <a:pt x="2940005" y="24098"/>
                </a:lnTo>
                <a:cubicBezTo>
                  <a:pt x="2945600" y="24195"/>
                  <a:pt x="2949760" y="25522"/>
                  <a:pt x="2952486" y="28080"/>
                </a:cubicBezTo>
                <a:cubicBezTo>
                  <a:pt x="2955213" y="30638"/>
                  <a:pt x="2956571" y="33851"/>
                  <a:pt x="2956560" y="37719"/>
                </a:cubicBezTo>
                <a:cubicBezTo>
                  <a:pt x="2956487" y="40810"/>
                  <a:pt x="2955767" y="43298"/>
                  <a:pt x="2954399" y="45184"/>
                </a:cubicBezTo>
                <a:cubicBezTo>
                  <a:pt x="2953030" y="47070"/>
                  <a:pt x="2951445" y="48354"/>
                  <a:pt x="2949644" y="49035"/>
                </a:cubicBezTo>
                <a:cubicBezTo>
                  <a:pt x="2952091" y="49664"/>
                  <a:pt x="2954217" y="51052"/>
                  <a:pt x="2956023" y="53200"/>
                </a:cubicBezTo>
                <a:cubicBezTo>
                  <a:pt x="2957828" y="55348"/>
                  <a:pt x="2958775" y="58255"/>
                  <a:pt x="2958865" y="61922"/>
                </a:cubicBezTo>
                <a:cubicBezTo>
                  <a:pt x="2958839" y="66259"/>
                  <a:pt x="2957320" y="69817"/>
                  <a:pt x="2954307" y="72596"/>
                </a:cubicBezTo>
                <a:cubicBezTo>
                  <a:pt x="2951295" y="75375"/>
                  <a:pt x="2946947" y="76811"/>
                  <a:pt x="2941263" y="76905"/>
                </a:cubicBezTo>
                <a:lnTo>
                  <a:pt x="2917584" y="76905"/>
                </a:lnTo>
                <a:close/>
                <a:moveTo>
                  <a:pt x="2886304" y="24098"/>
                </a:moveTo>
                <a:lnTo>
                  <a:pt x="2907258" y="24098"/>
                </a:lnTo>
                <a:lnTo>
                  <a:pt x="2907258" y="76905"/>
                </a:lnTo>
                <a:lnTo>
                  <a:pt x="2898248" y="76905"/>
                </a:lnTo>
                <a:lnTo>
                  <a:pt x="2898248" y="58989"/>
                </a:lnTo>
                <a:lnTo>
                  <a:pt x="2888818" y="58989"/>
                </a:lnTo>
                <a:lnTo>
                  <a:pt x="2875197" y="76905"/>
                </a:lnTo>
                <a:lnTo>
                  <a:pt x="2864720" y="76905"/>
                </a:lnTo>
                <a:lnTo>
                  <a:pt x="2879283" y="57836"/>
                </a:lnTo>
                <a:cubicBezTo>
                  <a:pt x="2875590" y="56572"/>
                  <a:pt x="2872735" y="54490"/>
                  <a:pt x="2870718" y="51589"/>
                </a:cubicBezTo>
                <a:cubicBezTo>
                  <a:pt x="2868701" y="48688"/>
                  <a:pt x="2867680" y="45322"/>
                  <a:pt x="2867654" y="41491"/>
                </a:cubicBezTo>
                <a:cubicBezTo>
                  <a:pt x="2867684" y="36549"/>
                  <a:pt x="2869299" y="32446"/>
                  <a:pt x="2872499" y="29180"/>
                </a:cubicBezTo>
                <a:cubicBezTo>
                  <a:pt x="2875699" y="25915"/>
                  <a:pt x="2880300" y="24221"/>
                  <a:pt x="2886304" y="24098"/>
                </a:cubicBezTo>
                <a:close/>
                <a:moveTo>
                  <a:pt x="2793759" y="24098"/>
                </a:moveTo>
                <a:lnTo>
                  <a:pt x="2802664" y="24098"/>
                </a:lnTo>
                <a:lnTo>
                  <a:pt x="2802664" y="62970"/>
                </a:lnTo>
                <a:lnTo>
                  <a:pt x="2829591" y="24098"/>
                </a:lnTo>
                <a:lnTo>
                  <a:pt x="2838497" y="24098"/>
                </a:lnTo>
                <a:lnTo>
                  <a:pt x="2838497" y="76905"/>
                </a:lnTo>
                <a:lnTo>
                  <a:pt x="2829591" y="76905"/>
                </a:lnTo>
                <a:lnTo>
                  <a:pt x="2829591" y="38034"/>
                </a:lnTo>
                <a:lnTo>
                  <a:pt x="2802664" y="76905"/>
                </a:lnTo>
                <a:lnTo>
                  <a:pt x="2793759" y="76905"/>
                </a:lnTo>
                <a:close/>
                <a:moveTo>
                  <a:pt x="2736608" y="24098"/>
                </a:moveTo>
                <a:lnTo>
                  <a:pt x="2745619" y="24098"/>
                </a:lnTo>
                <a:lnTo>
                  <a:pt x="2745619" y="46730"/>
                </a:lnTo>
                <a:lnTo>
                  <a:pt x="2768460" y="24098"/>
                </a:lnTo>
                <a:lnTo>
                  <a:pt x="2779881" y="24098"/>
                </a:lnTo>
                <a:lnTo>
                  <a:pt x="2755049" y="48721"/>
                </a:lnTo>
                <a:lnTo>
                  <a:pt x="2780195" y="76905"/>
                </a:lnTo>
                <a:lnTo>
                  <a:pt x="2768565" y="76905"/>
                </a:lnTo>
                <a:lnTo>
                  <a:pt x="2745619" y="51340"/>
                </a:lnTo>
                <a:lnTo>
                  <a:pt x="2745619" y="76905"/>
                </a:lnTo>
                <a:lnTo>
                  <a:pt x="2736608" y="76905"/>
                </a:lnTo>
                <a:close/>
                <a:moveTo>
                  <a:pt x="2622309" y="24098"/>
                </a:moveTo>
                <a:lnTo>
                  <a:pt x="2631319" y="24098"/>
                </a:lnTo>
                <a:lnTo>
                  <a:pt x="2631319" y="45368"/>
                </a:lnTo>
                <a:lnTo>
                  <a:pt x="2657408" y="45368"/>
                </a:lnTo>
                <a:lnTo>
                  <a:pt x="2657408" y="24098"/>
                </a:lnTo>
                <a:lnTo>
                  <a:pt x="2666419" y="24098"/>
                </a:lnTo>
                <a:lnTo>
                  <a:pt x="2666419" y="76905"/>
                </a:lnTo>
                <a:lnTo>
                  <a:pt x="2657408" y="76905"/>
                </a:lnTo>
                <a:lnTo>
                  <a:pt x="2657408" y="53540"/>
                </a:lnTo>
                <a:lnTo>
                  <a:pt x="2631319" y="53540"/>
                </a:lnTo>
                <a:lnTo>
                  <a:pt x="2631319" y="76905"/>
                </a:lnTo>
                <a:lnTo>
                  <a:pt x="2622309" y="76905"/>
                </a:lnTo>
                <a:close/>
                <a:moveTo>
                  <a:pt x="2478852" y="24098"/>
                </a:moveTo>
                <a:lnTo>
                  <a:pt x="2487863" y="24098"/>
                </a:lnTo>
                <a:lnTo>
                  <a:pt x="2487863" y="76905"/>
                </a:lnTo>
                <a:lnTo>
                  <a:pt x="2478852" y="76905"/>
                </a:lnTo>
                <a:close/>
                <a:moveTo>
                  <a:pt x="2431809" y="24098"/>
                </a:moveTo>
                <a:lnTo>
                  <a:pt x="2440819" y="24098"/>
                </a:lnTo>
                <a:lnTo>
                  <a:pt x="2440819" y="41177"/>
                </a:lnTo>
                <a:lnTo>
                  <a:pt x="2452659" y="41177"/>
                </a:lnTo>
                <a:cubicBezTo>
                  <a:pt x="2458336" y="41273"/>
                  <a:pt x="2462828" y="42941"/>
                  <a:pt x="2466135" y="46180"/>
                </a:cubicBezTo>
                <a:cubicBezTo>
                  <a:pt x="2469442" y="49419"/>
                  <a:pt x="2471132" y="53654"/>
                  <a:pt x="2471204" y="58884"/>
                </a:cubicBezTo>
                <a:cubicBezTo>
                  <a:pt x="2471134" y="64127"/>
                  <a:pt x="2469440" y="68414"/>
                  <a:pt x="2466122" y="71745"/>
                </a:cubicBezTo>
                <a:cubicBezTo>
                  <a:pt x="2462804" y="75076"/>
                  <a:pt x="2458281" y="76796"/>
                  <a:pt x="2452554" y="76905"/>
                </a:cubicBezTo>
                <a:lnTo>
                  <a:pt x="2431809" y="76905"/>
                </a:lnTo>
                <a:close/>
                <a:moveTo>
                  <a:pt x="2374658" y="24098"/>
                </a:moveTo>
                <a:lnTo>
                  <a:pt x="2383669" y="24098"/>
                </a:lnTo>
                <a:lnTo>
                  <a:pt x="2383669" y="45368"/>
                </a:lnTo>
                <a:lnTo>
                  <a:pt x="2409758" y="45368"/>
                </a:lnTo>
                <a:lnTo>
                  <a:pt x="2409758" y="24098"/>
                </a:lnTo>
                <a:lnTo>
                  <a:pt x="2418769" y="24098"/>
                </a:lnTo>
                <a:lnTo>
                  <a:pt x="2418769" y="76905"/>
                </a:lnTo>
                <a:lnTo>
                  <a:pt x="2409758" y="76905"/>
                </a:lnTo>
                <a:lnTo>
                  <a:pt x="2409758" y="53540"/>
                </a:lnTo>
                <a:lnTo>
                  <a:pt x="2383669" y="53540"/>
                </a:lnTo>
                <a:lnTo>
                  <a:pt x="2383669" y="76905"/>
                </a:lnTo>
                <a:lnTo>
                  <a:pt x="2374658" y="76905"/>
                </a:lnTo>
                <a:close/>
                <a:moveTo>
                  <a:pt x="2193683" y="24098"/>
                </a:moveTo>
                <a:lnTo>
                  <a:pt x="2216106" y="24098"/>
                </a:lnTo>
                <a:cubicBezTo>
                  <a:pt x="2221700" y="24195"/>
                  <a:pt x="2225860" y="25522"/>
                  <a:pt x="2228587" y="28080"/>
                </a:cubicBezTo>
                <a:cubicBezTo>
                  <a:pt x="2231313" y="30638"/>
                  <a:pt x="2232671" y="33851"/>
                  <a:pt x="2232660" y="37719"/>
                </a:cubicBezTo>
                <a:cubicBezTo>
                  <a:pt x="2232588" y="40810"/>
                  <a:pt x="2231867" y="43298"/>
                  <a:pt x="2230499" y="45184"/>
                </a:cubicBezTo>
                <a:cubicBezTo>
                  <a:pt x="2229130" y="47070"/>
                  <a:pt x="2227546" y="48354"/>
                  <a:pt x="2225745" y="49035"/>
                </a:cubicBezTo>
                <a:cubicBezTo>
                  <a:pt x="2228191" y="49664"/>
                  <a:pt x="2230318" y="51052"/>
                  <a:pt x="2232123" y="53200"/>
                </a:cubicBezTo>
                <a:cubicBezTo>
                  <a:pt x="2233928" y="55348"/>
                  <a:pt x="2234875" y="58255"/>
                  <a:pt x="2234965" y="61922"/>
                </a:cubicBezTo>
                <a:cubicBezTo>
                  <a:pt x="2234938" y="66259"/>
                  <a:pt x="2233419" y="69817"/>
                  <a:pt x="2230407" y="72596"/>
                </a:cubicBezTo>
                <a:cubicBezTo>
                  <a:pt x="2227395" y="75375"/>
                  <a:pt x="2223047" y="76811"/>
                  <a:pt x="2217362" y="76905"/>
                </a:cubicBezTo>
                <a:lnTo>
                  <a:pt x="2193683" y="76905"/>
                </a:lnTo>
                <a:close/>
                <a:moveTo>
                  <a:pt x="2084403" y="24098"/>
                </a:moveTo>
                <a:lnTo>
                  <a:pt x="2128933" y="24098"/>
                </a:lnTo>
                <a:lnTo>
                  <a:pt x="2128933" y="32166"/>
                </a:lnTo>
                <a:lnTo>
                  <a:pt x="2111121" y="32166"/>
                </a:lnTo>
                <a:lnTo>
                  <a:pt x="2111121" y="76905"/>
                </a:lnTo>
                <a:lnTo>
                  <a:pt x="2102110" y="76905"/>
                </a:lnTo>
                <a:lnTo>
                  <a:pt x="2102110" y="32166"/>
                </a:lnTo>
                <a:lnTo>
                  <a:pt x="2084403" y="32166"/>
                </a:lnTo>
                <a:close/>
                <a:moveTo>
                  <a:pt x="1821627" y="24098"/>
                </a:moveTo>
                <a:lnTo>
                  <a:pt x="1830638" y="24098"/>
                </a:lnTo>
                <a:lnTo>
                  <a:pt x="1830638" y="76905"/>
                </a:lnTo>
                <a:lnTo>
                  <a:pt x="1821627" y="76905"/>
                </a:lnTo>
                <a:close/>
                <a:moveTo>
                  <a:pt x="1774583" y="24098"/>
                </a:moveTo>
                <a:lnTo>
                  <a:pt x="1783594" y="24098"/>
                </a:lnTo>
                <a:lnTo>
                  <a:pt x="1783594" y="41177"/>
                </a:lnTo>
                <a:lnTo>
                  <a:pt x="1795434" y="41177"/>
                </a:lnTo>
                <a:cubicBezTo>
                  <a:pt x="1801111" y="41273"/>
                  <a:pt x="1805603" y="42941"/>
                  <a:pt x="1808911" y="46180"/>
                </a:cubicBezTo>
                <a:cubicBezTo>
                  <a:pt x="1812217" y="49419"/>
                  <a:pt x="1813907" y="53654"/>
                  <a:pt x="1813979" y="58884"/>
                </a:cubicBezTo>
                <a:cubicBezTo>
                  <a:pt x="1813909" y="64127"/>
                  <a:pt x="1812215" y="68414"/>
                  <a:pt x="1808897" y="71745"/>
                </a:cubicBezTo>
                <a:cubicBezTo>
                  <a:pt x="1805579" y="75076"/>
                  <a:pt x="1801057" y="76796"/>
                  <a:pt x="1795329" y="76905"/>
                </a:cubicBezTo>
                <a:lnTo>
                  <a:pt x="1774583" y="76905"/>
                </a:lnTo>
                <a:close/>
                <a:moveTo>
                  <a:pt x="1717434" y="24098"/>
                </a:moveTo>
                <a:lnTo>
                  <a:pt x="1726444" y="24098"/>
                </a:lnTo>
                <a:lnTo>
                  <a:pt x="1726444" y="45368"/>
                </a:lnTo>
                <a:lnTo>
                  <a:pt x="1752533" y="45368"/>
                </a:lnTo>
                <a:lnTo>
                  <a:pt x="1752533" y="24098"/>
                </a:lnTo>
                <a:lnTo>
                  <a:pt x="1761544" y="24098"/>
                </a:lnTo>
                <a:lnTo>
                  <a:pt x="1761544" y="76905"/>
                </a:lnTo>
                <a:lnTo>
                  <a:pt x="1752533" y="76905"/>
                </a:lnTo>
                <a:lnTo>
                  <a:pt x="1752533" y="53540"/>
                </a:lnTo>
                <a:lnTo>
                  <a:pt x="1726444" y="53540"/>
                </a:lnTo>
                <a:lnTo>
                  <a:pt x="1726444" y="76905"/>
                </a:lnTo>
                <a:lnTo>
                  <a:pt x="1717434" y="76905"/>
                </a:lnTo>
                <a:close/>
                <a:moveTo>
                  <a:pt x="1584083" y="24098"/>
                </a:moveTo>
                <a:lnTo>
                  <a:pt x="1593094" y="24098"/>
                </a:lnTo>
                <a:lnTo>
                  <a:pt x="1593094" y="68733"/>
                </a:lnTo>
                <a:lnTo>
                  <a:pt x="1613420" y="68733"/>
                </a:lnTo>
                <a:lnTo>
                  <a:pt x="1613420" y="24098"/>
                </a:lnTo>
                <a:lnTo>
                  <a:pt x="1622431" y="24098"/>
                </a:lnTo>
                <a:lnTo>
                  <a:pt x="1622431" y="68733"/>
                </a:lnTo>
                <a:lnTo>
                  <a:pt x="1642758" y="68733"/>
                </a:lnTo>
                <a:lnTo>
                  <a:pt x="1642758" y="24098"/>
                </a:lnTo>
                <a:lnTo>
                  <a:pt x="1651768" y="24098"/>
                </a:lnTo>
                <a:lnTo>
                  <a:pt x="1651768" y="68733"/>
                </a:lnTo>
                <a:lnTo>
                  <a:pt x="1659521" y="68733"/>
                </a:lnTo>
                <a:lnTo>
                  <a:pt x="1659521" y="90316"/>
                </a:lnTo>
                <a:lnTo>
                  <a:pt x="1650825" y="90316"/>
                </a:lnTo>
                <a:lnTo>
                  <a:pt x="1650825" y="76905"/>
                </a:lnTo>
                <a:lnTo>
                  <a:pt x="1584083" y="76905"/>
                </a:lnTo>
                <a:close/>
                <a:moveTo>
                  <a:pt x="1526933" y="24098"/>
                </a:moveTo>
                <a:lnTo>
                  <a:pt x="1535839" y="24098"/>
                </a:lnTo>
                <a:lnTo>
                  <a:pt x="1535839" y="62970"/>
                </a:lnTo>
                <a:lnTo>
                  <a:pt x="1562766" y="24098"/>
                </a:lnTo>
                <a:lnTo>
                  <a:pt x="1571672" y="24098"/>
                </a:lnTo>
                <a:lnTo>
                  <a:pt x="1571672" y="76905"/>
                </a:lnTo>
                <a:lnTo>
                  <a:pt x="1562766" y="76905"/>
                </a:lnTo>
                <a:lnTo>
                  <a:pt x="1562766" y="38034"/>
                </a:lnTo>
                <a:lnTo>
                  <a:pt x="1535839" y="76905"/>
                </a:lnTo>
                <a:lnTo>
                  <a:pt x="1526933" y="76905"/>
                </a:lnTo>
                <a:close/>
                <a:moveTo>
                  <a:pt x="1441208" y="24098"/>
                </a:moveTo>
                <a:lnTo>
                  <a:pt x="1450219" y="24098"/>
                </a:lnTo>
                <a:lnTo>
                  <a:pt x="1450219" y="68733"/>
                </a:lnTo>
                <a:lnTo>
                  <a:pt x="1470545" y="68733"/>
                </a:lnTo>
                <a:lnTo>
                  <a:pt x="1470545" y="24098"/>
                </a:lnTo>
                <a:lnTo>
                  <a:pt x="1479556" y="24098"/>
                </a:lnTo>
                <a:lnTo>
                  <a:pt x="1479556" y="68733"/>
                </a:lnTo>
                <a:lnTo>
                  <a:pt x="1499882" y="68733"/>
                </a:lnTo>
                <a:lnTo>
                  <a:pt x="1499882" y="24098"/>
                </a:lnTo>
                <a:lnTo>
                  <a:pt x="1508893" y="24098"/>
                </a:lnTo>
                <a:lnTo>
                  <a:pt x="1508893" y="68733"/>
                </a:lnTo>
                <a:lnTo>
                  <a:pt x="1516646" y="68733"/>
                </a:lnTo>
                <a:lnTo>
                  <a:pt x="1516646" y="90316"/>
                </a:lnTo>
                <a:lnTo>
                  <a:pt x="1507950" y="90316"/>
                </a:lnTo>
                <a:lnTo>
                  <a:pt x="1507950" y="76905"/>
                </a:lnTo>
                <a:lnTo>
                  <a:pt x="1441208" y="76905"/>
                </a:lnTo>
                <a:close/>
                <a:moveTo>
                  <a:pt x="1203083" y="24098"/>
                </a:moveTo>
                <a:lnTo>
                  <a:pt x="1225505" y="24098"/>
                </a:lnTo>
                <a:cubicBezTo>
                  <a:pt x="1231100" y="24195"/>
                  <a:pt x="1235260" y="25522"/>
                  <a:pt x="1237987" y="28080"/>
                </a:cubicBezTo>
                <a:cubicBezTo>
                  <a:pt x="1240713" y="30638"/>
                  <a:pt x="1242071" y="33851"/>
                  <a:pt x="1242060" y="37719"/>
                </a:cubicBezTo>
                <a:cubicBezTo>
                  <a:pt x="1241988" y="40810"/>
                  <a:pt x="1241267" y="43298"/>
                  <a:pt x="1239899" y="45184"/>
                </a:cubicBezTo>
                <a:cubicBezTo>
                  <a:pt x="1238530" y="47070"/>
                  <a:pt x="1236945" y="48354"/>
                  <a:pt x="1235145" y="49035"/>
                </a:cubicBezTo>
                <a:cubicBezTo>
                  <a:pt x="1237591" y="49664"/>
                  <a:pt x="1239718" y="51052"/>
                  <a:pt x="1241523" y="53200"/>
                </a:cubicBezTo>
                <a:cubicBezTo>
                  <a:pt x="1243328" y="55348"/>
                  <a:pt x="1244275" y="58255"/>
                  <a:pt x="1244365" y="61922"/>
                </a:cubicBezTo>
                <a:cubicBezTo>
                  <a:pt x="1244339" y="66259"/>
                  <a:pt x="1242819" y="69817"/>
                  <a:pt x="1239807" y="72596"/>
                </a:cubicBezTo>
                <a:cubicBezTo>
                  <a:pt x="1236795" y="75375"/>
                  <a:pt x="1232447" y="76811"/>
                  <a:pt x="1226763" y="76905"/>
                </a:cubicBezTo>
                <a:lnTo>
                  <a:pt x="1203083" y="76905"/>
                </a:lnTo>
                <a:close/>
                <a:moveTo>
                  <a:pt x="1031634" y="24098"/>
                </a:moveTo>
                <a:lnTo>
                  <a:pt x="1075429" y="24098"/>
                </a:lnTo>
                <a:lnTo>
                  <a:pt x="1075429" y="76905"/>
                </a:lnTo>
                <a:lnTo>
                  <a:pt x="1066419" y="76905"/>
                </a:lnTo>
                <a:lnTo>
                  <a:pt x="1066419" y="32166"/>
                </a:lnTo>
                <a:lnTo>
                  <a:pt x="1040644" y="32166"/>
                </a:lnTo>
                <a:lnTo>
                  <a:pt x="1040644" y="76905"/>
                </a:lnTo>
                <a:lnTo>
                  <a:pt x="1031634" y="76905"/>
                </a:lnTo>
                <a:close/>
                <a:moveTo>
                  <a:pt x="40443" y="23260"/>
                </a:moveTo>
                <a:cubicBezTo>
                  <a:pt x="44285" y="23313"/>
                  <a:pt x="47544" y="24081"/>
                  <a:pt x="50218" y="25565"/>
                </a:cubicBezTo>
                <a:cubicBezTo>
                  <a:pt x="52892" y="27050"/>
                  <a:pt x="54979" y="28936"/>
                  <a:pt x="56477" y="31223"/>
                </a:cubicBezTo>
                <a:cubicBezTo>
                  <a:pt x="57976" y="33511"/>
                  <a:pt x="58883" y="35886"/>
                  <a:pt x="59197" y="38348"/>
                </a:cubicBezTo>
                <a:lnTo>
                  <a:pt x="50920" y="38348"/>
                </a:lnTo>
                <a:cubicBezTo>
                  <a:pt x="50372" y="36438"/>
                  <a:pt x="49268" y="34757"/>
                  <a:pt x="47607" y="33306"/>
                </a:cubicBezTo>
                <a:cubicBezTo>
                  <a:pt x="45946" y="31854"/>
                  <a:pt x="43558" y="31090"/>
                  <a:pt x="40443" y="31014"/>
                </a:cubicBezTo>
                <a:cubicBezTo>
                  <a:pt x="36824" y="31046"/>
                  <a:pt x="33925" y="32369"/>
                  <a:pt x="31746" y="34982"/>
                </a:cubicBezTo>
                <a:cubicBezTo>
                  <a:pt x="29568" y="37595"/>
                  <a:pt x="28450" y="41301"/>
                  <a:pt x="28394" y="46101"/>
                </a:cubicBezTo>
                <a:cubicBezTo>
                  <a:pt x="28444" y="50847"/>
                  <a:pt x="29548" y="54505"/>
                  <a:pt x="31707" y="57076"/>
                </a:cubicBezTo>
                <a:cubicBezTo>
                  <a:pt x="33866" y="59648"/>
                  <a:pt x="36778" y="60949"/>
                  <a:pt x="40443" y="60979"/>
                </a:cubicBezTo>
                <a:cubicBezTo>
                  <a:pt x="43708" y="60894"/>
                  <a:pt x="46162" y="60095"/>
                  <a:pt x="47803" y="58583"/>
                </a:cubicBezTo>
                <a:cubicBezTo>
                  <a:pt x="49445" y="57070"/>
                  <a:pt x="50484" y="55354"/>
                  <a:pt x="50920" y="53435"/>
                </a:cubicBezTo>
                <a:lnTo>
                  <a:pt x="59197" y="53435"/>
                </a:lnTo>
                <a:cubicBezTo>
                  <a:pt x="58704" y="57598"/>
                  <a:pt x="56783" y="61139"/>
                  <a:pt x="53435" y="64057"/>
                </a:cubicBezTo>
                <a:cubicBezTo>
                  <a:pt x="50087" y="66975"/>
                  <a:pt x="45756" y="68499"/>
                  <a:pt x="40443" y="68628"/>
                </a:cubicBezTo>
                <a:cubicBezTo>
                  <a:pt x="34224" y="68508"/>
                  <a:pt x="29269" y="66390"/>
                  <a:pt x="25578" y="62276"/>
                </a:cubicBezTo>
                <a:cubicBezTo>
                  <a:pt x="21887" y="58161"/>
                  <a:pt x="19997" y="52770"/>
                  <a:pt x="19907" y="46101"/>
                </a:cubicBezTo>
                <a:cubicBezTo>
                  <a:pt x="19990" y="39420"/>
                  <a:pt x="21867" y="33976"/>
                  <a:pt x="25539" y="29769"/>
                </a:cubicBezTo>
                <a:cubicBezTo>
                  <a:pt x="29210" y="25563"/>
                  <a:pt x="34178" y="23393"/>
                  <a:pt x="40443" y="23260"/>
                </a:cubicBezTo>
                <a:close/>
                <a:moveTo>
                  <a:pt x="4758547" y="22946"/>
                </a:moveTo>
                <a:cubicBezTo>
                  <a:pt x="4765650" y="23033"/>
                  <a:pt x="4771246" y="25347"/>
                  <a:pt x="4775337" y="29887"/>
                </a:cubicBezTo>
                <a:cubicBezTo>
                  <a:pt x="4779428" y="34428"/>
                  <a:pt x="4781514" y="40670"/>
                  <a:pt x="4781597" y="48616"/>
                </a:cubicBezTo>
                <a:lnTo>
                  <a:pt x="4781597" y="53226"/>
                </a:lnTo>
                <a:lnTo>
                  <a:pt x="4743145" y="53226"/>
                </a:lnTo>
                <a:lnTo>
                  <a:pt x="4743145" y="53435"/>
                </a:lnTo>
                <a:cubicBezTo>
                  <a:pt x="4743212" y="58251"/>
                  <a:pt x="4744701" y="62189"/>
                  <a:pt x="4747611" y="65249"/>
                </a:cubicBezTo>
                <a:cubicBezTo>
                  <a:pt x="4750520" y="68309"/>
                  <a:pt x="4754445" y="69890"/>
                  <a:pt x="4759385" y="69990"/>
                </a:cubicBezTo>
                <a:cubicBezTo>
                  <a:pt x="4763054" y="69881"/>
                  <a:pt x="4765931" y="69104"/>
                  <a:pt x="4768016" y="67659"/>
                </a:cubicBezTo>
                <a:cubicBezTo>
                  <a:pt x="4770100" y="66214"/>
                  <a:pt x="4771380" y="64756"/>
                  <a:pt x="4771853" y="63284"/>
                </a:cubicBezTo>
                <a:lnTo>
                  <a:pt x="4780969" y="63284"/>
                </a:lnTo>
                <a:cubicBezTo>
                  <a:pt x="4780526" y="65413"/>
                  <a:pt x="4779467" y="67605"/>
                  <a:pt x="4777791" y="69862"/>
                </a:cubicBezTo>
                <a:cubicBezTo>
                  <a:pt x="4776114" y="72118"/>
                  <a:pt x="4773751" y="74032"/>
                  <a:pt x="4770701" y="75601"/>
                </a:cubicBezTo>
                <a:cubicBezTo>
                  <a:pt x="4767651" y="77171"/>
                  <a:pt x="4763844" y="77990"/>
                  <a:pt x="4759280" y="78058"/>
                </a:cubicBezTo>
                <a:cubicBezTo>
                  <a:pt x="4751522" y="77970"/>
                  <a:pt x="4745350" y="75499"/>
                  <a:pt x="4740761" y="70645"/>
                </a:cubicBezTo>
                <a:cubicBezTo>
                  <a:pt x="4736173" y="65790"/>
                  <a:pt x="4733824" y="59076"/>
                  <a:pt x="4733715" y="50502"/>
                </a:cubicBezTo>
                <a:cubicBezTo>
                  <a:pt x="4733846" y="41882"/>
                  <a:pt x="4736177" y="35154"/>
                  <a:pt x="4740709" y="30319"/>
                </a:cubicBezTo>
                <a:cubicBezTo>
                  <a:pt x="4745241" y="25485"/>
                  <a:pt x="4751186" y="23027"/>
                  <a:pt x="4758547" y="22946"/>
                </a:cubicBezTo>
                <a:close/>
                <a:moveTo>
                  <a:pt x="4529947" y="22946"/>
                </a:moveTo>
                <a:cubicBezTo>
                  <a:pt x="4537050" y="23033"/>
                  <a:pt x="4542647" y="25347"/>
                  <a:pt x="4546737" y="29887"/>
                </a:cubicBezTo>
                <a:cubicBezTo>
                  <a:pt x="4550827" y="34428"/>
                  <a:pt x="4552914" y="40670"/>
                  <a:pt x="4552997" y="48616"/>
                </a:cubicBezTo>
                <a:lnTo>
                  <a:pt x="4552997" y="53226"/>
                </a:lnTo>
                <a:lnTo>
                  <a:pt x="4514545" y="53226"/>
                </a:lnTo>
                <a:lnTo>
                  <a:pt x="4514545" y="53435"/>
                </a:lnTo>
                <a:cubicBezTo>
                  <a:pt x="4514613" y="58251"/>
                  <a:pt x="4516101" y="62189"/>
                  <a:pt x="4519011" y="65249"/>
                </a:cubicBezTo>
                <a:cubicBezTo>
                  <a:pt x="4521921" y="68309"/>
                  <a:pt x="4525845" y="69890"/>
                  <a:pt x="4530785" y="69990"/>
                </a:cubicBezTo>
                <a:cubicBezTo>
                  <a:pt x="4534454" y="69881"/>
                  <a:pt x="4537331" y="69104"/>
                  <a:pt x="4539416" y="67659"/>
                </a:cubicBezTo>
                <a:cubicBezTo>
                  <a:pt x="4541501" y="66214"/>
                  <a:pt x="4542780" y="64756"/>
                  <a:pt x="4543253" y="63284"/>
                </a:cubicBezTo>
                <a:lnTo>
                  <a:pt x="4552369" y="63284"/>
                </a:lnTo>
                <a:cubicBezTo>
                  <a:pt x="4551926" y="65413"/>
                  <a:pt x="4550867" y="67605"/>
                  <a:pt x="4549190" y="69862"/>
                </a:cubicBezTo>
                <a:cubicBezTo>
                  <a:pt x="4547514" y="72118"/>
                  <a:pt x="4545151" y="74032"/>
                  <a:pt x="4542101" y="75601"/>
                </a:cubicBezTo>
                <a:cubicBezTo>
                  <a:pt x="4539051" y="77171"/>
                  <a:pt x="4535244" y="77990"/>
                  <a:pt x="4530680" y="78058"/>
                </a:cubicBezTo>
                <a:cubicBezTo>
                  <a:pt x="4522923" y="77970"/>
                  <a:pt x="4516750" y="75499"/>
                  <a:pt x="4512161" y="70645"/>
                </a:cubicBezTo>
                <a:cubicBezTo>
                  <a:pt x="4507573" y="65790"/>
                  <a:pt x="4505224" y="59076"/>
                  <a:pt x="4505115" y="50502"/>
                </a:cubicBezTo>
                <a:cubicBezTo>
                  <a:pt x="4505246" y="41882"/>
                  <a:pt x="4507577" y="35154"/>
                  <a:pt x="4512109" y="30319"/>
                </a:cubicBezTo>
                <a:cubicBezTo>
                  <a:pt x="4516640" y="25485"/>
                  <a:pt x="4522586" y="23027"/>
                  <a:pt x="4529947" y="22946"/>
                </a:cubicBezTo>
                <a:close/>
                <a:moveTo>
                  <a:pt x="4413761" y="22946"/>
                </a:moveTo>
                <a:cubicBezTo>
                  <a:pt x="4420030" y="22996"/>
                  <a:pt x="4425016" y="24677"/>
                  <a:pt x="4428717" y="27988"/>
                </a:cubicBezTo>
                <a:cubicBezTo>
                  <a:pt x="4432420" y="31300"/>
                  <a:pt x="4434314" y="35940"/>
                  <a:pt x="4434401" y="41910"/>
                </a:cubicBezTo>
                <a:lnTo>
                  <a:pt x="4434401" y="76905"/>
                </a:lnTo>
                <a:lnTo>
                  <a:pt x="4425915" y="76905"/>
                </a:lnTo>
                <a:lnTo>
                  <a:pt x="4425915" y="70619"/>
                </a:lnTo>
                <a:cubicBezTo>
                  <a:pt x="4423885" y="73083"/>
                  <a:pt x="4421396" y="74938"/>
                  <a:pt x="4418449" y="76185"/>
                </a:cubicBezTo>
                <a:cubicBezTo>
                  <a:pt x="4415503" y="77431"/>
                  <a:pt x="4412333" y="78055"/>
                  <a:pt x="4408941" y="78058"/>
                </a:cubicBezTo>
                <a:cubicBezTo>
                  <a:pt x="4403689" y="78010"/>
                  <a:pt x="4399367" y="76560"/>
                  <a:pt x="4395975" y="73709"/>
                </a:cubicBezTo>
                <a:cubicBezTo>
                  <a:pt x="4392583" y="70859"/>
                  <a:pt x="4390828" y="66895"/>
                  <a:pt x="4390710" y="61817"/>
                </a:cubicBezTo>
                <a:cubicBezTo>
                  <a:pt x="4390769" y="56690"/>
                  <a:pt x="4392616" y="52695"/>
                  <a:pt x="4396250" y="49834"/>
                </a:cubicBezTo>
                <a:cubicBezTo>
                  <a:pt x="4399885" y="46972"/>
                  <a:pt x="4404953" y="45518"/>
                  <a:pt x="4411456" y="45473"/>
                </a:cubicBezTo>
                <a:lnTo>
                  <a:pt x="4425496" y="45473"/>
                </a:lnTo>
                <a:lnTo>
                  <a:pt x="4425496" y="41910"/>
                </a:lnTo>
                <a:cubicBezTo>
                  <a:pt x="4425423" y="38243"/>
                  <a:pt x="4424284" y="35493"/>
                  <a:pt x="4422077" y="33659"/>
                </a:cubicBezTo>
                <a:cubicBezTo>
                  <a:pt x="4419871" y="31826"/>
                  <a:pt x="4417028" y="30909"/>
                  <a:pt x="4413551" y="30909"/>
                </a:cubicBezTo>
                <a:cubicBezTo>
                  <a:pt x="4410111" y="30959"/>
                  <a:pt x="4407404" y="31644"/>
                  <a:pt x="4405431" y="32965"/>
                </a:cubicBezTo>
                <a:cubicBezTo>
                  <a:pt x="4403458" y="34286"/>
                  <a:pt x="4402113" y="35940"/>
                  <a:pt x="4401397" y="37929"/>
                </a:cubicBezTo>
                <a:lnTo>
                  <a:pt x="4392701" y="37929"/>
                </a:lnTo>
                <a:cubicBezTo>
                  <a:pt x="4393559" y="33729"/>
                  <a:pt x="4395772" y="30210"/>
                  <a:pt x="4399341" y="27373"/>
                </a:cubicBezTo>
                <a:cubicBezTo>
                  <a:pt x="4402910" y="24535"/>
                  <a:pt x="4407717" y="23059"/>
                  <a:pt x="4413761" y="22946"/>
                </a:cubicBezTo>
                <a:close/>
                <a:moveTo>
                  <a:pt x="4085225" y="22946"/>
                </a:moveTo>
                <a:cubicBezTo>
                  <a:pt x="4092910" y="23092"/>
                  <a:pt x="4098965" y="25681"/>
                  <a:pt x="4103390" y="30712"/>
                </a:cubicBezTo>
                <a:cubicBezTo>
                  <a:pt x="4107814" y="35744"/>
                  <a:pt x="4110071" y="42340"/>
                  <a:pt x="4110161" y="50502"/>
                </a:cubicBezTo>
                <a:cubicBezTo>
                  <a:pt x="4110071" y="58663"/>
                  <a:pt x="4107814" y="65260"/>
                  <a:pt x="4103390" y="70291"/>
                </a:cubicBezTo>
                <a:cubicBezTo>
                  <a:pt x="4098965" y="75323"/>
                  <a:pt x="4092910" y="77911"/>
                  <a:pt x="4085225" y="78058"/>
                </a:cubicBezTo>
                <a:cubicBezTo>
                  <a:pt x="4078218" y="77940"/>
                  <a:pt x="4072507" y="75661"/>
                  <a:pt x="4068094" y="71221"/>
                </a:cubicBezTo>
                <a:cubicBezTo>
                  <a:pt x="4063680" y="66781"/>
                  <a:pt x="4061113" y="60888"/>
                  <a:pt x="4060393" y="53540"/>
                </a:cubicBezTo>
                <a:lnTo>
                  <a:pt x="4050544" y="53540"/>
                </a:lnTo>
                <a:lnTo>
                  <a:pt x="4050544" y="76905"/>
                </a:lnTo>
                <a:lnTo>
                  <a:pt x="4041533" y="76905"/>
                </a:lnTo>
                <a:lnTo>
                  <a:pt x="4041533" y="24098"/>
                </a:lnTo>
                <a:lnTo>
                  <a:pt x="4050544" y="24098"/>
                </a:lnTo>
                <a:lnTo>
                  <a:pt x="4050544" y="45368"/>
                </a:lnTo>
                <a:lnTo>
                  <a:pt x="4060602" y="45368"/>
                </a:lnTo>
                <a:cubicBezTo>
                  <a:pt x="4061681" y="38612"/>
                  <a:pt x="4064396" y="33212"/>
                  <a:pt x="4068749" y="29167"/>
                </a:cubicBezTo>
                <a:cubicBezTo>
                  <a:pt x="4073101" y="25122"/>
                  <a:pt x="4078593" y="23049"/>
                  <a:pt x="4085225" y="22946"/>
                </a:cubicBezTo>
                <a:close/>
                <a:moveTo>
                  <a:pt x="3910927" y="22946"/>
                </a:moveTo>
                <a:cubicBezTo>
                  <a:pt x="3915601" y="23013"/>
                  <a:pt x="3919536" y="23950"/>
                  <a:pt x="3922731" y="25755"/>
                </a:cubicBezTo>
                <a:cubicBezTo>
                  <a:pt x="3925927" y="27561"/>
                  <a:pt x="3928418" y="29833"/>
                  <a:pt x="3930205" y="32570"/>
                </a:cubicBezTo>
                <a:cubicBezTo>
                  <a:pt x="3931992" y="35307"/>
                  <a:pt x="3933110" y="38106"/>
                  <a:pt x="3933558" y="40967"/>
                </a:cubicBezTo>
                <a:lnTo>
                  <a:pt x="3924547" y="40967"/>
                </a:lnTo>
                <a:cubicBezTo>
                  <a:pt x="3923908" y="38632"/>
                  <a:pt x="3922515" y="36440"/>
                  <a:pt x="3920369" y="34393"/>
                </a:cubicBezTo>
                <a:cubicBezTo>
                  <a:pt x="3918223" y="32345"/>
                  <a:pt x="3915076" y="31254"/>
                  <a:pt x="3910927" y="31118"/>
                </a:cubicBezTo>
                <a:cubicBezTo>
                  <a:pt x="3906054" y="31212"/>
                  <a:pt x="3902230" y="33015"/>
                  <a:pt x="3899453" y="36527"/>
                </a:cubicBezTo>
                <a:cubicBezTo>
                  <a:pt x="3896677" y="40040"/>
                  <a:pt x="3895263" y="44698"/>
                  <a:pt x="3895210" y="50502"/>
                </a:cubicBezTo>
                <a:cubicBezTo>
                  <a:pt x="3895274" y="56352"/>
                  <a:pt x="3896719" y="61023"/>
                  <a:pt x="3899545" y="64515"/>
                </a:cubicBezTo>
                <a:cubicBezTo>
                  <a:pt x="3902372" y="68008"/>
                  <a:pt x="3906201" y="69798"/>
                  <a:pt x="3911031" y="69885"/>
                </a:cubicBezTo>
                <a:cubicBezTo>
                  <a:pt x="3915373" y="69748"/>
                  <a:pt x="3918582" y="68634"/>
                  <a:pt x="3920657" y="66545"/>
                </a:cubicBezTo>
                <a:cubicBezTo>
                  <a:pt x="3922733" y="64456"/>
                  <a:pt x="3924030" y="62217"/>
                  <a:pt x="3924547" y="59827"/>
                </a:cubicBezTo>
                <a:lnTo>
                  <a:pt x="3933558" y="59827"/>
                </a:lnTo>
                <a:cubicBezTo>
                  <a:pt x="3932929" y="64712"/>
                  <a:pt x="3930650" y="68929"/>
                  <a:pt x="3926721" y="72478"/>
                </a:cubicBezTo>
                <a:cubicBezTo>
                  <a:pt x="3922792" y="76028"/>
                  <a:pt x="3917527" y="77887"/>
                  <a:pt x="3910927" y="78058"/>
                </a:cubicBezTo>
                <a:cubicBezTo>
                  <a:pt x="3903332" y="77918"/>
                  <a:pt x="3897304" y="75342"/>
                  <a:pt x="3892840" y="70330"/>
                </a:cubicBezTo>
                <a:cubicBezTo>
                  <a:pt x="3888376" y="65319"/>
                  <a:pt x="3886093" y="58709"/>
                  <a:pt x="3885990" y="50502"/>
                </a:cubicBezTo>
                <a:cubicBezTo>
                  <a:pt x="3886079" y="42432"/>
                  <a:pt x="3888337" y="35862"/>
                  <a:pt x="3892761" y="30791"/>
                </a:cubicBezTo>
                <a:cubicBezTo>
                  <a:pt x="3897186" y="25720"/>
                  <a:pt x="3903241" y="23105"/>
                  <a:pt x="3910927" y="22946"/>
                </a:cubicBezTo>
                <a:close/>
                <a:moveTo>
                  <a:pt x="3854196" y="22946"/>
                </a:moveTo>
                <a:cubicBezTo>
                  <a:pt x="3861990" y="23092"/>
                  <a:pt x="3868142" y="25681"/>
                  <a:pt x="3872649" y="30712"/>
                </a:cubicBezTo>
                <a:cubicBezTo>
                  <a:pt x="3877156" y="35744"/>
                  <a:pt x="3879457" y="42340"/>
                  <a:pt x="3879551" y="50502"/>
                </a:cubicBezTo>
                <a:cubicBezTo>
                  <a:pt x="3879457" y="58663"/>
                  <a:pt x="3877156" y="65260"/>
                  <a:pt x="3872649" y="70291"/>
                </a:cubicBezTo>
                <a:cubicBezTo>
                  <a:pt x="3868142" y="75323"/>
                  <a:pt x="3861990" y="77911"/>
                  <a:pt x="3854196" y="78058"/>
                </a:cubicBezTo>
                <a:cubicBezTo>
                  <a:pt x="3846401" y="77911"/>
                  <a:pt x="3840249" y="75323"/>
                  <a:pt x="3835742" y="70291"/>
                </a:cubicBezTo>
                <a:cubicBezTo>
                  <a:pt x="3831235" y="65260"/>
                  <a:pt x="3828934" y="58663"/>
                  <a:pt x="3828840" y="50502"/>
                </a:cubicBezTo>
                <a:cubicBezTo>
                  <a:pt x="3828934" y="42340"/>
                  <a:pt x="3831235" y="35744"/>
                  <a:pt x="3835742" y="30712"/>
                </a:cubicBezTo>
                <a:cubicBezTo>
                  <a:pt x="3840249" y="25681"/>
                  <a:pt x="3846401" y="23092"/>
                  <a:pt x="3854196" y="22946"/>
                </a:cubicBezTo>
                <a:close/>
                <a:moveTo>
                  <a:pt x="3691747" y="22946"/>
                </a:moveTo>
                <a:cubicBezTo>
                  <a:pt x="3698850" y="23033"/>
                  <a:pt x="3704446" y="25347"/>
                  <a:pt x="3708537" y="29887"/>
                </a:cubicBezTo>
                <a:cubicBezTo>
                  <a:pt x="3712628" y="34428"/>
                  <a:pt x="3714714" y="40670"/>
                  <a:pt x="3714797" y="48616"/>
                </a:cubicBezTo>
                <a:lnTo>
                  <a:pt x="3714797" y="53226"/>
                </a:lnTo>
                <a:lnTo>
                  <a:pt x="3676345" y="53226"/>
                </a:lnTo>
                <a:lnTo>
                  <a:pt x="3676345" y="53435"/>
                </a:lnTo>
                <a:cubicBezTo>
                  <a:pt x="3676413" y="58251"/>
                  <a:pt x="3677901" y="62189"/>
                  <a:pt x="3680811" y="65249"/>
                </a:cubicBezTo>
                <a:cubicBezTo>
                  <a:pt x="3683721" y="68309"/>
                  <a:pt x="3687645" y="69890"/>
                  <a:pt x="3692585" y="69990"/>
                </a:cubicBezTo>
                <a:cubicBezTo>
                  <a:pt x="3696254" y="69881"/>
                  <a:pt x="3699131" y="69104"/>
                  <a:pt x="3701216" y="67659"/>
                </a:cubicBezTo>
                <a:cubicBezTo>
                  <a:pt x="3703301" y="66214"/>
                  <a:pt x="3704580" y="64756"/>
                  <a:pt x="3705053" y="63284"/>
                </a:cubicBezTo>
                <a:lnTo>
                  <a:pt x="3714168" y="63284"/>
                </a:lnTo>
                <a:cubicBezTo>
                  <a:pt x="3713726" y="65413"/>
                  <a:pt x="3712667" y="67605"/>
                  <a:pt x="3710990" y="69862"/>
                </a:cubicBezTo>
                <a:cubicBezTo>
                  <a:pt x="3709314" y="72118"/>
                  <a:pt x="3706951" y="74032"/>
                  <a:pt x="3703900" y="75601"/>
                </a:cubicBezTo>
                <a:cubicBezTo>
                  <a:pt x="3700851" y="77171"/>
                  <a:pt x="3697044" y="77990"/>
                  <a:pt x="3692481" y="78058"/>
                </a:cubicBezTo>
                <a:cubicBezTo>
                  <a:pt x="3684723" y="77970"/>
                  <a:pt x="3678550" y="75499"/>
                  <a:pt x="3673961" y="70645"/>
                </a:cubicBezTo>
                <a:cubicBezTo>
                  <a:pt x="3669373" y="65790"/>
                  <a:pt x="3667024" y="59076"/>
                  <a:pt x="3666915" y="50502"/>
                </a:cubicBezTo>
                <a:cubicBezTo>
                  <a:pt x="3667046" y="41882"/>
                  <a:pt x="3669377" y="35154"/>
                  <a:pt x="3673909" y="30319"/>
                </a:cubicBezTo>
                <a:cubicBezTo>
                  <a:pt x="3678441" y="25485"/>
                  <a:pt x="3684387" y="23027"/>
                  <a:pt x="3691747" y="22946"/>
                </a:cubicBezTo>
                <a:close/>
                <a:moveTo>
                  <a:pt x="3529927" y="22946"/>
                </a:moveTo>
                <a:cubicBezTo>
                  <a:pt x="3534601" y="23013"/>
                  <a:pt x="3538536" y="23950"/>
                  <a:pt x="3541731" y="25755"/>
                </a:cubicBezTo>
                <a:cubicBezTo>
                  <a:pt x="3544927" y="27561"/>
                  <a:pt x="3547418" y="29833"/>
                  <a:pt x="3549205" y="32570"/>
                </a:cubicBezTo>
                <a:cubicBezTo>
                  <a:pt x="3550992" y="35307"/>
                  <a:pt x="3552110" y="38106"/>
                  <a:pt x="3552558" y="40967"/>
                </a:cubicBezTo>
                <a:lnTo>
                  <a:pt x="3543547" y="40967"/>
                </a:lnTo>
                <a:cubicBezTo>
                  <a:pt x="3542908" y="38632"/>
                  <a:pt x="3541515" y="36440"/>
                  <a:pt x="3539369" y="34393"/>
                </a:cubicBezTo>
                <a:cubicBezTo>
                  <a:pt x="3537224" y="32345"/>
                  <a:pt x="3534076" y="31254"/>
                  <a:pt x="3529927" y="31118"/>
                </a:cubicBezTo>
                <a:cubicBezTo>
                  <a:pt x="3525055" y="31212"/>
                  <a:pt x="3521230" y="33015"/>
                  <a:pt x="3518454" y="36527"/>
                </a:cubicBezTo>
                <a:cubicBezTo>
                  <a:pt x="3515677" y="40040"/>
                  <a:pt x="3514263" y="44698"/>
                  <a:pt x="3514210" y="50502"/>
                </a:cubicBezTo>
                <a:cubicBezTo>
                  <a:pt x="3514274" y="56352"/>
                  <a:pt x="3515719" y="61023"/>
                  <a:pt x="3518545" y="64515"/>
                </a:cubicBezTo>
                <a:cubicBezTo>
                  <a:pt x="3521372" y="68008"/>
                  <a:pt x="3525201" y="69798"/>
                  <a:pt x="3530031" y="69885"/>
                </a:cubicBezTo>
                <a:cubicBezTo>
                  <a:pt x="3534373" y="69748"/>
                  <a:pt x="3537582" y="68634"/>
                  <a:pt x="3539658" y="66545"/>
                </a:cubicBezTo>
                <a:cubicBezTo>
                  <a:pt x="3541734" y="64456"/>
                  <a:pt x="3543030" y="62217"/>
                  <a:pt x="3543547" y="59827"/>
                </a:cubicBezTo>
                <a:lnTo>
                  <a:pt x="3552558" y="59827"/>
                </a:lnTo>
                <a:cubicBezTo>
                  <a:pt x="3551929" y="64712"/>
                  <a:pt x="3549650" y="68929"/>
                  <a:pt x="3545721" y="72478"/>
                </a:cubicBezTo>
                <a:cubicBezTo>
                  <a:pt x="3541792" y="76028"/>
                  <a:pt x="3536527" y="77887"/>
                  <a:pt x="3529927" y="78058"/>
                </a:cubicBezTo>
                <a:cubicBezTo>
                  <a:pt x="3522332" y="77918"/>
                  <a:pt x="3516304" y="75342"/>
                  <a:pt x="3511840" y="70330"/>
                </a:cubicBezTo>
                <a:cubicBezTo>
                  <a:pt x="3507376" y="65319"/>
                  <a:pt x="3505093" y="58709"/>
                  <a:pt x="3504990" y="50502"/>
                </a:cubicBezTo>
                <a:cubicBezTo>
                  <a:pt x="3505079" y="42432"/>
                  <a:pt x="3507337" y="35862"/>
                  <a:pt x="3511761" y="30791"/>
                </a:cubicBezTo>
                <a:cubicBezTo>
                  <a:pt x="3516186" y="25720"/>
                  <a:pt x="3522241" y="23105"/>
                  <a:pt x="3529927" y="22946"/>
                </a:cubicBezTo>
                <a:close/>
                <a:moveTo>
                  <a:pt x="3416046" y="22946"/>
                </a:moveTo>
                <a:cubicBezTo>
                  <a:pt x="3423840" y="23092"/>
                  <a:pt x="3429992" y="25681"/>
                  <a:pt x="3434499" y="30712"/>
                </a:cubicBezTo>
                <a:cubicBezTo>
                  <a:pt x="3439007" y="35744"/>
                  <a:pt x="3441307" y="42340"/>
                  <a:pt x="3441401" y="50502"/>
                </a:cubicBezTo>
                <a:cubicBezTo>
                  <a:pt x="3441307" y="58663"/>
                  <a:pt x="3439007" y="65260"/>
                  <a:pt x="3434499" y="70291"/>
                </a:cubicBezTo>
                <a:cubicBezTo>
                  <a:pt x="3429992" y="75323"/>
                  <a:pt x="3423840" y="77911"/>
                  <a:pt x="3416046" y="78058"/>
                </a:cubicBezTo>
                <a:cubicBezTo>
                  <a:pt x="3408251" y="77911"/>
                  <a:pt x="3402100" y="75323"/>
                  <a:pt x="3397592" y="70291"/>
                </a:cubicBezTo>
                <a:cubicBezTo>
                  <a:pt x="3393085" y="65260"/>
                  <a:pt x="3390784" y="58663"/>
                  <a:pt x="3390690" y="50502"/>
                </a:cubicBezTo>
                <a:cubicBezTo>
                  <a:pt x="3390784" y="42340"/>
                  <a:pt x="3393085" y="35744"/>
                  <a:pt x="3397592" y="30712"/>
                </a:cubicBezTo>
                <a:cubicBezTo>
                  <a:pt x="3402100" y="25681"/>
                  <a:pt x="3408251" y="23092"/>
                  <a:pt x="3416046" y="22946"/>
                </a:cubicBezTo>
                <a:close/>
                <a:moveTo>
                  <a:pt x="3358477" y="22946"/>
                </a:moveTo>
                <a:cubicBezTo>
                  <a:pt x="3363151" y="23013"/>
                  <a:pt x="3367086" y="23950"/>
                  <a:pt x="3370281" y="25755"/>
                </a:cubicBezTo>
                <a:cubicBezTo>
                  <a:pt x="3373476" y="27561"/>
                  <a:pt x="3375968" y="29833"/>
                  <a:pt x="3377755" y="32570"/>
                </a:cubicBezTo>
                <a:cubicBezTo>
                  <a:pt x="3379542" y="35307"/>
                  <a:pt x="3380660" y="38106"/>
                  <a:pt x="3381108" y="40967"/>
                </a:cubicBezTo>
                <a:lnTo>
                  <a:pt x="3372097" y="40967"/>
                </a:lnTo>
                <a:cubicBezTo>
                  <a:pt x="3371458" y="38632"/>
                  <a:pt x="3370065" y="36440"/>
                  <a:pt x="3367919" y="34393"/>
                </a:cubicBezTo>
                <a:cubicBezTo>
                  <a:pt x="3365773" y="32345"/>
                  <a:pt x="3362626" y="31254"/>
                  <a:pt x="3358477" y="31118"/>
                </a:cubicBezTo>
                <a:cubicBezTo>
                  <a:pt x="3353605" y="31212"/>
                  <a:pt x="3349780" y="33015"/>
                  <a:pt x="3347004" y="36527"/>
                </a:cubicBezTo>
                <a:cubicBezTo>
                  <a:pt x="3344227" y="40040"/>
                  <a:pt x="3342813" y="44698"/>
                  <a:pt x="3342760" y="50502"/>
                </a:cubicBezTo>
                <a:cubicBezTo>
                  <a:pt x="3342823" y="56352"/>
                  <a:pt x="3344269" y="61023"/>
                  <a:pt x="3347095" y="64515"/>
                </a:cubicBezTo>
                <a:cubicBezTo>
                  <a:pt x="3349922" y="68008"/>
                  <a:pt x="3353751" y="69798"/>
                  <a:pt x="3358581" y="69885"/>
                </a:cubicBezTo>
                <a:cubicBezTo>
                  <a:pt x="3362923" y="69748"/>
                  <a:pt x="3366132" y="68634"/>
                  <a:pt x="3368208" y="66545"/>
                </a:cubicBezTo>
                <a:cubicBezTo>
                  <a:pt x="3370284" y="64456"/>
                  <a:pt x="3371580" y="62217"/>
                  <a:pt x="3372097" y="59827"/>
                </a:cubicBezTo>
                <a:lnTo>
                  <a:pt x="3381108" y="59827"/>
                </a:lnTo>
                <a:cubicBezTo>
                  <a:pt x="3380479" y="64712"/>
                  <a:pt x="3378200" y="68929"/>
                  <a:pt x="3374271" y="72478"/>
                </a:cubicBezTo>
                <a:cubicBezTo>
                  <a:pt x="3370342" y="76028"/>
                  <a:pt x="3365077" y="77887"/>
                  <a:pt x="3358477" y="78058"/>
                </a:cubicBezTo>
                <a:cubicBezTo>
                  <a:pt x="3350883" y="77918"/>
                  <a:pt x="3344854" y="75342"/>
                  <a:pt x="3340390" y="70330"/>
                </a:cubicBezTo>
                <a:cubicBezTo>
                  <a:pt x="3335926" y="65319"/>
                  <a:pt x="3333643" y="58709"/>
                  <a:pt x="3333540" y="50502"/>
                </a:cubicBezTo>
                <a:cubicBezTo>
                  <a:pt x="3333630" y="42432"/>
                  <a:pt x="3335887" y="35862"/>
                  <a:pt x="3340311" y="30791"/>
                </a:cubicBezTo>
                <a:cubicBezTo>
                  <a:pt x="3344736" y="25720"/>
                  <a:pt x="3350791" y="23105"/>
                  <a:pt x="3358477" y="22946"/>
                </a:cubicBezTo>
                <a:close/>
                <a:moveTo>
                  <a:pt x="3234651" y="22946"/>
                </a:moveTo>
                <a:cubicBezTo>
                  <a:pt x="3239326" y="23013"/>
                  <a:pt x="3243261" y="23950"/>
                  <a:pt x="3246456" y="25755"/>
                </a:cubicBezTo>
                <a:cubicBezTo>
                  <a:pt x="3249651" y="27561"/>
                  <a:pt x="3252143" y="29833"/>
                  <a:pt x="3253930" y="32570"/>
                </a:cubicBezTo>
                <a:cubicBezTo>
                  <a:pt x="3255717" y="35307"/>
                  <a:pt x="3256835" y="38106"/>
                  <a:pt x="3257283" y="40967"/>
                </a:cubicBezTo>
                <a:lnTo>
                  <a:pt x="3248272" y="40967"/>
                </a:lnTo>
                <a:cubicBezTo>
                  <a:pt x="3247633" y="38632"/>
                  <a:pt x="3246240" y="36440"/>
                  <a:pt x="3244094" y="34393"/>
                </a:cubicBezTo>
                <a:cubicBezTo>
                  <a:pt x="3241948" y="32345"/>
                  <a:pt x="3238801" y="31254"/>
                  <a:pt x="3234651" y="31118"/>
                </a:cubicBezTo>
                <a:cubicBezTo>
                  <a:pt x="3229780" y="31212"/>
                  <a:pt x="3225955" y="33015"/>
                  <a:pt x="3223179" y="36527"/>
                </a:cubicBezTo>
                <a:cubicBezTo>
                  <a:pt x="3220402" y="40040"/>
                  <a:pt x="3218988" y="44698"/>
                  <a:pt x="3218935" y="50502"/>
                </a:cubicBezTo>
                <a:cubicBezTo>
                  <a:pt x="3218998" y="56352"/>
                  <a:pt x="3220443" y="61023"/>
                  <a:pt x="3223270" y="64515"/>
                </a:cubicBezTo>
                <a:cubicBezTo>
                  <a:pt x="3226097" y="68008"/>
                  <a:pt x="3229926" y="69798"/>
                  <a:pt x="3234756" y="69885"/>
                </a:cubicBezTo>
                <a:cubicBezTo>
                  <a:pt x="3239098" y="69748"/>
                  <a:pt x="3242307" y="68634"/>
                  <a:pt x="3244383" y="66545"/>
                </a:cubicBezTo>
                <a:cubicBezTo>
                  <a:pt x="3246458" y="64456"/>
                  <a:pt x="3247755" y="62217"/>
                  <a:pt x="3248272" y="59827"/>
                </a:cubicBezTo>
                <a:lnTo>
                  <a:pt x="3257283" y="59827"/>
                </a:lnTo>
                <a:cubicBezTo>
                  <a:pt x="3256654" y="64712"/>
                  <a:pt x="3254375" y="68929"/>
                  <a:pt x="3250446" y="72478"/>
                </a:cubicBezTo>
                <a:cubicBezTo>
                  <a:pt x="3246517" y="76028"/>
                  <a:pt x="3241252" y="77887"/>
                  <a:pt x="3234651" y="78058"/>
                </a:cubicBezTo>
                <a:cubicBezTo>
                  <a:pt x="3227057" y="77918"/>
                  <a:pt x="3221028" y="75342"/>
                  <a:pt x="3216565" y="70330"/>
                </a:cubicBezTo>
                <a:cubicBezTo>
                  <a:pt x="3212101" y="65319"/>
                  <a:pt x="3209818" y="58709"/>
                  <a:pt x="3209715" y="50502"/>
                </a:cubicBezTo>
                <a:cubicBezTo>
                  <a:pt x="3209804" y="42432"/>
                  <a:pt x="3212062" y="35862"/>
                  <a:pt x="3216486" y="30791"/>
                </a:cubicBezTo>
                <a:cubicBezTo>
                  <a:pt x="3220910" y="25720"/>
                  <a:pt x="3226966" y="23105"/>
                  <a:pt x="3234651" y="22946"/>
                </a:cubicBezTo>
                <a:close/>
                <a:moveTo>
                  <a:pt x="3123199" y="22946"/>
                </a:moveTo>
                <a:cubicBezTo>
                  <a:pt x="3130885" y="23092"/>
                  <a:pt x="3136941" y="25681"/>
                  <a:pt x="3141365" y="30712"/>
                </a:cubicBezTo>
                <a:cubicBezTo>
                  <a:pt x="3145789" y="35744"/>
                  <a:pt x="3148047" y="42340"/>
                  <a:pt x="3148136" y="50502"/>
                </a:cubicBezTo>
                <a:cubicBezTo>
                  <a:pt x="3148047" y="58663"/>
                  <a:pt x="3145789" y="65260"/>
                  <a:pt x="3141365" y="70291"/>
                </a:cubicBezTo>
                <a:cubicBezTo>
                  <a:pt x="3136941" y="75323"/>
                  <a:pt x="3130885" y="77911"/>
                  <a:pt x="3123199" y="78058"/>
                </a:cubicBezTo>
                <a:cubicBezTo>
                  <a:pt x="3116193" y="77940"/>
                  <a:pt x="3110482" y="75661"/>
                  <a:pt x="3106069" y="71221"/>
                </a:cubicBezTo>
                <a:cubicBezTo>
                  <a:pt x="3101655" y="66781"/>
                  <a:pt x="3099088" y="60888"/>
                  <a:pt x="3098368" y="53540"/>
                </a:cubicBezTo>
                <a:lnTo>
                  <a:pt x="3088519" y="53540"/>
                </a:lnTo>
                <a:lnTo>
                  <a:pt x="3088519" y="76905"/>
                </a:lnTo>
                <a:lnTo>
                  <a:pt x="3079508" y="76905"/>
                </a:lnTo>
                <a:lnTo>
                  <a:pt x="3079508" y="24098"/>
                </a:lnTo>
                <a:lnTo>
                  <a:pt x="3088519" y="24098"/>
                </a:lnTo>
                <a:lnTo>
                  <a:pt x="3088519" y="45368"/>
                </a:lnTo>
                <a:lnTo>
                  <a:pt x="3098578" y="45368"/>
                </a:lnTo>
                <a:cubicBezTo>
                  <a:pt x="3099655" y="38612"/>
                  <a:pt x="3102371" y="33212"/>
                  <a:pt x="3106724" y="29167"/>
                </a:cubicBezTo>
                <a:cubicBezTo>
                  <a:pt x="3111076" y="25122"/>
                  <a:pt x="3116568" y="23049"/>
                  <a:pt x="3123199" y="22946"/>
                </a:cubicBezTo>
                <a:close/>
                <a:moveTo>
                  <a:pt x="2699261" y="22946"/>
                </a:moveTo>
                <a:cubicBezTo>
                  <a:pt x="2705530" y="22996"/>
                  <a:pt x="2710515" y="24677"/>
                  <a:pt x="2714218" y="27988"/>
                </a:cubicBezTo>
                <a:cubicBezTo>
                  <a:pt x="2717920" y="31300"/>
                  <a:pt x="2719814" y="35940"/>
                  <a:pt x="2719901" y="41910"/>
                </a:cubicBezTo>
                <a:lnTo>
                  <a:pt x="2719901" y="76905"/>
                </a:lnTo>
                <a:lnTo>
                  <a:pt x="2711415" y="76905"/>
                </a:lnTo>
                <a:lnTo>
                  <a:pt x="2711415" y="70619"/>
                </a:lnTo>
                <a:cubicBezTo>
                  <a:pt x="2709384" y="73083"/>
                  <a:pt x="2706896" y="74938"/>
                  <a:pt x="2703950" y="76185"/>
                </a:cubicBezTo>
                <a:cubicBezTo>
                  <a:pt x="2701003" y="77431"/>
                  <a:pt x="2697833" y="78055"/>
                  <a:pt x="2694441" y="78058"/>
                </a:cubicBezTo>
                <a:cubicBezTo>
                  <a:pt x="2689189" y="78010"/>
                  <a:pt x="2684868" y="76560"/>
                  <a:pt x="2681475" y="73709"/>
                </a:cubicBezTo>
                <a:cubicBezTo>
                  <a:pt x="2678083" y="70859"/>
                  <a:pt x="2676328" y="66895"/>
                  <a:pt x="2676210" y="61817"/>
                </a:cubicBezTo>
                <a:cubicBezTo>
                  <a:pt x="2676269" y="56690"/>
                  <a:pt x="2678116" y="52695"/>
                  <a:pt x="2681750" y="49834"/>
                </a:cubicBezTo>
                <a:cubicBezTo>
                  <a:pt x="2685385" y="46972"/>
                  <a:pt x="2690453" y="45518"/>
                  <a:pt x="2696956" y="45473"/>
                </a:cubicBezTo>
                <a:lnTo>
                  <a:pt x="2710995" y="45473"/>
                </a:lnTo>
                <a:lnTo>
                  <a:pt x="2710995" y="41910"/>
                </a:lnTo>
                <a:cubicBezTo>
                  <a:pt x="2710924" y="38243"/>
                  <a:pt x="2709784" y="35493"/>
                  <a:pt x="2707577" y="33659"/>
                </a:cubicBezTo>
                <a:cubicBezTo>
                  <a:pt x="2705370" y="31826"/>
                  <a:pt x="2702528" y="30909"/>
                  <a:pt x="2699051" y="30909"/>
                </a:cubicBezTo>
                <a:cubicBezTo>
                  <a:pt x="2695611" y="30959"/>
                  <a:pt x="2692904" y="31644"/>
                  <a:pt x="2690931" y="32965"/>
                </a:cubicBezTo>
                <a:cubicBezTo>
                  <a:pt x="2688958" y="34286"/>
                  <a:pt x="2687613" y="35940"/>
                  <a:pt x="2686898" y="37929"/>
                </a:cubicBezTo>
                <a:lnTo>
                  <a:pt x="2678201" y="37929"/>
                </a:lnTo>
                <a:cubicBezTo>
                  <a:pt x="2679059" y="33729"/>
                  <a:pt x="2681272" y="30210"/>
                  <a:pt x="2684841" y="27373"/>
                </a:cubicBezTo>
                <a:cubicBezTo>
                  <a:pt x="2688410" y="24535"/>
                  <a:pt x="2693217" y="23059"/>
                  <a:pt x="2699261" y="22946"/>
                </a:cubicBezTo>
                <a:close/>
                <a:moveTo>
                  <a:pt x="2592809" y="22946"/>
                </a:moveTo>
                <a:cubicBezTo>
                  <a:pt x="2598166" y="22992"/>
                  <a:pt x="2602567" y="24341"/>
                  <a:pt x="2606011" y="26993"/>
                </a:cubicBezTo>
                <a:cubicBezTo>
                  <a:pt x="2609456" y="29645"/>
                  <a:pt x="2611237" y="33325"/>
                  <a:pt x="2611354" y="38034"/>
                </a:cubicBezTo>
                <a:cubicBezTo>
                  <a:pt x="2611270" y="41210"/>
                  <a:pt x="2610471" y="43711"/>
                  <a:pt x="2608958" y="45538"/>
                </a:cubicBezTo>
                <a:cubicBezTo>
                  <a:pt x="2607445" y="47365"/>
                  <a:pt x="2605729" y="48635"/>
                  <a:pt x="2603811" y="49349"/>
                </a:cubicBezTo>
                <a:cubicBezTo>
                  <a:pt x="2605913" y="49773"/>
                  <a:pt x="2608021" y="50943"/>
                  <a:pt x="2610137" y="52859"/>
                </a:cubicBezTo>
                <a:cubicBezTo>
                  <a:pt x="2612251" y="54776"/>
                  <a:pt x="2613391" y="57727"/>
                  <a:pt x="2613555" y="61713"/>
                </a:cubicBezTo>
                <a:cubicBezTo>
                  <a:pt x="2613426" y="66794"/>
                  <a:pt x="2611431" y="70776"/>
                  <a:pt x="2607570" y="73657"/>
                </a:cubicBezTo>
                <a:cubicBezTo>
                  <a:pt x="2603709" y="76538"/>
                  <a:pt x="2598754" y="78005"/>
                  <a:pt x="2592705" y="78058"/>
                </a:cubicBezTo>
                <a:cubicBezTo>
                  <a:pt x="2587027" y="78055"/>
                  <a:pt x="2582194" y="76698"/>
                  <a:pt x="2578207" y="73984"/>
                </a:cubicBezTo>
                <a:cubicBezTo>
                  <a:pt x="2574219" y="71271"/>
                  <a:pt x="2571822" y="67216"/>
                  <a:pt x="2571016" y="61817"/>
                </a:cubicBezTo>
                <a:lnTo>
                  <a:pt x="2579922" y="61817"/>
                </a:lnTo>
                <a:cubicBezTo>
                  <a:pt x="2580595" y="64500"/>
                  <a:pt x="2582079" y="66548"/>
                  <a:pt x="2584375" y="67960"/>
                </a:cubicBezTo>
                <a:cubicBezTo>
                  <a:pt x="2586672" y="69372"/>
                  <a:pt x="2589518" y="70084"/>
                  <a:pt x="2592914" y="70095"/>
                </a:cubicBezTo>
                <a:cubicBezTo>
                  <a:pt x="2596470" y="70075"/>
                  <a:pt x="2599286" y="69329"/>
                  <a:pt x="2601362" y="67855"/>
                </a:cubicBezTo>
                <a:cubicBezTo>
                  <a:pt x="2603437" y="66382"/>
                  <a:pt x="2604499" y="64299"/>
                  <a:pt x="2604544" y="61608"/>
                </a:cubicBezTo>
                <a:cubicBezTo>
                  <a:pt x="2604536" y="59039"/>
                  <a:pt x="2603557" y="57105"/>
                  <a:pt x="2601610" y="55806"/>
                </a:cubicBezTo>
                <a:cubicBezTo>
                  <a:pt x="2599664" y="54507"/>
                  <a:pt x="2596799" y="53857"/>
                  <a:pt x="2593019" y="53855"/>
                </a:cubicBezTo>
                <a:lnTo>
                  <a:pt x="2584741" y="53855"/>
                </a:lnTo>
                <a:lnTo>
                  <a:pt x="2584741" y="46101"/>
                </a:lnTo>
                <a:lnTo>
                  <a:pt x="2592495" y="46101"/>
                </a:lnTo>
                <a:cubicBezTo>
                  <a:pt x="2595706" y="46086"/>
                  <a:pt x="2598164" y="45409"/>
                  <a:pt x="2599869" y="44071"/>
                </a:cubicBezTo>
                <a:cubicBezTo>
                  <a:pt x="2601573" y="42733"/>
                  <a:pt x="2602434" y="40825"/>
                  <a:pt x="2602449" y="38348"/>
                </a:cubicBezTo>
                <a:cubicBezTo>
                  <a:pt x="2602414" y="35975"/>
                  <a:pt x="2601514" y="34146"/>
                  <a:pt x="2599751" y="32860"/>
                </a:cubicBezTo>
                <a:cubicBezTo>
                  <a:pt x="2597987" y="31575"/>
                  <a:pt x="2595568" y="30924"/>
                  <a:pt x="2592495" y="30909"/>
                </a:cubicBezTo>
                <a:cubicBezTo>
                  <a:pt x="2589142" y="30959"/>
                  <a:pt x="2586497" y="31671"/>
                  <a:pt x="2584558" y="33044"/>
                </a:cubicBezTo>
                <a:cubicBezTo>
                  <a:pt x="2582620" y="34417"/>
                  <a:pt x="2581389" y="36150"/>
                  <a:pt x="2580865" y="38243"/>
                </a:cubicBezTo>
                <a:lnTo>
                  <a:pt x="2572064" y="38243"/>
                </a:lnTo>
                <a:cubicBezTo>
                  <a:pt x="2572791" y="33205"/>
                  <a:pt x="2575109" y="29398"/>
                  <a:pt x="2579019" y="26823"/>
                </a:cubicBezTo>
                <a:cubicBezTo>
                  <a:pt x="2582928" y="24247"/>
                  <a:pt x="2587525" y="22955"/>
                  <a:pt x="2592809" y="22946"/>
                </a:cubicBezTo>
                <a:close/>
                <a:moveTo>
                  <a:pt x="2520172" y="22946"/>
                </a:moveTo>
                <a:cubicBezTo>
                  <a:pt x="2527275" y="23033"/>
                  <a:pt x="2532872" y="25347"/>
                  <a:pt x="2536962" y="29887"/>
                </a:cubicBezTo>
                <a:cubicBezTo>
                  <a:pt x="2541052" y="34428"/>
                  <a:pt x="2543140" y="40670"/>
                  <a:pt x="2543222" y="48616"/>
                </a:cubicBezTo>
                <a:lnTo>
                  <a:pt x="2543222" y="53226"/>
                </a:lnTo>
                <a:lnTo>
                  <a:pt x="2504770" y="53226"/>
                </a:lnTo>
                <a:lnTo>
                  <a:pt x="2504770" y="53435"/>
                </a:lnTo>
                <a:cubicBezTo>
                  <a:pt x="2504838" y="58251"/>
                  <a:pt x="2506327" y="62189"/>
                  <a:pt x="2509236" y="65249"/>
                </a:cubicBezTo>
                <a:cubicBezTo>
                  <a:pt x="2512145" y="68309"/>
                  <a:pt x="2516070" y="69890"/>
                  <a:pt x="2521010" y="69990"/>
                </a:cubicBezTo>
                <a:cubicBezTo>
                  <a:pt x="2524679" y="69881"/>
                  <a:pt x="2527556" y="69104"/>
                  <a:pt x="2529641" y="67659"/>
                </a:cubicBezTo>
                <a:cubicBezTo>
                  <a:pt x="2531725" y="66214"/>
                  <a:pt x="2533005" y="64756"/>
                  <a:pt x="2533478" y="63284"/>
                </a:cubicBezTo>
                <a:lnTo>
                  <a:pt x="2542594" y="63284"/>
                </a:lnTo>
                <a:cubicBezTo>
                  <a:pt x="2542151" y="65413"/>
                  <a:pt x="2541092" y="67605"/>
                  <a:pt x="2539415" y="69862"/>
                </a:cubicBezTo>
                <a:cubicBezTo>
                  <a:pt x="2537739" y="72118"/>
                  <a:pt x="2535376" y="74032"/>
                  <a:pt x="2532326" y="75601"/>
                </a:cubicBezTo>
                <a:cubicBezTo>
                  <a:pt x="2529275" y="77171"/>
                  <a:pt x="2525469" y="77990"/>
                  <a:pt x="2520905" y="78058"/>
                </a:cubicBezTo>
                <a:cubicBezTo>
                  <a:pt x="2513148" y="77970"/>
                  <a:pt x="2506974" y="75499"/>
                  <a:pt x="2502386" y="70645"/>
                </a:cubicBezTo>
                <a:cubicBezTo>
                  <a:pt x="2497798" y="65790"/>
                  <a:pt x="2495449" y="59076"/>
                  <a:pt x="2495340" y="50502"/>
                </a:cubicBezTo>
                <a:cubicBezTo>
                  <a:pt x="2495471" y="41882"/>
                  <a:pt x="2497802" y="35154"/>
                  <a:pt x="2502334" y="30319"/>
                </a:cubicBezTo>
                <a:cubicBezTo>
                  <a:pt x="2506865" y="25485"/>
                  <a:pt x="2512811" y="23027"/>
                  <a:pt x="2520172" y="22946"/>
                </a:cubicBezTo>
                <a:close/>
                <a:moveTo>
                  <a:pt x="2333968" y="22946"/>
                </a:moveTo>
                <a:cubicBezTo>
                  <a:pt x="2338022" y="22943"/>
                  <a:pt x="2341847" y="23950"/>
                  <a:pt x="2345442" y="25969"/>
                </a:cubicBezTo>
                <a:cubicBezTo>
                  <a:pt x="2349038" y="27987"/>
                  <a:pt x="2351971" y="31036"/>
                  <a:pt x="2354240" y="35115"/>
                </a:cubicBezTo>
                <a:cubicBezTo>
                  <a:pt x="2356508" y="39194"/>
                  <a:pt x="2357679" y="44323"/>
                  <a:pt x="2357751" y="50502"/>
                </a:cubicBezTo>
                <a:cubicBezTo>
                  <a:pt x="2357679" y="56713"/>
                  <a:pt x="2356497" y="61858"/>
                  <a:pt x="2354205" y="65935"/>
                </a:cubicBezTo>
                <a:cubicBezTo>
                  <a:pt x="2351913" y="70012"/>
                  <a:pt x="2348945" y="73053"/>
                  <a:pt x="2345303" y="75058"/>
                </a:cubicBezTo>
                <a:cubicBezTo>
                  <a:pt x="2341660" y="77063"/>
                  <a:pt x="2337777" y="78063"/>
                  <a:pt x="2333653" y="78058"/>
                </a:cubicBezTo>
                <a:cubicBezTo>
                  <a:pt x="2329403" y="77981"/>
                  <a:pt x="2325880" y="77191"/>
                  <a:pt x="2323084" y="75687"/>
                </a:cubicBezTo>
                <a:cubicBezTo>
                  <a:pt x="2320288" y="74183"/>
                  <a:pt x="2318258" y="72424"/>
                  <a:pt x="2316994" y="70409"/>
                </a:cubicBezTo>
                <a:lnTo>
                  <a:pt x="2316994" y="96917"/>
                </a:lnTo>
                <a:lnTo>
                  <a:pt x="2307984" y="96917"/>
                </a:lnTo>
                <a:lnTo>
                  <a:pt x="2307984" y="24098"/>
                </a:lnTo>
                <a:lnTo>
                  <a:pt x="2316680" y="24098"/>
                </a:lnTo>
                <a:lnTo>
                  <a:pt x="2316680" y="31642"/>
                </a:lnTo>
                <a:cubicBezTo>
                  <a:pt x="2317976" y="29309"/>
                  <a:pt x="2320045" y="27296"/>
                  <a:pt x="2322888" y="25605"/>
                </a:cubicBezTo>
                <a:cubicBezTo>
                  <a:pt x="2325730" y="23913"/>
                  <a:pt x="2329423" y="23027"/>
                  <a:pt x="2333968" y="22946"/>
                </a:cubicBezTo>
                <a:close/>
                <a:moveTo>
                  <a:pt x="2270636" y="22946"/>
                </a:moveTo>
                <a:cubicBezTo>
                  <a:pt x="2276905" y="22996"/>
                  <a:pt x="2281891" y="24677"/>
                  <a:pt x="2285592" y="27988"/>
                </a:cubicBezTo>
                <a:cubicBezTo>
                  <a:pt x="2289295" y="31300"/>
                  <a:pt x="2291189" y="35940"/>
                  <a:pt x="2291277" y="41910"/>
                </a:cubicBezTo>
                <a:lnTo>
                  <a:pt x="2291277" y="76905"/>
                </a:lnTo>
                <a:lnTo>
                  <a:pt x="2282790" y="76905"/>
                </a:lnTo>
                <a:lnTo>
                  <a:pt x="2282790" y="70619"/>
                </a:lnTo>
                <a:cubicBezTo>
                  <a:pt x="2280760" y="73083"/>
                  <a:pt x="2278271" y="74938"/>
                  <a:pt x="2275324" y="76185"/>
                </a:cubicBezTo>
                <a:cubicBezTo>
                  <a:pt x="2272378" y="77431"/>
                  <a:pt x="2269209" y="78055"/>
                  <a:pt x="2265816" y="78058"/>
                </a:cubicBezTo>
                <a:cubicBezTo>
                  <a:pt x="2260564" y="78010"/>
                  <a:pt x="2256242" y="76560"/>
                  <a:pt x="2252850" y="73709"/>
                </a:cubicBezTo>
                <a:cubicBezTo>
                  <a:pt x="2249458" y="70859"/>
                  <a:pt x="2247703" y="66895"/>
                  <a:pt x="2247585" y="61817"/>
                </a:cubicBezTo>
                <a:cubicBezTo>
                  <a:pt x="2247644" y="56690"/>
                  <a:pt x="2249491" y="52695"/>
                  <a:pt x="2253125" y="49834"/>
                </a:cubicBezTo>
                <a:cubicBezTo>
                  <a:pt x="2256760" y="46972"/>
                  <a:pt x="2261828" y="45518"/>
                  <a:pt x="2268331" y="45473"/>
                </a:cubicBezTo>
                <a:lnTo>
                  <a:pt x="2282371" y="45473"/>
                </a:lnTo>
                <a:lnTo>
                  <a:pt x="2282371" y="41910"/>
                </a:lnTo>
                <a:cubicBezTo>
                  <a:pt x="2282298" y="38243"/>
                  <a:pt x="2281159" y="35493"/>
                  <a:pt x="2278952" y="33659"/>
                </a:cubicBezTo>
                <a:cubicBezTo>
                  <a:pt x="2276746" y="31826"/>
                  <a:pt x="2273904" y="30909"/>
                  <a:pt x="2270426" y="30909"/>
                </a:cubicBezTo>
                <a:cubicBezTo>
                  <a:pt x="2266986" y="30959"/>
                  <a:pt x="2264280" y="31644"/>
                  <a:pt x="2262306" y="32965"/>
                </a:cubicBezTo>
                <a:cubicBezTo>
                  <a:pt x="2260333" y="34286"/>
                  <a:pt x="2258988" y="35940"/>
                  <a:pt x="2258272" y="37929"/>
                </a:cubicBezTo>
                <a:lnTo>
                  <a:pt x="2249576" y="37929"/>
                </a:lnTo>
                <a:cubicBezTo>
                  <a:pt x="2250434" y="33729"/>
                  <a:pt x="2252647" y="30210"/>
                  <a:pt x="2256216" y="27373"/>
                </a:cubicBezTo>
                <a:cubicBezTo>
                  <a:pt x="2259785" y="24535"/>
                  <a:pt x="2264592" y="23059"/>
                  <a:pt x="2270636" y="22946"/>
                </a:cubicBezTo>
                <a:close/>
                <a:moveTo>
                  <a:pt x="2158746" y="22946"/>
                </a:moveTo>
                <a:cubicBezTo>
                  <a:pt x="2166541" y="23092"/>
                  <a:pt x="2172692" y="25681"/>
                  <a:pt x="2177199" y="30712"/>
                </a:cubicBezTo>
                <a:cubicBezTo>
                  <a:pt x="2181707" y="35744"/>
                  <a:pt x="2184007" y="42340"/>
                  <a:pt x="2184101" y="50502"/>
                </a:cubicBezTo>
                <a:cubicBezTo>
                  <a:pt x="2184007" y="58663"/>
                  <a:pt x="2181707" y="65260"/>
                  <a:pt x="2177199" y="70291"/>
                </a:cubicBezTo>
                <a:cubicBezTo>
                  <a:pt x="2172692" y="75323"/>
                  <a:pt x="2166541" y="77911"/>
                  <a:pt x="2158746" y="78058"/>
                </a:cubicBezTo>
                <a:cubicBezTo>
                  <a:pt x="2150951" y="77911"/>
                  <a:pt x="2144800" y="75323"/>
                  <a:pt x="2140292" y="70291"/>
                </a:cubicBezTo>
                <a:cubicBezTo>
                  <a:pt x="2135785" y="65260"/>
                  <a:pt x="2133484" y="58663"/>
                  <a:pt x="2133390" y="50502"/>
                </a:cubicBezTo>
                <a:cubicBezTo>
                  <a:pt x="2133484" y="42340"/>
                  <a:pt x="2135785" y="35744"/>
                  <a:pt x="2140292" y="30712"/>
                </a:cubicBezTo>
                <a:cubicBezTo>
                  <a:pt x="2144800" y="25681"/>
                  <a:pt x="2150951" y="23092"/>
                  <a:pt x="2158746" y="22946"/>
                </a:cubicBezTo>
                <a:close/>
                <a:moveTo>
                  <a:pt x="2043922" y="22946"/>
                </a:moveTo>
                <a:cubicBezTo>
                  <a:pt x="2051025" y="23033"/>
                  <a:pt x="2056621" y="25347"/>
                  <a:pt x="2060712" y="29887"/>
                </a:cubicBezTo>
                <a:cubicBezTo>
                  <a:pt x="2064803" y="34428"/>
                  <a:pt x="2066889" y="40670"/>
                  <a:pt x="2066972" y="48616"/>
                </a:cubicBezTo>
                <a:lnTo>
                  <a:pt x="2066972" y="53226"/>
                </a:lnTo>
                <a:lnTo>
                  <a:pt x="2028520" y="53226"/>
                </a:lnTo>
                <a:lnTo>
                  <a:pt x="2028520" y="53435"/>
                </a:lnTo>
                <a:cubicBezTo>
                  <a:pt x="2028588" y="58251"/>
                  <a:pt x="2030076" y="62189"/>
                  <a:pt x="2032986" y="65249"/>
                </a:cubicBezTo>
                <a:cubicBezTo>
                  <a:pt x="2035896" y="68309"/>
                  <a:pt x="2039820" y="69890"/>
                  <a:pt x="2044760" y="69990"/>
                </a:cubicBezTo>
                <a:cubicBezTo>
                  <a:pt x="2048429" y="69881"/>
                  <a:pt x="2051306" y="69104"/>
                  <a:pt x="2053391" y="67659"/>
                </a:cubicBezTo>
                <a:cubicBezTo>
                  <a:pt x="2055475" y="66214"/>
                  <a:pt x="2056755" y="64756"/>
                  <a:pt x="2057228" y="63284"/>
                </a:cubicBezTo>
                <a:lnTo>
                  <a:pt x="2066344" y="63284"/>
                </a:lnTo>
                <a:cubicBezTo>
                  <a:pt x="2065901" y="65413"/>
                  <a:pt x="2064842" y="67605"/>
                  <a:pt x="2063166" y="69862"/>
                </a:cubicBezTo>
                <a:cubicBezTo>
                  <a:pt x="2061489" y="72118"/>
                  <a:pt x="2059126" y="74032"/>
                  <a:pt x="2056076" y="75601"/>
                </a:cubicBezTo>
                <a:cubicBezTo>
                  <a:pt x="2053026" y="77171"/>
                  <a:pt x="2049219" y="77990"/>
                  <a:pt x="2044655" y="78058"/>
                </a:cubicBezTo>
                <a:cubicBezTo>
                  <a:pt x="2036898" y="77970"/>
                  <a:pt x="2030724" y="75499"/>
                  <a:pt x="2026137" y="70645"/>
                </a:cubicBezTo>
                <a:cubicBezTo>
                  <a:pt x="2021548" y="65790"/>
                  <a:pt x="2019199" y="59076"/>
                  <a:pt x="2019090" y="50502"/>
                </a:cubicBezTo>
                <a:cubicBezTo>
                  <a:pt x="2019221" y="41882"/>
                  <a:pt x="2021552" y="35154"/>
                  <a:pt x="2026084" y="30319"/>
                </a:cubicBezTo>
                <a:cubicBezTo>
                  <a:pt x="2030616" y="25485"/>
                  <a:pt x="2036561" y="23027"/>
                  <a:pt x="2043922" y="22946"/>
                </a:cubicBezTo>
                <a:close/>
                <a:moveTo>
                  <a:pt x="1986877" y="22946"/>
                </a:moveTo>
                <a:cubicBezTo>
                  <a:pt x="1991551" y="23013"/>
                  <a:pt x="1995486" y="23950"/>
                  <a:pt x="1998681" y="25755"/>
                </a:cubicBezTo>
                <a:cubicBezTo>
                  <a:pt x="2001877" y="27561"/>
                  <a:pt x="2004368" y="29833"/>
                  <a:pt x="2006155" y="32570"/>
                </a:cubicBezTo>
                <a:cubicBezTo>
                  <a:pt x="2007942" y="35307"/>
                  <a:pt x="2009060" y="38106"/>
                  <a:pt x="2009508" y="40967"/>
                </a:cubicBezTo>
                <a:lnTo>
                  <a:pt x="2000497" y="40967"/>
                </a:lnTo>
                <a:cubicBezTo>
                  <a:pt x="1999858" y="38632"/>
                  <a:pt x="1998465" y="36440"/>
                  <a:pt x="1996320" y="34393"/>
                </a:cubicBezTo>
                <a:cubicBezTo>
                  <a:pt x="1994174" y="32345"/>
                  <a:pt x="1991026" y="31254"/>
                  <a:pt x="1986877" y="31118"/>
                </a:cubicBezTo>
                <a:cubicBezTo>
                  <a:pt x="1982004" y="31212"/>
                  <a:pt x="1978180" y="33015"/>
                  <a:pt x="1975404" y="36527"/>
                </a:cubicBezTo>
                <a:cubicBezTo>
                  <a:pt x="1972627" y="40040"/>
                  <a:pt x="1971213" y="44698"/>
                  <a:pt x="1971161" y="50502"/>
                </a:cubicBezTo>
                <a:cubicBezTo>
                  <a:pt x="1971224" y="56352"/>
                  <a:pt x="1972669" y="61023"/>
                  <a:pt x="1975495" y="64515"/>
                </a:cubicBezTo>
                <a:cubicBezTo>
                  <a:pt x="1978322" y="68008"/>
                  <a:pt x="1982151" y="69798"/>
                  <a:pt x="1986981" y="69885"/>
                </a:cubicBezTo>
                <a:cubicBezTo>
                  <a:pt x="1991323" y="69748"/>
                  <a:pt x="1994532" y="68634"/>
                  <a:pt x="1996608" y="66545"/>
                </a:cubicBezTo>
                <a:cubicBezTo>
                  <a:pt x="1998684" y="64456"/>
                  <a:pt x="1999980" y="62217"/>
                  <a:pt x="2000497" y="59827"/>
                </a:cubicBezTo>
                <a:lnTo>
                  <a:pt x="2009508" y="59827"/>
                </a:lnTo>
                <a:cubicBezTo>
                  <a:pt x="2008879" y="64712"/>
                  <a:pt x="2006600" y="68929"/>
                  <a:pt x="2002671" y="72478"/>
                </a:cubicBezTo>
                <a:cubicBezTo>
                  <a:pt x="1998742" y="76028"/>
                  <a:pt x="1993477" y="77887"/>
                  <a:pt x="1986877" y="78058"/>
                </a:cubicBezTo>
                <a:cubicBezTo>
                  <a:pt x="1979283" y="77918"/>
                  <a:pt x="1973254" y="75342"/>
                  <a:pt x="1968790" y="70330"/>
                </a:cubicBezTo>
                <a:cubicBezTo>
                  <a:pt x="1964326" y="65319"/>
                  <a:pt x="1962043" y="58709"/>
                  <a:pt x="1961940" y="50502"/>
                </a:cubicBezTo>
                <a:cubicBezTo>
                  <a:pt x="1962030" y="42432"/>
                  <a:pt x="1964287" y="35862"/>
                  <a:pt x="1968711" y="30791"/>
                </a:cubicBezTo>
                <a:cubicBezTo>
                  <a:pt x="1973136" y="25720"/>
                  <a:pt x="1979191" y="23105"/>
                  <a:pt x="1986877" y="22946"/>
                </a:cubicBezTo>
                <a:close/>
                <a:moveTo>
                  <a:pt x="1691497" y="22946"/>
                </a:moveTo>
                <a:cubicBezTo>
                  <a:pt x="1698600" y="23033"/>
                  <a:pt x="1704196" y="25347"/>
                  <a:pt x="1708287" y="29887"/>
                </a:cubicBezTo>
                <a:cubicBezTo>
                  <a:pt x="1712378" y="34428"/>
                  <a:pt x="1714464" y="40670"/>
                  <a:pt x="1714547" y="48616"/>
                </a:cubicBezTo>
                <a:lnTo>
                  <a:pt x="1714547" y="53226"/>
                </a:lnTo>
                <a:lnTo>
                  <a:pt x="1676095" y="53226"/>
                </a:lnTo>
                <a:lnTo>
                  <a:pt x="1676095" y="53435"/>
                </a:lnTo>
                <a:cubicBezTo>
                  <a:pt x="1676163" y="58251"/>
                  <a:pt x="1677651" y="62189"/>
                  <a:pt x="1680561" y="65249"/>
                </a:cubicBezTo>
                <a:cubicBezTo>
                  <a:pt x="1683471" y="68309"/>
                  <a:pt x="1687395" y="69890"/>
                  <a:pt x="1692335" y="69990"/>
                </a:cubicBezTo>
                <a:cubicBezTo>
                  <a:pt x="1696004" y="69881"/>
                  <a:pt x="1698881" y="69104"/>
                  <a:pt x="1700966" y="67659"/>
                </a:cubicBezTo>
                <a:cubicBezTo>
                  <a:pt x="1703050" y="66214"/>
                  <a:pt x="1704330" y="64756"/>
                  <a:pt x="1704803" y="63284"/>
                </a:cubicBezTo>
                <a:lnTo>
                  <a:pt x="1713919" y="63284"/>
                </a:lnTo>
                <a:cubicBezTo>
                  <a:pt x="1713476" y="65413"/>
                  <a:pt x="1712417" y="67605"/>
                  <a:pt x="1710741" y="69862"/>
                </a:cubicBezTo>
                <a:cubicBezTo>
                  <a:pt x="1709064" y="72118"/>
                  <a:pt x="1706701" y="74032"/>
                  <a:pt x="1703651" y="75601"/>
                </a:cubicBezTo>
                <a:cubicBezTo>
                  <a:pt x="1700601" y="77171"/>
                  <a:pt x="1696794" y="77990"/>
                  <a:pt x="1692230" y="78058"/>
                </a:cubicBezTo>
                <a:cubicBezTo>
                  <a:pt x="1684473" y="77970"/>
                  <a:pt x="1678300" y="75499"/>
                  <a:pt x="1673711" y="70645"/>
                </a:cubicBezTo>
                <a:cubicBezTo>
                  <a:pt x="1669123" y="65790"/>
                  <a:pt x="1666774" y="59076"/>
                  <a:pt x="1666665" y="50502"/>
                </a:cubicBezTo>
                <a:cubicBezTo>
                  <a:pt x="1666796" y="41882"/>
                  <a:pt x="1669127" y="35154"/>
                  <a:pt x="1673659" y="30319"/>
                </a:cubicBezTo>
                <a:cubicBezTo>
                  <a:pt x="1678191" y="25485"/>
                  <a:pt x="1684136" y="23027"/>
                  <a:pt x="1691497" y="22946"/>
                </a:cubicBezTo>
                <a:close/>
                <a:moveTo>
                  <a:pt x="1403861" y="22946"/>
                </a:moveTo>
                <a:cubicBezTo>
                  <a:pt x="1410130" y="22996"/>
                  <a:pt x="1415116" y="24677"/>
                  <a:pt x="1418818" y="27988"/>
                </a:cubicBezTo>
                <a:cubicBezTo>
                  <a:pt x="1422519" y="31300"/>
                  <a:pt x="1424414" y="35940"/>
                  <a:pt x="1424502" y="41910"/>
                </a:cubicBezTo>
                <a:lnTo>
                  <a:pt x="1424502" y="76905"/>
                </a:lnTo>
                <a:lnTo>
                  <a:pt x="1416015" y="76905"/>
                </a:lnTo>
                <a:lnTo>
                  <a:pt x="1416015" y="70619"/>
                </a:lnTo>
                <a:cubicBezTo>
                  <a:pt x="1413985" y="73083"/>
                  <a:pt x="1411496" y="74938"/>
                  <a:pt x="1408550" y="76185"/>
                </a:cubicBezTo>
                <a:cubicBezTo>
                  <a:pt x="1405603" y="77431"/>
                  <a:pt x="1402433" y="78055"/>
                  <a:pt x="1399041" y="78058"/>
                </a:cubicBezTo>
                <a:cubicBezTo>
                  <a:pt x="1393790" y="78010"/>
                  <a:pt x="1389467" y="76560"/>
                  <a:pt x="1386075" y="73709"/>
                </a:cubicBezTo>
                <a:cubicBezTo>
                  <a:pt x="1382683" y="70859"/>
                  <a:pt x="1380928" y="66895"/>
                  <a:pt x="1380810" y="61817"/>
                </a:cubicBezTo>
                <a:cubicBezTo>
                  <a:pt x="1380869" y="56690"/>
                  <a:pt x="1382716" y="52695"/>
                  <a:pt x="1386350" y="49834"/>
                </a:cubicBezTo>
                <a:cubicBezTo>
                  <a:pt x="1389985" y="46972"/>
                  <a:pt x="1395053" y="45518"/>
                  <a:pt x="1401556" y="45473"/>
                </a:cubicBezTo>
                <a:lnTo>
                  <a:pt x="1415596" y="45473"/>
                </a:lnTo>
                <a:lnTo>
                  <a:pt x="1415596" y="41910"/>
                </a:lnTo>
                <a:cubicBezTo>
                  <a:pt x="1415524" y="38243"/>
                  <a:pt x="1414384" y="35493"/>
                  <a:pt x="1412177" y="33659"/>
                </a:cubicBezTo>
                <a:cubicBezTo>
                  <a:pt x="1409971" y="31826"/>
                  <a:pt x="1407129" y="30909"/>
                  <a:pt x="1403651" y="30909"/>
                </a:cubicBezTo>
                <a:cubicBezTo>
                  <a:pt x="1400211" y="30959"/>
                  <a:pt x="1397504" y="31644"/>
                  <a:pt x="1395531" y="32965"/>
                </a:cubicBezTo>
                <a:cubicBezTo>
                  <a:pt x="1393558" y="34286"/>
                  <a:pt x="1392213" y="35940"/>
                  <a:pt x="1391498" y="37929"/>
                </a:cubicBezTo>
                <a:lnTo>
                  <a:pt x="1382801" y="37929"/>
                </a:lnTo>
                <a:cubicBezTo>
                  <a:pt x="1383659" y="33729"/>
                  <a:pt x="1385872" y="30210"/>
                  <a:pt x="1389441" y="27373"/>
                </a:cubicBezTo>
                <a:cubicBezTo>
                  <a:pt x="1393010" y="24535"/>
                  <a:pt x="1397817" y="23059"/>
                  <a:pt x="1403861" y="22946"/>
                </a:cubicBezTo>
                <a:close/>
                <a:moveTo>
                  <a:pt x="1354560" y="22946"/>
                </a:moveTo>
                <a:cubicBezTo>
                  <a:pt x="1359916" y="22992"/>
                  <a:pt x="1364317" y="24341"/>
                  <a:pt x="1367761" y="26993"/>
                </a:cubicBezTo>
                <a:cubicBezTo>
                  <a:pt x="1371206" y="29645"/>
                  <a:pt x="1372987" y="33325"/>
                  <a:pt x="1373105" y="38034"/>
                </a:cubicBezTo>
                <a:cubicBezTo>
                  <a:pt x="1373020" y="41210"/>
                  <a:pt x="1372220" y="43711"/>
                  <a:pt x="1370708" y="45538"/>
                </a:cubicBezTo>
                <a:cubicBezTo>
                  <a:pt x="1369195" y="47365"/>
                  <a:pt x="1367479" y="48635"/>
                  <a:pt x="1365561" y="49349"/>
                </a:cubicBezTo>
                <a:cubicBezTo>
                  <a:pt x="1367663" y="49773"/>
                  <a:pt x="1369772" y="50943"/>
                  <a:pt x="1371887" y="52859"/>
                </a:cubicBezTo>
                <a:cubicBezTo>
                  <a:pt x="1374002" y="54776"/>
                  <a:pt x="1375141" y="57727"/>
                  <a:pt x="1375305" y="61713"/>
                </a:cubicBezTo>
                <a:cubicBezTo>
                  <a:pt x="1375176" y="66794"/>
                  <a:pt x="1373181" y="70776"/>
                  <a:pt x="1369320" y="73657"/>
                </a:cubicBezTo>
                <a:cubicBezTo>
                  <a:pt x="1365458" y="76538"/>
                  <a:pt x="1360503" y="78005"/>
                  <a:pt x="1354455" y="78058"/>
                </a:cubicBezTo>
                <a:cubicBezTo>
                  <a:pt x="1348777" y="78055"/>
                  <a:pt x="1343944" y="76698"/>
                  <a:pt x="1339957" y="73984"/>
                </a:cubicBezTo>
                <a:cubicBezTo>
                  <a:pt x="1335968" y="71271"/>
                  <a:pt x="1333572" y="67216"/>
                  <a:pt x="1332766" y="61817"/>
                </a:cubicBezTo>
                <a:lnTo>
                  <a:pt x="1341672" y="61817"/>
                </a:lnTo>
                <a:cubicBezTo>
                  <a:pt x="1342344" y="64500"/>
                  <a:pt x="1343829" y="66548"/>
                  <a:pt x="1346125" y="67960"/>
                </a:cubicBezTo>
                <a:cubicBezTo>
                  <a:pt x="1348421" y="69372"/>
                  <a:pt x="1351268" y="70084"/>
                  <a:pt x="1354664" y="70095"/>
                </a:cubicBezTo>
                <a:cubicBezTo>
                  <a:pt x="1358220" y="70075"/>
                  <a:pt x="1361036" y="69329"/>
                  <a:pt x="1363112" y="67855"/>
                </a:cubicBezTo>
                <a:cubicBezTo>
                  <a:pt x="1365188" y="66382"/>
                  <a:pt x="1366248" y="64299"/>
                  <a:pt x="1366294" y="61608"/>
                </a:cubicBezTo>
                <a:cubicBezTo>
                  <a:pt x="1366286" y="59039"/>
                  <a:pt x="1365308" y="57105"/>
                  <a:pt x="1363361" y="55806"/>
                </a:cubicBezTo>
                <a:cubicBezTo>
                  <a:pt x="1361414" y="54507"/>
                  <a:pt x="1358550" y="53857"/>
                  <a:pt x="1354769" y="53855"/>
                </a:cubicBezTo>
                <a:lnTo>
                  <a:pt x="1346492" y="53855"/>
                </a:lnTo>
                <a:lnTo>
                  <a:pt x="1346492" y="46101"/>
                </a:lnTo>
                <a:lnTo>
                  <a:pt x="1354245" y="46101"/>
                </a:lnTo>
                <a:cubicBezTo>
                  <a:pt x="1357456" y="46086"/>
                  <a:pt x="1359914" y="45409"/>
                  <a:pt x="1361619" y="44071"/>
                </a:cubicBezTo>
                <a:cubicBezTo>
                  <a:pt x="1363323" y="42733"/>
                  <a:pt x="1364183" y="40825"/>
                  <a:pt x="1364199" y="38348"/>
                </a:cubicBezTo>
                <a:cubicBezTo>
                  <a:pt x="1364164" y="35975"/>
                  <a:pt x="1363265" y="34146"/>
                  <a:pt x="1361501" y="32860"/>
                </a:cubicBezTo>
                <a:cubicBezTo>
                  <a:pt x="1359737" y="31575"/>
                  <a:pt x="1357318" y="30924"/>
                  <a:pt x="1354245" y="30909"/>
                </a:cubicBezTo>
                <a:cubicBezTo>
                  <a:pt x="1350892" y="30959"/>
                  <a:pt x="1348247" y="31671"/>
                  <a:pt x="1346308" y="33044"/>
                </a:cubicBezTo>
                <a:cubicBezTo>
                  <a:pt x="1344370" y="34417"/>
                  <a:pt x="1343139" y="36150"/>
                  <a:pt x="1342615" y="38243"/>
                </a:cubicBezTo>
                <a:lnTo>
                  <a:pt x="1333814" y="38243"/>
                </a:lnTo>
                <a:cubicBezTo>
                  <a:pt x="1334541" y="33205"/>
                  <a:pt x="1336859" y="29398"/>
                  <a:pt x="1340769" y="26823"/>
                </a:cubicBezTo>
                <a:cubicBezTo>
                  <a:pt x="1344678" y="24247"/>
                  <a:pt x="1349275" y="22955"/>
                  <a:pt x="1354560" y="22946"/>
                </a:cubicBezTo>
                <a:close/>
                <a:moveTo>
                  <a:pt x="1280036" y="22946"/>
                </a:moveTo>
                <a:cubicBezTo>
                  <a:pt x="1286305" y="22996"/>
                  <a:pt x="1291291" y="24677"/>
                  <a:pt x="1294993" y="27988"/>
                </a:cubicBezTo>
                <a:cubicBezTo>
                  <a:pt x="1298695" y="31300"/>
                  <a:pt x="1300589" y="35940"/>
                  <a:pt x="1300676" y="41910"/>
                </a:cubicBezTo>
                <a:lnTo>
                  <a:pt x="1300676" y="76905"/>
                </a:lnTo>
                <a:lnTo>
                  <a:pt x="1292190" y="76905"/>
                </a:lnTo>
                <a:lnTo>
                  <a:pt x="1292190" y="70619"/>
                </a:lnTo>
                <a:cubicBezTo>
                  <a:pt x="1290160" y="73083"/>
                  <a:pt x="1287671" y="74938"/>
                  <a:pt x="1284725" y="76185"/>
                </a:cubicBezTo>
                <a:cubicBezTo>
                  <a:pt x="1281778" y="77431"/>
                  <a:pt x="1278608" y="78055"/>
                  <a:pt x="1275216" y="78058"/>
                </a:cubicBezTo>
                <a:cubicBezTo>
                  <a:pt x="1269964" y="78010"/>
                  <a:pt x="1265643" y="76560"/>
                  <a:pt x="1262250" y="73709"/>
                </a:cubicBezTo>
                <a:cubicBezTo>
                  <a:pt x="1258858" y="70859"/>
                  <a:pt x="1257103" y="66895"/>
                  <a:pt x="1256985" y="61817"/>
                </a:cubicBezTo>
                <a:cubicBezTo>
                  <a:pt x="1257044" y="56690"/>
                  <a:pt x="1258891" y="52695"/>
                  <a:pt x="1262525" y="49834"/>
                </a:cubicBezTo>
                <a:cubicBezTo>
                  <a:pt x="1266160" y="46972"/>
                  <a:pt x="1271228" y="45518"/>
                  <a:pt x="1277731" y="45473"/>
                </a:cubicBezTo>
                <a:lnTo>
                  <a:pt x="1291771" y="45473"/>
                </a:lnTo>
                <a:lnTo>
                  <a:pt x="1291771" y="41910"/>
                </a:lnTo>
                <a:cubicBezTo>
                  <a:pt x="1291699" y="38243"/>
                  <a:pt x="1290559" y="35493"/>
                  <a:pt x="1288352" y="33659"/>
                </a:cubicBezTo>
                <a:cubicBezTo>
                  <a:pt x="1286146" y="31826"/>
                  <a:pt x="1283304" y="30909"/>
                  <a:pt x="1279826" y="30909"/>
                </a:cubicBezTo>
                <a:cubicBezTo>
                  <a:pt x="1276386" y="30959"/>
                  <a:pt x="1273680" y="31644"/>
                  <a:pt x="1271706" y="32965"/>
                </a:cubicBezTo>
                <a:cubicBezTo>
                  <a:pt x="1269733" y="34286"/>
                  <a:pt x="1268388" y="35940"/>
                  <a:pt x="1267672" y="37929"/>
                </a:cubicBezTo>
                <a:lnTo>
                  <a:pt x="1258976" y="37929"/>
                </a:lnTo>
                <a:cubicBezTo>
                  <a:pt x="1259834" y="33729"/>
                  <a:pt x="1262047" y="30210"/>
                  <a:pt x="1265616" y="27373"/>
                </a:cubicBezTo>
                <a:cubicBezTo>
                  <a:pt x="1269185" y="24535"/>
                  <a:pt x="1273992" y="23059"/>
                  <a:pt x="1280036" y="22946"/>
                </a:cubicBezTo>
                <a:close/>
                <a:moveTo>
                  <a:pt x="1175261" y="22946"/>
                </a:moveTo>
                <a:cubicBezTo>
                  <a:pt x="1181530" y="22996"/>
                  <a:pt x="1186515" y="24677"/>
                  <a:pt x="1190218" y="27988"/>
                </a:cubicBezTo>
                <a:cubicBezTo>
                  <a:pt x="1193920" y="31300"/>
                  <a:pt x="1195814" y="35940"/>
                  <a:pt x="1195902" y="41910"/>
                </a:cubicBezTo>
                <a:lnTo>
                  <a:pt x="1195902" y="76905"/>
                </a:lnTo>
                <a:lnTo>
                  <a:pt x="1187415" y="76905"/>
                </a:lnTo>
                <a:lnTo>
                  <a:pt x="1187415" y="70619"/>
                </a:lnTo>
                <a:cubicBezTo>
                  <a:pt x="1185385" y="73083"/>
                  <a:pt x="1182896" y="74938"/>
                  <a:pt x="1179950" y="76185"/>
                </a:cubicBezTo>
                <a:cubicBezTo>
                  <a:pt x="1177003" y="77431"/>
                  <a:pt x="1173833" y="78055"/>
                  <a:pt x="1170441" y="78058"/>
                </a:cubicBezTo>
                <a:cubicBezTo>
                  <a:pt x="1165189" y="78010"/>
                  <a:pt x="1160868" y="76560"/>
                  <a:pt x="1157475" y="73709"/>
                </a:cubicBezTo>
                <a:cubicBezTo>
                  <a:pt x="1154083" y="70859"/>
                  <a:pt x="1152328" y="66895"/>
                  <a:pt x="1152210" y="61817"/>
                </a:cubicBezTo>
                <a:cubicBezTo>
                  <a:pt x="1152269" y="56690"/>
                  <a:pt x="1154116" y="52695"/>
                  <a:pt x="1157750" y="49834"/>
                </a:cubicBezTo>
                <a:cubicBezTo>
                  <a:pt x="1161385" y="46972"/>
                  <a:pt x="1166453" y="45518"/>
                  <a:pt x="1172956" y="45473"/>
                </a:cubicBezTo>
                <a:lnTo>
                  <a:pt x="1186996" y="45473"/>
                </a:lnTo>
                <a:lnTo>
                  <a:pt x="1186996" y="41910"/>
                </a:lnTo>
                <a:cubicBezTo>
                  <a:pt x="1186924" y="38243"/>
                  <a:pt x="1185784" y="35493"/>
                  <a:pt x="1183578" y="33659"/>
                </a:cubicBezTo>
                <a:cubicBezTo>
                  <a:pt x="1181371" y="31826"/>
                  <a:pt x="1178529" y="30909"/>
                  <a:pt x="1175051" y="30909"/>
                </a:cubicBezTo>
                <a:cubicBezTo>
                  <a:pt x="1171611" y="30959"/>
                  <a:pt x="1168905" y="31644"/>
                  <a:pt x="1166931" y="32965"/>
                </a:cubicBezTo>
                <a:cubicBezTo>
                  <a:pt x="1164958" y="34286"/>
                  <a:pt x="1163614" y="35940"/>
                  <a:pt x="1162897" y="37929"/>
                </a:cubicBezTo>
                <a:lnTo>
                  <a:pt x="1154201" y="37929"/>
                </a:lnTo>
                <a:cubicBezTo>
                  <a:pt x="1155059" y="33729"/>
                  <a:pt x="1157272" y="30210"/>
                  <a:pt x="1160841" y="27373"/>
                </a:cubicBezTo>
                <a:cubicBezTo>
                  <a:pt x="1164410" y="24535"/>
                  <a:pt x="1169217" y="23059"/>
                  <a:pt x="1175261" y="22946"/>
                </a:cubicBezTo>
                <a:close/>
                <a:moveTo>
                  <a:pt x="1114768" y="22946"/>
                </a:moveTo>
                <a:cubicBezTo>
                  <a:pt x="1118822" y="22943"/>
                  <a:pt x="1122646" y="23950"/>
                  <a:pt x="1126242" y="25969"/>
                </a:cubicBezTo>
                <a:cubicBezTo>
                  <a:pt x="1129838" y="27987"/>
                  <a:pt x="1132771" y="31036"/>
                  <a:pt x="1135040" y="35115"/>
                </a:cubicBezTo>
                <a:cubicBezTo>
                  <a:pt x="1137308" y="39194"/>
                  <a:pt x="1138479" y="44323"/>
                  <a:pt x="1138552" y="50502"/>
                </a:cubicBezTo>
                <a:cubicBezTo>
                  <a:pt x="1138479" y="56713"/>
                  <a:pt x="1137297" y="61858"/>
                  <a:pt x="1135005" y="65935"/>
                </a:cubicBezTo>
                <a:cubicBezTo>
                  <a:pt x="1132713" y="70012"/>
                  <a:pt x="1129745" y="73053"/>
                  <a:pt x="1126103" y="75058"/>
                </a:cubicBezTo>
                <a:cubicBezTo>
                  <a:pt x="1122460" y="77063"/>
                  <a:pt x="1118577" y="78063"/>
                  <a:pt x="1114453" y="78058"/>
                </a:cubicBezTo>
                <a:cubicBezTo>
                  <a:pt x="1110203" y="77981"/>
                  <a:pt x="1106680" y="77191"/>
                  <a:pt x="1103884" y="75687"/>
                </a:cubicBezTo>
                <a:cubicBezTo>
                  <a:pt x="1101088" y="74183"/>
                  <a:pt x="1099058" y="72424"/>
                  <a:pt x="1097794" y="70409"/>
                </a:cubicBezTo>
                <a:lnTo>
                  <a:pt x="1097794" y="96917"/>
                </a:lnTo>
                <a:lnTo>
                  <a:pt x="1088783" y="96917"/>
                </a:lnTo>
                <a:lnTo>
                  <a:pt x="1088783" y="24098"/>
                </a:lnTo>
                <a:lnTo>
                  <a:pt x="1097480" y="24098"/>
                </a:lnTo>
                <a:lnTo>
                  <a:pt x="1097480" y="31642"/>
                </a:lnTo>
                <a:cubicBezTo>
                  <a:pt x="1098776" y="29309"/>
                  <a:pt x="1100846" y="27296"/>
                  <a:pt x="1103688" y="25605"/>
                </a:cubicBezTo>
                <a:cubicBezTo>
                  <a:pt x="1106530" y="23913"/>
                  <a:pt x="1110223" y="23027"/>
                  <a:pt x="1114768" y="22946"/>
                </a:cubicBezTo>
                <a:close/>
                <a:moveTo>
                  <a:pt x="977122" y="22946"/>
                </a:moveTo>
                <a:cubicBezTo>
                  <a:pt x="984225" y="23033"/>
                  <a:pt x="989822" y="25347"/>
                  <a:pt x="993912" y="29887"/>
                </a:cubicBezTo>
                <a:cubicBezTo>
                  <a:pt x="998003" y="34428"/>
                  <a:pt x="1000089" y="40670"/>
                  <a:pt x="1000172" y="48616"/>
                </a:cubicBezTo>
                <a:lnTo>
                  <a:pt x="1000172" y="53226"/>
                </a:lnTo>
                <a:lnTo>
                  <a:pt x="961720" y="53226"/>
                </a:lnTo>
                <a:lnTo>
                  <a:pt x="961720" y="53435"/>
                </a:lnTo>
                <a:cubicBezTo>
                  <a:pt x="961788" y="58251"/>
                  <a:pt x="963276" y="62189"/>
                  <a:pt x="966186" y="65249"/>
                </a:cubicBezTo>
                <a:cubicBezTo>
                  <a:pt x="969095" y="68309"/>
                  <a:pt x="973020" y="69890"/>
                  <a:pt x="977960" y="69990"/>
                </a:cubicBezTo>
                <a:cubicBezTo>
                  <a:pt x="981629" y="69881"/>
                  <a:pt x="984506" y="69104"/>
                  <a:pt x="986591" y="67659"/>
                </a:cubicBezTo>
                <a:cubicBezTo>
                  <a:pt x="988675" y="66214"/>
                  <a:pt x="989955" y="64756"/>
                  <a:pt x="990428" y="63284"/>
                </a:cubicBezTo>
                <a:lnTo>
                  <a:pt x="999544" y="63284"/>
                </a:lnTo>
                <a:cubicBezTo>
                  <a:pt x="999101" y="65413"/>
                  <a:pt x="998042" y="67605"/>
                  <a:pt x="996366" y="69862"/>
                </a:cubicBezTo>
                <a:cubicBezTo>
                  <a:pt x="994689" y="72118"/>
                  <a:pt x="992326" y="74032"/>
                  <a:pt x="989276" y="75601"/>
                </a:cubicBezTo>
                <a:cubicBezTo>
                  <a:pt x="986226" y="77171"/>
                  <a:pt x="982419" y="77990"/>
                  <a:pt x="977855" y="78058"/>
                </a:cubicBezTo>
                <a:cubicBezTo>
                  <a:pt x="970097" y="77970"/>
                  <a:pt x="963924" y="75499"/>
                  <a:pt x="959336" y="70645"/>
                </a:cubicBezTo>
                <a:cubicBezTo>
                  <a:pt x="954748" y="65790"/>
                  <a:pt x="952399" y="59076"/>
                  <a:pt x="952290" y="50502"/>
                </a:cubicBezTo>
                <a:cubicBezTo>
                  <a:pt x="952421" y="41882"/>
                  <a:pt x="954752" y="35154"/>
                  <a:pt x="959284" y="30319"/>
                </a:cubicBezTo>
                <a:cubicBezTo>
                  <a:pt x="963815" y="25485"/>
                  <a:pt x="969761" y="23027"/>
                  <a:pt x="977122" y="22946"/>
                </a:cubicBezTo>
                <a:close/>
                <a:moveTo>
                  <a:pt x="920077" y="22946"/>
                </a:moveTo>
                <a:cubicBezTo>
                  <a:pt x="924751" y="23013"/>
                  <a:pt x="928686" y="23950"/>
                  <a:pt x="931881" y="25755"/>
                </a:cubicBezTo>
                <a:cubicBezTo>
                  <a:pt x="935077" y="27561"/>
                  <a:pt x="937568" y="29833"/>
                  <a:pt x="939355" y="32570"/>
                </a:cubicBezTo>
                <a:cubicBezTo>
                  <a:pt x="941142" y="35307"/>
                  <a:pt x="942260" y="38106"/>
                  <a:pt x="942708" y="40967"/>
                </a:cubicBezTo>
                <a:lnTo>
                  <a:pt x="933697" y="40967"/>
                </a:lnTo>
                <a:cubicBezTo>
                  <a:pt x="933058" y="38632"/>
                  <a:pt x="931665" y="36440"/>
                  <a:pt x="929520" y="34393"/>
                </a:cubicBezTo>
                <a:cubicBezTo>
                  <a:pt x="927374" y="32345"/>
                  <a:pt x="924226" y="31254"/>
                  <a:pt x="920077" y="31118"/>
                </a:cubicBezTo>
                <a:cubicBezTo>
                  <a:pt x="915204" y="31212"/>
                  <a:pt x="911380" y="33015"/>
                  <a:pt x="908604" y="36527"/>
                </a:cubicBezTo>
                <a:cubicBezTo>
                  <a:pt x="905827" y="40040"/>
                  <a:pt x="904413" y="44698"/>
                  <a:pt x="904360" y="50502"/>
                </a:cubicBezTo>
                <a:cubicBezTo>
                  <a:pt x="904424" y="56352"/>
                  <a:pt x="905869" y="61023"/>
                  <a:pt x="908695" y="64515"/>
                </a:cubicBezTo>
                <a:cubicBezTo>
                  <a:pt x="911522" y="68008"/>
                  <a:pt x="915351" y="69798"/>
                  <a:pt x="920181" y="69885"/>
                </a:cubicBezTo>
                <a:cubicBezTo>
                  <a:pt x="924523" y="69748"/>
                  <a:pt x="927732" y="68634"/>
                  <a:pt x="929807" y="66545"/>
                </a:cubicBezTo>
                <a:cubicBezTo>
                  <a:pt x="931883" y="64456"/>
                  <a:pt x="933180" y="62217"/>
                  <a:pt x="933697" y="59827"/>
                </a:cubicBezTo>
                <a:lnTo>
                  <a:pt x="942708" y="59827"/>
                </a:lnTo>
                <a:cubicBezTo>
                  <a:pt x="942079" y="64712"/>
                  <a:pt x="939800" y="68929"/>
                  <a:pt x="935871" y="72478"/>
                </a:cubicBezTo>
                <a:cubicBezTo>
                  <a:pt x="931942" y="76028"/>
                  <a:pt x="926677" y="77887"/>
                  <a:pt x="920077" y="78058"/>
                </a:cubicBezTo>
                <a:cubicBezTo>
                  <a:pt x="912483" y="77918"/>
                  <a:pt x="906454" y="75342"/>
                  <a:pt x="901990" y="70330"/>
                </a:cubicBezTo>
                <a:cubicBezTo>
                  <a:pt x="897526" y="65319"/>
                  <a:pt x="895243" y="58709"/>
                  <a:pt x="895140" y="50502"/>
                </a:cubicBezTo>
                <a:cubicBezTo>
                  <a:pt x="895230" y="42432"/>
                  <a:pt x="897487" y="35862"/>
                  <a:pt x="901911" y="30791"/>
                </a:cubicBezTo>
                <a:cubicBezTo>
                  <a:pt x="906336" y="25720"/>
                  <a:pt x="912391" y="23105"/>
                  <a:pt x="920077" y="22946"/>
                </a:cubicBezTo>
                <a:close/>
                <a:moveTo>
                  <a:pt x="40757" y="12154"/>
                </a:moveTo>
                <a:cubicBezTo>
                  <a:pt x="34484" y="12207"/>
                  <a:pt x="28905" y="13673"/>
                  <a:pt x="24020" y="16555"/>
                </a:cubicBezTo>
                <a:cubicBezTo>
                  <a:pt x="19136" y="19436"/>
                  <a:pt x="15288" y="23417"/>
                  <a:pt x="12476" y="28499"/>
                </a:cubicBezTo>
                <a:cubicBezTo>
                  <a:pt x="9664" y="33581"/>
                  <a:pt x="8229" y="39448"/>
                  <a:pt x="8172" y="46101"/>
                </a:cubicBezTo>
                <a:cubicBezTo>
                  <a:pt x="8229" y="52754"/>
                  <a:pt x="9664" y="58622"/>
                  <a:pt x="12476" y="63703"/>
                </a:cubicBezTo>
                <a:cubicBezTo>
                  <a:pt x="15288" y="68785"/>
                  <a:pt x="19136" y="72766"/>
                  <a:pt x="24020" y="75648"/>
                </a:cubicBezTo>
                <a:cubicBezTo>
                  <a:pt x="28905" y="78529"/>
                  <a:pt x="34484" y="79996"/>
                  <a:pt x="40757" y="80048"/>
                </a:cubicBezTo>
                <a:cubicBezTo>
                  <a:pt x="47031" y="79996"/>
                  <a:pt x="52610" y="78529"/>
                  <a:pt x="57494" y="75648"/>
                </a:cubicBezTo>
                <a:cubicBezTo>
                  <a:pt x="62378" y="72766"/>
                  <a:pt x="66226" y="68785"/>
                  <a:pt x="69039" y="63703"/>
                </a:cubicBezTo>
                <a:cubicBezTo>
                  <a:pt x="71851" y="58622"/>
                  <a:pt x="73285" y="52754"/>
                  <a:pt x="73342" y="46101"/>
                </a:cubicBezTo>
                <a:cubicBezTo>
                  <a:pt x="73285" y="39448"/>
                  <a:pt x="71851" y="33581"/>
                  <a:pt x="69039" y="28499"/>
                </a:cubicBezTo>
                <a:cubicBezTo>
                  <a:pt x="66226" y="23417"/>
                  <a:pt x="62378" y="19436"/>
                  <a:pt x="57494" y="16555"/>
                </a:cubicBezTo>
                <a:cubicBezTo>
                  <a:pt x="52610" y="13673"/>
                  <a:pt x="47031" y="12207"/>
                  <a:pt x="40757" y="12154"/>
                </a:cubicBezTo>
                <a:close/>
                <a:moveTo>
                  <a:pt x="1908991" y="11525"/>
                </a:moveTo>
                <a:lnTo>
                  <a:pt x="1908991" y="34786"/>
                </a:lnTo>
                <a:lnTo>
                  <a:pt x="1926593" y="34786"/>
                </a:lnTo>
                <a:cubicBezTo>
                  <a:pt x="1931039" y="34713"/>
                  <a:pt x="1934353" y="33600"/>
                  <a:pt x="1936534" y="31446"/>
                </a:cubicBezTo>
                <a:cubicBezTo>
                  <a:pt x="1938714" y="29291"/>
                  <a:pt x="1939801" y="26528"/>
                  <a:pt x="1939795" y="23155"/>
                </a:cubicBezTo>
                <a:cubicBezTo>
                  <a:pt x="1939762" y="19508"/>
                  <a:pt x="1938544" y="16666"/>
                  <a:pt x="1936140" y="14629"/>
                </a:cubicBezTo>
                <a:cubicBezTo>
                  <a:pt x="1933737" y="12593"/>
                  <a:pt x="1930345" y="11558"/>
                  <a:pt x="1925964" y="11525"/>
                </a:cubicBezTo>
                <a:close/>
                <a:moveTo>
                  <a:pt x="842191" y="11525"/>
                </a:moveTo>
                <a:lnTo>
                  <a:pt x="842191" y="34786"/>
                </a:lnTo>
                <a:lnTo>
                  <a:pt x="859793" y="34786"/>
                </a:lnTo>
                <a:cubicBezTo>
                  <a:pt x="864239" y="34713"/>
                  <a:pt x="867553" y="33600"/>
                  <a:pt x="869733" y="31446"/>
                </a:cubicBezTo>
                <a:cubicBezTo>
                  <a:pt x="871914" y="29291"/>
                  <a:pt x="873001" y="26528"/>
                  <a:pt x="872995" y="23155"/>
                </a:cubicBezTo>
                <a:cubicBezTo>
                  <a:pt x="872962" y="19508"/>
                  <a:pt x="871744" y="16666"/>
                  <a:pt x="869341" y="14629"/>
                </a:cubicBezTo>
                <a:cubicBezTo>
                  <a:pt x="866937" y="12593"/>
                  <a:pt x="863545" y="11558"/>
                  <a:pt x="859164" y="11525"/>
                </a:cubicBezTo>
                <a:close/>
                <a:moveTo>
                  <a:pt x="210207" y="10582"/>
                </a:moveTo>
                <a:cubicBezTo>
                  <a:pt x="206187" y="10639"/>
                  <a:pt x="202818" y="11957"/>
                  <a:pt x="200098" y="14537"/>
                </a:cubicBezTo>
                <a:cubicBezTo>
                  <a:pt x="197378" y="17116"/>
                  <a:pt x="195328" y="20615"/>
                  <a:pt x="193947" y="25034"/>
                </a:cubicBezTo>
                <a:cubicBezTo>
                  <a:pt x="192567" y="29452"/>
                  <a:pt x="191875" y="34449"/>
                  <a:pt x="191871" y="40024"/>
                </a:cubicBezTo>
                <a:cubicBezTo>
                  <a:pt x="191875" y="45599"/>
                  <a:pt x="192567" y="50596"/>
                  <a:pt x="193947" y="55015"/>
                </a:cubicBezTo>
                <a:cubicBezTo>
                  <a:pt x="195328" y="59434"/>
                  <a:pt x="197378" y="62932"/>
                  <a:pt x="200098" y="65512"/>
                </a:cubicBezTo>
                <a:cubicBezTo>
                  <a:pt x="202818" y="68091"/>
                  <a:pt x="206187" y="69409"/>
                  <a:pt x="210207" y="69466"/>
                </a:cubicBezTo>
                <a:cubicBezTo>
                  <a:pt x="214226" y="69409"/>
                  <a:pt x="217596" y="68091"/>
                  <a:pt x="220316" y="65512"/>
                </a:cubicBezTo>
                <a:cubicBezTo>
                  <a:pt x="223035" y="62932"/>
                  <a:pt x="225086" y="59434"/>
                  <a:pt x="226466" y="55015"/>
                </a:cubicBezTo>
                <a:cubicBezTo>
                  <a:pt x="227847" y="50596"/>
                  <a:pt x="228539" y="45599"/>
                  <a:pt x="228542" y="40024"/>
                </a:cubicBezTo>
                <a:cubicBezTo>
                  <a:pt x="228539" y="34449"/>
                  <a:pt x="227847" y="29452"/>
                  <a:pt x="226466" y="25034"/>
                </a:cubicBezTo>
                <a:cubicBezTo>
                  <a:pt x="225086" y="20615"/>
                  <a:pt x="223035" y="17116"/>
                  <a:pt x="220316" y="14537"/>
                </a:cubicBezTo>
                <a:cubicBezTo>
                  <a:pt x="217596" y="11958"/>
                  <a:pt x="214226" y="10639"/>
                  <a:pt x="210207" y="10582"/>
                </a:cubicBezTo>
                <a:close/>
                <a:moveTo>
                  <a:pt x="40757" y="4296"/>
                </a:moveTo>
                <a:cubicBezTo>
                  <a:pt x="48517" y="4364"/>
                  <a:pt x="55454" y="6184"/>
                  <a:pt x="61569" y="9756"/>
                </a:cubicBezTo>
                <a:cubicBezTo>
                  <a:pt x="67683" y="13328"/>
                  <a:pt x="72517" y="18245"/>
                  <a:pt x="76070" y="24506"/>
                </a:cubicBezTo>
                <a:cubicBezTo>
                  <a:pt x="79623" y="30767"/>
                  <a:pt x="81438" y="37966"/>
                  <a:pt x="81515" y="46101"/>
                </a:cubicBezTo>
                <a:cubicBezTo>
                  <a:pt x="81438" y="54237"/>
                  <a:pt x="79623" y="61435"/>
                  <a:pt x="76070" y="67697"/>
                </a:cubicBezTo>
                <a:cubicBezTo>
                  <a:pt x="72517" y="73958"/>
                  <a:pt x="67683" y="78874"/>
                  <a:pt x="61569" y="82446"/>
                </a:cubicBezTo>
                <a:cubicBezTo>
                  <a:pt x="55454" y="86019"/>
                  <a:pt x="48517" y="87839"/>
                  <a:pt x="40757" y="87906"/>
                </a:cubicBezTo>
                <a:cubicBezTo>
                  <a:pt x="32997" y="87839"/>
                  <a:pt x="26060" y="86019"/>
                  <a:pt x="19946" y="82446"/>
                </a:cubicBezTo>
                <a:cubicBezTo>
                  <a:pt x="13831" y="78874"/>
                  <a:pt x="8997" y="73958"/>
                  <a:pt x="5444" y="67697"/>
                </a:cubicBezTo>
                <a:cubicBezTo>
                  <a:pt x="1891" y="61435"/>
                  <a:pt x="76" y="54237"/>
                  <a:pt x="0" y="46101"/>
                </a:cubicBezTo>
                <a:cubicBezTo>
                  <a:pt x="76" y="37966"/>
                  <a:pt x="1891" y="30767"/>
                  <a:pt x="5444" y="24506"/>
                </a:cubicBezTo>
                <a:cubicBezTo>
                  <a:pt x="8997" y="18245"/>
                  <a:pt x="13831" y="13328"/>
                  <a:pt x="19946" y="9756"/>
                </a:cubicBezTo>
                <a:cubicBezTo>
                  <a:pt x="26060" y="6184"/>
                  <a:pt x="32997" y="4364"/>
                  <a:pt x="40757" y="4296"/>
                </a:cubicBezTo>
                <a:close/>
                <a:moveTo>
                  <a:pt x="1899770" y="3143"/>
                </a:moveTo>
                <a:lnTo>
                  <a:pt x="1927117" y="3143"/>
                </a:lnTo>
                <a:cubicBezTo>
                  <a:pt x="1934272" y="3270"/>
                  <a:pt x="1939738" y="5112"/>
                  <a:pt x="1943514" y="8670"/>
                </a:cubicBezTo>
                <a:cubicBezTo>
                  <a:pt x="1947290" y="12228"/>
                  <a:pt x="1949194" y="16742"/>
                  <a:pt x="1949224" y="22213"/>
                </a:cubicBezTo>
                <a:cubicBezTo>
                  <a:pt x="1949111" y="26709"/>
                  <a:pt x="1948081" y="30289"/>
                  <a:pt x="1946134" y="32952"/>
                </a:cubicBezTo>
                <a:cubicBezTo>
                  <a:pt x="1944186" y="35615"/>
                  <a:pt x="1942004" y="37414"/>
                  <a:pt x="1939585" y="38348"/>
                </a:cubicBezTo>
                <a:cubicBezTo>
                  <a:pt x="1941388" y="38828"/>
                  <a:pt x="1943242" y="39777"/>
                  <a:pt x="1945146" y="41192"/>
                </a:cubicBezTo>
                <a:cubicBezTo>
                  <a:pt x="1947050" y="42608"/>
                  <a:pt x="1948663" y="44542"/>
                  <a:pt x="1949985" y="46994"/>
                </a:cubicBezTo>
                <a:cubicBezTo>
                  <a:pt x="1951307" y="49446"/>
                  <a:pt x="1951996" y="52466"/>
                  <a:pt x="1952053" y="56055"/>
                </a:cubicBezTo>
                <a:cubicBezTo>
                  <a:pt x="1951977" y="62333"/>
                  <a:pt x="1949798" y="67353"/>
                  <a:pt x="1945518" y="71116"/>
                </a:cubicBezTo>
                <a:cubicBezTo>
                  <a:pt x="1941237" y="74879"/>
                  <a:pt x="1935313" y="76809"/>
                  <a:pt x="1927746" y="76905"/>
                </a:cubicBezTo>
                <a:lnTo>
                  <a:pt x="1899770" y="76905"/>
                </a:lnTo>
                <a:close/>
                <a:moveTo>
                  <a:pt x="832971" y="3143"/>
                </a:moveTo>
                <a:lnTo>
                  <a:pt x="860317" y="3143"/>
                </a:lnTo>
                <a:cubicBezTo>
                  <a:pt x="867472" y="3270"/>
                  <a:pt x="872938" y="5112"/>
                  <a:pt x="876714" y="8670"/>
                </a:cubicBezTo>
                <a:cubicBezTo>
                  <a:pt x="880490" y="12228"/>
                  <a:pt x="882394" y="16742"/>
                  <a:pt x="882424" y="22213"/>
                </a:cubicBezTo>
                <a:cubicBezTo>
                  <a:pt x="882311" y="26709"/>
                  <a:pt x="881281" y="30289"/>
                  <a:pt x="879334" y="32952"/>
                </a:cubicBezTo>
                <a:cubicBezTo>
                  <a:pt x="877386" y="35615"/>
                  <a:pt x="875204" y="37414"/>
                  <a:pt x="872785" y="38348"/>
                </a:cubicBezTo>
                <a:cubicBezTo>
                  <a:pt x="874588" y="38828"/>
                  <a:pt x="876442" y="39777"/>
                  <a:pt x="878346" y="41192"/>
                </a:cubicBezTo>
                <a:cubicBezTo>
                  <a:pt x="880250" y="42608"/>
                  <a:pt x="881863" y="44542"/>
                  <a:pt x="883185" y="46994"/>
                </a:cubicBezTo>
                <a:cubicBezTo>
                  <a:pt x="884507" y="49446"/>
                  <a:pt x="885196" y="52466"/>
                  <a:pt x="885253" y="56055"/>
                </a:cubicBezTo>
                <a:cubicBezTo>
                  <a:pt x="885177" y="62333"/>
                  <a:pt x="882998" y="67353"/>
                  <a:pt x="878718" y="71116"/>
                </a:cubicBezTo>
                <a:cubicBezTo>
                  <a:pt x="874437" y="74879"/>
                  <a:pt x="868513" y="76809"/>
                  <a:pt x="860945" y="76905"/>
                </a:cubicBezTo>
                <a:lnTo>
                  <a:pt x="832971" y="76905"/>
                </a:lnTo>
                <a:close/>
                <a:moveTo>
                  <a:pt x="696601" y="3143"/>
                </a:moveTo>
                <a:lnTo>
                  <a:pt x="704983" y="3143"/>
                </a:lnTo>
                <a:lnTo>
                  <a:pt x="704983" y="76905"/>
                </a:lnTo>
                <a:lnTo>
                  <a:pt x="695658" y="76905"/>
                </a:lnTo>
                <a:lnTo>
                  <a:pt x="695658" y="14040"/>
                </a:lnTo>
                <a:lnTo>
                  <a:pt x="677113" y="25670"/>
                </a:lnTo>
                <a:lnTo>
                  <a:pt x="677113" y="15926"/>
                </a:lnTo>
                <a:close/>
                <a:moveTo>
                  <a:pt x="608342" y="3143"/>
                </a:moveTo>
                <a:lnTo>
                  <a:pt x="666283" y="3143"/>
                </a:lnTo>
                <a:lnTo>
                  <a:pt x="666283" y="11735"/>
                </a:lnTo>
                <a:lnTo>
                  <a:pt x="641975" y="11735"/>
                </a:lnTo>
                <a:lnTo>
                  <a:pt x="641975" y="76905"/>
                </a:lnTo>
                <a:lnTo>
                  <a:pt x="632650" y="76905"/>
                </a:lnTo>
                <a:lnTo>
                  <a:pt x="632650" y="11735"/>
                </a:lnTo>
                <a:lnTo>
                  <a:pt x="608342" y="11735"/>
                </a:lnTo>
                <a:close/>
                <a:moveTo>
                  <a:pt x="461495" y="3143"/>
                </a:moveTo>
                <a:lnTo>
                  <a:pt x="470820" y="3143"/>
                </a:lnTo>
                <a:lnTo>
                  <a:pt x="470820" y="36043"/>
                </a:lnTo>
                <a:lnTo>
                  <a:pt x="503615" y="3143"/>
                </a:lnTo>
                <a:lnTo>
                  <a:pt x="515664" y="3143"/>
                </a:lnTo>
                <a:lnTo>
                  <a:pt x="480669" y="38453"/>
                </a:lnTo>
                <a:lnTo>
                  <a:pt x="516293" y="76905"/>
                </a:lnTo>
                <a:lnTo>
                  <a:pt x="503929" y="76905"/>
                </a:lnTo>
                <a:lnTo>
                  <a:pt x="470820" y="41701"/>
                </a:lnTo>
                <a:lnTo>
                  <a:pt x="470820" y="76905"/>
                </a:lnTo>
                <a:lnTo>
                  <a:pt x="461495" y="76905"/>
                </a:lnTo>
                <a:close/>
                <a:moveTo>
                  <a:pt x="404345" y="3143"/>
                </a:moveTo>
                <a:lnTo>
                  <a:pt x="450027" y="3143"/>
                </a:lnTo>
                <a:lnTo>
                  <a:pt x="450027" y="11735"/>
                </a:lnTo>
                <a:lnTo>
                  <a:pt x="413670" y="11735"/>
                </a:lnTo>
                <a:lnTo>
                  <a:pt x="413670" y="76905"/>
                </a:lnTo>
                <a:lnTo>
                  <a:pt x="404345" y="76905"/>
                </a:lnTo>
                <a:close/>
                <a:moveTo>
                  <a:pt x="341357" y="1991"/>
                </a:moveTo>
                <a:cubicBezTo>
                  <a:pt x="348811" y="2122"/>
                  <a:pt x="354622" y="4086"/>
                  <a:pt x="358789" y="7885"/>
                </a:cubicBezTo>
                <a:cubicBezTo>
                  <a:pt x="362955" y="11683"/>
                  <a:pt x="365073" y="16528"/>
                  <a:pt x="365140" y="22422"/>
                </a:cubicBezTo>
                <a:cubicBezTo>
                  <a:pt x="364970" y="26958"/>
                  <a:pt x="363713" y="30512"/>
                  <a:pt x="361369" y="33083"/>
                </a:cubicBezTo>
                <a:cubicBezTo>
                  <a:pt x="359024" y="35654"/>
                  <a:pt x="356615" y="37374"/>
                  <a:pt x="354139" y="38243"/>
                </a:cubicBezTo>
                <a:cubicBezTo>
                  <a:pt x="355858" y="38612"/>
                  <a:pt x="357764" y="39469"/>
                  <a:pt x="359859" y="40812"/>
                </a:cubicBezTo>
                <a:cubicBezTo>
                  <a:pt x="361954" y="42155"/>
                  <a:pt x="363775" y="44075"/>
                  <a:pt x="365323" y="46571"/>
                </a:cubicBezTo>
                <a:cubicBezTo>
                  <a:pt x="366871" y="49067"/>
                  <a:pt x="367683" y="52228"/>
                  <a:pt x="367760" y="56055"/>
                </a:cubicBezTo>
                <a:cubicBezTo>
                  <a:pt x="367622" y="62381"/>
                  <a:pt x="365226" y="67593"/>
                  <a:pt x="360570" y="71693"/>
                </a:cubicBezTo>
                <a:cubicBezTo>
                  <a:pt x="355914" y="75792"/>
                  <a:pt x="349824" y="77914"/>
                  <a:pt x="342300" y="78058"/>
                </a:cubicBezTo>
                <a:cubicBezTo>
                  <a:pt x="335140" y="78029"/>
                  <a:pt x="329107" y="76252"/>
                  <a:pt x="324200" y="72727"/>
                </a:cubicBezTo>
                <a:cubicBezTo>
                  <a:pt x="319293" y="69202"/>
                  <a:pt x="316350" y="64099"/>
                  <a:pt x="315372" y="57417"/>
                </a:cubicBezTo>
                <a:lnTo>
                  <a:pt x="324802" y="57417"/>
                </a:lnTo>
                <a:cubicBezTo>
                  <a:pt x="325584" y="61036"/>
                  <a:pt x="327504" y="63935"/>
                  <a:pt x="330565" y="66113"/>
                </a:cubicBezTo>
                <a:cubicBezTo>
                  <a:pt x="333625" y="68292"/>
                  <a:pt x="337537" y="69409"/>
                  <a:pt x="342300" y="69466"/>
                </a:cubicBezTo>
                <a:cubicBezTo>
                  <a:pt x="347043" y="69403"/>
                  <a:pt x="350863" y="68141"/>
                  <a:pt x="353759" y="65681"/>
                </a:cubicBezTo>
                <a:cubicBezTo>
                  <a:pt x="356656" y="63221"/>
                  <a:pt x="358145" y="59942"/>
                  <a:pt x="358225" y="55845"/>
                </a:cubicBezTo>
                <a:cubicBezTo>
                  <a:pt x="358105" y="51512"/>
                  <a:pt x="356486" y="48312"/>
                  <a:pt x="353367" y="46245"/>
                </a:cubicBezTo>
                <a:cubicBezTo>
                  <a:pt x="350247" y="44178"/>
                  <a:pt x="346349" y="43152"/>
                  <a:pt x="341671" y="43168"/>
                </a:cubicBezTo>
                <a:lnTo>
                  <a:pt x="332555" y="43168"/>
                </a:lnTo>
                <a:lnTo>
                  <a:pt x="332555" y="34681"/>
                </a:lnTo>
                <a:lnTo>
                  <a:pt x="341042" y="34681"/>
                </a:lnTo>
                <a:cubicBezTo>
                  <a:pt x="345683" y="34600"/>
                  <a:pt x="349263" y="33426"/>
                  <a:pt x="351782" y="31158"/>
                </a:cubicBezTo>
                <a:cubicBezTo>
                  <a:pt x="354301" y="28890"/>
                  <a:pt x="355575" y="26013"/>
                  <a:pt x="355606" y="22527"/>
                </a:cubicBezTo>
                <a:cubicBezTo>
                  <a:pt x="355582" y="18958"/>
                  <a:pt x="354347" y="16090"/>
                  <a:pt x="351900" y="13922"/>
                </a:cubicBezTo>
                <a:cubicBezTo>
                  <a:pt x="349453" y="11755"/>
                  <a:pt x="345938" y="10641"/>
                  <a:pt x="341357" y="10582"/>
                </a:cubicBezTo>
                <a:cubicBezTo>
                  <a:pt x="337043" y="10626"/>
                  <a:pt x="333542" y="11665"/>
                  <a:pt x="330853" y="13700"/>
                </a:cubicBezTo>
                <a:cubicBezTo>
                  <a:pt x="328164" y="15734"/>
                  <a:pt x="326391" y="18502"/>
                  <a:pt x="325536" y="22003"/>
                </a:cubicBezTo>
                <a:lnTo>
                  <a:pt x="316211" y="22003"/>
                </a:lnTo>
                <a:cubicBezTo>
                  <a:pt x="317363" y="15302"/>
                  <a:pt x="320271" y="10290"/>
                  <a:pt x="324933" y="6968"/>
                </a:cubicBezTo>
                <a:cubicBezTo>
                  <a:pt x="329596" y="3646"/>
                  <a:pt x="335070" y="1987"/>
                  <a:pt x="341357" y="1991"/>
                </a:cubicBezTo>
                <a:close/>
                <a:moveTo>
                  <a:pt x="274996" y="1991"/>
                </a:moveTo>
                <a:cubicBezTo>
                  <a:pt x="282304" y="2148"/>
                  <a:pt x="288040" y="4270"/>
                  <a:pt x="292205" y="8356"/>
                </a:cubicBezTo>
                <a:cubicBezTo>
                  <a:pt x="296370" y="12442"/>
                  <a:pt x="298492" y="17550"/>
                  <a:pt x="298570" y="23679"/>
                </a:cubicBezTo>
                <a:cubicBezTo>
                  <a:pt x="298431" y="29195"/>
                  <a:pt x="296929" y="33906"/>
                  <a:pt x="294065" y="37811"/>
                </a:cubicBezTo>
                <a:cubicBezTo>
                  <a:pt x="291201" y="41716"/>
                  <a:pt x="287813" y="45353"/>
                  <a:pt x="283902" y="48721"/>
                </a:cubicBezTo>
                <a:lnTo>
                  <a:pt x="262633" y="68314"/>
                </a:lnTo>
                <a:lnTo>
                  <a:pt x="300352" y="68314"/>
                </a:lnTo>
                <a:lnTo>
                  <a:pt x="300352" y="76905"/>
                </a:lnTo>
                <a:lnTo>
                  <a:pt x="249745" y="76905"/>
                </a:lnTo>
                <a:lnTo>
                  <a:pt x="249745" y="68837"/>
                </a:lnTo>
                <a:lnTo>
                  <a:pt x="277615" y="42748"/>
                </a:lnTo>
                <a:cubicBezTo>
                  <a:pt x="281162" y="39557"/>
                  <a:pt x="283943" y="36536"/>
                  <a:pt x="285958" y="33685"/>
                </a:cubicBezTo>
                <a:cubicBezTo>
                  <a:pt x="287973" y="30835"/>
                  <a:pt x="288999" y="27499"/>
                  <a:pt x="289036" y="23679"/>
                </a:cubicBezTo>
                <a:cubicBezTo>
                  <a:pt x="288972" y="19879"/>
                  <a:pt x="287658" y="16766"/>
                  <a:pt x="285094" y="14341"/>
                </a:cubicBezTo>
                <a:cubicBezTo>
                  <a:pt x="282529" y="11916"/>
                  <a:pt x="279093" y="10663"/>
                  <a:pt x="274786" y="10582"/>
                </a:cubicBezTo>
                <a:cubicBezTo>
                  <a:pt x="270327" y="10635"/>
                  <a:pt x="266751" y="11787"/>
                  <a:pt x="264060" y="14040"/>
                </a:cubicBezTo>
                <a:cubicBezTo>
                  <a:pt x="261369" y="16293"/>
                  <a:pt x="259601" y="19331"/>
                  <a:pt x="258756" y="23155"/>
                </a:cubicBezTo>
                <a:lnTo>
                  <a:pt x="249536" y="23155"/>
                </a:lnTo>
                <a:cubicBezTo>
                  <a:pt x="250439" y="16819"/>
                  <a:pt x="253111" y="11733"/>
                  <a:pt x="257551" y="7898"/>
                </a:cubicBezTo>
                <a:cubicBezTo>
                  <a:pt x="261991" y="4062"/>
                  <a:pt x="267806" y="2094"/>
                  <a:pt x="274996" y="1991"/>
                </a:cubicBezTo>
                <a:close/>
                <a:moveTo>
                  <a:pt x="210207" y="1991"/>
                </a:moveTo>
                <a:cubicBezTo>
                  <a:pt x="216125" y="2051"/>
                  <a:pt x="221157" y="3700"/>
                  <a:pt x="225302" y="6939"/>
                </a:cubicBezTo>
                <a:cubicBezTo>
                  <a:pt x="229447" y="10177"/>
                  <a:pt x="232609" y="14643"/>
                  <a:pt x="234786" y="20338"/>
                </a:cubicBezTo>
                <a:cubicBezTo>
                  <a:pt x="236964" y="26033"/>
                  <a:pt x="238061" y="32595"/>
                  <a:pt x="238077" y="40024"/>
                </a:cubicBezTo>
                <a:cubicBezTo>
                  <a:pt x="238061" y="47454"/>
                  <a:pt x="236964" y="54016"/>
                  <a:pt x="234786" y="59710"/>
                </a:cubicBezTo>
                <a:cubicBezTo>
                  <a:pt x="232609" y="65405"/>
                  <a:pt x="229447" y="69872"/>
                  <a:pt x="225302" y="73110"/>
                </a:cubicBezTo>
                <a:cubicBezTo>
                  <a:pt x="221157" y="76348"/>
                  <a:pt x="216125" y="77997"/>
                  <a:pt x="210207" y="78058"/>
                </a:cubicBezTo>
                <a:cubicBezTo>
                  <a:pt x="204288" y="77997"/>
                  <a:pt x="199257" y="76348"/>
                  <a:pt x="195112" y="73110"/>
                </a:cubicBezTo>
                <a:cubicBezTo>
                  <a:pt x="190967" y="69872"/>
                  <a:pt x="187805" y="65405"/>
                  <a:pt x="185627" y="59710"/>
                </a:cubicBezTo>
                <a:cubicBezTo>
                  <a:pt x="183450" y="54016"/>
                  <a:pt x="182353" y="47454"/>
                  <a:pt x="182337" y="40024"/>
                </a:cubicBezTo>
                <a:cubicBezTo>
                  <a:pt x="182353" y="32595"/>
                  <a:pt x="183450" y="26033"/>
                  <a:pt x="185627" y="20338"/>
                </a:cubicBezTo>
                <a:cubicBezTo>
                  <a:pt x="187805" y="14643"/>
                  <a:pt x="190967" y="10177"/>
                  <a:pt x="195112" y="6939"/>
                </a:cubicBezTo>
                <a:cubicBezTo>
                  <a:pt x="199257" y="3700"/>
                  <a:pt x="204288" y="2051"/>
                  <a:pt x="210207" y="1991"/>
                </a:cubicBezTo>
                <a:close/>
                <a:moveTo>
                  <a:pt x="141646" y="1991"/>
                </a:moveTo>
                <a:cubicBezTo>
                  <a:pt x="148954" y="2148"/>
                  <a:pt x="154690" y="4270"/>
                  <a:pt x="158855" y="8356"/>
                </a:cubicBezTo>
                <a:cubicBezTo>
                  <a:pt x="163020" y="12442"/>
                  <a:pt x="165142" y="17550"/>
                  <a:pt x="165220" y="23679"/>
                </a:cubicBezTo>
                <a:cubicBezTo>
                  <a:pt x="165081" y="29195"/>
                  <a:pt x="163579" y="33906"/>
                  <a:pt x="160715" y="37811"/>
                </a:cubicBezTo>
                <a:cubicBezTo>
                  <a:pt x="157851" y="41716"/>
                  <a:pt x="154463" y="45353"/>
                  <a:pt x="150552" y="48721"/>
                </a:cubicBezTo>
                <a:lnTo>
                  <a:pt x="129282" y="68314"/>
                </a:lnTo>
                <a:lnTo>
                  <a:pt x="167002" y="68314"/>
                </a:lnTo>
                <a:lnTo>
                  <a:pt x="167002" y="76905"/>
                </a:lnTo>
                <a:lnTo>
                  <a:pt x="116395" y="76905"/>
                </a:lnTo>
                <a:lnTo>
                  <a:pt x="116395" y="68837"/>
                </a:lnTo>
                <a:lnTo>
                  <a:pt x="144265" y="42748"/>
                </a:lnTo>
                <a:cubicBezTo>
                  <a:pt x="147812" y="39557"/>
                  <a:pt x="150593" y="36536"/>
                  <a:pt x="152608" y="33685"/>
                </a:cubicBezTo>
                <a:cubicBezTo>
                  <a:pt x="154623" y="30835"/>
                  <a:pt x="155649" y="27499"/>
                  <a:pt x="155686" y="23679"/>
                </a:cubicBezTo>
                <a:cubicBezTo>
                  <a:pt x="155623" y="19879"/>
                  <a:pt x="154308" y="16766"/>
                  <a:pt x="151744" y="14341"/>
                </a:cubicBezTo>
                <a:cubicBezTo>
                  <a:pt x="149179" y="11916"/>
                  <a:pt x="145743" y="10663"/>
                  <a:pt x="141436" y="10582"/>
                </a:cubicBezTo>
                <a:cubicBezTo>
                  <a:pt x="136977" y="10635"/>
                  <a:pt x="133401" y="11787"/>
                  <a:pt x="130710" y="14040"/>
                </a:cubicBezTo>
                <a:cubicBezTo>
                  <a:pt x="128019" y="16293"/>
                  <a:pt x="126250" y="19331"/>
                  <a:pt x="125406" y="23155"/>
                </a:cubicBezTo>
                <a:lnTo>
                  <a:pt x="116186" y="23155"/>
                </a:lnTo>
                <a:cubicBezTo>
                  <a:pt x="117089" y="16819"/>
                  <a:pt x="119761" y="11733"/>
                  <a:pt x="124201" y="7898"/>
                </a:cubicBezTo>
                <a:cubicBezTo>
                  <a:pt x="128641" y="4062"/>
                  <a:pt x="134456" y="2094"/>
                  <a:pt x="141646" y="1991"/>
                </a:cubicBezTo>
                <a:close/>
                <a:moveTo>
                  <a:pt x="3494989" y="0"/>
                </a:moveTo>
                <a:lnTo>
                  <a:pt x="3494989" y="8697"/>
                </a:lnTo>
                <a:lnTo>
                  <a:pt x="3475710" y="12259"/>
                </a:lnTo>
                <a:cubicBezTo>
                  <a:pt x="3469812" y="13339"/>
                  <a:pt x="3465473" y="15579"/>
                  <a:pt x="3462692" y="18978"/>
                </a:cubicBezTo>
                <a:cubicBezTo>
                  <a:pt x="3459911" y="22376"/>
                  <a:pt x="3458244" y="27052"/>
                  <a:pt x="3457689" y="33004"/>
                </a:cubicBezTo>
                <a:cubicBezTo>
                  <a:pt x="3459697" y="30066"/>
                  <a:pt x="3462256" y="27849"/>
                  <a:pt x="3465364" y="26351"/>
                </a:cubicBezTo>
                <a:cubicBezTo>
                  <a:pt x="3468472" y="24854"/>
                  <a:pt x="3472025" y="24103"/>
                  <a:pt x="3476024" y="24098"/>
                </a:cubicBezTo>
                <a:cubicBezTo>
                  <a:pt x="3482992" y="24136"/>
                  <a:pt x="3488728" y="26445"/>
                  <a:pt x="3493234" y="31027"/>
                </a:cubicBezTo>
                <a:cubicBezTo>
                  <a:pt x="3497739" y="35608"/>
                  <a:pt x="3500070" y="42240"/>
                  <a:pt x="3500228" y="50921"/>
                </a:cubicBezTo>
                <a:cubicBezTo>
                  <a:pt x="3500204" y="56006"/>
                  <a:pt x="3499180" y="60586"/>
                  <a:pt x="3497158" y="64662"/>
                </a:cubicBezTo>
                <a:cubicBezTo>
                  <a:pt x="3495136" y="68738"/>
                  <a:pt x="3492258" y="71975"/>
                  <a:pt x="3488524" y="74375"/>
                </a:cubicBezTo>
                <a:cubicBezTo>
                  <a:pt x="3484790" y="76774"/>
                  <a:pt x="3480344" y="78002"/>
                  <a:pt x="3475186" y="78058"/>
                </a:cubicBezTo>
                <a:cubicBezTo>
                  <a:pt x="3467018" y="77999"/>
                  <a:pt x="3460566" y="75209"/>
                  <a:pt x="3455829" y="69689"/>
                </a:cubicBezTo>
                <a:cubicBezTo>
                  <a:pt x="3451092" y="64168"/>
                  <a:pt x="3448674" y="56271"/>
                  <a:pt x="3448573" y="45996"/>
                </a:cubicBezTo>
                <a:cubicBezTo>
                  <a:pt x="3448513" y="32937"/>
                  <a:pt x="3450495" y="23145"/>
                  <a:pt x="3454519" y="16620"/>
                </a:cubicBezTo>
                <a:cubicBezTo>
                  <a:pt x="3458545" y="10096"/>
                  <a:pt x="3464980" y="5988"/>
                  <a:pt x="3473824" y="429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6" name="Рисунок 5" descr="Изображение выглядит как Шрифт, Графика, символ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D1388DF3-B2CD-FFDF-06D3-EC939FCE10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66513" y="432629"/>
            <a:ext cx="2092099" cy="310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5545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Маленький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0277B6A-C9C1-4BED-B660-DD42A7483A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619" y="466293"/>
            <a:ext cx="9519903" cy="22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19466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58226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C5F28197-445D-468F-8A9D-D5803AFCD605}"/>
              </a:ext>
            </a:extLst>
          </p:cNvPr>
          <p:cNvSpPr txBox="1">
            <a:spLocks/>
          </p:cNvSpPr>
          <p:nvPr/>
        </p:nvSpPr>
        <p:spPr>
          <a:xfrm>
            <a:off x="0" y="6565920"/>
            <a:ext cx="432000" cy="12311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 rtl="0"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B51A1E-902D-48AF-9020-955120F399B6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LS Hauss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LS Haus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AD899ED0-9CC6-4810-AD9F-F9A74D7E8D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3" name="Рисунок 2" descr="Изображение выглядит как снимок экрана, размытие, дизайн, свет&#10;&#10;Автоматически созданное описание">
            <a:extLst>
              <a:ext uri="{FF2B5EF4-FFF2-40B4-BE49-F238E27FC236}">
                <a16:creationId xmlns:a16="http://schemas.microsoft.com/office/drawing/2014/main" id="{948916E8-AB7D-CF14-74E4-1B619ED0FD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5022"/>
          <a:stretch/>
        </p:blipFill>
        <p:spPr>
          <a:xfrm flipH="1">
            <a:off x="-1" y="676"/>
            <a:ext cx="12192000" cy="68573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069BF97-E68C-5B42-F5AE-749633CD983C}"/>
              </a:ext>
            </a:extLst>
          </p:cNvPr>
          <p:cNvSpPr txBox="1"/>
          <p:nvPr/>
        </p:nvSpPr>
        <p:spPr>
          <a:xfrm>
            <a:off x="432619" y="5489338"/>
            <a:ext cx="4542991" cy="10132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lnSpc>
                <a:spcPct val="120000"/>
              </a:lnSpc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043C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rvionica.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043C3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>
              <a:lnSpc>
                <a:spcPct val="120000"/>
              </a:lnSpc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043C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fo@servionica.ru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043C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          </a:t>
            </a:r>
          </a:p>
          <a:p>
            <a:pPr>
              <a:lnSpc>
                <a:spcPct val="120000"/>
              </a:lnSpc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043C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+7(495)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043C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043C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788-0-788</a:t>
            </a:r>
          </a:p>
          <a:p>
            <a:pPr>
              <a:lnSpc>
                <a:spcPct val="120000"/>
              </a:lnSpc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043C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г. Москва ул. Профсоюзная, 76</a:t>
            </a:r>
          </a:p>
        </p:txBody>
      </p:sp>
      <p:pic>
        <p:nvPicPr>
          <p:cNvPr id="7" name="Рисунок 6" descr="Изображение выглядит как Шрифт, Графика, символ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CBCA50B2-60ED-5E0F-CAFF-7517ED49A9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0" y="431800"/>
            <a:ext cx="3908125" cy="5794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EC99A7A-B073-301A-5294-A8234E6F9F35}"/>
              </a:ext>
            </a:extLst>
          </p:cNvPr>
          <p:cNvSpPr txBox="1"/>
          <p:nvPr/>
        </p:nvSpPr>
        <p:spPr>
          <a:xfrm>
            <a:off x="422680" y="2921040"/>
            <a:ext cx="6115050" cy="118423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ru-RU" sz="4800" kern="1200" dirty="0">
                <a:solidFill>
                  <a:schemeClr val="accent2"/>
                </a:solidFill>
                <a:latin typeface="ALS Hauss Medium" panose="00000600000000000000" pitchFamily="50" charset="0"/>
                <a:ea typeface="+mj-ea"/>
                <a:cs typeface="+mj-cs"/>
              </a:rPr>
              <a:t>Спасибо </a:t>
            </a:r>
            <a:br>
              <a:rPr lang="ru-RU" sz="4800" kern="1200" dirty="0">
                <a:solidFill>
                  <a:schemeClr val="accent2"/>
                </a:solidFill>
                <a:latin typeface="ALS Hauss Medium" panose="00000600000000000000" pitchFamily="50" charset="0"/>
                <a:ea typeface="+mj-ea"/>
                <a:cs typeface="+mj-cs"/>
              </a:rPr>
            </a:br>
            <a:r>
              <a:rPr lang="ru-RU" sz="4800" kern="1200" dirty="0">
                <a:solidFill>
                  <a:schemeClr val="accent2"/>
                </a:solidFill>
                <a:latin typeface="ALS Hauss Medium" panose="00000600000000000000" pitchFamily="50" charset="0"/>
                <a:ea typeface="+mj-ea"/>
                <a:cs typeface="+mj-cs"/>
              </a:rPr>
              <a:t>за внимание!</a:t>
            </a:r>
          </a:p>
        </p:txBody>
      </p:sp>
      <p:pic>
        <p:nvPicPr>
          <p:cNvPr id="4" name="Рисунок 3" descr="Изображение выглядит как снимок экрана, размытие, дизайн, свет&#10;&#10;Автоматически созданное описание">
            <a:extLst>
              <a:ext uri="{FF2B5EF4-FFF2-40B4-BE49-F238E27FC236}">
                <a16:creationId xmlns:a16="http://schemas.microsoft.com/office/drawing/2014/main" id="{70EA7BA3-B78B-F30D-DA03-7819D811D1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25021"/>
          <a:stretch/>
        </p:blipFill>
        <p:spPr bwMode="auto">
          <a:xfrm flipH="1">
            <a:off x="-1" y="676"/>
            <a:ext cx="12192000" cy="685732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A377A6A-032D-B9DD-0D0A-48AEDF70862B}"/>
              </a:ext>
            </a:extLst>
          </p:cNvPr>
          <p:cNvSpPr txBox="1"/>
          <p:nvPr userDrawn="1"/>
        </p:nvSpPr>
        <p:spPr bwMode="auto">
          <a:xfrm>
            <a:off x="432619" y="5489338"/>
            <a:ext cx="4542991" cy="10132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sz="1400" b="0" i="0" u="none" strike="noStrike" cap="none" spc="0">
                <a:ln>
                  <a:noFill/>
                </a:ln>
                <a:solidFill>
                  <a:srgbClr val="0061D5"/>
                </a:solidFill>
                <a:latin typeface="ALS Hauss"/>
                <a:ea typeface="Arial"/>
                <a:cs typeface="Arial"/>
              </a:rPr>
              <a:t>servionica.ru</a:t>
            </a:r>
          </a:p>
          <a:p>
            <a:pPr>
              <a:lnSpc>
                <a:spcPct val="120000"/>
              </a:lnSpc>
              <a:defRPr/>
            </a:pPr>
            <a:r>
              <a:rPr lang="en-US" sz="1400" b="0" i="0" u="none" strike="noStrike" cap="none" spc="0">
                <a:ln>
                  <a:noFill/>
                </a:ln>
                <a:solidFill>
                  <a:srgbClr val="0061D5"/>
                </a:solidFill>
                <a:latin typeface="ALS Hauss"/>
                <a:ea typeface="Arial"/>
                <a:cs typeface="Arial"/>
              </a:rPr>
              <a:t>info@servionica.ru            </a:t>
            </a:r>
            <a:endParaRPr/>
          </a:p>
          <a:p>
            <a:pPr>
              <a:lnSpc>
                <a:spcPct val="120000"/>
              </a:lnSpc>
              <a:defRPr/>
            </a:pPr>
            <a:r>
              <a:rPr lang="ru-RU" sz="1400" b="0" i="0" u="none" strike="noStrike" cap="none" spc="0">
                <a:ln>
                  <a:noFill/>
                </a:ln>
                <a:solidFill>
                  <a:srgbClr val="0061D5"/>
                </a:solidFill>
                <a:latin typeface="ALS Hauss"/>
                <a:ea typeface="Arial"/>
                <a:cs typeface="Arial"/>
              </a:rPr>
              <a:t>+7(495)</a:t>
            </a:r>
            <a:r>
              <a:rPr lang="en-US" sz="1400" b="0" i="0" u="none" strike="noStrike" cap="none" spc="0">
                <a:ln>
                  <a:noFill/>
                </a:ln>
                <a:solidFill>
                  <a:srgbClr val="0061D5"/>
                </a:solidFill>
                <a:latin typeface="ALS Hauss"/>
                <a:ea typeface="Arial"/>
                <a:cs typeface="Arial"/>
              </a:rPr>
              <a:t> </a:t>
            </a:r>
            <a:r>
              <a:rPr lang="ru-RU" sz="1400" b="0" i="0" u="none" strike="noStrike" cap="none" spc="0">
                <a:ln>
                  <a:noFill/>
                </a:ln>
                <a:solidFill>
                  <a:srgbClr val="0061D5"/>
                </a:solidFill>
                <a:latin typeface="ALS Hauss"/>
                <a:ea typeface="Arial"/>
                <a:cs typeface="Arial"/>
              </a:rPr>
              <a:t>788-0-788</a:t>
            </a:r>
            <a:endParaRPr/>
          </a:p>
          <a:p>
            <a:pPr>
              <a:lnSpc>
                <a:spcPct val="120000"/>
              </a:lnSpc>
              <a:defRPr/>
            </a:pPr>
            <a:r>
              <a:rPr lang="ru-RU" sz="1400" b="0" i="0" u="none" strike="noStrike" cap="none" spc="0">
                <a:ln>
                  <a:noFill/>
                </a:ln>
                <a:solidFill>
                  <a:srgbClr val="0061D5"/>
                </a:solidFill>
                <a:latin typeface="ALS Hauss"/>
                <a:ea typeface="Arial"/>
                <a:cs typeface="Arial"/>
              </a:rPr>
              <a:t>г. Москва ул. Профсоюзная, 76</a:t>
            </a:r>
            <a:endParaRPr/>
          </a:p>
        </p:txBody>
      </p:sp>
      <p:pic>
        <p:nvPicPr>
          <p:cNvPr id="9" name="Рисунок 8" descr="Изображение выглядит как Шрифт, Графика, символ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3DF7AA66-0D4F-B9AA-C349-4426F8E31F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431799" y="431799"/>
            <a:ext cx="3908125" cy="57943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170B1C2-241E-2572-B2E8-DCAE792CBD0F}"/>
              </a:ext>
            </a:extLst>
          </p:cNvPr>
          <p:cNvSpPr txBox="1"/>
          <p:nvPr userDrawn="1"/>
        </p:nvSpPr>
        <p:spPr bwMode="auto">
          <a:xfrm>
            <a:off x="422680" y="2921040"/>
            <a:ext cx="6115050" cy="118423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l" defTabSz="914400">
              <a:lnSpc>
                <a:spcPct val="80000"/>
              </a:lnSpc>
              <a:spcBef>
                <a:spcPts val="0"/>
              </a:spcBef>
              <a:buNone/>
              <a:defRPr/>
            </a:pPr>
            <a:r>
              <a:rPr lang="ru-RU" sz="4800">
                <a:solidFill>
                  <a:srgbClr val="0061D5"/>
                </a:solidFill>
                <a:latin typeface="ALS Hauss Medium"/>
                <a:ea typeface="Arial"/>
                <a:cs typeface="Arial"/>
              </a:rPr>
              <a:t>Спасибо </a:t>
            </a:r>
            <a:br>
              <a:rPr lang="ru-RU" sz="4800">
                <a:solidFill>
                  <a:srgbClr val="0061D5"/>
                </a:solidFill>
                <a:latin typeface="ALS Hauss Medium"/>
                <a:ea typeface="Arial"/>
                <a:cs typeface="Arial"/>
              </a:rPr>
            </a:br>
            <a:r>
              <a:rPr lang="ru-RU" sz="4800">
                <a:solidFill>
                  <a:srgbClr val="0061D5"/>
                </a:solidFill>
                <a:latin typeface="ALS Hauss Medium"/>
                <a:ea typeface="Arial"/>
                <a:cs typeface="Arial"/>
              </a:rPr>
              <a:t>за внимание!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7298406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Спасибо за внимание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A0774A2-7A56-4E9C-8164-03644F2CEDE1}"/>
              </a:ext>
            </a:extLst>
          </p:cNvPr>
          <p:cNvSpPr txBox="1"/>
          <p:nvPr/>
        </p:nvSpPr>
        <p:spPr>
          <a:xfrm>
            <a:off x="422680" y="5139118"/>
            <a:ext cx="6115050" cy="148034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ru-RU" sz="6000" kern="1200" dirty="0">
                <a:solidFill>
                  <a:schemeClr val="bg1"/>
                </a:solidFill>
                <a:latin typeface="ALS Hauss Medium" panose="00000600000000000000" pitchFamily="50" charset="0"/>
                <a:ea typeface="+mj-ea"/>
                <a:cs typeface="+mj-cs"/>
              </a:rPr>
              <a:t>Спасибо </a:t>
            </a:r>
            <a:br>
              <a:rPr lang="ru-RU" sz="6000" kern="1200" dirty="0">
                <a:solidFill>
                  <a:schemeClr val="bg1"/>
                </a:solidFill>
                <a:latin typeface="ALS Hauss Medium" panose="00000600000000000000" pitchFamily="50" charset="0"/>
                <a:ea typeface="+mj-ea"/>
                <a:cs typeface="+mj-cs"/>
              </a:rPr>
            </a:br>
            <a:r>
              <a:rPr lang="ru-RU" sz="6000" kern="1200" dirty="0">
                <a:solidFill>
                  <a:schemeClr val="bg1"/>
                </a:solidFill>
                <a:latin typeface="ALS Hauss Medium" panose="00000600000000000000" pitchFamily="50" charset="0"/>
                <a:ea typeface="+mj-ea"/>
                <a:cs typeface="+mj-cs"/>
              </a:rPr>
              <a:t>за внимание!</a:t>
            </a:r>
          </a:p>
        </p:txBody>
      </p:sp>
      <p:pic>
        <p:nvPicPr>
          <p:cNvPr id="6" name="Т1">
            <a:extLst>
              <a:ext uri="{FF2B5EF4-FFF2-40B4-BE49-F238E27FC236}">
                <a16:creationId xmlns:a16="http://schemas.microsoft.com/office/drawing/2014/main" id="{61576F74-B1D1-4685-BC22-B54AA0EF605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2618" y="443502"/>
            <a:ext cx="1608525" cy="599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9079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Финальный слайд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DF9EEEF-AF27-44B8-9499-14B33A59EBE4}"/>
              </a:ext>
            </a:extLst>
          </p:cNvPr>
          <p:cNvSpPr txBox="1"/>
          <p:nvPr/>
        </p:nvSpPr>
        <p:spPr>
          <a:xfrm>
            <a:off x="432619" y="3902349"/>
            <a:ext cx="7827126" cy="121879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4400" b="0" i="0" dirty="0">
                <a:solidFill>
                  <a:schemeClr val="bg1"/>
                </a:solidFill>
                <a:effectLst/>
                <a:latin typeface="ALS Hauss Medium" panose="00000600000000000000" pitchFamily="50" charset="0"/>
              </a:rPr>
              <a:t>Цифровая трансформация </a:t>
            </a:r>
            <a:br>
              <a:rPr lang="ru-RU" sz="4400" b="0" i="0" dirty="0">
                <a:solidFill>
                  <a:schemeClr val="bg1"/>
                </a:solidFill>
                <a:effectLst/>
                <a:latin typeface="ALS Hauss Medium" panose="00000600000000000000" pitchFamily="50" charset="0"/>
              </a:rPr>
            </a:br>
            <a:r>
              <a:rPr lang="ru-RU" sz="4400" b="0" i="0" dirty="0">
                <a:solidFill>
                  <a:schemeClr val="bg1"/>
                </a:solidFill>
                <a:effectLst/>
                <a:latin typeface="ALS Hauss Medium" panose="00000600000000000000" pitchFamily="50" charset="0"/>
              </a:rPr>
              <a:t>бизнеса, регионов и страны</a:t>
            </a:r>
            <a:endParaRPr lang="ru-RU" sz="4400" b="0" i="0" dirty="0">
              <a:solidFill>
                <a:schemeClr val="bg1"/>
              </a:solidFill>
              <a:latin typeface="ALS Hauss Medium" panose="00000600000000000000" pitchFamily="50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B85C02-37B6-42A3-80BD-CB0B58DBFEEE}"/>
              </a:ext>
            </a:extLst>
          </p:cNvPr>
          <p:cNvSpPr txBox="1"/>
          <p:nvPr/>
        </p:nvSpPr>
        <p:spPr>
          <a:xfrm>
            <a:off x="432619" y="5579299"/>
            <a:ext cx="4542991" cy="9233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1.ru 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+7 495 648-08-08</a:t>
            </a:r>
          </a:p>
          <a:p>
            <a:r>
              <a:rPr kumimoji="0" lang="en-GB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fo@t1.ru </a:t>
            </a:r>
            <a:endParaRPr kumimoji="0" lang="ru-RU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7" name="Т1">
            <a:extLst>
              <a:ext uri="{FF2B5EF4-FFF2-40B4-BE49-F238E27FC236}">
                <a16:creationId xmlns:a16="http://schemas.microsoft.com/office/drawing/2014/main" id="{077982B0-5B26-494B-B137-4368A98659A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2618" y="443502"/>
            <a:ext cx="1608525" cy="599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2267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6_Титульный слайд">
    <p:bg>
      <p:bgPr>
        <a:solidFill>
          <a:srgbClr val="2043C3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auto">
          <a:xfrm>
            <a:off x="432619" y="6190111"/>
            <a:ext cx="582750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20000"/>
              </a:lnSpc>
              <a:buNone/>
              <a:defRPr lang="en-US"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>
              <a:lnSpc>
                <a:spcPct val="100000"/>
              </a:lnSpc>
              <a:spcBef>
                <a:spcPts val="1000"/>
              </a:spcBef>
              <a:buFont typeface="Arial"/>
              <a:buNone/>
              <a:defRPr/>
            </a:pPr>
            <a:r>
              <a:rPr lang="ru-RU"/>
              <a:t>Подзаголовок</a:t>
            </a:r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32619" y="3780115"/>
            <a:ext cx="5827503" cy="221900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 defTabSz="914400">
              <a:lnSpc>
                <a:spcPct val="80000"/>
              </a:lnSpc>
              <a:spcBef>
                <a:spcPts val="0"/>
              </a:spcBef>
              <a:buNone/>
              <a:defRPr lang="en-US" sz="6000">
                <a:solidFill>
                  <a:schemeClr val="bg1"/>
                </a:solidFill>
                <a:latin typeface="ALS Hauss Medium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/>
              <a:t>Длинный заголовок </a:t>
            </a:r>
            <a:br>
              <a:rPr lang="ru-RU"/>
            </a:br>
            <a:r>
              <a:rPr lang="ru-RU"/>
              <a:t>в три строки</a:t>
            </a:r>
            <a:endParaRPr lang="en-US"/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432619" y="442023"/>
            <a:ext cx="3067710" cy="458628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/>
          <a:srcRect t="18383" r="28438" b="18382"/>
          <a:stretch/>
        </p:blipFill>
        <p:spPr bwMode="auto">
          <a:xfrm>
            <a:off x="4430808" y="0"/>
            <a:ext cx="7761192" cy="685799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 голубой">
    <p:bg>
      <p:bgPr>
        <a:solidFill>
          <a:srgbClr val="2043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D2B8846-9ACD-49CB-BA30-6B0773C468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619" y="3082944"/>
            <a:ext cx="9415914" cy="59330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Обложка раздела</a:t>
            </a:r>
            <a:endParaRPr lang="en-US" dirty="0"/>
          </a:p>
        </p:txBody>
      </p:sp>
      <p:sp>
        <p:nvSpPr>
          <p:cNvPr id="4" name="Текст 2">
            <a:extLst>
              <a:ext uri="{FF2B5EF4-FFF2-40B4-BE49-F238E27FC236}">
                <a16:creationId xmlns:a16="http://schemas.microsoft.com/office/drawing/2014/main" id="{63E473A9-D8F3-4E0E-B91B-3B189D614D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619" y="3924300"/>
            <a:ext cx="941591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ru-RU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</a:pPr>
            <a:r>
              <a:rPr lang="ru-RU" dirty="0"/>
              <a:t>Подзаголовок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9BD685D-5CDA-D33F-D56C-045DAD2A4D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619" y="442023"/>
            <a:ext cx="3067710" cy="458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6805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Разделитель темны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32619" y="3082944"/>
            <a:ext cx="9415914" cy="59330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ru-RU"/>
              <a:t>Обложка раздел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432619" y="3924300"/>
            <a:ext cx="941591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ru-RU"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>
              <a:lnSpc>
                <a:spcPct val="100000"/>
              </a:lnSpc>
              <a:spcBef>
                <a:spcPts val="1000"/>
              </a:spcBef>
              <a:defRPr/>
            </a:pPr>
            <a:r>
              <a:rPr lang="ru-RU"/>
              <a:t>Подзаголовок</a:t>
            </a:r>
            <a:endParaRPr/>
          </a:p>
        </p:txBody>
      </p:sp>
      <p:pic>
        <p:nvPicPr>
          <p:cNvPr id="7" name="Т1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432618" y="443502"/>
            <a:ext cx="1608525" cy="599485"/>
          </a:xfrm>
          <a:prstGeom prst="rect">
            <a:avLst/>
          </a:prstGeom>
        </p:spPr>
      </p:pic>
      <p:pic>
        <p:nvPicPr>
          <p:cNvPr id="3" name="Рисунок 2" descr="Изображение выглядит как Шрифт, Графика, символ, логотип&#10;&#10;Автоматически созданное описание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9666513" y="432629"/>
            <a:ext cx="2092099" cy="31018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1_Содержание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/>
          <p:nvPr/>
        </p:nvSpPr>
        <p:spPr bwMode="auto">
          <a:xfrm>
            <a:off x="0" y="6565032"/>
            <a:ext cx="432000" cy="12311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9B51A1E-902D-48AF-9020-955120F399B6}" type="slidenum">
              <a:rPr lang="ru-RU" sz="800" b="0" i="0" u="none" strike="noStrike" cap="none" spc="0">
                <a:ln>
                  <a:noFill/>
                </a:ln>
                <a:solidFill>
                  <a:schemeClr val="bg1"/>
                </a:solidFill>
                <a:latin typeface="ALS Hauss"/>
                <a:ea typeface="Verdana"/>
                <a:cs typeface="Verdana"/>
              </a:rPr>
              <a:t>‹#›</a:t>
            </a:fld>
            <a:endParaRPr lang="ru-RU" sz="800" b="0" i="0" u="none" strike="noStrike" cap="none" spc="0">
              <a:ln>
                <a:noFill/>
              </a:ln>
              <a:solidFill>
                <a:schemeClr val="bg1"/>
              </a:solidFill>
              <a:latin typeface="ALS Hauss"/>
              <a:ea typeface="Verdana"/>
              <a:cs typeface="Verdana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Контент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4" name="Номер слайда 5"/>
          <p:cNvSpPr txBox="1"/>
          <p:nvPr/>
        </p:nvSpPr>
        <p:spPr bwMode="auto">
          <a:xfrm>
            <a:off x="0" y="6565920"/>
            <a:ext cx="432000" cy="12311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9B51A1E-902D-48AF-9020-955120F399B6}" type="slidenum">
              <a:rPr lang="ru-RU" sz="800" b="0" i="0" u="none" strike="noStrike" cap="none" spc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latin typeface="ALS Hauss"/>
                <a:ea typeface="Verdana"/>
                <a:cs typeface="Verdana"/>
              </a:rPr>
              <a:t>‹#›</a:t>
            </a:fld>
            <a:endParaRPr lang="ru-RU" sz="800" b="0" i="0" u="none" strike="noStrike" cap="none" spc="0">
              <a:ln>
                <a:noFill/>
              </a:ln>
              <a:solidFill>
                <a:schemeClr val="bg1">
                  <a:lumMod val="65000"/>
                </a:schemeClr>
              </a:solidFill>
              <a:latin typeface="ALS Hauss"/>
              <a:ea typeface="Verdana"/>
              <a:cs typeface="Verdana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 bwMode="auto"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 bwMode="auto">
          <a:xfrm>
            <a:off x="432619" y="423292"/>
            <a:ext cx="9606530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Контент + под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432619" y="1229955"/>
            <a:ext cx="961625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ru-RU"/>
              <a:t>Подзаголовок слайда</a:t>
            </a:r>
            <a:endParaRPr/>
          </a:p>
        </p:txBody>
      </p:sp>
      <p:sp>
        <p:nvSpPr>
          <p:cNvPr id="5" name="Номер слайда 5"/>
          <p:cNvSpPr txBox="1"/>
          <p:nvPr/>
        </p:nvSpPr>
        <p:spPr bwMode="auto">
          <a:xfrm>
            <a:off x="0" y="6565920"/>
            <a:ext cx="432000" cy="12311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9B51A1E-902D-48AF-9020-955120F399B6}" type="slidenum">
              <a:rPr lang="ru-RU" sz="800" b="0" i="0" u="none" strike="noStrike" cap="none" spc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latin typeface="ALS Hauss"/>
                <a:ea typeface="Verdana"/>
                <a:cs typeface="Verdana"/>
              </a:rPr>
              <a:t>‹#›</a:t>
            </a:fld>
            <a:endParaRPr lang="ru-RU" sz="800" b="0" i="0" u="none" strike="noStrike" cap="none" spc="0">
              <a:ln>
                <a:noFill/>
              </a:ln>
              <a:solidFill>
                <a:schemeClr val="bg1">
                  <a:lumMod val="65000"/>
                </a:schemeClr>
              </a:solidFill>
              <a:latin typeface="ALS Hauss"/>
              <a:ea typeface="Verdana"/>
              <a:cs typeface="Verdana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2"/>
          </p:nvPr>
        </p:nvSpPr>
        <p:spPr bwMode="auto"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Заголовок 5"/>
          <p:cNvSpPr>
            <a:spLocks noGrp="1"/>
          </p:cNvSpPr>
          <p:nvPr>
            <p:ph type="title"/>
          </p:nvPr>
        </p:nvSpPr>
        <p:spPr bwMode="auto">
          <a:xfrm>
            <a:off x="432619" y="423292"/>
            <a:ext cx="9616256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3_Контент + под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7151687" y="0"/>
            <a:ext cx="504031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tlCol="0" anchor="t"/>
          <a:lstStyle/>
          <a:p>
            <a:pPr algn="l">
              <a:defRPr/>
            </a:pPr>
            <a:endParaRPr lang="ru-RU" sz="1600" b="1">
              <a:solidFill>
                <a:schemeClr val="tx2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432619" y="1229955"/>
            <a:ext cx="595071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ru-RU"/>
              <a:t>Подзаголовок слайда</a:t>
            </a:r>
            <a:endParaRPr/>
          </a:p>
        </p:txBody>
      </p:sp>
      <p:sp>
        <p:nvSpPr>
          <p:cNvPr id="5" name="Номер слайда 5"/>
          <p:cNvSpPr txBox="1"/>
          <p:nvPr/>
        </p:nvSpPr>
        <p:spPr bwMode="auto">
          <a:xfrm>
            <a:off x="0" y="6565920"/>
            <a:ext cx="432000" cy="12311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9B51A1E-902D-48AF-9020-955120F399B6}" type="slidenum">
              <a:rPr lang="ru-RU" sz="800" b="0" i="0" u="none" strike="noStrike" cap="none" spc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latin typeface="ALS Hauss"/>
                <a:ea typeface="Verdana"/>
                <a:cs typeface="Verdana"/>
              </a:rPr>
              <a:t>‹#›</a:t>
            </a:fld>
            <a:endParaRPr lang="ru-RU" sz="800" b="0" i="0" u="none" strike="noStrike" cap="none" spc="0">
              <a:ln>
                <a:noFill/>
              </a:ln>
              <a:solidFill>
                <a:schemeClr val="bg1">
                  <a:lumMod val="65000"/>
                </a:schemeClr>
              </a:solidFill>
              <a:latin typeface="ALS Hauss"/>
              <a:ea typeface="Verdana"/>
              <a:cs typeface="Verdana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2"/>
          </p:nvPr>
        </p:nvSpPr>
        <p:spPr bwMode="auto"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Заголовок 5"/>
          <p:cNvSpPr>
            <a:spLocks noGrp="1"/>
          </p:cNvSpPr>
          <p:nvPr>
            <p:ph type="title"/>
          </p:nvPr>
        </p:nvSpPr>
        <p:spPr bwMode="auto">
          <a:xfrm>
            <a:off x="432619" y="423292"/>
            <a:ext cx="5950719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pic>
        <p:nvPicPr>
          <p:cNvPr id="7" name="Рисунок 6" descr="Изображение выглядит как Шрифт, Графика, символ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5D08045D-FFE3-6776-6F0A-1F1F12050F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9666513" y="431799"/>
            <a:ext cx="2092099" cy="310185"/>
          </a:xfrm>
          <a:prstGeom prst="rect">
            <a:avLst/>
          </a:prstGeom>
        </p:spPr>
      </p:pic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Контент 3 колонки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432619" y="1268936"/>
            <a:ext cx="961625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2"/>
                </a:solidFill>
                <a:latin typeface="ALS Hauss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ru-RU"/>
              <a:t>Подзаголовок слайда</a:t>
            </a:r>
            <a:endParaRPr/>
          </a:p>
        </p:txBody>
      </p:sp>
      <p:sp>
        <p:nvSpPr>
          <p:cNvPr id="4" name="Текст 2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32619" y="2945077"/>
            <a:ext cx="339028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ru-RU"/>
              <a:t>Текст </a:t>
            </a:r>
            <a:endParaRPr/>
          </a:p>
        </p:txBody>
      </p:sp>
      <p:sp>
        <p:nvSpPr>
          <p:cNvPr id="5" name="Текст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508967" y="2945077"/>
            <a:ext cx="327920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ru-RU"/>
              <a:t>Текст </a:t>
            </a:r>
            <a:endParaRPr/>
          </a:p>
        </p:txBody>
      </p:sp>
      <p:sp>
        <p:nvSpPr>
          <p:cNvPr id="6" name="Текст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8363341" y="2945077"/>
            <a:ext cx="339028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ru-RU"/>
              <a:t>Текст </a:t>
            </a:r>
            <a:endParaRPr/>
          </a:p>
        </p:txBody>
      </p:sp>
      <p:sp>
        <p:nvSpPr>
          <p:cNvPr id="8" name="Номер слайда 5"/>
          <p:cNvSpPr txBox="1"/>
          <p:nvPr/>
        </p:nvSpPr>
        <p:spPr bwMode="auto">
          <a:xfrm>
            <a:off x="0" y="6565920"/>
            <a:ext cx="432000" cy="12311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9B51A1E-902D-48AF-9020-955120F399B6}" type="slidenum">
              <a:rPr lang="ru-RU" sz="800" b="0" i="0" u="none" strike="noStrike" cap="none" spc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latin typeface="ALS Hauss"/>
                <a:ea typeface="Verdana"/>
                <a:cs typeface="Verdana"/>
              </a:rPr>
              <a:t>‹#›</a:t>
            </a:fld>
            <a:endParaRPr lang="ru-RU" sz="800" b="0" i="0" u="none" strike="noStrike" cap="none" spc="0">
              <a:ln>
                <a:noFill/>
              </a:ln>
              <a:solidFill>
                <a:schemeClr val="bg1">
                  <a:lumMod val="65000"/>
                </a:schemeClr>
              </a:solidFill>
              <a:latin typeface="ALS Hauss"/>
              <a:ea typeface="Verdana"/>
              <a:cs typeface="Verdana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5"/>
          </p:nvPr>
        </p:nvSpPr>
        <p:spPr bwMode="auto"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2" name="Заголовок 5"/>
          <p:cNvSpPr>
            <a:spLocks noGrp="1"/>
          </p:cNvSpPr>
          <p:nvPr>
            <p:ph type="title"/>
          </p:nvPr>
        </p:nvSpPr>
        <p:spPr bwMode="auto">
          <a:xfrm>
            <a:off x="432619" y="423292"/>
            <a:ext cx="9616256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Контент 4 колонки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432619" y="1268936"/>
            <a:ext cx="961625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2"/>
                </a:solidFill>
                <a:latin typeface="ALS Hauss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ru-RU"/>
              <a:t>Подзаголовок слайда</a:t>
            </a:r>
            <a:endParaRPr/>
          </a:p>
        </p:txBody>
      </p:sp>
      <p:sp>
        <p:nvSpPr>
          <p:cNvPr id="4" name="Текст 2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32619" y="2945074"/>
            <a:ext cx="234868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ru-RU"/>
              <a:t>Текст </a:t>
            </a:r>
            <a:endParaRPr/>
          </a:p>
        </p:txBody>
      </p:sp>
      <p:sp>
        <p:nvSpPr>
          <p:cNvPr id="8" name="Номер слайда 5"/>
          <p:cNvSpPr txBox="1"/>
          <p:nvPr/>
        </p:nvSpPr>
        <p:spPr bwMode="auto">
          <a:xfrm>
            <a:off x="0" y="6565920"/>
            <a:ext cx="432000" cy="12311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9B51A1E-902D-48AF-9020-955120F399B6}" type="slidenum">
              <a:rPr lang="ru-RU" sz="800" b="0" i="0" u="none" strike="noStrike" cap="none" spc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latin typeface="ALS Hauss"/>
                <a:ea typeface="Verdana"/>
                <a:cs typeface="Verdana"/>
              </a:rPr>
              <a:t>‹#›</a:t>
            </a:fld>
            <a:endParaRPr lang="ru-RU" sz="800" b="0" i="0" u="none" strike="noStrike" cap="none" spc="0">
              <a:ln>
                <a:noFill/>
              </a:ln>
              <a:solidFill>
                <a:schemeClr val="bg1">
                  <a:lumMod val="65000"/>
                </a:schemeClr>
              </a:solidFill>
              <a:latin typeface="ALS Hauss"/>
              <a:ea typeface="Verdana"/>
              <a:cs typeface="Verdana"/>
            </a:endParaRPr>
          </a:p>
        </p:txBody>
      </p:sp>
      <p:sp>
        <p:nvSpPr>
          <p:cNvPr id="9" name="Текст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425057" y="2945074"/>
            <a:ext cx="234868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ru-RU"/>
              <a:t>Текст </a:t>
            </a:r>
            <a:endParaRPr/>
          </a:p>
        </p:txBody>
      </p:sp>
      <p:sp>
        <p:nvSpPr>
          <p:cNvPr id="10" name="Текст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427542" y="2945074"/>
            <a:ext cx="234868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ru-RU"/>
              <a:t>Текст </a:t>
            </a:r>
            <a:endParaRPr/>
          </a:p>
        </p:txBody>
      </p:sp>
      <p:sp>
        <p:nvSpPr>
          <p:cNvPr id="11" name="Текст 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9410700" y="2945074"/>
            <a:ext cx="234868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ru-RU"/>
              <a:t>Текст </a:t>
            </a:r>
            <a:endParaRPr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6"/>
          </p:nvPr>
        </p:nvSpPr>
        <p:spPr bwMode="auto"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4" name="Заголовок 5"/>
          <p:cNvSpPr>
            <a:spLocks noGrp="1"/>
          </p:cNvSpPr>
          <p:nvPr>
            <p:ph type="title"/>
          </p:nvPr>
        </p:nvSpPr>
        <p:spPr bwMode="auto">
          <a:xfrm>
            <a:off x="432619" y="423292"/>
            <a:ext cx="9616256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Контент + фото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Рисунок 6"/>
          <p:cNvSpPr>
            <a:spLocks noGrp="1"/>
          </p:cNvSpPr>
          <p:nvPr>
            <p:ph type="pic" sz="quarter" idx="12"/>
          </p:nvPr>
        </p:nvSpPr>
        <p:spPr bwMode="auto">
          <a:xfrm>
            <a:off x="7272338" y="0"/>
            <a:ext cx="4919662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>
              <a:defRPr lang="ru-RU"/>
            </a:lvl1pPr>
          </a:lstStyle>
          <a:p>
            <a:pPr lvl="0">
              <a:defRPr/>
            </a:pPr>
            <a:r>
              <a:rPr lang="ru-RU"/>
              <a:t>Вставка рисунка</a:t>
            </a:r>
          </a:p>
        </p:txBody>
      </p:sp>
      <p:sp>
        <p:nvSpPr>
          <p:cNvPr id="11" name="Номер слайда 5"/>
          <p:cNvSpPr txBox="1"/>
          <p:nvPr/>
        </p:nvSpPr>
        <p:spPr bwMode="auto">
          <a:xfrm>
            <a:off x="0" y="6565920"/>
            <a:ext cx="432000" cy="12311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9B51A1E-902D-48AF-9020-955120F399B6}" type="slidenum">
              <a:rPr lang="ru-RU" sz="800" b="0" i="0" u="none" strike="noStrike" cap="none" spc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latin typeface="ALS Hauss"/>
                <a:ea typeface="Verdana"/>
                <a:cs typeface="Verdana"/>
              </a:rPr>
              <a:t>‹#›</a:t>
            </a:fld>
            <a:endParaRPr lang="ru-RU" sz="800" b="0" i="0" u="none" strike="noStrike" cap="none" spc="0">
              <a:ln>
                <a:noFill/>
              </a:ln>
              <a:solidFill>
                <a:schemeClr val="bg1">
                  <a:lumMod val="65000"/>
                </a:schemeClr>
              </a:solidFill>
              <a:latin typeface="ALS Hauss"/>
              <a:ea typeface="Verdana"/>
              <a:cs typeface="Verdana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3"/>
          </p:nvPr>
        </p:nvSpPr>
        <p:spPr bwMode="auto"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0" name="Заголовок 5"/>
          <p:cNvSpPr>
            <a:spLocks noGrp="1"/>
          </p:cNvSpPr>
          <p:nvPr>
            <p:ph type="title"/>
          </p:nvPr>
        </p:nvSpPr>
        <p:spPr bwMode="auto">
          <a:xfrm>
            <a:off x="432619" y="423292"/>
            <a:ext cx="6266564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pic>
        <p:nvPicPr>
          <p:cNvPr id="3" name="Рисунок 2" descr="Изображение выглядит как Шрифт, Графика, символ, логотип&#10;&#10;Автоматически созданное описание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9666513" y="451290"/>
            <a:ext cx="2092099" cy="31018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Контент + голубой фон">
    <p:bg>
      <p:bgPr>
        <a:solidFill>
          <a:srgbClr val="0061D5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432619" y="1268936"/>
            <a:ext cx="961625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  <a:latin typeface="ALS Hauss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ru-RU"/>
              <a:t>Подзаголовок слайда</a:t>
            </a:r>
            <a:endParaRPr/>
          </a:p>
        </p:txBody>
      </p:sp>
      <p:sp>
        <p:nvSpPr>
          <p:cNvPr id="5" name="Номер слайда 5"/>
          <p:cNvSpPr txBox="1"/>
          <p:nvPr/>
        </p:nvSpPr>
        <p:spPr bwMode="auto">
          <a:xfrm>
            <a:off x="0" y="6565920"/>
            <a:ext cx="432000" cy="12311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9B51A1E-902D-48AF-9020-955120F399B6}" type="slidenum">
              <a:rPr lang="ru-RU" sz="800" b="0" i="0" u="none" strike="noStrike" cap="none" spc="0">
                <a:ln>
                  <a:noFill/>
                </a:ln>
                <a:solidFill>
                  <a:schemeClr val="bg1"/>
                </a:solidFill>
                <a:latin typeface="ALS Hauss"/>
                <a:ea typeface="Verdana"/>
                <a:cs typeface="Verdana"/>
              </a:rPr>
              <a:t>‹#›</a:t>
            </a:fld>
            <a:endParaRPr lang="ru-RU" sz="800" b="0" i="0" u="none" strike="noStrike" cap="none" spc="0">
              <a:ln>
                <a:noFill/>
              </a:ln>
              <a:solidFill>
                <a:schemeClr val="bg1"/>
              </a:solidFill>
              <a:latin typeface="ALS Hauss"/>
              <a:ea typeface="Verdana"/>
              <a:cs typeface="Verdana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2"/>
          </p:nvPr>
        </p:nvSpPr>
        <p:spPr bwMode="auto"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Заголовок 5"/>
          <p:cNvSpPr>
            <a:spLocks noGrp="1"/>
          </p:cNvSpPr>
          <p:nvPr>
            <p:ph type="title"/>
          </p:nvPr>
        </p:nvSpPr>
        <p:spPr bwMode="auto">
          <a:xfrm>
            <a:off x="432619" y="423292"/>
            <a:ext cx="9616256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pic>
        <p:nvPicPr>
          <p:cNvPr id="4" name="Рисунок 3" descr="Изображение выглядит как Шрифт, Графика, символ, логотип&#10;&#10;Автоматически созданное описание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9666513" y="432629"/>
            <a:ext cx="2092099" cy="31018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Контент + темный фон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432619" y="1268936"/>
            <a:ext cx="961625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  <a:latin typeface="ALS Hauss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ru-RU"/>
              <a:t>Подзаголовок слайда</a:t>
            </a:r>
            <a:endParaRPr/>
          </a:p>
        </p:txBody>
      </p:sp>
      <p:sp>
        <p:nvSpPr>
          <p:cNvPr id="5" name="Номер слайда 5"/>
          <p:cNvSpPr txBox="1"/>
          <p:nvPr/>
        </p:nvSpPr>
        <p:spPr bwMode="auto">
          <a:xfrm>
            <a:off x="0" y="6565920"/>
            <a:ext cx="432000" cy="12311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9B51A1E-902D-48AF-9020-955120F399B6}" type="slidenum">
              <a:rPr lang="ru-RU" sz="800" b="0" i="0" u="none" strike="noStrike" cap="none" spc="0">
                <a:ln>
                  <a:noFill/>
                </a:ln>
                <a:solidFill>
                  <a:schemeClr val="bg1"/>
                </a:solidFill>
                <a:latin typeface="ALS Hauss"/>
                <a:ea typeface="Verdana"/>
                <a:cs typeface="Verdana"/>
              </a:rPr>
              <a:t>‹#›</a:t>
            </a:fld>
            <a:endParaRPr lang="ru-RU" sz="800" b="0" i="0" u="none" strike="noStrike" cap="none" spc="0">
              <a:ln>
                <a:noFill/>
              </a:ln>
              <a:solidFill>
                <a:schemeClr val="bg1"/>
              </a:solidFill>
              <a:latin typeface="ALS Hauss"/>
              <a:ea typeface="Verdana"/>
              <a:cs typeface="Verdana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2"/>
          </p:nvPr>
        </p:nvSpPr>
        <p:spPr bwMode="auto"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Заголовок 5"/>
          <p:cNvSpPr>
            <a:spLocks noGrp="1"/>
          </p:cNvSpPr>
          <p:nvPr>
            <p:ph type="title"/>
          </p:nvPr>
        </p:nvSpPr>
        <p:spPr bwMode="auto">
          <a:xfrm>
            <a:off x="432619" y="423292"/>
            <a:ext cx="9616256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10" name="Полилиния: фигура 9"/>
          <p:cNvSpPr/>
          <p:nvPr/>
        </p:nvSpPr>
        <p:spPr bwMode="auto">
          <a:xfrm>
            <a:off x="437544" y="6588140"/>
            <a:ext cx="4854102" cy="96917"/>
          </a:xfrm>
          <a:custGeom>
            <a:avLst/>
            <a:gdLst/>
            <a:ahLst/>
            <a:cxnLst/>
            <a:rect l="l" t="t" r="r" b="b"/>
            <a:pathLst>
              <a:path w="4854102" h="96917" extrusionOk="0">
                <a:moveTo>
                  <a:pt x="4847606" y="65275"/>
                </a:moveTo>
                <a:cubicBezTo>
                  <a:pt x="4849435" y="65312"/>
                  <a:pt x="4850963" y="65919"/>
                  <a:pt x="4852190" y="67096"/>
                </a:cubicBezTo>
                <a:cubicBezTo>
                  <a:pt x="4853416" y="68272"/>
                  <a:pt x="4854054" y="69796"/>
                  <a:pt x="4854102" y="71666"/>
                </a:cubicBezTo>
                <a:cubicBezTo>
                  <a:pt x="4854054" y="73537"/>
                  <a:pt x="4853416" y="75061"/>
                  <a:pt x="4852190" y="76237"/>
                </a:cubicBezTo>
                <a:cubicBezTo>
                  <a:pt x="4850963" y="77414"/>
                  <a:pt x="4849435" y="78020"/>
                  <a:pt x="4847606" y="78058"/>
                </a:cubicBezTo>
                <a:cubicBezTo>
                  <a:pt x="4845777" y="78020"/>
                  <a:pt x="4844248" y="77414"/>
                  <a:pt x="4843022" y="76237"/>
                </a:cubicBezTo>
                <a:cubicBezTo>
                  <a:pt x="4841795" y="75061"/>
                  <a:pt x="4841157" y="73537"/>
                  <a:pt x="4841109" y="71666"/>
                </a:cubicBezTo>
                <a:cubicBezTo>
                  <a:pt x="4841157" y="69796"/>
                  <a:pt x="4841795" y="68272"/>
                  <a:pt x="4843022" y="67096"/>
                </a:cubicBezTo>
                <a:cubicBezTo>
                  <a:pt x="4844248" y="65919"/>
                  <a:pt x="4845777" y="65312"/>
                  <a:pt x="4847606" y="65275"/>
                </a:cubicBezTo>
                <a:close/>
                <a:moveTo>
                  <a:pt x="1856755" y="65275"/>
                </a:moveTo>
                <a:cubicBezTo>
                  <a:pt x="1858585" y="65312"/>
                  <a:pt x="1860113" y="65919"/>
                  <a:pt x="1861339" y="67096"/>
                </a:cubicBezTo>
                <a:cubicBezTo>
                  <a:pt x="1862566" y="68272"/>
                  <a:pt x="1863204" y="69796"/>
                  <a:pt x="1863252" y="71666"/>
                </a:cubicBezTo>
                <a:cubicBezTo>
                  <a:pt x="1863204" y="73537"/>
                  <a:pt x="1862566" y="75061"/>
                  <a:pt x="1861339" y="76237"/>
                </a:cubicBezTo>
                <a:cubicBezTo>
                  <a:pt x="1860113" y="77414"/>
                  <a:pt x="1858585" y="78020"/>
                  <a:pt x="1856755" y="78058"/>
                </a:cubicBezTo>
                <a:cubicBezTo>
                  <a:pt x="1854926" y="78020"/>
                  <a:pt x="1853398" y="77414"/>
                  <a:pt x="1852172" y="76237"/>
                </a:cubicBezTo>
                <a:cubicBezTo>
                  <a:pt x="1850945" y="75061"/>
                  <a:pt x="1850308" y="73537"/>
                  <a:pt x="1850260" y="71666"/>
                </a:cubicBezTo>
                <a:cubicBezTo>
                  <a:pt x="1850308" y="69796"/>
                  <a:pt x="1850945" y="68272"/>
                  <a:pt x="1852172" y="67096"/>
                </a:cubicBezTo>
                <a:cubicBezTo>
                  <a:pt x="1853398" y="65919"/>
                  <a:pt x="1854926" y="65312"/>
                  <a:pt x="1856755" y="65275"/>
                </a:cubicBezTo>
                <a:close/>
                <a:moveTo>
                  <a:pt x="799480" y="65275"/>
                </a:moveTo>
                <a:cubicBezTo>
                  <a:pt x="801310" y="65312"/>
                  <a:pt x="802838" y="65919"/>
                  <a:pt x="804065" y="67096"/>
                </a:cubicBezTo>
                <a:cubicBezTo>
                  <a:pt x="805291" y="68272"/>
                  <a:pt x="805928" y="69796"/>
                  <a:pt x="805977" y="71666"/>
                </a:cubicBezTo>
                <a:cubicBezTo>
                  <a:pt x="805928" y="73537"/>
                  <a:pt x="805291" y="75061"/>
                  <a:pt x="804065" y="76237"/>
                </a:cubicBezTo>
                <a:cubicBezTo>
                  <a:pt x="802838" y="77414"/>
                  <a:pt x="801310" y="78020"/>
                  <a:pt x="799480" y="78058"/>
                </a:cubicBezTo>
                <a:cubicBezTo>
                  <a:pt x="797651" y="78020"/>
                  <a:pt x="796123" y="77414"/>
                  <a:pt x="794897" y="76237"/>
                </a:cubicBezTo>
                <a:cubicBezTo>
                  <a:pt x="793670" y="75061"/>
                  <a:pt x="793033" y="73537"/>
                  <a:pt x="792985" y="71666"/>
                </a:cubicBezTo>
                <a:cubicBezTo>
                  <a:pt x="793033" y="69796"/>
                  <a:pt x="793670" y="68272"/>
                  <a:pt x="794897" y="67096"/>
                </a:cubicBezTo>
                <a:cubicBezTo>
                  <a:pt x="796123" y="65919"/>
                  <a:pt x="797651" y="65312"/>
                  <a:pt x="799480" y="65275"/>
                </a:cubicBezTo>
                <a:close/>
                <a:moveTo>
                  <a:pt x="4793389" y="53645"/>
                </a:moveTo>
                <a:lnTo>
                  <a:pt x="4793389" y="69152"/>
                </a:lnTo>
                <a:lnTo>
                  <a:pt x="4807115" y="69152"/>
                </a:lnTo>
                <a:cubicBezTo>
                  <a:pt x="4810358" y="69128"/>
                  <a:pt x="4812777" y="68416"/>
                  <a:pt x="4814371" y="67017"/>
                </a:cubicBezTo>
                <a:cubicBezTo>
                  <a:pt x="4815964" y="65618"/>
                  <a:pt x="4816758" y="63675"/>
                  <a:pt x="4816754" y="61189"/>
                </a:cubicBezTo>
                <a:cubicBezTo>
                  <a:pt x="4816758" y="58766"/>
                  <a:pt x="4815964" y="56906"/>
                  <a:pt x="4814371" y="55610"/>
                </a:cubicBezTo>
                <a:cubicBezTo>
                  <a:pt x="4812777" y="54313"/>
                  <a:pt x="4810358" y="53658"/>
                  <a:pt x="4807115" y="53645"/>
                </a:cubicBezTo>
                <a:close/>
                <a:moveTo>
                  <a:pt x="4288564" y="53645"/>
                </a:moveTo>
                <a:lnTo>
                  <a:pt x="4288564" y="69152"/>
                </a:lnTo>
                <a:lnTo>
                  <a:pt x="4302290" y="69152"/>
                </a:lnTo>
                <a:cubicBezTo>
                  <a:pt x="4305533" y="69128"/>
                  <a:pt x="4307952" y="68416"/>
                  <a:pt x="4309545" y="67017"/>
                </a:cubicBezTo>
                <a:cubicBezTo>
                  <a:pt x="4311139" y="65618"/>
                  <a:pt x="4311933" y="63675"/>
                  <a:pt x="4311929" y="61189"/>
                </a:cubicBezTo>
                <a:cubicBezTo>
                  <a:pt x="4311933" y="58766"/>
                  <a:pt x="4311139" y="56906"/>
                  <a:pt x="4309545" y="55610"/>
                </a:cubicBezTo>
                <a:cubicBezTo>
                  <a:pt x="4307952" y="54313"/>
                  <a:pt x="4305533" y="53658"/>
                  <a:pt x="4302290" y="53645"/>
                </a:cubicBezTo>
                <a:close/>
                <a:moveTo>
                  <a:pt x="3621814" y="53645"/>
                </a:moveTo>
                <a:lnTo>
                  <a:pt x="3621814" y="69152"/>
                </a:lnTo>
                <a:lnTo>
                  <a:pt x="3635540" y="69152"/>
                </a:lnTo>
                <a:cubicBezTo>
                  <a:pt x="3638783" y="69128"/>
                  <a:pt x="3641202" y="68416"/>
                  <a:pt x="3642795" y="67017"/>
                </a:cubicBezTo>
                <a:cubicBezTo>
                  <a:pt x="3644389" y="65618"/>
                  <a:pt x="3645183" y="63675"/>
                  <a:pt x="3645179" y="61189"/>
                </a:cubicBezTo>
                <a:cubicBezTo>
                  <a:pt x="3645183" y="58766"/>
                  <a:pt x="3644389" y="56906"/>
                  <a:pt x="3642795" y="55610"/>
                </a:cubicBezTo>
                <a:cubicBezTo>
                  <a:pt x="3641202" y="54313"/>
                  <a:pt x="3638783" y="53658"/>
                  <a:pt x="3635540" y="53645"/>
                </a:cubicBezTo>
                <a:close/>
                <a:moveTo>
                  <a:pt x="2926489" y="53645"/>
                </a:moveTo>
                <a:lnTo>
                  <a:pt x="2926489" y="69152"/>
                </a:lnTo>
                <a:lnTo>
                  <a:pt x="2940215" y="69152"/>
                </a:lnTo>
                <a:cubicBezTo>
                  <a:pt x="2943459" y="69128"/>
                  <a:pt x="2945877" y="68416"/>
                  <a:pt x="2947470" y="67017"/>
                </a:cubicBezTo>
                <a:cubicBezTo>
                  <a:pt x="2949064" y="65618"/>
                  <a:pt x="2949858" y="63675"/>
                  <a:pt x="2949854" y="61189"/>
                </a:cubicBezTo>
                <a:cubicBezTo>
                  <a:pt x="2949858" y="58766"/>
                  <a:pt x="2949064" y="56906"/>
                  <a:pt x="2947470" y="55610"/>
                </a:cubicBezTo>
                <a:cubicBezTo>
                  <a:pt x="2945877" y="54313"/>
                  <a:pt x="2943459" y="53658"/>
                  <a:pt x="2940215" y="53645"/>
                </a:cubicBezTo>
                <a:close/>
                <a:moveTo>
                  <a:pt x="2202589" y="53645"/>
                </a:moveTo>
                <a:lnTo>
                  <a:pt x="2202589" y="69152"/>
                </a:lnTo>
                <a:lnTo>
                  <a:pt x="2216315" y="69152"/>
                </a:lnTo>
                <a:cubicBezTo>
                  <a:pt x="2219559" y="69128"/>
                  <a:pt x="2221977" y="68416"/>
                  <a:pt x="2223571" y="67017"/>
                </a:cubicBezTo>
                <a:cubicBezTo>
                  <a:pt x="2225164" y="65618"/>
                  <a:pt x="2225959" y="63675"/>
                  <a:pt x="2225954" y="61189"/>
                </a:cubicBezTo>
                <a:cubicBezTo>
                  <a:pt x="2225959" y="58766"/>
                  <a:pt x="2225164" y="56906"/>
                  <a:pt x="2223571" y="55610"/>
                </a:cubicBezTo>
                <a:cubicBezTo>
                  <a:pt x="2221977" y="54313"/>
                  <a:pt x="2219559" y="53658"/>
                  <a:pt x="2216315" y="53645"/>
                </a:cubicBezTo>
                <a:close/>
                <a:moveTo>
                  <a:pt x="1211989" y="53645"/>
                </a:moveTo>
                <a:lnTo>
                  <a:pt x="1211989" y="69152"/>
                </a:lnTo>
                <a:lnTo>
                  <a:pt x="1225715" y="69152"/>
                </a:lnTo>
                <a:cubicBezTo>
                  <a:pt x="1228959" y="69128"/>
                  <a:pt x="1231377" y="68416"/>
                  <a:pt x="1232970" y="67017"/>
                </a:cubicBezTo>
                <a:cubicBezTo>
                  <a:pt x="1234564" y="65618"/>
                  <a:pt x="1235358" y="63675"/>
                  <a:pt x="1235354" y="61189"/>
                </a:cubicBezTo>
                <a:cubicBezTo>
                  <a:pt x="1235358" y="58766"/>
                  <a:pt x="1234564" y="56906"/>
                  <a:pt x="1232970" y="55610"/>
                </a:cubicBezTo>
                <a:cubicBezTo>
                  <a:pt x="1231377" y="54313"/>
                  <a:pt x="1228959" y="53658"/>
                  <a:pt x="1225715" y="53645"/>
                </a:cubicBezTo>
                <a:close/>
                <a:moveTo>
                  <a:pt x="4411979" y="53121"/>
                </a:moveTo>
                <a:cubicBezTo>
                  <a:pt x="4408311" y="53126"/>
                  <a:pt x="4405381" y="53850"/>
                  <a:pt x="4403192" y="55295"/>
                </a:cubicBezTo>
                <a:cubicBezTo>
                  <a:pt x="4401002" y="56740"/>
                  <a:pt x="4399880" y="58879"/>
                  <a:pt x="4399826" y="61713"/>
                </a:cubicBezTo>
                <a:cubicBezTo>
                  <a:pt x="4399887" y="64496"/>
                  <a:pt x="4400865" y="66604"/>
                  <a:pt x="4402759" y="68038"/>
                </a:cubicBezTo>
                <a:cubicBezTo>
                  <a:pt x="4404654" y="69473"/>
                  <a:pt x="4407099" y="70193"/>
                  <a:pt x="4410094" y="70199"/>
                </a:cubicBezTo>
                <a:cubicBezTo>
                  <a:pt x="4414403" y="70154"/>
                  <a:pt x="4418017" y="68962"/>
                  <a:pt x="4420938" y="66624"/>
                </a:cubicBezTo>
                <a:cubicBezTo>
                  <a:pt x="4423858" y="64286"/>
                  <a:pt x="4425378" y="61077"/>
                  <a:pt x="4425496" y="56998"/>
                </a:cubicBezTo>
                <a:lnTo>
                  <a:pt x="4425496" y="53121"/>
                </a:lnTo>
                <a:close/>
                <a:moveTo>
                  <a:pt x="2697480" y="53121"/>
                </a:moveTo>
                <a:cubicBezTo>
                  <a:pt x="2693810" y="53126"/>
                  <a:pt x="2690881" y="53850"/>
                  <a:pt x="2688692" y="55295"/>
                </a:cubicBezTo>
                <a:cubicBezTo>
                  <a:pt x="2686502" y="56740"/>
                  <a:pt x="2685380" y="58879"/>
                  <a:pt x="2685326" y="61713"/>
                </a:cubicBezTo>
                <a:cubicBezTo>
                  <a:pt x="2685387" y="64496"/>
                  <a:pt x="2686365" y="66604"/>
                  <a:pt x="2688260" y="68038"/>
                </a:cubicBezTo>
                <a:cubicBezTo>
                  <a:pt x="2690154" y="69473"/>
                  <a:pt x="2692599" y="70193"/>
                  <a:pt x="2695593" y="70199"/>
                </a:cubicBezTo>
                <a:cubicBezTo>
                  <a:pt x="2699902" y="70154"/>
                  <a:pt x="2703517" y="68962"/>
                  <a:pt x="2706438" y="66624"/>
                </a:cubicBezTo>
                <a:cubicBezTo>
                  <a:pt x="2709358" y="64286"/>
                  <a:pt x="2710878" y="61077"/>
                  <a:pt x="2710995" y="56998"/>
                </a:cubicBezTo>
                <a:lnTo>
                  <a:pt x="2710995" y="53121"/>
                </a:lnTo>
                <a:close/>
                <a:moveTo>
                  <a:pt x="2268855" y="53121"/>
                </a:moveTo>
                <a:cubicBezTo>
                  <a:pt x="2265186" y="53126"/>
                  <a:pt x="2262256" y="53850"/>
                  <a:pt x="2260067" y="55295"/>
                </a:cubicBezTo>
                <a:cubicBezTo>
                  <a:pt x="2257877" y="56740"/>
                  <a:pt x="2256755" y="58879"/>
                  <a:pt x="2256701" y="61713"/>
                </a:cubicBezTo>
                <a:cubicBezTo>
                  <a:pt x="2256762" y="64496"/>
                  <a:pt x="2257740" y="66604"/>
                  <a:pt x="2259635" y="68038"/>
                </a:cubicBezTo>
                <a:cubicBezTo>
                  <a:pt x="2261529" y="69473"/>
                  <a:pt x="2263974" y="70193"/>
                  <a:pt x="2266969" y="70199"/>
                </a:cubicBezTo>
                <a:cubicBezTo>
                  <a:pt x="2271278" y="70154"/>
                  <a:pt x="2274892" y="68962"/>
                  <a:pt x="2277813" y="66624"/>
                </a:cubicBezTo>
                <a:cubicBezTo>
                  <a:pt x="2280733" y="64286"/>
                  <a:pt x="2282253" y="61077"/>
                  <a:pt x="2282371" y="56998"/>
                </a:cubicBezTo>
                <a:lnTo>
                  <a:pt x="2282371" y="53121"/>
                </a:lnTo>
                <a:close/>
                <a:moveTo>
                  <a:pt x="1402080" y="53121"/>
                </a:moveTo>
                <a:cubicBezTo>
                  <a:pt x="1398410" y="53126"/>
                  <a:pt x="1395481" y="53850"/>
                  <a:pt x="1393292" y="55295"/>
                </a:cubicBezTo>
                <a:cubicBezTo>
                  <a:pt x="1391102" y="56740"/>
                  <a:pt x="1389980" y="58879"/>
                  <a:pt x="1389926" y="61713"/>
                </a:cubicBezTo>
                <a:cubicBezTo>
                  <a:pt x="1389987" y="64496"/>
                  <a:pt x="1390965" y="66604"/>
                  <a:pt x="1392859" y="68038"/>
                </a:cubicBezTo>
                <a:cubicBezTo>
                  <a:pt x="1394754" y="69473"/>
                  <a:pt x="1397199" y="70193"/>
                  <a:pt x="1400194" y="70199"/>
                </a:cubicBezTo>
                <a:cubicBezTo>
                  <a:pt x="1404503" y="70154"/>
                  <a:pt x="1408118" y="68962"/>
                  <a:pt x="1411038" y="66624"/>
                </a:cubicBezTo>
                <a:cubicBezTo>
                  <a:pt x="1413959" y="64286"/>
                  <a:pt x="1415478" y="61077"/>
                  <a:pt x="1415596" y="56998"/>
                </a:cubicBezTo>
                <a:lnTo>
                  <a:pt x="1415596" y="53121"/>
                </a:lnTo>
                <a:close/>
                <a:moveTo>
                  <a:pt x="1278255" y="53121"/>
                </a:moveTo>
                <a:cubicBezTo>
                  <a:pt x="1274585" y="53126"/>
                  <a:pt x="1271656" y="53850"/>
                  <a:pt x="1269467" y="55295"/>
                </a:cubicBezTo>
                <a:cubicBezTo>
                  <a:pt x="1267277" y="56740"/>
                  <a:pt x="1266155" y="58879"/>
                  <a:pt x="1266101" y="61713"/>
                </a:cubicBezTo>
                <a:cubicBezTo>
                  <a:pt x="1266162" y="64496"/>
                  <a:pt x="1267140" y="66604"/>
                  <a:pt x="1269035" y="68038"/>
                </a:cubicBezTo>
                <a:cubicBezTo>
                  <a:pt x="1270929" y="69473"/>
                  <a:pt x="1273374" y="70193"/>
                  <a:pt x="1276369" y="70199"/>
                </a:cubicBezTo>
                <a:cubicBezTo>
                  <a:pt x="1280678" y="70154"/>
                  <a:pt x="1284292" y="68962"/>
                  <a:pt x="1287213" y="66624"/>
                </a:cubicBezTo>
                <a:cubicBezTo>
                  <a:pt x="1290133" y="64286"/>
                  <a:pt x="1291653" y="61077"/>
                  <a:pt x="1291771" y="56998"/>
                </a:cubicBezTo>
                <a:lnTo>
                  <a:pt x="1291771" y="53121"/>
                </a:lnTo>
                <a:close/>
                <a:moveTo>
                  <a:pt x="1173480" y="53121"/>
                </a:moveTo>
                <a:cubicBezTo>
                  <a:pt x="1169811" y="53126"/>
                  <a:pt x="1166881" y="53850"/>
                  <a:pt x="1164692" y="55295"/>
                </a:cubicBezTo>
                <a:cubicBezTo>
                  <a:pt x="1162502" y="56740"/>
                  <a:pt x="1161380" y="58879"/>
                  <a:pt x="1161326" y="61713"/>
                </a:cubicBezTo>
                <a:cubicBezTo>
                  <a:pt x="1161387" y="64496"/>
                  <a:pt x="1162365" y="66604"/>
                  <a:pt x="1164260" y="68038"/>
                </a:cubicBezTo>
                <a:cubicBezTo>
                  <a:pt x="1166154" y="69473"/>
                  <a:pt x="1168599" y="70193"/>
                  <a:pt x="1171594" y="70199"/>
                </a:cubicBezTo>
                <a:cubicBezTo>
                  <a:pt x="1175903" y="70154"/>
                  <a:pt x="1179517" y="68962"/>
                  <a:pt x="1182438" y="66624"/>
                </a:cubicBezTo>
                <a:cubicBezTo>
                  <a:pt x="1185359" y="64286"/>
                  <a:pt x="1186878" y="61077"/>
                  <a:pt x="1186996" y="56998"/>
                </a:cubicBezTo>
                <a:lnTo>
                  <a:pt x="1186996" y="53121"/>
                </a:lnTo>
                <a:close/>
                <a:moveTo>
                  <a:pt x="4631569" y="49140"/>
                </a:moveTo>
                <a:lnTo>
                  <a:pt x="4631569" y="68942"/>
                </a:lnTo>
                <a:lnTo>
                  <a:pt x="4642256" y="68942"/>
                </a:lnTo>
                <a:cubicBezTo>
                  <a:pt x="4645727" y="68877"/>
                  <a:pt x="4648372" y="67908"/>
                  <a:pt x="4650193" y="66035"/>
                </a:cubicBezTo>
                <a:cubicBezTo>
                  <a:pt x="4652013" y="64162"/>
                  <a:pt x="4652930" y="61778"/>
                  <a:pt x="4652943" y="58884"/>
                </a:cubicBezTo>
                <a:cubicBezTo>
                  <a:pt x="4652930" y="56002"/>
                  <a:pt x="4652013" y="53671"/>
                  <a:pt x="4650193" y="51890"/>
                </a:cubicBezTo>
                <a:cubicBezTo>
                  <a:pt x="4648372" y="50109"/>
                  <a:pt x="4645727" y="49192"/>
                  <a:pt x="4642256" y="49140"/>
                </a:cubicBezTo>
                <a:close/>
                <a:moveTo>
                  <a:pt x="4002919" y="49140"/>
                </a:moveTo>
                <a:lnTo>
                  <a:pt x="4002919" y="68942"/>
                </a:lnTo>
                <a:lnTo>
                  <a:pt x="4013606" y="68942"/>
                </a:lnTo>
                <a:cubicBezTo>
                  <a:pt x="4017076" y="68877"/>
                  <a:pt x="4019722" y="67908"/>
                  <a:pt x="4021543" y="66035"/>
                </a:cubicBezTo>
                <a:cubicBezTo>
                  <a:pt x="4023363" y="64162"/>
                  <a:pt x="4024280" y="61778"/>
                  <a:pt x="4024293" y="58884"/>
                </a:cubicBezTo>
                <a:cubicBezTo>
                  <a:pt x="4024280" y="56002"/>
                  <a:pt x="4023363" y="53671"/>
                  <a:pt x="4021543" y="51890"/>
                </a:cubicBezTo>
                <a:cubicBezTo>
                  <a:pt x="4019722" y="50109"/>
                  <a:pt x="4017076" y="49192"/>
                  <a:pt x="4013606" y="49140"/>
                </a:cubicBezTo>
                <a:close/>
                <a:moveTo>
                  <a:pt x="2440819" y="49140"/>
                </a:moveTo>
                <a:lnTo>
                  <a:pt x="2440819" y="68942"/>
                </a:lnTo>
                <a:lnTo>
                  <a:pt x="2451506" y="68942"/>
                </a:lnTo>
                <a:cubicBezTo>
                  <a:pt x="2454977" y="68877"/>
                  <a:pt x="2457623" y="67908"/>
                  <a:pt x="2459443" y="66035"/>
                </a:cubicBezTo>
                <a:cubicBezTo>
                  <a:pt x="2461263" y="64162"/>
                  <a:pt x="2462180" y="61778"/>
                  <a:pt x="2462193" y="58884"/>
                </a:cubicBezTo>
                <a:cubicBezTo>
                  <a:pt x="2462180" y="56002"/>
                  <a:pt x="2461263" y="53671"/>
                  <a:pt x="2459443" y="51890"/>
                </a:cubicBezTo>
                <a:cubicBezTo>
                  <a:pt x="2457623" y="50109"/>
                  <a:pt x="2454977" y="49192"/>
                  <a:pt x="2451506" y="49140"/>
                </a:cubicBezTo>
                <a:close/>
                <a:moveTo>
                  <a:pt x="1783594" y="49140"/>
                </a:moveTo>
                <a:lnTo>
                  <a:pt x="1783594" y="68942"/>
                </a:lnTo>
                <a:lnTo>
                  <a:pt x="1794281" y="68942"/>
                </a:lnTo>
                <a:cubicBezTo>
                  <a:pt x="1797752" y="68877"/>
                  <a:pt x="1800397" y="67908"/>
                  <a:pt x="1802218" y="66035"/>
                </a:cubicBezTo>
                <a:cubicBezTo>
                  <a:pt x="1804038" y="64162"/>
                  <a:pt x="1804955" y="61778"/>
                  <a:pt x="1804968" y="58884"/>
                </a:cubicBezTo>
                <a:cubicBezTo>
                  <a:pt x="1804955" y="56002"/>
                  <a:pt x="1804038" y="53671"/>
                  <a:pt x="1802218" y="51890"/>
                </a:cubicBezTo>
                <a:cubicBezTo>
                  <a:pt x="1800397" y="50109"/>
                  <a:pt x="1797752" y="49192"/>
                  <a:pt x="1794281" y="49140"/>
                </a:cubicBezTo>
                <a:close/>
                <a:moveTo>
                  <a:pt x="1908991" y="43063"/>
                </a:moveTo>
                <a:lnTo>
                  <a:pt x="1908991" y="68523"/>
                </a:lnTo>
                <a:lnTo>
                  <a:pt x="1927117" y="68523"/>
                </a:lnTo>
                <a:cubicBezTo>
                  <a:pt x="1931792" y="68499"/>
                  <a:pt x="1935512" y="67395"/>
                  <a:pt x="1938275" y="65210"/>
                </a:cubicBezTo>
                <a:cubicBezTo>
                  <a:pt x="1941039" y="63025"/>
                  <a:pt x="1942453" y="59903"/>
                  <a:pt x="1942519" y="55845"/>
                </a:cubicBezTo>
                <a:cubicBezTo>
                  <a:pt x="1942469" y="51875"/>
                  <a:pt x="1941128" y="48762"/>
                  <a:pt x="1938498" y="46507"/>
                </a:cubicBezTo>
                <a:cubicBezTo>
                  <a:pt x="1935868" y="44252"/>
                  <a:pt x="1932249" y="43104"/>
                  <a:pt x="1927641" y="43063"/>
                </a:cubicBezTo>
                <a:close/>
                <a:moveTo>
                  <a:pt x="842191" y="43063"/>
                </a:moveTo>
                <a:lnTo>
                  <a:pt x="842191" y="68523"/>
                </a:lnTo>
                <a:lnTo>
                  <a:pt x="860317" y="68523"/>
                </a:lnTo>
                <a:cubicBezTo>
                  <a:pt x="864992" y="68499"/>
                  <a:pt x="868712" y="67395"/>
                  <a:pt x="871475" y="65210"/>
                </a:cubicBezTo>
                <a:cubicBezTo>
                  <a:pt x="874239" y="63025"/>
                  <a:pt x="875653" y="59903"/>
                  <a:pt x="875719" y="55845"/>
                </a:cubicBezTo>
                <a:cubicBezTo>
                  <a:pt x="875669" y="51875"/>
                  <a:pt x="874328" y="48762"/>
                  <a:pt x="871698" y="46507"/>
                </a:cubicBezTo>
                <a:cubicBezTo>
                  <a:pt x="869068" y="44252"/>
                  <a:pt x="865448" y="43104"/>
                  <a:pt x="860841" y="43063"/>
                </a:cubicBezTo>
                <a:close/>
                <a:moveTo>
                  <a:pt x="4465777" y="32166"/>
                </a:moveTo>
                <a:lnTo>
                  <a:pt x="4464310" y="50816"/>
                </a:lnTo>
                <a:cubicBezTo>
                  <a:pt x="4464055" y="54483"/>
                  <a:pt x="4463622" y="57888"/>
                  <a:pt x="4463013" y="61032"/>
                </a:cubicBezTo>
                <a:cubicBezTo>
                  <a:pt x="4462404" y="64175"/>
                  <a:pt x="4461265" y="66742"/>
                  <a:pt x="4459595" y="68733"/>
                </a:cubicBezTo>
                <a:lnTo>
                  <a:pt x="4486627" y="68733"/>
                </a:lnTo>
                <a:lnTo>
                  <a:pt x="4486627" y="32166"/>
                </a:lnTo>
                <a:close/>
                <a:moveTo>
                  <a:pt x="3474872" y="32166"/>
                </a:moveTo>
                <a:cubicBezTo>
                  <a:pt x="3470094" y="32190"/>
                  <a:pt x="3466134" y="33766"/>
                  <a:pt x="3462993" y="36894"/>
                </a:cubicBezTo>
                <a:cubicBezTo>
                  <a:pt x="3459852" y="40022"/>
                  <a:pt x="3458224" y="44558"/>
                  <a:pt x="3458108" y="50502"/>
                </a:cubicBezTo>
                <a:cubicBezTo>
                  <a:pt x="3458180" y="56535"/>
                  <a:pt x="3459712" y="61259"/>
                  <a:pt x="3462705" y="64673"/>
                </a:cubicBezTo>
                <a:cubicBezTo>
                  <a:pt x="3465698" y="68087"/>
                  <a:pt x="3469718" y="69824"/>
                  <a:pt x="3474767" y="69885"/>
                </a:cubicBezTo>
                <a:cubicBezTo>
                  <a:pt x="3479798" y="69783"/>
                  <a:pt x="3483750" y="67997"/>
                  <a:pt x="3486620" y="64529"/>
                </a:cubicBezTo>
                <a:cubicBezTo>
                  <a:pt x="3489490" y="61060"/>
                  <a:pt x="3490953" y="56524"/>
                  <a:pt x="3491007" y="50921"/>
                </a:cubicBezTo>
                <a:cubicBezTo>
                  <a:pt x="3490944" y="45326"/>
                  <a:pt x="3489473" y="40825"/>
                  <a:pt x="3486594" y="37418"/>
                </a:cubicBezTo>
                <a:cubicBezTo>
                  <a:pt x="3483715" y="34011"/>
                  <a:pt x="3479807" y="32260"/>
                  <a:pt x="3474872" y="32166"/>
                </a:cubicBezTo>
                <a:close/>
                <a:moveTo>
                  <a:pt x="3277876" y="31957"/>
                </a:moveTo>
                <a:cubicBezTo>
                  <a:pt x="3274497" y="32007"/>
                  <a:pt x="3271877" y="32902"/>
                  <a:pt x="3270018" y="34641"/>
                </a:cubicBezTo>
                <a:cubicBezTo>
                  <a:pt x="3268158" y="36381"/>
                  <a:pt x="3267215" y="38664"/>
                  <a:pt x="3267189" y="41491"/>
                </a:cubicBezTo>
                <a:cubicBezTo>
                  <a:pt x="3267215" y="44368"/>
                  <a:pt x="3268158" y="46682"/>
                  <a:pt x="3270018" y="48432"/>
                </a:cubicBezTo>
                <a:cubicBezTo>
                  <a:pt x="3271877" y="50183"/>
                  <a:pt x="3274497" y="51082"/>
                  <a:pt x="3277876" y="51130"/>
                </a:cubicBezTo>
                <a:lnTo>
                  <a:pt x="3288772" y="51130"/>
                </a:lnTo>
                <a:lnTo>
                  <a:pt x="3288772" y="31957"/>
                </a:lnTo>
                <a:close/>
                <a:moveTo>
                  <a:pt x="3049276" y="31957"/>
                </a:moveTo>
                <a:cubicBezTo>
                  <a:pt x="3045897" y="32007"/>
                  <a:pt x="3043278" y="32902"/>
                  <a:pt x="3041418" y="34641"/>
                </a:cubicBezTo>
                <a:cubicBezTo>
                  <a:pt x="3039558" y="36381"/>
                  <a:pt x="3038615" y="38664"/>
                  <a:pt x="3038589" y="41491"/>
                </a:cubicBezTo>
                <a:cubicBezTo>
                  <a:pt x="3038615" y="44368"/>
                  <a:pt x="3039558" y="46682"/>
                  <a:pt x="3041418" y="48432"/>
                </a:cubicBezTo>
                <a:cubicBezTo>
                  <a:pt x="3043278" y="50183"/>
                  <a:pt x="3045897" y="51082"/>
                  <a:pt x="3049276" y="51130"/>
                </a:cubicBezTo>
                <a:lnTo>
                  <a:pt x="3060173" y="51130"/>
                </a:lnTo>
                <a:lnTo>
                  <a:pt x="3060173" y="31957"/>
                </a:lnTo>
                <a:close/>
                <a:moveTo>
                  <a:pt x="2887351" y="31957"/>
                </a:moveTo>
                <a:cubicBezTo>
                  <a:pt x="2883972" y="32007"/>
                  <a:pt x="2881352" y="32902"/>
                  <a:pt x="2879493" y="34641"/>
                </a:cubicBezTo>
                <a:cubicBezTo>
                  <a:pt x="2877633" y="36381"/>
                  <a:pt x="2876690" y="38664"/>
                  <a:pt x="2876664" y="41491"/>
                </a:cubicBezTo>
                <a:cubicBezTo>
                  <a:pt x="2876690" y="44368"/>
                  <a:pt x="2877633" y="46682"/>
                  <a:pt x="2879493" y="48432"/>
                </a:cubicBezTo>
                <a:cubicBezTo>
                  <a:pt x="2881352" y="50183"/>
                  <a:pt x="2883972" y="51082"/>
                  <a:pt x="2887351" y="51130"/>
                </a:cubicBezTo>
                <a:lnTo>
                  <a:pt x="2898248" y="51130"/>
                </a:lnTo>
                <a:lnTo>
                  <a:pt x="2898248" y="31957"/>
                </a:lnTo>
                <a:close/>
                <a:moveTo>
                  <a:pt x="4793389" y="31852"/>
                </a:moveTo>
                <a:lnTo>
                  <a:pt x="4793389" y="45996"/>
                </a:lnTo>
                <a:lnTo>
                  <a:pt x="4806067" y="45996"/>
                </a:lnTo>
                <a:cubicBezTo>
                  <a:pt x="4808850" y="45970"/>
                  <a:pt x="4810959" y="45315"/>
                  <a:pt x="4812393" y="44032"/>
                </a:cubicBezTo>
                <a:cubicBezTo>
                  <a:pt x="4813827" y="42748"/>
                  <a:pt x="4814547" y="40993"/>
                  <a:pt x="4814554" y="38767"/>
                </a:cubicBezTo>
                <a:cubicBezTo>
                  <a:pt x="4814547" y="36508"/>
                  <a:pt x="4813827" y="34792"/>
                  <a:pt x="4812393" y="33620"/>
                </a:cubicBezTo>
                <a:cubicBezTo>
                  <a:pt x="4810959" y="32448"/>
                  <a:pt x="4808850" y="31858"/>
                  <a:pt x="4806067" y="31852"/>
                </a:cubicBezTo>
                <a:close/>
                <a:moveTo>
                  <a:pt x="4288564" y="31852"/>
                </a:moveTo>
                <a:lnTo>
                  <a:pt x="4288564" y="45996"/>
                </a:lnTo>
                <a:lnTo>
                  <a:pt x="4301242" y="45996"/>
                </a:lnTo>
                <a:cubicBezTo>
                  <a:pt x="4304025" y="45970"/>
                  <a:pt x="4306134" y="45315"/>
                  <a:pt x="4307568" y="44032"/>
                </a:cubicBezTo>
                <a:cubicBezTo>
                  <a:pt x="4309002" y="42748"/>
                  <a:pt x="4309722" y="40993"/>
                  <a:pt x="4309729" y="38767"/>
                </a:cubicBezTo>
                <a:cubicBezTo>
                  <a:pt x="4309722" y="36508"/>
                  <a:pt x="4309002" y="34792"/>
                  <a:pt x="4307568" y="33620"/>
                </a:cubicBezTo>
                <a:cubicBezTo>
                  <a:pt x="4306134" y="32448"/>
                  <a:pt x="4304025" y="31858"/>
                  <a:pt x="4301242" y="31852"/>
                </a:cubicBezTo>
                <a:close/>
                <a:moveTo>
                  <a:pt x="3621814" y="31852"/>
                </a:moveTo>
                <a:lnTo>
                  <a:pt x="3621814" y="45996"/>
                </a:lnTo>
                <a:lnTo>
                  <a:pt x="3634492" y="45996"/>
                </a:lnTo>
                <a:cubicBezTo>
                  <a:pt x="3637275" y="45970"/>
                  <a:pt x="3639383" y="45315"/>
                  <a:pt x="3640818" y="44032"/>
                </a:cubicBezTo>
                <a:cubicBezTo>
                  <a:pt x="3642252" y="42748"/>
                  <a:pt x="3642972" y="40993"/>
                  <a:pt x="3642979" y="38767"/>
                </a:cubicBezTo>
                <a:cubicBezTo>
                  <a:pt x="3642972" y="36508"/>
                  <a:pt x="3642252" y="34792"/>
                  <a:pt x="3640818" y="33620"/>
                </a:cubicBezTo>
                <a:cubicBezTo>
                  <a:pt x="3639383" y="32448"/>
                  <a:pt x="3637275" y="31858"/>
                  <a:pt x="3634492" y="31852"/>
                </a:cubicBezTo>
                <a:close/>
                <a:moveTo>
                  <a:pt x="2926489" y="31852"/>
                </a:moveTo>
                <a:lnTo>
                  <a:pt x="2926489" y="45996"/>
                </a:lnTo>
                <a:lnTo>
                  <a:pt x="2939167" y="45996"/>
                </a:lnTo>
                <a:cubicBezTo>
                  <a:pt x="2941950" y="45970"/>
                  <a:pt x="2944058" y="45315"/>
                  <a:pt x="2945493" y="44032"/>
                </a:cubicBezTo>
                <a:cubicBezTo>
                  <a:pt x="2946927" y="42748"/>
                  <a:pt x="2947647" y="40993"/>
                  <a:pt x="2947654" y="38767"/>
                </a:cubicBezTo>
                <a:cubicBezTo>
                  <a:pt x="2947647" y="36508"/>
                  <a:pt x="2946927" y="34792"/>
                  <a:pt x="2945493" y="33620"/>
                </a:cubicBezTo>
                <a:cubicBezTo>
                  <a:pt x="2944058" y="32448"/>
                  <a:pt x="2941950" y="31858"/>
                  <a:pt x="2939167" y="31852"/>
                </a:cubicBezTo>
                <a:close/>
                <a:moveTo>
                  <a:pt x="2202589" y="31852"/>
                </a:moveTo>
                <a:lnTo>
                  <a:pt x="2202589" y="45996"/>
                </a:lnTo>
                <a:lnTo>
                  <a:pt x="2215267" y="45996"/>
                </a:lnTo>
                <a:cubicBezTo>
                  <a:pt x="2218050" y="45970"/>
                  <a:pt x="2220159" y="45315"/>
                  <a:pt x="2221593" y="44032"/>
                </a:cubicBezTo>
                <a:cubicBezTo>
                  <a:pt x="2223027" y="42748"/>
                  <a:pt x="2223747" y="40993"/>
                  <a:pt x="2223754" y="38767"/>
                </a:cubicBezTo>
                <a:cubicBezTo>
                  <a:pt x="2223747" y="36508"/>
                  <a:pt x="2223027" y="34792"/>
                  <a:pt x="2221593" y="33620"/>
                </a:cubicBezTo>
                <a:cubicBezTo>
                  <a:pt x="2220159" y="32448"/>
                  <a:pt x="2218050" y="31858"/>
                  <a:pt x="2215267" y="31852"/>
                </a:cubicBezTo>
                <a:close/>
                <a:moveTo>
                  <a:pt x="1211989" y="31852"/>
                </a:moveTo>
                <a:lnTo>
                  <a:pt x="1211989" y="45996"/>
                </a:lnTo>
                <a:lnTo>
                  <a:pt x="1224667" y="45996"/>
                </a:lnTo>
                <a:cubicBezTo>
                  <a:pt x="1227450" y="45970"/>
                  <a:pt x="1229559" y="45315"/>
                  <a:pt x="1230993" y="44032"/>
                </a:cubicBezTo>
                <a:cubicBezTo>
                  <a:pt x="1232427" y="42748"/>
                  <a:pt x="1233147" y="40993"/>
                  <a:pt x="1233154" y="38767"/>
                </a:cubicBezTo>
                <a:cubicBezTo>
                  <a:pt x="1233147" y="36508"/>
                  <a:pt x="1232427" y="34792"/>
                  <a:pt x="1230993" y="33620"/>
                </a:cubicBezTo>
                <a:cubicBezTo>
                  <a:pt x="1229559" y="32448"/>
                  <a:pt x="1227450" y="31858"/>
                  <a:pt x="1224667" y="31852"/>
                </a:cubicBezTo>
                <a:close/>
                <a:moveTo>
                  <a:pt x="4085225" y="31118"/>
                </a:moveTo>
                <a:cubicBezTo>
                  <a:pt x="4080307" y="31206"/>
                  <a:pt x="4076469" y="32996"/>
                  <a:pt x="4073712" y="36488"/>
                </a:cubicBezTo>
                <a:cubicBezTo>
                  <a:pt x="4070955" y="39981"/>
                  <a:pt x="4069554" y="44652"/>
                  <a:pt x="4069508" y="50502"/>
                </a:cubicBezTo>
                <a:cubicBezTo>
                  <a:pt x="4069554" y="56352"/>
                  <a:pt x="4070955" y="61023"/>
                  <a:pt x="4073712" y="64515"/>
                </a:cubicBezTo>
                <a:cubicBezTo>
                  <a:pt x="4076469" y="68008"/>
                  <a:pt x="4080307" y="69798"/>
                  <a:pt x="4085225" y="69885"/>
                </a:cubicBezTo>
                <a:cubicBezTo>
                  <a:pt x="4090142" y="69798"/>
                  <a:pt x="4093980" y="68008"/>
                  <a:pt x="4096737" y="64515"/>
                </a:cubicBezTo>
                <a:cubicBezTo>
                  <a:pt x="4099493" y="61023"/>
                  <a:pt x="4100895" y="56352"/>
                  <a:pt x="4100941" y="50502"/>
                </a:cubicBezTo>
                <a:cubicBezTo>
                  <a:pt x="4100895" y="44652"/>
                  <a:pt x="4099493" y="39981"/>
                  <a:pt x="4096737" y="36488"/>
                </a:cubicBezTo>
                <a:cubicBezTo>
                  <a:pt x="4093980" y="32996"/>
                  <a:pt x="4090142" y="31206"/>
                  <a:pt x="4085225" y="31118"/>
                </a:cubicBezTo>
                <a:close/>
                <a:moveTo>
                  <a:pt x="3854196" y="31118"/>
                </a:moveTo>
                <a:cubicBezTo>
                  <a:pt x="3849168" y="31206"/>
                  <a:pt x="3845235" y="32996"/>
                  <a:pt x="3842395" y="36488"/>
                </a:cubicBezTo>
                <a:cubicBezTo>
                  <a:pt x="3839555" y="39981"/>
                  <a:pt x="3838110" y="44652"/>
                  <a:pt x="3838060" y="50502"/>
                </a:cubicBezTo>
                <a:cubicBezTo>
                  <a:pt x="3838110" y="56352"/>
                  <a:pt x="3839555" y="61023"/>
                  <a:pt x="3842395" y="64515"/>
                </a:cubicBezTo>
                <a:cubicBezTo>
                  <a:pt x="3845235" y="68008"/>
                  <a:pt x="3849168" y="69798"/>
                  <a:pt x="3854196" y="69885"/>
                </a:cubicBezTo>
                <a:cubicBezTo>
                  <a:pt x="3859223" y="69798"/>
                  <a:pt x="3863156" y="68008"/>
                  <a:pt x="3865996" y="64515"/>
                </a:cubicBezTo>
                <a:cubicBezTo>
                  <a:pt x="3868836" y="61023"/>
                  <a:pt x="3870281" y="56352"/>
                  <a:pt x="3870331" y="50502"/>
                </a:cubicBezTo>
                <a:cubicBezTo>
                  <a:pt x="3870281" y="44652"/>
                  <a:pt x="3868836" y="39981"/>
                  <a:pt x="3865996" y="36488"/>
                </a:cubicBezTo>
                <a:cubicBezTo>
                  <a:pt x="3863156" y="32996"/>
                  <a:pt x="3859223" y="31206"/>
                  <a:pt x="3854196" y="31118"/>
                </a:cubicBezTo>
                <a:close/>
                <a:moveTo>
                  <a:pt x="3416046" y="31118"/>
                </a:moveTo>
                <a:cubicBezTo>
                  <a:pt x="3411019" y="31206"/>
                  <a:pt x="3407085" y="32996"/>
                  <a:pt x="3404246" y="36488"/>
                </a:cubicBezTo>
                <a:cubicBezTo>
                  <a:pt x="3401406" y="39981"/>
                  <a:pt x="3399960" y="44652"/>
                  <a:pt x="3399911" y="50502"/>
                </a:cubicBezTo>
                <a:cubicBezTo>
                  <a:pt x="3399960" y="56352"/>
                  <a:pt x="3401406" y="61023"/>
                  <a:pt x="3404246" y="64515"/>
                </a:cubicBezTo>
                <a:cubicBezTo>
                  <a:pt x="3407085" y="68008"/>
                  <a:pt x="3411019" y="69798"/>
                  <a:pt x="3416046" y="69885"/>
                </a:cubicBezTo>
                <a:cubicBezTo>
                  <a:pt x="3421073" y="69798"/>
                  <a:pt x="3425006" y="68008"/>
                  <a:pt x="3427846" y="64515"/>
                </a:cubicBezTo>
                <a:cubicBezTo>
                  <a:pt x="3430686" y="61023"/>
                  <a:pt x="3432130" y="56352"/>
                  <a:pt x="3432181" y="50502"/>
                </a:cubicBezTo>
                <a:cubicBezTo>
                  <a:pt x="3432130" y="44652"/>
                  <a:pt x="3430686" y="39981"/>
                  <a:pt x="3427846" y="36488"/>
                </a:cubicBezTo>
                <a:cubicBezTo>
                  <a:pt x="3425006" y="32996"/>
                  <a:pt x="3421073" y="31206"/>
                  <a:pt x="3416046" y="31118"/>
                </a:cubicBezTo>
                <a:close/>
                <a:moveTo>
                  <a:pt x="3123199" y="31118"/>
                </a:moveTo>
                <a:cubicBezTo>
                  <a:pt x="3118282" y="31206"/>
                  <a:pt x="3114444" y="32996"/>
                  <a:pt x="3111687" y="36488"/>
                </a:cubicBezTo>
                <a:cubicBezTo>
                  <a:pt x="3108931" y="39981"/>
                  <a:pt x="3107529" y="44652"/>
                  <a:pt x="3107483" y="50502"/>
                </a:cubicBezTo>
                <a:cubicBezTo>
                  <a:pt x="3107529" y="56352"/>
                  <a:pt x="3108931" y="61023"/>
                  <a:pt x="3111687" y="64515"/>
                </a:cubicBezTo>
                <a:cubicBezTo>
                  <a:pt x="3114444" y="68008"/>
                  <a:pt x="3118282" y="69798"/>
                  <a:pt x="3123199" y="69885"/>
                </a:cubicBezTo>
                <a:cubicBezTo>
                  <a:pt x="3128118" y="69798"/>
                  <a:pt x="3131955" y="68008"/>
                  <a:pt x="3134712" y="64515"/>
                </a:cubicBezTo>
                <a:cubicBezTo>
                  <a:pt x="3137468" y="61023"/>
                  <a:pt x="3138870" y="56352"/>
                  <a:pt x="3138916" y="50502"/>
                </a:cubicBezTo>
                <a:cubicBezTo>
                  <a:pt x="3138870" y="44652"/>
                  <a:pt x="3137468" y="39981"/>
                  <a:pt x="3134712" y="36488"/>
                </a:cubicBezTo>
                <a:cubicBezTo>
                  <a:pt x="3131955" y="32996"/>
                  <a:pt x="3128118" y="31206"/>
                  <a:pt x="3123199" y="31118"/>
                </a:cubicBezTo>
                <a:close/>
                <a:moveTo>
                  <a:pt x="2332815" y="31118"/>
                </a:moveTo>
                <a:cubicBezTo>
                  <a:pt x="2327880" y="31184"/>
                  <a:pt x="2323972" y="32913"/>
                  <a:pt x="2321093" y="36305"/>
                </a:cubicBezTo>
                <a:cubicBezTo>
                  <a:pt x="2318214" y="39697"/>
                  <a:pt x="2316743" y="44359"/>
                  <a:pt x="2316680" y="50292"/>
                </a:cubicBezTo>
                <a:lnTo>
                  <a:pt x="2316680" y="50711"/>
                </a:lnTo>
                <a:cubicBezTo>
                  <a:pt x="2316743" y="56644"/>
                  <a:pt x="2318214" y="61307"/>
                  <a:pt x="2321093" y="64699"/>
                </a:cubicBezTo>
                <a:cubicBezTo>
                  <a:pt x="2323972" y="68091"/>
                  <a:pt x="2327880" y="69820"/>
                  <a:pt x="2332815" y="69885"/>
                </a:cubicBezTo>
                <a:cubicBezTo>
                  <a:pt x="2337596" y="69798"/>
                  <a:pt x="2341394" y="68008"/>
                  <a:pt x="2344209" y="64515"/>
                </a:cubicBezTo>
                <a:cubicBezTo>
                  <a:pt x="2347025" y="61023"/>
                  <a:pt x="2348466" y="56352"/>
                  <a:pt x="2348531" y="50502"/>
                </a:cubicBezTo>
                <a:cubicBezTo>
                  <a:pt x="2348466" y="44652"/>
                  <a:pt x="2347025" y="39981"/>
                  <a:pt x="2344209" y="36488"/>
                </a:cubicBezTo>
                <a:cubicBezTo>
                  <a:pt x="2341394" y="32996"/>
                  <a:pt x="2337596" y="31206"/>
                  <a:pt x="2332815" y="31118"/>
                </a:cubicBezTo>
                <a:close/>
                <a:moveTo>
                  <a:pt x="2158746" y="31118"/>
                </a:moveTo>
                <a:cubicBezTo>
                  <a:pt x="2153719" y="31206"/>
                  <a:pt x="2149785" y="32996"/>
                  <a:pt x="2146945" y="36488"/>
                </a:cubicBezTo>
                <a:cubicBezTo>
                  <a:pt x="2144106" y="39981"/>
                  <a:pt x="2142660" y="44652"/>
                  <a:pt x="2142611" y="50502"/>
                </a:cubicBezTo>
                <a:cubicBezTo>
                  <a:pt x="2142660" y="56352"/>
                  <a:pt x="2144106" y="61023"/>
                  <a:pt x="2146945" y="64515"/>
                </a:cubicBezTo>
                <a:cubicBezTo>
                  <a:pt x="2149785" y="68008"/>
                  <a:pt x="2153719" y="69798"/>
                  <a:pt x="2158746" y="69885"/>
                </a:cubicBezTo>
                <a:cubicBezTo>
                  <a:pt x="2163773" y="69798"/>
                  <a:pt x="2167706" y="68008"/>
                  <a:pt x="2170546" y="64515"/>
                </a:cubicBezTo>
                <a:cubicBezTo>
                  <a:pt x="2173386" y="61023"/>
                  <a:pt x="2174831" y="56352"/>
                  <a:pt x="2174881" y="50502"/>
                </a:cubicBezTo>
                <a:cubicBezTo>
                  <a:pt x="2174831" y="44652"/>
                  <a:pt x="2173386" y="39981"/>
                  <a:pt x="2170546" y="36488"/>
                </a:cubicBezTo>
                <a:cubicBezTo>
                  <a:pt x="2167706" y="32996"/>
                  <a:pt x="2163773" y="31206"/>
                  <a:pt x="2158746" y="31118"/>
                </a:cubicBezTo>
                <a:close/>
                <a:moveTo>
                  <a:pt x="1113615" y="31118"/>
                </a:moveTo>
                <a:cubicBezTo>
                  <a:pt x="1108680" y="31184"/>
                  <a:pt x="1104773" y="32913"/>
                  <a:pt x="1101893" y="36305"/>
                </a:cubicBezTo>
                <a:cubicBezTo>
                  <a:pt x="1099014" y="39697"/>
                  <a:pt x="1097543" y="44359"/>
                  <a:pt x="1097480" y="50292"/>
                </a:cubicBezTo>
                <a:lnTo>
                  <a:pt x="1097480" y="50711"/>
                </a:lnTo>
                <a:cubicBezTo>
                  <a:pt x="1097543" y="56644"/>
                  <a:pt x="1099014" y="61307"/>
                  <a:pt x="1101893" y="64699"/>
                </a:cubicBezTo>
                <a:cubicBezTo>
                  <a:pt x="1104773" y="68091"/>
                  <a:pt x="1108680" y="69820"/>
                  <a:pt x="1113615" y="69885"/>
                </a:cubicBezTo>
                <a:cubicBezTo>
                  <a:pt x="1118395" y="69798"/>
                  <a:pt x="1122194" y="68008"/>
                  <a:pt x="1125009" y="64515"/>
                </a:cubicBezTo>
                <a:cubicBezTo>
                  <a:pt x="1127825" y="61023"/>
                  <a:pt x="1129266" y="56352"/>
                  <a:pt x="1129331" y="50502"/>
                </a:cubicBezTo>
                <a:cubicBezTo>
                  <a:pt x="1129266" y="44652"/>
                  <a:pt x="1127825" y="39981"/>
                  <a:pt x="1125009" y="36488"/>
                </a:cubicBezTo>
                <a:cubicBezTo>
                  <a:pt x="1122194" y="32996"/>
                  <a:pt x="1118395" y="31206"/>
                  <a:pt x="1113615" y="31118"/>
                </a:cubicBezTo>
                <a:close/>
                <a:moveTo>
                  <a:pt x="4758337" y="31014"/>
                </a:moveTo>
                <a:cubicBezTo>
                  <a:pt x="4753904" y="31077"/>
                  <a:pt x="4750381" y="32417"/>
                  <a:pt x="4747768" y="35034"/>
                </a:cubicBezTo>
                <a:cubicBezTo>
                  <a:pt x="4745155" y="37652"/>
                  <a:pt x="4743649" y="41166"/>
                  <a:pt x="4743250" y="45577"/>
                </a:cubicBezTo>
                <a:lnTo>
                  <a:pt x="4772482" y="45577"/>
                </a:lnTo>
                <a:cubicBezTo>
                  <a:pt x="4772240" y="40983"/>
                  <a:pt x="4770891" y="37416"/>
                  <a:pt x="4768435" y="34877"/>
                </a:cubicBezTo>
                <a:cubicBezTo>
                  <a:pt x="4765979" y="32339"/>
                  <a:pt x="4762613" y="31051"/>
                  <a:pt x="4758337" y="31014"/>
                </a:cubicBezTo>
                <a:close/>
                <a:moveTo>
                  <a:pt x="4529737" y="31014"/>
                </a:moveTo>
                <a:cubicBezTo>
                  <a:pt x="4525304" y="31077"/>
                  <a:pt x="4521781" y="32417"/>
                  <a:pt x="4519168" y="35034"/>
                </a:cubicBezTo>
                <a:cubicBezTo>
                  <a:pt x="4516555" y="37652"/>
                  <a:pt x="4515049" y="41166"/>
                  <a:pt x="4514649" y="45577"/>
                </a:cubicBezTo>
                <a:lnTo>
                  <a:pt x="4543882" y="45577"/>
                </a:lnTo>
                <a:cubicBezTo>
                  <a:pt x="4543639" y="40983"/>
                  <a:pt x="4542290" y="37416"/>
                  <a:pt x="4539835" y="34877"/>
                </a:cubicBezTo>
                <a:cubicBezTo>
                  <a:pt x="4537379" y="32339"/>
                  <a:pt x="4534013" y="31051"/>
                  <a:pt x="4529737" y="31014"/>
                </a:cubicBezTo>
                <a:close/>
                <a:moveTo>
                  <a:pt x="3691537" y="31014"/>
                </a:moveTo>
                <a:cubicBezTo>
                  <a:pt x="3687104" y="31077"/>
                  <a:pt x="3683581" y="32417"/>
                  <a:pt x="3680968" y="35034"/>
                </a:cubicBezTo>
                <a:cubicBezTo>
                  <a:pt x="3678355" y="37652"/>
                  <a:pt x="3676849" y="41166"/>
                  <a:pt x="3676450" y="45577"/>
                </a:cubicBezTo>
                <a:lnTo>
                  <a:pt x="3705682" y="45577"/>
                </a:lnTo>
                <a:cubicBezTo>
                  <a:pt x="3705440" y="40983"/>
                  <a:pt x="3704091" y="37416"/>
                  <a:pt x="3701635" y="34877"/>
                </a:cubicBezTo>
                <a:cubicBezTo>
                  <a:pt x="3699179" y="32339"/>
                  <a:pt x="3695813" y="31051"/>
                  <a:pt x="3691537" y="31014"/>
                </a:cubicBezTo>
                <a:close/>
                <a:moveTo>
                  <a:pt x="2519963" y="31014"/>
                </a:moveTo>
                <a:cubicBezTo>
                  <a:pt x="2515529" y="31077"/>
                  <a:pt x="2512006" y="32417"/>
                  <a:pt x="2509393" y="35034"/>
                </a:cubicBezTo>
                <a:cubicBezTo>
                  <a:pt x="2506780" y="37652"/>
                  <a:pt x="2505274" y="41166"/>
                  <a:pt x="2504875" y="45577"/>
                </a:cubicBezTo>
                <a:lnTo>
                  <a:pt x="2534107" y="45577"/>
                </a:lnTo>
                <a:cubicBezTo>
                  <a:pt x="2533865" y="40983"/>
                  <a:pt x="2532516" y="37416"/>
                  <a:pt x="2530060" y="34877"/>
                </a:cubicBezTo>
                <a:cubicBezTo>
                  <a:pt x="2527605" y="32339"/>
                  <a:pt x="2524238" y="31051"/>
                  <a:pt x="2519963" y="31014"/>
                </a:cubicBezTo>
                <a:close/>
                <a:moveTo>
                  <a:pt x="2043712" y="31014"/>
                </a:moveTo>
                <a:cubicBezTo>
                  <a:pt x="2039279" y="31077"/>
                  <a:pt x="2035756" y="32417"/>
                  <a:pt x="2033143" y="35034"/>
                </a:cubicBezTo>
                <a:cubicBezTo>
                  <a:pt x="2030530" y="37652"/>
                  <a:pt x="2029024" y="41166"/>
                  <a:pt x="2028625" y="45577"/>
                </a:cubicBezTo>
                <a:lnTo>
                  <a:pt x="2057857" y="45577"/>
                </a:lnTo>
                <a:cubicBezTo>
                  <a:pt x="2057615" y="40983"/>
                  <a:pt x="2056266" y="37416"/>
                  <a:pt x="2053810" y="34877"/>
                </a:cubicBezTo>
                <a:cubicBezTo>
                  <a:pt x="2051354" y="32339"/>
                  <a:pt x="2047989" y="31051"/>
                  <a:pt x="2043712" y="31014"/>
                </a:cubicBezTo>
                <a:close/>
                <a:moveTo>
                  <a:pt x="1691287" y="31014"/>
                </a:moveTo>
                <a:cubicBezTo>
                  <a:pt x="1686854" y="31077"/>
                  <a:pt x="1683331" y="32417"/>
                  <a:pt x="1680718" y="35034"/>
                </a:cubicBezTo>
                <a:cubicBezTo>
                  <a:pt x="1678105" y="37652"/>
                  <a:pt x="1676599" y="41166"/>
                  <a:pt x="1676200" y="45577"/>
                </a:cubicBezTo>
                <a:lnTo>
                  <a:pt x="1705432" y="45577"/>
                </a:lnTo>
                <a:cubicBezTo>
                  <a:pt x="1705190" y="40983"/>
                  <a:pt x="1703841" y="37416"/>
                  <a:pt x="1701385" y="34877"/>
                </a:cubicBezTo>
                <a:cubicBezTo>
                  <a:pt x="1698929" y="32339"/>
                  <a:pt x="1695564" y="31051"/>
                  <a:pt x="1691287" y="31014"/>
                </a:cubicBezTo>
                <a:close/>
                <a:moveTo>
                  <a:pt x="976912" y="31014"/>
                </a:moveTo>
                <a:cubicBezTo>
                  <a:pt x="972479" y="31077"/>
                  <a:pt x="968956" y="32417"/>
                  <a:pt x="966343" y="35034"/>
                </a:cubicBezTo>
                <a:cubicBezTo>
                  <a:pt x="963730" y="37652"/>
                  <a:pt x="962224" y="41166"/>
                  <a:pt x="961825" y="45577"/>
                </a:cubicBezTo>
                <a:lnTo>
                  <a:pt x="991057" y="45577"/>
                </a:lnTo>
                <a:cubicBezTo>
                  <a:pt x="990815" y="40983"/>
                  <a:pt x="989465" y="37416"/>
                  <a:pt x="987010" y="34877"/>
                </a:cubicBezTo>
                <a:cubicBezTo>
                  <a:pt x="984554" y="32339"/>
                  <a:pt x="981188" y="31051"/>
                  <a:pt x="976912" y="31014"/>
                </a:cubicBezTo>
                <a:close/>
                <a:moveTo>
                  <a:pt x="747788" y="28185"/>
                </a:moveTo>
                <a:lnTo>
                  <a:pt x="758266" y="28185"/>
                </a:lnTo>
                <a:lnTo>
                  <a:pt x="776497" y="49978"/>
                </a:lnTo>
                <a:lnTo>
                  <a:pt x="758266" y="71771"/>
                </a:lnTo>
                <a:lnTo>
                  <a:pt x="747788" y="71771"/>
                </a:lnTo>
                <a:lnTo>
                  <a:pt x="765705" y="49978"/>
                </a:lnTo>
                <a:close/>
                <a:moveTo>
                  <a:pt x="724214" y="28185"/>
                </a:moveTo>
                <a:lnTo>
                  <a:pt x="734691" y="28185"/>
                </a:lnTo>
                <a:lnTo>
                  <a:pt x="752922" y="49978"/>
                </a:lnTo>
                <a:lnTo>
                  <a:pt x="734691" y="71771"/>
                </a:lnTo>
                <a:lnTo>
                  <a:pt x="724214" y="71771"/>
                </a:lnTo>
                <a:lnTo>
                  <a:pt x="742131" y="49978"/>
                </a:lnTo>
                <a:close/>
                <a:moveTo>
                  <a:pt x="585044" y="28185"/>
                </a:moveTo>
                <a:lnTo>
                  <a:pt x="595522" y="28185"/>
                </a:lnTo>
                <a:lnTo>
                  <a:pt x="577605" y="49978"/>
                </a:lnTo>
                <a:lnTo>
                  <a:pt x="595522" y="71771"/>
                </a:lnTo>
                <a:lnTo>
                  <a:pt x="585044" y="71771"/>
                </a:lnTo>
                <a:lnTo>
                  <a:pt x="566813" y="49978"/>
                </a:lnTo>
                <a:close/>
                <a:moveTo>
                  <a:pt x="561470" y="28185"/>
                </a:moveTo>
                <a:lnTo>
                  <a:pt x="571947" y="28185"/>
                </a:lnTo>
                <a:lnTo>
                  <a:pt x="554031" y="49978"/>
                </a:lnTo>
                <a:lnTo>
                  <a:pt x="571947" y="71771"/>
                </a:lnTo>
                <a:lnTo>
                  <a:pt x="561470" y="71771"/>
                </a:lnTo>
                <a:lnTo>
                  <a:pt x="543239" y="49978"/>
                </a:lnTo>
                <a:close/>
                <a:moveTo>
                  <a:pt x="4784483" y="24098"/>
                </a:moveTo>
                <a:lnTo>
                  <a:pt x="4806905" y="24098"/>
                </a:lnTo>
                <a:cubicBezTo>
                  <a:pt x="4812500" y="24195"/>
                  <a:pt x="4816660" y="25522"/>
                  <a:pt x="4819387" y="28080"/>
                </a:cubicBezTo>
                <a:cubicBezTo>
                  <a:pt x="4822113" y="30638"/>
                  <a:pt x="4823471" y="33851"/>
                  <a:pt x="4823460" y="37719"/>
                </a:cubicBezTo>
                <a:cubicBezTo>
                  <a:pt x="4823388" y="40810"/>
                  <a:pt x="4822667" y="43298"/>
                  <a:pt x="4821299" y="45184"/>
                </a:cubicBezTo>
                <a:cubicBezTo>
                  <a:pt x="4819930" y="47070"/>
                  <a:pt x="4818346" y="48354"/>
                  <a:pt x="4816545" y="49035"/>
                </a:cubicBezTo>
                <a:cubicBezTo>
                  <a:pt x="4818991" y="49664"/>
                  <a:pt x="4821118" y="51052"/>
                  <a:pt x="4822923" y="53200"/>
                </a:cubicBezTo>
                <a:cubicBezTo>
                  <a:pt x="4824728" y="55348"/>
                  <a:pt x="4825675" y="58255"/>
                  <a:pt x="4825765" y="61922"/>
                </a:cubicBezTo>
                <a:cubicBezTo>
                  <a:pt x="4825739" y="66259"/>
                  <a:pt x="4824219" y="69817"/>
                  <a:pt x="4821207" y="72596"/>
                </a:cubicBezTo>
                <a:cubicBezTo>
                  <a:pt x="4818195" y="75375"/>
                  <a:pt x="4813847" y="76811"/>
                  <a:pt x="4808163" y="76905"/>
                </a:cubicBezTo>
                <a:lnTo>
                  <a:pt x="4784483" y="76905"/>
                </a:lnTo>
                <a:close/>
                <a:moveTo>
                  <a:pt x="4670183" y="24098"/>
                </a:moveTo>
                <a:lnTo>
                  <a:pt x="4679194" y="24098"/>
                </a:lnTo>
                <a:lnTo>
                  <a:pt x="4679194" y="68733"/>
                </a:lnTo>
                <a:lnTo>
                  <a:pt x="4704654" y="68733"/>
                </a:lnTo>
                <a:lnTo>
                  <a:pt x="4704654" y="24098"/>
                </a:lnTo>
                <a:lnTo>
                  <a:pt x="4713665" y="24098"/>
                </a:lnTo>
                <a:lnTo>
                  <a:pt x="4713665" y="68733"/>
                </a:lnTo>
                <a:lnTo>
                  <a:pt x="4721418" y="68733"/>
                </a:lnTo>
                <a:lnTo>
                  <a:pt x="4721418" y="90316"/>
                </a:lnTo>
                <a:lnTo>
                  <a:pt x="4712722" y="90316"/>
                </a:lnTo>
                <a:lnTo>
                  <a:pt x="4712722" y="76905"/>
                </a:lnTo>
                <a:lnTo>
                  <a:pt x="4670183" y="76905"/>
                </a:lnTo>
                <a:close/>
                <a:moveTo>
                  <a:pt x="4622558" y="24098"/>
                </a:moveTo>
                <a:lnTo>
                  <a:pt x="4631569" y="24098"/>
                </a:lnTo>
                <a:lnTo>
                  <a:pt x="4631569" y="41177"/>
                </a:lnTo>
                <a:lnTo>
                  <a:pt x="4643408" y="41177"/>
                </a:lnTo>
                <a:cubicBezTo>
                  <a:pt x="4649086" y="41273"/>
                  <a:pt x="4653578" y="42941"/>
                  <a:pt x="4656885" y="46180"/>
                </a:cubicBezTo>
                <a:cubicBezTo>
                  <a:pt x="4660192" y="49419"/>
                  <a:pt x="4661882" y="53654"/>
                  <a:pt x="4661954" y="58884"/>
                </a:cubicBezTo>
                <a:cubicBezTo>
                  <a:pt x="4661884" y="64127"/>
                  <a:pt x="4660190" y="68414"/>
                  <a:pt x="4656872" y="71745"/>
                </a:cubicBezTo>
                <a:cubicBezTo>
                  <a:pt x="4653555" y="75076"/>
                  <a:pt x="4649032" y="76796"/>
                  <a:pt x="4643304" y="76905"/>
                </a:cubicBezTo>
                <a:lnTo>
                  <a:pt x="4622558" y="76905"/>
                </a:lnTo>
                <a:close/>
                <a:moveTo>
                  <a:pt x="4572533" y="24098"/>
                </a:moveTo>
                <a:lnTo>
                  <a:pt x="4608995" y="24098"/>
                </a:lnTo>
                <a:lnTo>
                  <a:pt x="4608995" y="76905"/>
                </a:lnTo>
                <a:lnTo>
                  <a:pt x="4599984" y="76905"/>
                </a:lnTo>
                <a:lnTo>
                  <a:pt x="4599984" y="32166"/>
                </a:lnTo>
                <a:lnTo>
                  <a:pt x="4580601" y="32166"/>
                </a:lnTo>
                <a:lnTo>
                  <a:pt x="4578505" y="57103"/>
                </a:lnTo>
                <a:cubicBezTo>
                  <a:pt x="4577973" y="64216"/>
                  <a:pt x="4576366" y="69346"/>
                  <a:pt x="4573686" y="72491"/>
                </a:cubicBezTo>
                <a:cubicBezTo>
                  <a:pt x="4571005" y="75637"/>
                  <a:pt x="4566989" y="77178"/>
                  <a:pt x="4561637" y="77115"/>
                </a:cubicBezTo>
                <a:lnTo>
                  <a:pt x="4559122" y="77115"/>
                </a:lnTo>
                <a:lnTo>
                  <a:pt x="4559122" y="68942"/>
                </a:lnTo>
                <a:lnTo>
                  <a:pt x="4560589" y="68942"/>
                </a:lnTo>
                <a:cubicBezTo>
                  <a:pt x="4563815" y="68992"/>
                  <a:pt x="4566085" y="68054"/>
                  <a:pt x="4567399" y="66126"/>
                </a:cubicBezTo>
                <a:cubicBezTo>
                  <a:pt x="4568713" y="64199"/>
                  <a:pt x="4569516" y="60981"/>
                  <a:pt x="4569809" y="56474"/>
                </a:cubicBezTo>
                <a:close/>
                <a:moveTo>
                  <a:pt x="4457709" y="24098"/>
                </a:moveTo>
                <a:lnTo>
                  <a:pt x="4495638" y="24098"/>
                </a:lnTo>
                <a:lnTo>
                  <a:pt x="4495638" y="68733"/>
                </a:lnTo>
                <a:lnTo>
                  <a:pt x="4503391" y="68733"/>
                </a:lnTo>
                <a:lnTo>
                  <a:pt x="4503391" y="90316"/>
                </a:lnTo>
                <a:lnTo>
                  <a:pt x="4494695" y="90316"/>
                </a:lnTo>
                <a:lnTo>
                  <a:pt x="4494695" y="76905"/>
                </a:lnTo>
                <a:lnTo>
                  <a:pt x="4453518" y="76905"/>
                </a:lnTo>
                <a:lnTo>
                  <a:pt x="4453518" y="90316"/>
                </a:lnTo>
                <a:lnTo>
                  <a:pt x="4444822" y="90316"/>
                </a:lnTo>
                <a:lnTo>
                  <a:pt x="4444822" y="68733"/>
                </a:lnTo>
                <a:lnTo>
                  <a:pt x="4449327" y="68733"/>
                </a:lnTo>
                <a:cubicBezTo>
                  <a:pt x="4451056" y="67624"/>
                  <a:pt x="4452444" y="65467"/>
                  <a:pt x="4453492" y="62263"/>
                </a:cubicBezTo>
                <a:cubicBezTo>
                  <a:pt x="4454540" y="59058"/>
                  <a:pt x="4455247" y="55173"/>
                  <a:pt x="4455614" y="50607"/>
                </a:cubicBezTo>
                <a:close/>
                <a:moveTo>
                  <a:pt x="4343933" y="24098"/>
                </a:moveTo>
                <a:lnTo>
                  <a:pt x="4380395" y="24098"/>
                </a:lnTo>
                <a:lnTo>
                  <a:pt x="4380395" y="76905"/>
                </a:lnTo>
                <a:lnTo>
                  <a:pt x="4371384" y="76905"/>
                </a:lnTo>
                <a:lnTo>
                  <a:pt x="4371384" y="32166"/>
                </a:lnTo>
                <a:lnTo>
                  <a:pt x="4352001" y="32166"/>
                </a:lnTo>
                <a:lnTo>
                  <a:pt x="4349905" y="57103"/>
                </a:lnTo>
                <a:cubicBezTo>
                  <a:pt x="4349373" y="64216"/>
                  <a:pt x="4347766" y="69346"/>
                  <a:pt x="4345086" y="72491"/>
                </a:cubicBezTo>
                <a:cubicBezTo>
                  <a:pt x="4342405" y="75637"/>
                  <a:pt x="4338389" y="77178"/>
                  <a:pt x="4333037" y="77115"/>
                </a:cubicBezTo>
                <a:lnTo>
                  <a:pt x="4330522" y="77115"/>
                </a:lnTo>
                <a:lnTo>
                  <a:pt x="4330522" y="68942"/>
                </a:lnTo>
                <a:lnTo>
                  <a:pt x="4331989" y="68942"/>
                </a:lnTo>
                <a:cubicBezTo>
                  <a:pt x="4335215" y="68992"/>
                  <a:pt x="4337485" y="68054"/>
                  <a:pt x="4338799" y="66126"/>
                </a:cubicBezTo>
                <a:cubicBezTo>
                  <a:pt x="4340113" y="64199"/>
                  <a:pt x="4340916" y="60981"/>
                  <a:pt x="4341209" y="56474"/>
                </a:cubicBezTo>
                <a:close/>
                <a:moveTo>
                  <a:pt x="4279658" y="24098"/>
                </a:moveTo>
                <a:lnTo>
                  <a:pt x="4302080" y="24098"/>
                </a:lnTo>
                <a:cubicBezTo>
                  <a:pt x="4307675" y="24195"/>
                  <a:pt x="4311835" y="25522"/>
                  <a:pt x="4314562" y="28080"/>
                </a:cubicBezTo>
                <a:cubicBezTo>
                  <a:pt x="4317288" y="30638"/>
                  <a:pt x="4318646" y="33851"/>
                  <a:pt x="4318635" y="37719"/>
                </a:cubicBezTo>
                <a:cubicBezTo>
                  <a:pt x="4318563" y="40810"/>
                  <a:pt x="4317842" y="43298"/>
                  <a:pt x="4316474" y="45184"/>
                </a:cubicBezTo>
                <a:cubicBezTo>
                  <a:pt x="4315105" y="47070"/>
                  <a:pt x="4313520" y="48354"/>
                  <a:pt x="4311720" y="49035"/>
                </a:cubicBezTo>
                <a:cubicBezTo>
                  <a:pt x="4314166" y="49664"/>
                  <a:pt x="4316293" y="51052"/>
                  <a:pt x="4318098" y="53200"/>
                </a:cubicBezTo>
                <a:cubicBezTo>
                  <a:pt x="4319903" y="55348"/>
                  <a:pt x="4320850" y="58255"/>
                  <a:pt x="4320940" y="61922"/>
                </a:cubicBezTo>
                <a:cubicBezTo>
                  <a:pt x="4320914" y="66259"/>
                  <a:pt x="4319394" y="69817"/>
                  <a:pt x="4316382" y="72596"/>
                </a:cubicBezTo>
                <a:cubicBezTo>
                  <a:pt x="4313370" y="75375"/>
                  <a:pt x="4309022" y="76811"/>
                  <a:pt x="4303338" y="76905"/>
                </a:cubicBezTo>
                <a:lnTo>
                  <a:pt x="4279658" y="76905"/>
                </a:lnTo>
                <a:close/>
                <a:moveTo>
                  <a:pt x="4198429" y="24098"/>
                </a:moveTo>
                <a:lnTo>
                  <a:pt x="4209011" y="24098"/>
                </a:lnTo>
                <a:lnTo>
                  <a:pt x="4222947" y="44320"/>
                </a:lnTo>
                <a:lnTo>
                  <a:pt x="4236567" y="24098"/>
                </a:lnTo>
                <a:lnTo>
                  <a:pt x="4246940" y="24098"/>
                </a:lnTo>
                <a:lnTo>
                  <a:pt x="4228395" y="50711"/>
                </a:lnTo>
                <a:lnTo>
                  <a:pt x="4247149" y="76905"/>
                </a:lnTo>
                <a:lnTo>
                  <a:pt x="4236567" y="76905"/>
                </a:lnTo>
                <a:lnTo>
                  <a:pt x="4222527" y="56893"/>
                </a:lnTo>
                <a:lnTo>
                  <a:pt x="4208592" y="76905"/>
                </a:lnTo>
                <a:lnTo>
                  <a:pt x="4198220" y="76905"/>
                </a:lnTo>
                <a:lnTo>
                  <a:pt x="4216974" y="50502"/>
                </a:lnTo>
                <a:close/>
                <a:moveTo>
                  <a:pt x="4146308" y="24098"/>
                </a:moveTo>
                <a:lnTo>
                  <a:pt x="4155214" y="24098"/>
                </a:lnTo>
                <a:lnTo>
                  <a:pt x="4155214" y="62970"/>
                </a:lnTo>
                <a:lnTo>
                  <a:pt x="4182141" y="24098"/>
                </a:lnTo>
                <a:lnTo>
                  <a:pt x="4191047" y="24098"/>
                </a:lnTo>
                <a:lnTo>
                  <a:pt x="4191047" y="76905"/>
                </a:lnTo>
                <a:lnTo>
                  <a:pt x="4182141" y="76905"/>
                </a:lnTo>
                <a:lnTo>
                  <a:pt x="4182141" y="38034"/>
                </a:lnTo>
                <a:lnTo>
                  <a:pt x="4155214" y="76905"/>
                </a:lnTo>
                <a:lnTo>
                  <a:pt x="4146308" y="76905"/>
                </a:lnTo>
                <a:close/>
                <a:moveTo>
                  <a:pt x="3993908" y="24098"/>
                </a:moveTo>
                <a:lnTo>
                  <a:pt x="4002919" y="24098"/>
                </a:lnTo>
                <a:lnTo>
                  <a:pt x="4002919" y="41177"/>
                </a:lnTo>
                <a:lnTo>
                  <a:pt x="4014758" y="41177"/>
                </a:lnTo>
                <a:cubicBezTo>
                  <a:pt x="4020436" y="41273"/>
                  <a:pt x="4024928" y="42941"/>
                  <a:pt x="4028235" y="46180"/>
                </a:cubicBezTo>
                <a:cubicBezTo>
                  <a:pt x="4031542" y="49419"/>
                  <a:pt x="4033232" y="53654"/>
                  <a:pt x="4033304" y="58884"/>
                </a:cubicBezTo>
                <a:cubicBezTo>
                  <a:pt x="4033234" y="64127"/>
                  <a:pt x="4031540" y="68414"/>
                  <a:pt x="4028222" y="71745"/>
                </a:cubicBezTo>
                <a:cubicBezTo>
                  <a:pt x="4024904" y="75076"/>
                  <a:pt x="4020381" y="76796"/>
                  <a:pt x="4014654" y="76905"/>
                </a:cubicBezTo>
                <a:lnTo>
                  <a:pt x="3993908" y="76905"/>
                </a:lnTo>
                <a:close/>
                <a:moveTo>
                  <a:pt x="3941778" y="24098"/>
                </a:moveTo>
                <a:lnTo>
                  <a:pt x="3986307" y="24098"/>
                </a:lnTo>
                <a:lnTo>
                  <a:pt x="3986307" y="32166"/>
                </a:lnTo>
                <a:lnTo>
                  <a:pt x="3968496" y="32166"/>
                </a:lnTo>
                <a:lnTo>
                  <a:pt x="3968496" y="76905"/>
                </a:lnTo>
                <a:lnTo>
                  <a:pt x="3959485" y="76905"/>
                </a:lnTo>
                <a:lnTo>
                  <a:pt x="3959485" y="32166"/>
                </a:lnTo>
                <a:lnTo>
                  <a:pt x="3941778" y="32166"/>
                </a:lnTo>
                <a:close/>
                <a:moveTo>
                  <a:pt x="3774833" y="24098"/>
                </a:moveTo>
                <a:lnTo>
                  <a:pt x="3783844" y="24098"/>
                </a:lnTo>
                <a:lnTo>
                  <a:pt x="3783844" y="45368"/>
                </a:lnTo>
                <a:lnTo>
                  <a:pt x="3809933" y="45368"/>
                </a:lnTo>
                <a:lnTo>
                  <a:pt x="3809933" y="24098"/>
                </a:lnTo>
                <a:lnTo>
                  <a:pt x="3818943" y="24098"/>
                </a:lnTo>
                <a:lnTo>
                  <a:pt x="3818943" y="76905"/>
                </a:lnTo>
                <a:lnTo>
                  <a:pt x="3809933" y="76905"/>
                </a:lnTo>
                <a:lnTo>
                  <a:pt x="3809933" y="53540"/>
                </a:lnTo>
                <a:lnTo>
                  <a:pt x="3783844" y="53540"/>
                </a:lnTo>
                <a:lnTo>
                  <a:pt x="3783844" y="76905"/>
                </a:lnTo>
                <a:lnTo>
                  <a:pt x="3774833" y="76905"/>
                </a:lnTo>
                <a:close/>
                <a:moveTo>
                  <a:pt x="3717683" y="24098"/>
                </a:moveTo>
                <a:lnTo>
                  <a:pt x="3726694" y="24098"/>
                </a:lnTo>
                <a:lnTo>
                  <a:pt x="3726694" y="45368"/>
                </a:lnTo>
                <a:lnTo>
                  <a:pt x="3752783" y="45368"/>
                </a:lnTo>
                <a:lnTo>
                  <a:pt x="3752783" y="24098"/>
                </a:lnTo>
                <a:lnTo>
                  <a:pt x="3761793" y="24098"/>
                </a:lnTo>
                <a:lnTo>
                  <a:pt x="3761793" y="76905"/>
                </a:lnTo>
                <a:lnTo>
                  <a:pt x="3752783" y="76905"/>
                </a:lnTo>
                <a:lnTo>
                  <a:pt x="3752783" y="53540"/>
                </a:lnTo>
                <a:lnTo>
                  <a:pt x="3726694" y="53540"/>
                </a:lnTo>
                <a:lnTo>
                  <a:pt x="3726694" y="76905"/>
                </a:lnTo>
                <a:lnTo>
                  <a:pt x="3717683" y="76905"/>
                </a:lnTo>
                <a:close/>
                <a:moveTo>
                  <a:pt x="3612908" y="24098"/>
                </a:moveTo>
                <a:lnTo>
                  <a:pt x="3635330" y="24098"/>
                </a:lnTo>
                <a:cubicBezTo>
                  <a:pt x="3640925" y="24195"/>
                  <a:pt x="3645085" y="25522"/>
                  <a:pt x="3647812" y="28080"/>
                </a:cubicBezTo>
                <a:cubicBezTo>
                  <a:pt x="3650538" y="30638"/>
                  <a:pt x="3651896" y="33851"/>
                  <a:pt x="3651884" y="37719"/>
                </a:cubicBezTo>
                <a:cubicBezTo>
                  <a:pt x="3651813" y="40810"/>
                  <a:pt x="3651092" y="43298"/>
                  <a:pt x="3649724" y="45184"/>
                </a:cubicBezTo>
                <a:cubicBezTo>
                  <a:pt x="3648355" y="47070"/>
                  <a:pt x="3646770" y="48354"/>
                  <a:pt x="3644969" y="49035"/>
                </a:cubicBezTo>
                <a:cubicBezTo>
                  <a:pt x="3647417" y="49664"/>
                  <a:pt x="3649542" y="51052"/>
                  <a:pt x="3651348" y="53200"/>
                </a:cubicBezTo>
                <a:cubicBezTo>
                  <a:pt x="3653153" y="55348"/>
                  <a:pt x="3654100" y="58255"/>
                  <a:pt x="3654190" y="61922"/>
                </a:cubicBezTo>
                <a:cubicBezTo>
                  <a:pt x="3654164" y="66259"/>
                  <a:pt x="3652644" y="69817"/>
                  <a:pt x="3649632" y="72596"/>
                </a:cubicBezTo>
                <a:cubicBezTo>
                  <a:pt x="3646620" y="75375"/>
                  <a:pt x="3642271" y="76811"/>
                  <a:pt x="3636588" y="76905"/>
                </a:cubicBezTo>
                <a:lnTo>
                  <a:pt x="3612908" y="76905"/>
                </a:lnTo>
                <a:close/>
                <a:moveTo>
                  <a:pt x="3560778" y="24098"/>
                </a:moveTo>
                <a:lnTo>
                  <a:pt x="3605308" y="24098"/>
                </a:lnTo>
                <a:lnTo>
                  <a:pt x="3605308" y="32166"/>
                </a:lnTo>
                <a:lnTo>
                  <a:pt x="3587496" y="32166"/>
                </a:lnTo>
                <a:lnTo>
                  <a:pt x="3587496" y="76905"/>
                </a:lnTo>
                <a:lnTo>
                  <a:pt x="3578485" y="76905"/>
                </a:lnTo>
                <a:lnTo>
                  <a:pt x="3578485" y="32166"/>
                </a:lnTo>
                <a:lnTo>
                  <a:pt x="3560778" y="32166"/>
                </a:lnTo>
                <a:close/>
                <a:moveTo>
                  <a:pt x="3276828" y="24098"/>
                </a:moveTo>
                <a:lnTo>
                  <a:pt x="3297783" y="24098"/>
                </a:lnTo>
                <a:lnTo>
                  <a:pt x="3297783" y="76905"/>
                </a:lnTo>
                <a:lnTo>
                  <a:pt x="3288772" y="76905"/>
                </a:lnTo>
                <a:lnTo>
                  <a:pt x="3288772" y="58989"/>
                </a:lnTo>
                <a:lnTo>
                  <a:pt x="3279343" y="58989"/>
                </a:lnTo>
                <a:lnTo>
                  <a:pt x="3265722" y="76905"/>
                </a:lnTo>
                <a:lnTo>
                  <a:pt x="3255245" y="76905"/>
                </a:lnTo>
                <a:lnTo>
                  <a:pt x="3269808" y="57836"/>
                </a:lnTo>
                <a:cubicBezTo>
                  <a:pt x="3266115" y="56572"/>
                  <a:pt x="3263260" y="54490"/>
                  <a:pt x="3261243" y="51589"/>
                </a:cubicBezTo>
                <a:cubicBezTo>
                  <a:pt x="3259226" y="48688"/>
                  <a:pt x="3258205" y="45322"/>
                  <a:pt x="3258179" y="41491"/>
                </a:cubicBezTo>
                <a:cubicBezTo>
                  <a:pt x="3258209" y="36549"/>
                  <a:pt x="3259824" y="32446"/>
                  <a:pt x="3263024" y="29180"/>
                </a:cubicBezTo>
                <a:cubicBezTo>
                  <a:pt x="3266224" y="25915"/>
                  <a:pt x="3270825" y="24221"/>
                  <a:pt x="3276828" y="24098"/>
                </a:cubicBezTo>
                <a:close/>
                <a:moveTo>
                  <a:pt x="3160728" y="24098"/>
                </a:moveTo>
                <a:lnTo>
                  <a:pt x="3205257" y="24098"/>
                </a:lnTo>
                <a:lnTo>
                  <a:pt x="3205257" y="32166"/>
                </a:lnTo>
                <a:lnTo>
                  <a:pt x="3187446" y="32166"/>
                </a:lnTo>
                <a:lnTo>
                  <a:pt x="3187446" y="76905"/>
                </a:lnTo>
                <a:lnTo>
                  <a:pt x="3178435" y="76905"/>
                </a:lnTo>
                <a:lnTo>
                  <a:pt x="3178435" y="32166"/>
                </a:lnTo>
                <a:lnTo>
                  <a:pt x="3160728" y="32166"/>
                </a:lnTo>
                <a:close/>
                <a:moveTo>
                  <a:pt x="3048228" y="24098"/>
                </a:moveTo>
                <a:lnTo>
                  <a:pt x="3069183" y="24098"/>
                </a:lnTo>
                <a:lnTo>
                  <a:pt x="3069183" y="76905"/>
                </a:lnTo>
                <a:lnTo>
                  <a:pt x="3060173" y="76905"/>
                </a:lnTo>
                <a:lnTo>
                  <a:pt x="3060173" y="58989"/>
                </a:lnTo>
                <a:lnTo>
                  <a:pt x="3050743" y="58989"/>
                </a:lnTo>
                <a:lnTo>
                  <a:pt x="3037122" y="76905"/>
                </a:lnTo>
                <a:lnTo>
                  <a:pt x="3026644" y="76905"/>
                </a:lnTo>
                <a:lnTo>
                  <a:pt x="3041208" y="57836"/>
                </a:lnTo>
                <a:cubicBezTo>
                  <a:pt x="3037515" y="56572"/>
                  <a:pt x="3034660" y="54490"/>
                  <a:pt x="3032643" y="51589"/>
                </a:cubicBezTo>
                <a:cubicBezTo>
                  <a:pt x="3030626" y="48688"/>
                  <a:pt x="3029604" y="45322"/>
                  <a:pt x="3029578" y="41491"/>
                </a:cubicBezTo>
                <a:cubicBezTo>
                  <a:pt x="3029609" y="36549"/>
                  <a:pt x="3031224" y="32446"/>
                  <a:pt x="3034424" y="29180"/>
                </a:cubicBezTo>
                <a:cubicBezTo>
                  <a:pt x="3037625" y="25915"/>
                  <a:pt x="3042225" y="24221"/>
                  <a:pt x="3048228" y="24098"/>
                </a:cubicBezTo>
                <a:close/>
                <a:moveTo>
                  <a:pt x="2981858" y="24098"/>
                </a:moveTo>
                <a:lnTo>
                  <a:pt x="3018320" y="24098"/>
                </a:lnTo>
                <a:lnTo>
                  <a:pt x="3018320" y="76905"/>
                </a:lnTo>
                <a:lnTo>
                  <a:pt x="3009309" y="76905"/>
                </a:lnTo>
                <a:lnTo>
                  <a:pt x="3009309" y="32166"/>
                </a:lnTo>
                <a:lnTo>
                  <a:pt x="2989926" y="32166"/>
                </a:lnTo>
                <a:lnTo>
                  <a:pt x="2987830" y="57103"/>
                </a:lnTo>
                <a:cubicBezTo>
                  <a:pt x="2987298" y="64216"/>
                  <a:pt x="2985691" y="69346"/>
                  <a:pt x="2983011" y="72491"/>
                </a:cubicBezTo>
                <a:cubicBezTo>
                  <a:pt x="2980330" y="75637"/>
                  <a:pt x="2976314" y="77178"/>
                  <a:pt x="2970962" y="77115"/>
                </a:cubicBezTo>
                <a:lnTo>
                  <a:pt x="2968447" y="77115"/>
                </a:lnTo>
                <a:lnTo>
                  <a:pt x="2968447" y="68942"/>
                </a:lnTo>
                <a:lnTo>
                  <a:pt x="2969914" y="68942"/>
                </a:lnTo>
                <a:cubicBezTo>
                  <a:pt x="2973140" y="68992"/>
                  <a:pt x="2975410" y="68054"/>
                  <a:pt x="2976724" y="66126"/>
                </a:cubicBezTo>
                <a:cubicBezTo>
                  <a:pt x="2978038" y="64199"/>
                  <a:pt x="2978842" y="60981"/>
                  <a:pt x="2979134" y="56474"/>
                </a:cubicBezTo>
                <a:close/>
                <a:moveTo>
                  <a:pt x="2917584" y="24098"/>
                </a:moveTo>
                <a:lnTo>
                  <a:pt x="2940005" y="24098"/>
                </a:lnTo>
                <a:cubicBezTo>
                  <a:pt x="2945600" y="24195"/>
                  <a:pt x="2949760" y="25522"/>
                  <a:pt x="2952486" y="28080"/>
                </a:cubicBezTo>
                <a:cubicBezTo>
                  <a:pt x="2955213" y="30638"/>
                  <a:pt x="2956571" y="33851"/>
                  <a:pt x="2956560" y="37719"/>
                </a:cubicBezTo>
                <a:cubicBezTo>
                  <a:pt x="2956487" y="40810"/>
                  <a:pt x="2955767" y="43298"/>
                  <a:pt x="2954399" y="45184"/>
                </a:cubicBezTo>
                <a:cubicBezTo>
                  <a:pt x="2953030" y="47070"/>
                  <a:pt x="2951445" y="48354"/>
                  <a:pt x="2949644" y="49035"/>
                </a:cubicBezTo>
                <a:cubicBezTo>
                  <a:pt x="2952091" y="49664"/>
                  <a:pt x="2954217" y="51052"/>
                  <a:pt x="2956023" y="53200"/>
                </a:cubicBezTo>
                <a:cubicBezTo>
                  <a:pt x="2957828" y="55348"/>
                  <a:pt x="2958775" y="58255"/>
                  <a:pt x="2958865" y="61922"/>
                </a:cubicBezTo>
                <a:cubicBezTo>
                  <a:pt x="2958839" y="66259"/>
                  <a:pt x="2957320" y="69817"/>
                  <a:pt x="2954307" y="72596"/>
                </a:cubicBezTo>
                <a:cubicBezTo>
                  <a:pt x="2951295" y="75375"/>
                  <a:pt x="2946947" y="76811"/>
                  <a:pt x="2941263" y="76905"/>
                </a:cubicBezTo>
                <a:lnTo>
                  <a:pt x="2917584" y="76905"/>
                </a:lnTo>
                <a:close/>
                <a:moveTo>
                  <a:pt x="2886304" y="24098"/>
                </a:moveTo>
                <a:lnTo>
                  <a:pt x="2907258" y="24098"/>
                </a:lnTo>
                <a:lnTo>
                  <a:pt x="2907258" y="76905"/>
                </a:lnTo>
                <a:lnTo>
                  <a:pt x="2898248" y="76905"/>
                </a:lnTo>
                <a:lnTo>
                  <a:pt x="2898248" y="58989"/>
                </a:lnTo>
                <a:lnTo>
                  <a:pt x="2888818" y="58989"/>
                </a:lnTo>
                <a:lnTo>
                  <a:pt x="2875197" y="76905"/>
                </a:lnTo>
                <a:lnTo>
                  <a:pt x="2864720" y="76905"/>
                </a:lnTo>
                <a:lnTo>
                  <a:pt x="2879283" y="57836"/>
                </a:lnTo>
                <a:cubicBezTo>
                  <a:pt x="2875590" y="56572"/>
                  <a:pt x="2872735" y="54490"/>
                  <a:pt x="2870718" y="51589"/>
                </a:cubicBezTo>
                <a:cubicBezTo>
                  <a:pt x="2868701" y="48688"/>
                  <a:pt x="2867680" y="45322"/>
                  <a:pt x="2867654" y="41491"/>
                </a:cubicBezTo>
                <a:cubicBezTo>
                  <a:pt x="2867684" y="36549"/>
                  <a:pt x="2869299" y="32446"/>
                  <a:pt x="2872499" y="29180"/>
                </a:cubicBezTo>
                <a:cubicBezTo>
                  <a:pt x="2875699" y="25915"/>
                  <a:pt x="2880300" y="24221"/>
                  <a:pt x="2886304" y="24098"/>
                </a:cubicBezTo>
                <a:close/>
                <a:moveTo>
                  <a:pt x="2793759" y="24098"/>
                </a:moveTo>
                <a:lnTo>
                  <a:pt x="2802664" y="24098"/>
                </a:lnTo>
                <a:lnTo>
                  <a:pt x="2802664" y="62970"/>
                </a:lnTo>
                <a:lnTo>
                  <a:pt x="2829591" y="24098"/>
                </a:lnTo>
                <a:lnTo>
                  <a:pt x="2838497" y="24098"/>
                </a:lnTo>
                <a:lnTo>
                  <a:pt x="2838497" y="76905"/>
                </a:lnTo>
                <a:lnTo>
                  <a:pt x="2829591" y="76905"/>
                </a:lnTo>
                <a:lnTo>
                  <a:pt x="2829591" y="38034"/>
                </a:lnTo>
                <a:lnTo>
                  <a:pt x="2802664" y="76905"/>
                </a:lnTo>
                <a:lnTo>
                  <a:pt x="2793759" y="76905"/>
                </a:lnTo>
                <a:close/>
                <a:moveTo>
                  <a:pt x="2736608" y="24098"/>
                </a:moveTo>
                <a:lnTo>
                  <a:pt x="2745619" y="24098"/>
                </a:lnTo>
                <a:lnTo>
                  <a:pt x="2745619" y="46730"/>
                </a:lnTo>
                <a:lnTo>
                  <a:pt x="2768460" y="24098"/>
                </a:lnTo>
                <a:lnTo>
                  <a:pt x="2779881" y="24098"/>
                </a:lnTo>
                <a:lnTo>
                  <a:pt x="2755049" y="48721"/>
                </a:lnTo>
                <a:lnTo>
                  <a:pt x="2780195" y="76905"/>
                </a:lnTo>
                <a:lnTo>
                  <a:pt x="2768565" y="76905"/>
                </a:lnTo>
                <a:lnTo>
                  <a:pt x="2745619" y="51340"/>
                </a:lnTo>
                <a:lnTo>
                  <a:pt x="2745619" y="76905"/>
                </a:lnTo>
                <a:lnTo>
                  <a:pt x="2736608" y="76905"/>
                </a:lnTo>
                <a:close/>
                <a:moveTo>
                  <a:pt x="2622309" y="24098"/>
                </a:moveTo>
                <a:lnTo>
                  <a:pt x="2631319" y="24098"/>
                </a:lnTo>
                <a:lnTo>
                  <a:pt x="2631319" y="45368"/>
                </a:lnTo>
                <a:lnTo>
                  <a:pt x="2657408" y="45368"/>
                </a:lnTo>
                <a:lnTo>
                  <a:pt x="2657408" y="24098"/>
                </a:lnTo>
                <a:lnTo>
                  <a:pt x="2666419" y="24098"/>
                </a:lnTo>
                <a:lnTo>
                  <a:pt x="2666419" y="76905"/>
                </a:lnTo>
                <a:lnTo>
                  <a:pt x="2657408" y="76905"/>
                </a:lnTo>
                <a:lnTo>
                  <a:pt x="2657408" y="53540"/>
                </a:lnTo>
                <a:lnTo>
                  <a:pt x="2631319" y="53540"/>
                </a:lnTo>
                <a:lnTo>
                  <a:pt x="2631319" y="76905"/>
                </a:lnTo>
                <a:lnTo>
                  <a:pt x="2622309" y="76905"/>
                </a:lnTo>
                <a:close/>
                <a:moveTo>
                  <a:pt x="2478852" y="24098"/>
                </a:moveTo>
                <a:lnTo>
                  <a:pt x="2487863" y="24098"/>
                </a:lnTo>
                <a:lnTo>
                  <a:pt x="2487863" y="76905"/>
                </a:lnTo>
                <a:lnTo>
                  <a:pt x="2478852" y="76905"/>
                </a:lnTo>
                <a:close/>
                <a:moveTo>
                  <a:pt x="2431809" y="24098"/>
                </a:moveTo>
                <a:lnTo>
                  <a:pt x="2440819" y="24098"/>
                </a:lnTo>
                <a:lnTo>
                  <a:pt x="2440819" y="41177"/>
                </a:lnTo>
                <a:lnTo>
                  <a:pt x="2452659" y="41177"/>
                </a:lnTo>
                <a:cubicBezTo>
                  <a:pt x="2458336" y="41273"/>
                  <a:pt x="2462828" y="42941"/>
                  <a:pt x="2466135" y="46180"/>
                </a:cubicBezTo>
                <a:cubicBezTo>
                  <a:pt x="2469442" y="49419"/>
                  <a:pt x="2471132" y="53654"/>
                  <a:pt x="2471204" y="58884"/>
                </a:cubicBezTo>
                <a:cubicBezTo>
                  <a:pt x="2471134" y="64127"/>
                  <a:pt x="2469440" y="68414"/>
                  <a:pt x="2466122" y="71745"/>
                </a:cubicBezTo>
                <a:cubicBezTo>
                  <a:pt x="2462804" y="75076"/>
                  <a:pt x="2458281" y="76796"/>
                  <a:pt x="2452554" y="76905"/>
                </a:cubicBezTo>
                <a:lnTo>
                  <a:pt x="2431809" y="76905"/>
                </a:lnTo>
                <a:close/>
                <a:moveTo>
                  <a:pt x="2374658" y="24098"/>
                </a:moveTo>
                <a:lnTo>
                  <a:pt x="2383669" y="24098"/>
                </a:lnTo>
                <a:lnTo>
                  <a:pt x="2383669" y="45368"/>
                </a:lnTo>
                <a:lnTo>
                  <a:pt x="2409758" y="45368"/>
                </a:lnTo>
                <a:lnTo>
                  <a:pt x="2409758" y="24098"/>
                </a:lnTo>
                <a:lnTo>
                  <a:pt x="2418769" y="24098"/>
                </a:lnTo>
                <a:lnTo>
                  <a:pt x="2418769" y="76905"/>
                </a:lnTo>
                <a:lnTo>
                  <a:pt x="2409758" y="76905"/>
                </a:lnTo>
                <a:lnTo>
                  <a:pt x="2409758" y="53540"/>
                </a:lnTo>
                <a:lnTo>
                  <a:pt x="2383669" y="53540"/>
                </a:lnTo>
                <a:lnTo>
                  <a:pt x="2383669" y="76905"/>
                </a:lnTo>
                <a:lnTo>
                  <a:pt x="2374658" y="76905"/>
                </a:lnTo>
                <a:close/>
                <a:moveTo>
                  <a:pt x="2193683" y="24098"/>
                </a:moveTo>
                <a:lnTo>
                  <a:pt x="2216106" y="24098"/>
                </a:lnTo>
                <a:cubicBezTo>
                  <a:pt x="2221700" y="24195"/>
                  <a:pt x="2225860" y="25522"/>
                  <a:pt x="2228587" y="28080"/>
                </a:cubicBezTo>
                <a:cubicBezTo>
                  <a:pt x="2231313" y="30638"/>
                  <a:pt x="2232671" y="33851"/>
                  <a:pt x="2232660" y="37719"/>
                </a:cubicBezTo>
                <a:cubicBezTo>
                  <a:pt x="2232588" y="40810"/>
                  <a:pt x="2231867" y="43298"/>
                  <a:pt x="2230499" y="45184"/>
                </a:cubicBezTo>
                <a:cubicBezTo>
                  <a:pt x="2229130" y="47070"/>
                  <a:pt x="2227546" y="48354"/>
                  <a:pt x="2225745" y="49035"/>
                </a:cubicBezTo>
                <a:cubicBezTo>
                  <a:pt x="2228191" y="49664"/>
                  <a:pt x="2230318" y="51052"/>
                  <a:pt x="2232123" y="53200"/>
                </a:cubicBezTo>
                <a:cubicBezTo>
                  <a:pt x="2233928" y="55348"/>
                  <a:pt x="2234875" y="58255"/>
                  <a:pt x="2234965" y="61922"/>
                </a:cubicBezTo>
                <a:cubicBezTo>
                  <a:pt x="2234938" y="66259"/>
                  <a:pt x="2233419" y="69817"/>
                  <a:pt x="2230407" y="72596"/>
                </a:cubicBezTo>
                <a:cubicBezTo>
                  <a:pt x="2227395" y="75375"/>
                  <a:pt x="2223047" y="76811"/>
                  <a:pt x="2217362" y="76905"/>
                </a:cubicBezTo>
                <a:lnTo>
                  <a:pt x="2193683" y="76905"/>
                </a:lnTo>
                <a:close/>
                <a:moveTo>
                  <a:pt x="2084403" y="24098"/>
                </a:moveTo>
                <a:lnTo>
                  <a:pt x="2128933" y="24098"/>
                </a:lnTo>
                <a:lnTo>
                  <a:pt x="2128933" y="32166"/>
                </a:lnTo>
                <a:lnTo>
                  <a:pt x="2111121" y="32166"/>
                </a:lnTo>
                <a:lnTo>
                  <a:pt x="2111121" y="76905"/>
                </a:lnTo>
                <a:lnTo>
                  <a:pt x="2102110" y="76905"/>
                </a:lnTo>
                <a:lnTo>
                  <a:pt x="2102110" y="32166"/>
                </a:lnTo>
                <a:lnTo>
                  <a:pt x="2084403" y="32166"/>
                </a:lnTo>
                <a:close/>
                <a:moveTo>
                  <a:pt x="1821627" y="24098"/>
                </a:moveTo>
                <a:lnTo>
                  <a:pt x="1830638" y="24098"/>
                </a:lnTo>
                <a:lnTo>
                  <a:pt x="1830638" y="76905"/>
                </a:lnTo>
                <a:lnTo>
                  <a:pt x="1821627" y="76905"/>
                </a:lnTo>
                <a:close/>
                <a:moveTo>
                  <a:pt x="1774583" y="24098"/>
                </a:moveTo>
                <a:lnTo>
                  <a:pt x="1783594" y="24098"/>
                </a:lnTo>
                <a:lnTo>
                  <a:pt x="1783594" y="41177"/>
                </a:lnTo>
                <a:lnTo>
                  <a:pt x="1795434" y="41177"/>
                </a:lnTo>
                <a:cubicBezTo>
                  <a:pt x="1801111" y="41273"/>
                  <a:pt x="1805603" y="42941"/>
                  <a:pt x="1808911" y="46180"/>
                </a:cubicBezTo>
                <a:cubicBezTo>
                  <a:pt x="1812217" y="49419"/>
                  <a:pt x="1813907" y="53654"/>
                  <a:pt x="1813979" y="58884"/>
                </a:cubicBezTo>
                <a:cubicBezTo>
                  <a:pt x="1813909" y="64127"/>
                  <a:pt x="1812215" y="68414"/>
                  <a:pt x="1808897" y="71745"/>
                </a:cubicBezTo>
                <a:cubicBezTo>
                  <a:pt x="1805579" y="75076"/>
                  <a:pt x="1801057" y="76796"/>
                  <a:pt x="1795329" y="76905"/>
                </a:cubicBezTo>
                <a:lnTo>
                  <a:pt x="1774583" y="76905"/>
                </a:lnTo>
                <a:close/>
                <a:moveTo>
                  <a:pt x="1717434" y="24098"/>
                </a:moveTo>
                <a:lnTo>
                  <a:pt x="1726444" y="24098"/>
                </a:lnTo>
                <a:lnTo>
                  <a:pt x="1726444" y="45368"/>
                </a:lnTo>
                <a:lnTo>
                  <a:pt x="1752533" y="45368"/>
                </a:lnTo>
                <a:lnTo>
                  <a:pt x="1752533" y="24098"/>
                </a:lnTo>
                <a:lnTo>
                  <a:pt x="1761544" y="24098"/>
                </a:lnTo>
                <a:lnTo>
                  <a:pt x="1761544" y="76905"/>
                </a:lnTo>
                <a:lnTo>
                  <a:pt x="1752533" y="76905"/>
                </a:lnTo>
                <a:lnTo>
                  <a:pt x="1752533" y="53540"/>
                </a:lnTo>
                <a:lnTo>
                  <a:pt x="1726444" y="53540"/>
                </a:lnTo>
                <a:lnTo>
                  <a:pt x="1726444" y="76905"/>
                </a:lnTo>
                <a:lnTo>
                  <a:pt x="1717434" y="76905"/>
                </a:lnTo>
                <a:close/>
                <a:moveTo>
                  <a:pt x="1584083" y="24098"/>
                </a:moveTo>
                <a:lnTo>
                  <a:pt x="1593094" y="24098"/>
                </a:lnTo>
                <a:lnTo>
                  <a:pt x="1593094" y="68733"/>
                </a:lnTo>
                <a:lnTo>
                  <a:pt x="1613420" y="68733"/>
                </a:lnTo>
                <a:lnTo>
                  <a:pt x="1613420" y="24098"/>
                </a:lnTo>
                <a:lnTo>
                  <a:pt x="1622431" y="24098"/>
                </a:lnTo>
                <a:lnTo>
                  <a:pt x="1622431" y="68733"/>
                </a:lnTo>
                <a:lnTo>
                  <a:pt x="1642758" y="68733"/>
                </a:lnTo>
                <a:lnTo>
                  <a:pt x="1642758" y="24098"/>
                </a:lnTo>
                <a:lnTo>
                  <a:pt x="1651768" y="24098"/>
                </a:lnTo>
                <a:lnTo>
                  <a:pt x="1651768" y="68733"/>
                </a:lnTo>
                <a:lnTo>
                  <a:pt x="1659521" y="68733"/>
                </a:lnTo>
                <a:lnTo>
                  <a:pt x="1659521" y="90316"/>
                </a:lnTo>
                <a:lnTo>
                  <a:pt x="1650825" y="90316"/>
                </a:lnTo>
                <a:lnTo>
                  <a:pt x="1650825" y="76905"/>
                </a:lnTo>
                <a:lnTo>
                  <a:pt x="1584083" y="76905"/>
                </a:lnTo>
                <a:close/>
                <a:moveTo>
                  <a:pt x="1526933" y="24098"/>
                </a:moveTo>
                <a:lnTo>
                  <a:pt x="1535839" y="24098"/>
                </a:lnTo>
                <a:lnTo>
                  <a:pt x="1535839" y="62970"/>
                </a:lnTo>
                <a:lnTo>
                  <a:pt x="1562766" y="24098"/>
                </a:lnTo>
                <a:lnTo>
                  <a:pt x="1571672" y="24098"/>
                </a:lnTo>
                <a:lnTo>
                  <a:pt x="1571672" y="76905"/>
                </a:lnTo>
                <a:lnTo>
                  <a:pt x="1562766" y="76905"/>
                </a:lnTo>
                <a:lnTo>
                  <a:pt x="1562766" y="38034"/>
                </a:lnTo>
                <a:lnTo>
                  <a:pt x="1535839" y="76905"/>
                </a:lnTo>
                <a:lnTo>
                  <a:pt x="1526933" y="76905"/>
                </a:lnTo>
                <a:close/>
                <a:moveTo>
                  <a:pt x="1441208" y="24098"/>
                </a:moveTo>
                <a:lnTo>
                  <a:pt x="1450219" y="24098"/>
                </a:lnTo>
                <a:lnTo>
                  <a:pt x="1450219" y="68733"/>
                </a:lnTo>
                <a:lnTo>
                  <a:pt x="1470545" y="68733"/>
                </a:lnTo>
                <a:lnTo>
                  <a:pt x="1470545" y="24098"/>
                </a:lnTo>
                <a:lnTo>
                  <a:pt x="1479556" y="24098"/>
                </a:lnTo>
                <a:lnTo>
                  <a:pt x="1479556" y="68733"/>
                </a:lnTo>
                <a:lnTo>
                  <a:pt x="1499882" y="68733"/>
                </a:lnTo>
                <a:lnTo>
                  <a:pt x="1499882" y="24098"/>
                </a:lnTo>
                <a:lnTo>
                  <a:pt x="1508893" y="24098"/>
                </a:lnTo>
                <a:lnTo>
                  <a:pt x="1508893" y="68733"/>
                </a:lnTo>
                <a:lnTo>
                  <a:pt x="1516646" y="68733"/>
                </a:lnTo>
                <a:lnTo>
                  <a:pt x="1516646" y="90316"/>
                </a:lnTo>
                <a:lnTo>
                  <a:pt x="1507950" y="90316"/>
                </a:lnTo>
                <a:lnTo>
                  <a:pt x="1507950" y="76905"/>
                </a:lnTo>
                <a:lnTo>
                  <a:pt x="1441208" y="76905"/>
                </a:lnTo>
                <a:close/>
                <a:moveTo>
                  <a:pt x="1203083" y="24098"/>
                </a:moveTo>
                <a:lnTo>
                  <a:pt x="1225505" y="24098"/>
                </a:lnTo>
                <a:cubicBezTo>
                  <a:pt x="1231100" y="24195"/>
                  <a:pt x="1235260" y="25522"/>
                  <a:pt x="1237987" y="28080"/>
                </a:cubicBezTo>
                <a:cubicBezTo>
                  <a:pt x="1240713" y="30638"/>
                  <a:pt x="1242071" y="33851"/>
                  <a:pt x="1242060" y="37719"/>
                </a:cubicBezTo>
                <a:cubicBezTo>
                  <a:pt x="1241988" y="40810"/>
                  <a:pt x="1241267" y="43298"/>
                  <a:pt x="1239899" y="45184"/>
                </a:cubicBezTo>
                <a:cubicBezTo>
                  <a:pt x="1238530" y="47070"/>
                  <a:pt x="1236945" y="48354"/>
                  <a:pt x="1235145" y="49035"/>
                </a:cubicBezTo>
                <a:cubicBezTo>
                  <a:pt x="1237591" y="49664"/>
                  <a:pt x="1239718" y="51052"/>
                  <a:pt x="1241523" y="53200"/>
                </a:cubicBezTo>
                <a:cubicBezTo>
                  <a:pt x="1243328" y="55348"/>
                  <a:pt x="1244275" y="58255"/>
                  <a:pt x="1244365" y="61922"/>
                </a:cubicBezTo>
                <a:cubicBezTo>
                  <a:pt x="1244339" y="66259"/>
                  <a:pt x="1242819" y="69817"/>
                  <a:pt x="1239807" y="72596"/>
                </a:cubicBezTo>
                <a:cubicBezTo>
                  <a:pt x="1236795" y="75375"/>
                  <a:pt x="1232447" y="76811"/>
                  <a:pt x="1226763" y="76905"/>
                </a:cubicBezTo>
                <a:lnTo>
                  <a:pt x="1203083" y="76905"/>
                </a:lnTo>
                <a:close/>
                <a:moveTo>
                  <a:pt x="1031634" y="24098"/>
                </a:moveTo>
                <a:lnTo>
                  <a:pt x="1075429" y="24098"/>
                </a:lnTo>
                <a:lnTo>
                  <a:pt x="1075429" y="76905"/>
                </a:lnTo>
                <a:lnTo>
                  <a:pt x="1066419" y="76905"/>
                </a:lnTo>
                <a:lnTo>
                  <a:pt x="1066419" y="32166"/>
                </a:lnTo>
                <a:lnTo>
                  <a:pt x="1040644" y="32166"/>
                </a:lnTo>
                <a:lnTo>
                  <a:pt x="1040644" y="76905"/>
                </a:lnTo>
                <a:lnTo>
                  <a:pt x="1031634" y="76905"/>
                </a:lnTo>
                <a:close/>
                <a:moveTo>
                  <a:pt x="40443" y="23260"/>
                </a:moveTo>
                <a:cubicBezTo>
                  <a:pt x="44285" y="23313"/>
                  <a:pt x="47544" y="24081"/>
                  <a:pt x="50218" y="25565"/>
                </a:cubicBezTo>
                <a:cubicBezTo>
                  <a:pt x="52892" y="27050"/>
                  <a:pt x="54979" y="28936"/>
                  <a:pt x="56477" y="31223"/>
                </a:cubicBezTo>
                <a:cubicBezTo>
                  <a:pt x="57976" y="33511"/>
                  <a:pt x="58883" y="35886"/>
                  <a:pt x="59197" y="38348"/>
                </a:cubicBezTo>
                <a:lnTo>
                  <a:pt x="50920" y="38348"/>
                </a:lnTo>
                <a:cubicBezTo>
                  <a:pt x="50372" y="36438"/>
                  <a:pt x="49268" y="34757"/>
                  <a:pt x="47607" y="33306"/>
                </a:cubicBezTo>
                <a:cubicBezTo>
                  <a:pt x="45946" y="31854"/>
                  <a:pt x="43558" y="31090"/>
                  <a:pt x="40443" y="31014"/>
                </a:cubicBezTo>
                <a:cubicBezTo>
                  <a:pt x="36824" y="31046"/>
                  <a:pt x="33925" y="32369"/>
                  <a:pt x="31746" y="34982"/>
                </a:cubicBezTo>
                <a:cubicBezTo>
                  <a:pt x="29568" y="37595"/>
                  <a:pt x="28450" y="41301"/>
                  <a:pt x="28394" y="46101"/>
                </a:cubicBezTo>
                <a:cubicBezTo>
                  <a:pt x="28444" y="50847"/>
                  <a:pt x="29548" y="54505"/>
                  <a:pt x="31707" y="57076"/>
                </a:cubicBezTo>
                <a:cubicBezTo>
                  <a:pt x="33866" y="59648"/>
                  <a:pt x="36778" y="60949"/>
                  <a:pt x="40443" y="60979"/>
                </a:cubicBezTo>
                <a:cubicBezTo>
                  <a:pt x="43708" y="60894"/>
                  <a:pt x="46162" y="60095"/>
                  <a:pt x="47803" y="58583"/>
                </a:cubicBezTo>
                <a:cubicBezTo>
                  <a:pt x="49445" y="57070"/>
                  <a:pt x="50484" y="55354"/>
                  <a:pt x="50920" y="53435"/>
                </a:cubicBezTo>
                <a:lnTo>
                  <a:pt x="59197" y="53435"/>
                </a:lnTo>
                <a:cubicBezTo>
                  <a:pt x="58704" y="57598"/>
                  <a:pt x="56783" y="61139"/>
                  <a:pt x="53435" y="64057"/>
                </a:cubicBezTo>
                <a:cubicBezTo>
                  <a:pt x="50087" y="66975"/>
                  <a:pt x="45756" y="68499"/>
                  <a:pt x="40443" y="68628"/>
                </a:cubicBezTo>
                <a:cubicBezTo>
                  <a:pt x="34224" y="68508"/>
                  <a:pt x="29269" y="66390"/>
                  <a:pt x="25578" y="62276"/>
                </a:cubicBezTo>
                <a:cubicBezTo>
                  <a:pt x="21887" y="58161"/>
                  <a:pt x="19997" y="52770"/>
                  <a:pt x="19907" y="46101"/>
                </a:cubicBezTo>
                <a:cubicBezTo>
                  <a:pt x="19990" y="39420"/>
                  <a:pt x="21867" y="33976"/>
                  <a:pt x="25539" y="29769"/>
                </a:cubicBezTo>
                <a:cubicBezTo>
                  <a:pt x="29210" y="25563"/>
                  <a:pt x="34178" y="23393"/>
                  <a:pt x="40443" y="23260"/>
                </a:cubicBezTo>
                <a:close/>
                <a:moveTo>
                  <a:pt x="4758547" y="22946"/>
                </a:moveTo>
                <a:cubicBezTo>
                  <a:pt x="4765650" y="23033"/>
                  <a:pt x="4771246" y="25347"/>
                  <a:pt x="4775337" y="29887"/>
                </a:cubicBezTo>
                <a:cubicBezTo>
                  <a:pt x="4779428" y="34428"/>
                  <a:pt x="4781514" y="40670"/>
                  <a:pt x="4781597" y="48616"/>
                </a:cubicBezTo>
                <a:lnTo>
                  <a:pt x="4781597" y="53226"/>
                </a:lnTo>
                <a:lnTo>
                  <a:pt x="4743145" y="53226"/>
                </a:lnTo>
                <a:lnTo>
                  <a:pt x="4743145" y="53435"/>
                </a:lnTo>
                <a:cubicBezTo>
                  <a:pt x="4743212" y="58251"/>
                  <a:pt x="4744701" y="62189"/>
                  <a:pt x="4747611" y="65249"/>
                </a:cubicBezTo>
                <a:cubicBezTo>
                  <a:pt x="4750520" y="68309"/>
                  <a:pt x="4754445" y="69890"/>
                  <a:pt x="4759385" y="69990"/>
                </a:cubicBezTo>
                <a:cubicBezTo>
                  <a:pt x="4763054" y="69881"/>
                  <a:pt x="4765931" y="69104"/>
                  <a:pt x="4768016" y="67659"/>
                </a:cubicBezTo>
                <a:cubicBezTo>
                  <a:pt x="4770100" y="66214"/>
                  <a:pt x="4771380" y="64756"/>
                  <a:pt x="4771853" y="63284"/>
                </a:cubicBezTo>
                <a:lnTo>
                  <a:pt x="4780969" y="63284"/>
                </a:lnTo>
                <a:cubicBezTo>
                  <a:pt x="4780526" y="65413"/>
                  <a:pt x="4779467" y="67605"/>
                  <a:pt x="4777791" y="69862"/>
                </a:cubicBezTo>
                <a:cubicBezTo>
                  <a:pt x="4776114" y="72118"/>
                  <a:pt x="4773751" y="74032"/>
                  <a:pt x="4770701" y="75601"/>
                </a:cubicBezTo>
                <a:cubicBezTo>
                  <a:pt x="4767651" y="77171"/>
                  <a:pt x="4763844" y="77990"/>
                  <a:pt x="4759280" y="78058"/>
                </a:cubicBezTo>
                <a:cubicBezTo>
                  <a:pt x="4751522" y="77970"/>
                  <a:pt x="4745350" y="75499"/>
                  <a:pt x="4740761" y="70645"/>
                </a:cubicBezTo>
                <a:cubicBezTo>
                  <a:pt x="4736173" y="65790"/>
                  <a:pt x="4733824" y="59076"/>
                  <a:pt x="4733715" y="50502"/>
                </a:cubicBezTo>
                <a:cubicBezTo>
                  <a:pt x="4733846" y="41882"/>
                  <a:pt x="4736177" y="35154"/>
                  <a:pt x="4740709" y="30319"/>
                </a:cubicBezTo>
                <a:cubicBezTo>
                  <a:pt x="4745241" y="25485"/>
                  <a:pt x="4751186" y="23027"/>
                  <a:pt x="4758547" y="22946"/>
                </a:cubicBezTo>
                <a:close/>
                <a:moveTo>
                  <a:pt x="4529947" y="22946"/>
                </a:moveTo>
                <a:cubicBezTo>
                  <a:pt x="4537050" y="23033"/>
                  <a:pt x="4542647" y="25347"/>
                  <a:pt x="4546737" y="29887"/>
                </a:cubicBezTo>
                <a:cubicBezTo>
                  <a:pt x="4550827" y="34428"/>
                  <a:pt x="4552914" y="40670"/>
                  <a:pt x="4552997" y="48616"/>
                </a:cubicBezTo>
                <a:lnTo>
                  <a:pt x="4552997" y="53226"/>
                </a:lnTo>
                <a:lnTo>
                  <a:pt x="4514545" y="53226"/>
                </a:lnTo>
                <a:lnTo>
                  <a:pt x="4514545" y="53435"/>
                </a:lnTo>
                <a:cubicBezTo>
                  <a:pt x="4514613" y="58251"/>
                  <a:pt x="4516101" y="62189"/>
                  <a:pt x="4519011" y="65249"/>
                </a:cubicBezTo>
                <a:cubicBezTo>
                  <a:pt x="4521921" y="68309"/>
                  <a:pt x="4525845" y="69890"/>
                  <a:pt x="4530785" y="69990"/>
                </a:cubicBezTo>
                <a:cubicBezTo>
                  <a:pt x="4534454" y="69881"/>
                  <a:pt x="4537331" y="69104"/>
                  <a:pt x="4539416" y="67659"/>
                </a:cubicBezTo>
                <a:cubicBezTo>
                  <a:pt x="4541501" y="66214"/>
                  <a:pt x="4542780" y="64756"/>
                  <a:pt x="4543253" y="63284"/>
                </a:cubicBezTo>
                <a:lnTo>
                  <a:pt x="4552369" y="63284"/>
                </a:lnTo>
                <a:cubicBezTo>
                  <a:pt x="4551926" y="65413"/>
                  <a:pt x="4550867" y="67605"/>
                  <a:pt x="4549190" y="69862"/>
                </a:cubicBezTo>
                <a:cubicBezTo>
                  <a:pt x="4547514" y="72118"/>
                  <a:pt x="4545151" y="74032"/>
                  <a:pt x="4542101" y="75601"/>
                </a:cubicBezTo>
                <a:cubicBezTo>
                  <a:pt x="4539051" y="77171"/>
                  <a:pt x="4535244" y="77990"/>
                  <a:pt x="4530680" y="78058"/>
                </a:cubicBezTo>
                <a:cubicBezTo>
                  <a:pt x="4522923" y="77970"/>
                  <a:pt x="4516750" y="75499"/>
                  <a:pt x="4512161" y="70645"/>
                </a:cubicBezTo>
                <a:cubicBezTo>
                  <a:pt x="4507573" y="65790"/>
                  <a:pt x="4505224" y="59076"/>
                  <a:pt x="4505115" y="50502"/>
                </a:cubicBezTo>
                <a:cubicBezTo>
                  <a:pt x="4505246" y="41882"/>
                  <a:pt x="4507577" y="35154"/>
                  <a:pt x="4512109" y="30319"/>
                </a:cubicBezTo>
                <a:cubicBezTo>
                  <a:pt x="4516640" y="25485"/>
                  <a:pt x="4522586" y="23027"/>
                  <a:pt x="4529947" y="22946"/>
                </a:cubicBezTo>
                <a:close/>
                <a:moveTo>
                  <a:pt x="4413761" y="22946"/>
                </a:moveTo>
                <a:cubicBezTo>
                  <a:pt x="4420030" y="22996"/>
                  <a:pt x="4425016" y="24677"/>
                  <a:pt x="4428717" y="27988"/>
                </a:cubicBezTo>
                <a:cubicBezTo>
                  <a:pt x="4432420" y="31300"/>
                  <a:pt x="4434314" y="35940"/>
                  <a:pt x="4434401" y="41910"/>
                </a:cubicBezTo>
                <a:lnTo>
                  <a:pt x="4434401" y="76905"/>
                </a:lnTo>
                <a:lnTo>
                  <a:pt x="4425915" y="76905"/>
                </a:lnTo>
                <a:lnTo>
                  <a:pt x="4425915" y="70619"/>
                </a:lnTo>
                <a:cubicBezTo>
                  <a:pt x="4423885" y="73083"/>
                  <a:pt x="4421396" y="74938"/>
                  <a:pt x="4418449" y="76185"/>
                </a:cubicBezTo>
                <a:cubicBezTo>
                  <a:pt x="4415503" y="77431"/>
                  <a:pt x="4412333" y="78055"/>
                  <a:pt x="4408941" y="78058"/>
                </a:cubicBezTo>
                <a:cubicBezTo>
                  <a:pt x="4403689" y="78010"/>
                  <a:pt x="4399367" y="76560"/>
                  <a:pt x="4395975" y="73709"/>
                </a:cubicBezTo>
                <a:cubicBezTo>
                  <a:pt x="4392583" y="70859"/>
                  <a:pt x="4390828" y="66895"/>
                  <a:pt x="4390710" y="61817"/>
                </a:cubicBezTo>
                <a:cubicBezTo>
                  <a:pt x="4390769" y="56690"/>
                  <a:pt x="4392616" y="52695"/>
                  <a:pt x="4396250" y="49834"/>
                </a:cubicBezTo>
                <a:cubicBezTo>
                  <a:pt x="4399885" y="46972"/>
                  <a:pt x="4404953" y="45518"/>
                  <a:pt x="4411456" y="45473"/>
                </a:cubicBezTo>
                <a:lnTo>
                  <a:pt x="4425496" y="45473"/>
                </a:lnTo>
                <a:lnTo>
                  <a:pt x="4425496" y="41910"/>
                </a:lnTo>
                <a:cubicBezTo>
                  <a:pt x="4425423" y="38243"/>
                  <a:pt x="4424284" y="35493"/>
                  <a:pt x="4422077" y="33659"/>
                </a:cubicBezTo>
                <a:cubicBezTo>
                  <a:pt x="4419871" y="31826"/>
                  <a:pt x="4417028" y="30909"/>
                  <a:pt x="4413551" y="30909"/>
                </a:cubicBezTo>
                <a:cubicBezTo>
                  <a:pt x="4410111" y="30959"/>
                  <a:pt x="4407404" y="31644"/>
                  <a:pt x="4405431" y="32965"/>
                </a:cubicBezTo>
                <a:cubicBezTo>
                  <a:pt x="4403458" y="34286"/>
                  <a:pt x="4402113" y="35940"/>
                  <a:pt x="4401397" y="37929"/>
                </a:cubicBezTo>
                <a:lnTo>
                  <a:pt x="4392701" y="37929"/>
                </a:lnTo>
                <a:cubicBezTo>
                  <a:pt x="4393559" y="33729"/>
                  <a:pt x="4395772" y="30210"/>
                  <a:pt x="4399341" y="27373"/>
                </a:cubicBezTo>
                <a:cubicBezTo>
                  <a:pt x="4402910" y="24535"/>
                  <a:pt x="4407717" y="23059"/>
                  <a:pt x="4413761" y="22946"/>
                </a:cubicBezTo>
                <a:close/>
                <a:moveTo>
                  <a:pt x="4085225" y="22946"/>
                </a:moveTo>
                <a:cubicBezTo>
                  <a:pt x="4092910" y="23092"/>
                  <a:pt x="4098965" y="25681"/>
                  <a:pt x="4103390" y="30712"/>
                </a:cubicBezTo>
                <a:cubicBezTo>
                  <a:pt x="4107814" y="35744"/>
                  <a:pt x="4110071" y="42340"/>
                  <a:pt x="4110161" y="50502"/>
                </a:cubicBezTo>
                <a:cubicBezTo>
                  <a:pt x="4110071" y="58663"/>
                  <a:pt x="4107814" y="65260"/>
                  <a:pt x="4103390" y="70291"/>
                </a:cubicBezTo>
                <a:cubicBezTo>
                  <a:pt x="4098965" y="75323"/>
                  <a:pt x="4092910" y="77911"/>
                  <a:pt x="4085225" y="78058"/>
                </a:cubicBezTo>
                <a:cubicBezTo>
                  <a:pt x="4078218" y="77940"/>
                  <a:pt x="4072507" y="75661"/>
                  <a:pt x="4068094" y="71221"/>
                </a:cubicBezTo>
                <a:cubicBezTo>
                  <a:pt x="4063680" y="66781"/>
                  <a:pt x="4061113" y="60888"/>
                  <a:pt x="4060393" y="53540"/>
                </a:cubicBezTo>
                <a:lnTo>
                  <a:pt x="4050544" y="53540"/>
                </a:lnTo>
                <a:lnTo>
                  <a:pt x="4050544" y="76905"/>
                </a:lnTo>
                <a:lnTo>
                  <a:pt x="4041533" y="76905"/>
                </a:lnTo>
                <a:lnTo>
                  <a:pt x="4041533" y="24098"/>
                </a:lnTo>
                <a:lnTo>
                  <a:pt x="4050544" y="24098"/>
                </a:lnTo>
                <a:lnTo>
                  <a:pt x="4050544" y="45368"/>
                </a:lnTo>
                <a:lnTo>
                  <a:pt x="4060602" y="45368"/>
                </a:lnTo>
                <a:cubicBezTo>
                  <a:pt x="4061681" y="38612"/>
                  <a:pt x="4064396" y="33212"/>
                  <a:pt x="4068749" y="29167"/>
                </a:cubicBezTo>
                <a:cubicBezTo>
                  <a:pt x="4073101" y="25122"/>
                  <a:pt x="4078593" y="23049"/>
                  <a:pt x="4085225" y="22946"/>
                </a:cubicBezTo>
                <a:close/>
                <a:moveTo>
                  <a:pt x="3910927" y="22946"/>
                </a:moveTo>
                <a:cubicBezTo>
                  <a:pt x="3915601" y="23013"/>
                  <a:pt x="3919536" y="23950"/>
                  <a:pt x="3922731" y="25755"/>
                </a:cubicBezTo>
                <a:cubicBezTo>
                  <a:pt x="3925927" y="27561"/>
                  <a:pt x="3928418" y="29833"/>
                  <a:pt x="3930205" y="32570"/>
                </a:cubicBezTo>
                <a:cubicBezTo>
                  <a:pt x="3931992" y="35307"/>
                  <a:pt x="3933110" y="38106"/>
                  <a:pt x="3933558" y="40967"/>
                </a:cubicBezTo>
                <a:lnTo>
                  <a:pt x="3924547" y="40967"/>
                </a:lnTo>
                <a:cubicBezTo>
                  <a:pt x="3923908" y="38632"/>
                  <a:pt x="3922515" y="36440"/>
                  <a:pt x="3920369" y="34393"/>
                </a:cubicBezTo>
                <a:cubicBezTo>
                  <a:pt x="3918223" y="32345"/>
                  <a:pt x="3915076" y="31254"/>
                  <a:pt x="3910927" y="31118"/>
                </a:cubicBezTo>
                <a:cubicBezTo>
                  <a:pt x="3906054" y="31212"/>
                  <a:pt x="3902230" y="33015"/>
                  <a:pt x="3899453" y="36527"/>
                </a:cubicBezTo>
                <a:cubicBezTo>
                  <a:pt x="3896677" y="40040"/>
                  <a:pt x="3895263" y="44698"/>
                  <a:pt x="3895210" y="50502"/>
                </a:cubicBezTo>
                <a:cubicBezTo>
                  <a:pt x="3895274" y="56352"/>
                  <a:pt x="3896719" y="61023"/>
                  <a:pt x="3899545" y="64515"/>
                </a:cubicBezTo>
                <a:cubicBezTo>
                  <a:pt x="3902372" y="68008"/>
                  <a:pt x="3906201" y="69798"/>
                  <a:pt x="3911031" y="69885"/>
                </a:cubicBezTo>
                <a:cubicBezTo>
                  <a:pt x="3915373" y="69748"/>
                  <a:pt x="3918582" y="68634"/>
                  <a:pt x="3920657" y="66545"/>
                </a:cubicBezTo>
                <a:cubicBezTo>
                  <a:pt x="3922733" y="64456"/>
                  <a:pt x="3924030" y="62217"/>
                  <a:pt x="3924547" y="59827"/>
                </a:cubicBezTo>
                <a:lnTo>
                  <a:pt x="3933558" y="59827"/>
                </a:lnTo>
                <a:cubicBezTo>
                  <a:pt x="3932929" y="64712"/>
                  <a:pt x="3930650" y="68929"/>
                  <a:pt x="3926721" y="72478"/>
                </a:cubicBezTo>
                <a:cubicBezTo>
                  <a:pt x="3922792" y="76028"/>
                  <a:pt x="3917527" y="77887"/>
                  <a:pt x="3910927" y="78058"/>
                </a:cubicBezTo>
                <a:cubicBezTo>
                  <a:pt x="3903332" y="77918"/>
                  <a:pt x="3897304" y="75342"/>
                  <a:pt x="3892840" y="70330"/>
                </a:cubicBezTo>
                <a:cubicBezTo>
                  <a:pt x="3888376" y="65319"/>
                  <a:pt x="3886093" y="58709"/>
                  <a:pt x="3885990" y="50502"/>
                </a:cubicBezTo>
                <a:cubicBezTo>
                  <a:pt x="3886079" y="42432"/>
                  <a:pt x="3888337" y="35862"/>
                  <a:pt x="3892761" y="30791"/>
                </a:cubicBezTo>
                <a:cubicBezTo>
                  <a:pt x="3897186" y="25720"/>
                  <a:pt x="3903241" y="23105"/>
                  <a:pt x="3910927" y="22946"/>
                </a:cubicBezTo>
                <a:close/>
                <a:moveTo>
                  <a:pt x="3854196" y="22946"/>
                </a:moveTo>
                <a:cubicBezTo>
                  <a:pt x="3861990" y="23092"/>
                  <a:pt x="3868142" y="25681"/>
                  <a:pt x="3872649" y="30712"/>
                </a:cubicBezTo>
                <a:cubicBezTo>
                  <a:pt x="3877156" y="35744"/>
                  <a:pt x="3879457" y="42340"/>
                  <a:pt x="3879551" y="50502"/>
                </a:cubicBezTo>
                <a:cubicBezTo>
                  <a:pt x="3879457" y="58663"/>
                  <a:pt x="3877156" y="65260"/>
                  <a:pt x="3872649" y="70291"/>
                </a:cubicBezTo>
                <a:cubicBezTo>
                  <a:pt x="3868142" y="75323"/>
                  <a:pt x="3861990" y="77911"/>
                  <a:pt x="3854196" y="78058"/>
                </a:cubicBezTo>
                <a:cubicBezTo>
                  <a:pt x="3846401" y="77911"/>
                  <a:pt x="3840249" y="75323"/>
                  <a:pt x="3835742" y="70291"/>
                </a:cubicBezTo>
                <a:cubicBezTo>
                  <a:pt x="3831235" y="65260"/>
                  <a:pt x="3828934" y="58663"/>
                  <a:pt x="3828840" y="50502"/>
                </a:cubicBezTo>
                <a:cubicBezTo>
                  <a:pt x="3828934" y="42340"/>
                  <a:pt x="3831235" y="35744"/>
                  <a:pt x="3835742" y="30712"/>
                </a:cubicBezTo>
                <a:cubicBezTo>
                  <a:pt x="3840249" y="25681"/>
                  <a:pt x="3846401" y="23092"/>
                  <a:pt x="3854196" y="22946"/>
                </a:cubicBezTo>
                <a:close/>
                <a:moveTo>
                  <a:pt x="3691747" y="22946"/>
                </a:moveTo>
                <a:cubicBezTo>
                  <a:pt x="3698850" y="23033"/>
                  <a:pt x="3704446" y="25347"/>
                  <a:pt x="3708537" y="29887"/>
                </a:cubicBezTo>
                <a:cubicBezTo>
                  <a:pt x="3712628" y="34428"/>
                  <a:pt x="3714714" y="40670"/>
                  <a:pt x="3714797" y="48616"/>
                </a:cubicBezTo>
                <a:lnTo>
                  <a:pt x="3714797" y="53226"/>
                </a:lnTo>
                <a:lnTo>
                  <a:pt x="3676345" y="53226"/>
                </a:lnTo>
                <a:lnTo>
                  <a:pt x="3676345" y="53435"/>
                </a:lnTo>
                <a:cubicBezTo>
                  <a:pt x="3676413" y="58251"/>
                  <a:pt x="3677901" y="62189"/>
                  <a:pt x="3680811" y="65249"/>
                </a:cubicBezTo>
                <a:cubicBezTo>
                  <a:pt x="3683721" y="68309"/>
                  <a:pt x="3687645" y="69890"/>
                  <a:pt x="3692585" y="69990"/>
                </a:cubicBezTo>
                <a:cubicBezTo>
                  <a:pt x="3696254" y="69881"/>
                  <a:pt x="3699131" y="69104"/>
                  <a:pt x="3701216" y="67659"/>
                </a:cubicBezTo>
                <a:cubicBezTo>
                  <a:pt x="3703301" y="66214"/>
                  <a:pt x="3704580" y="64756"/>
                  <a:pt x="3705053" y="63284"/>
                </a:cubicBezTo>
                <a:lnTo>
                  <a:pt x="3714168" y="63284"/>
                </a:lnTo>
                <a:cubicBezTo>
                  <a:pt x="3713726" y="65413"/>
                  <a:pt x="3712667" y="67605"/>
                  <a:pt x="3710990" y="69862"/>
                </a:cubicBezTo>
                <a:cubicBezTo>
                  <a:pt x="3709314" y="72118"/>
                  <a:pt x="3706951" y="74032"/>
                  <a:pt x="3703900" y="75601"/>
                </a:cubicBezTo>
                <a:cubicBezTo>
                  <a:pt x="3700851" y="77171"/>
                  <a:pt x="3697044" y="77990"/>
                  <a:pt x="3692481" y="78058"/>
                </a:cubicBezTo>
                <a:cubicBezTo>
                  <a:pt x="3684723" y="77970"/>
                  <a:pt x="3678550" y="75499"/>
                  <a:pt x="3673961" y="70645"/>
                </a:cubicBezTo>
                <a:cubicBezTo>
                  <a:pt x="3669373" y="65790"/>
                  <a:pt x="3667024" y="59076"/>
                  <a:pt x="3666915" y="50502"/>
                </a:cubicBezTo>
                <a:cubicBezTo>
                  <a:pt x="3667046" y="41882"/>
                  <a:pt x="3669377" y="35154"/>
                  <a:pt x="3673909" y="30319"/>
                </a:cubicBezTo>
                <a:cubicBezTo>
                  <a:pt x="3678441" y="25485"/>
                  <a:pt x="3684387" y="23027"/>
                  <a:pt x="3691747" y="22946"/>
                </a:cubicBezTo>
                <a:close/>
                <a:moveTo>
                  <a:pt x="3529927" y="22946"/>
                </a:moveTo>
                <a:cubicBezTo>
                  <a:pt x="3534601" y="23013"/>
                  <a:pt x="3538536" y="23950"/>
                  <a:pt x="3541731" y="25755"/>
                </a:cubicBezTo>
                <a:cubicBezTo>
                  <a:pt x="3544927" y="27561"/>
                  <a:pt x="3547418" y="29833"/>
                  <a:pt x="3549205" y="32570"/>
                </a:cubicBezTo>
                <a:cubicBezTo>
                  <a:pt x="3550992" y="35307"/>
                  <a:pt x="3552110" y="38106"/>
                  <a:pt x="3552558" y="40967"/>
                </a:cubicBezTo>
                <a:lnTo>
                  <a:pt x="3543547" y="40967"/>
                </a:lnTo>
                <a:cubicBezTo>
                  <a:pt x="3542908" y="38632"/>
                  <a:pt x="3541515" y="36440"/>
                  <a:pt x="3539369" y="34393"/>
                </a:cubicBezTo>
                <a:cubicBezTo>
                  <a:pt x="3537224" y="32345"/>
                  <a:pt x="3534076" y="31254"/>
                  <a:pt x="3529927" y="31118"/>
                </a:cubicBezTo>
                <a:cubicBezTo>
                  <a:pt x="3525055" y="31212"/>
                  <a:pt x="3521230" y="33015"/>
                  <a:pt x="3518454" y="36527"/>
                </a:cubicBezTo>
                <a:cubicBezTo>
                  <a:pt x="3515677" y="40040"/>
                  <a:pt x="3514263" y="44698"/>
                  <a:pt x="3514210" y="50502"/>
                </a:cubicBezTo>
                <a:cubicBezTo>
                  <a:pt x="3514274" y="56352"/>
                  <a:pt x="3515719" y="61023"/>
                  <a:pt x="3518545" y="64515"/>
                </a:cubicBezTo>
                <a:cubicBezTo>
                  <a:pt x="3521372" y="68008"/>
                  <a:pt x="3525201" y="69798"/>
                  <a:pt x="3530031" y="69885"/>
                </a:cubicBezTo>
                <a:cubicBezTo>
                  <a:pt x="3534373" y="69748"/>
                  <a:pt x="3537582" y="68634"/>
                  <a:pt x="3539658" y="66545"/>
                </a:cubicBezTo>
                <a:cubicBezTo>
                  <a:pt x="3541734" y="64456"/>
                  <a:pt x="3543030" y="62217"/>
                  <a:pt x="3543547" y="59827"/>
                </a:cubicBezTo>
                <a:lnTo>
                  <a:pt x="3552558" y="59827"/>
                </a:lnTo>
                <a:cubicBezTo>
                  <a:pt x="3551929" y="64712"/>
                  <a:pt x="3549650" y="68929"/>
                  <a:pt x="3545721" y="72478"/>
                </a:cubicBezTo>
                <a:cubicBezTo>
                  <a:pt x="3541792" y="76028"/>
                  <a:pt x="3536527" y="77887"/>
                  <a:pt x="3529927" y="78058"/>
                </a:cubicBezTo>
                <a:cubicBezTo>
                  <a:pt x="3522332" y="77918"/>
                  <a:pt x="3516304" y="75342"/>
                  <a:pt x="3511840" y="70330"/>
                </a:cubicBezTo>
                <a:cubicBezTo>
                  <a:pt x="3507376" y="65319"/>
                  <a:pt x="3505093" y="58709"/>
                  <a:pt x="3504990" y="50502"/>
                </a:cubicBezTo>
                <a:cubicBezTo>
                  <a:pt x="3505079" y="42432"/>
                  <a:pt x="3507337" y="35862"/>
                  <a:pt x="3511761" y="30791"/>
                </a:cubicBezTo>
                <a:cubicBezTo>
                  <a:pt x="3516186" y="25720"/>
                  <a:pt x="3522241" y="23105"/>
                  <a:pt x="3529927" y="22946"/>
                </a:cubicBezTo>
                <a:close/>
                <a:moveTo>
                  <a:pt x="3416046" y="22946"/>
                </a:moveTo>
                <a:cubicBezTo>
                  <a:pt x="3423840" y="23092"/>
                  <a:pt x="3429992" y="25681"/>
                  <a:pt x="3434499" y="30712"/>
                </a:cubicBezTo>
                <a:cubicBezTo>
                  <a:pt x="3439007" y="35744"/>
                  <a:pt x="3441307" y="42340"/>
                  <a:pt x="3441401" y="50502"/>
                </a:cubicBezTo>
                <a:cubicBezTo>
                  <a:pt x="3441307" y="58663"/>
                  <a:pt x="3439007" y="65260"/>
                  <a:pt x="3434499" y="70291"/>
                </a:cubicBezTo>
                <a:cubicBezTo>
                  <a:pt x="3429992" y="75323"/>
                  <a:pt x="3423840" y="77911"/>
                  <a:pt x="3416046" y="78058"/>
                </a:cubicBezTo>
                <a:cubicBezTo>
                  <a:pt x="3408251" y="77911"/>
                  <a:pt x="3402100" y="75323"/>
                  <a:pt x="3397592" y="70291"/>
                </a:cubicBezTo>
                <a:cubicBezTo>
                  <a:pt x="3393085" y="65260"/>
                  <a:pt x="3390784" y="58663"/>
                  <a:pt x="3390690" y="50502"/>
                </a:cubicBezTo>
                <a:cubicBezTo>
                  <a:pt x="3390784" y="42340"/>
                  <a:pt x="3393085" y="35744"/>
                  <a:pt x="3397592" y="30712"/>
                </a:cubicBezTo>
                <a:cubicBezTo>
                  <a:pt x="3402100" y="25681"/>
                  <a:pt x="3408251" y="23092"/>
                  <a:pt x="3416046" y="22946"/>
                </a:cubicBezTo>
                <a:close/>
                <a:moveTo>
                  <a:pt x="3358477" y="22946"/>
                </a:moveTo>
                <a:cubicBezTo>
                  <a:pt x="3363151" y="23013"/>
                  <a:pt x="3367086" y="23950"/>
                  <a:pt x="3370281" y="25755"/>
                </a:cubicBezTo>
                <a:cubicBezTo>
                  <a:pt x="3373476" y="27561"/>
                  <a:pt x="3375968" y="29833"/>
                  <a:pt x="3377755" y="32570"/>
                </a:cubicBezTo>
                <a:cubicBezTo>
                  <a:pt x="3379542" y="35307"/>
                  <a:pt x="3380660" y="38106"/>
                  <a:pt x="3381108" y="40967"/>
                </a:cubicBezTo>
                <a:lnTo>
                  <a:pt x="3372097" y="40967"/>
                </a:lnTo>
                <a:cubicBezTo>
                  <a:pt x="3371458" y="38632"/>
                  <a:pt x="3370065" y="36440"/>
                  <a:pt x="3367919" y="34393"/>
                </a:cubicBezTo>
                <a:cubicBezTo>
                  <a:pt x="3365773" y="32345"/>
                  <a:pt x="3362626" y="31254"/>
                  <a:pt x="3358477" y="31118"/>
                </a:cubicBezTo>
                <a:cubicBezTo>
                  <a:pt x="3353605" y="31212"/>
                  <a:pt x="3349780" y="33015"/>
                  <a:pt x="3347004" y="36527"/>
                </a:cubicBezTo>
                <a:cubicBezTo>
                  <a:pt x="3344227" y="40040"/>
                  <a:pt x="3342813" y="44698"/>
                  <a:pt x="3342760" y="50502"/>
                </a:cubicBezTo>
                <a:cubicBezTo>
                  <a:pt x="3342823" y="56352"/>
                  <a:pt x="3344269" y="61023"/>
                  <a:pt x="3347095" y="64515"/>
                </a:cubicBezTo>
                <a:cubicBezTo>
                  <a:pt x="3349922" y="68008"/>
                  <a:pt x="3353751" y="69798"/>
                  <a:pt x="3358581" y="69885"/>
                </a:cubicBezTo>
                <a:cubicBezTo>
                  <a:pt x="3362923" y="69748"/>
                  <a:pt x="3366132" y="68634"/>
                  <a:pt x="3368208" y="66545"/>
                </a:cubicBezTo>
                <a:cubicBezTo>
                  <a:pt x="3370284" y="64456"/>
                  <a:pt x="3371580" y="62217"/>
                  <a:pt x="3372097" y="59827"/>
                </a:cubicBezTo>
                <a:lnTo>
                  <a:pt x="3381108" y="59827"/>
                </a:lnTo>
                <a:cubicBezTo>
                  <a:pt x="3380479" y="64712"/>
                  <a:pt x="3378200" y="68929"/>
                  <a:pt x="3374271" y="72478"/>
                </a:cubicBezTo>
                <a:cubicBezTo>
                  <a:pt x="3370342" y="76028"/>
                  <a:pt x="3365077" y="77887"/>
                  <a:pt x="3358477" y="78058"/>
                </a:cubicBezTo>
                <a:cubicBezTo>
                  <a:pt x="3350883" y="77918"/>
                  <a:pt x="3344854" y="75342"/>
                  <a:pt x="3340390" y="70330"/>
                </a:cubicBezTo>
                <a:cubicBezTo>
                  <a:pt x="3335926" y="65319"/>
                  <a:pt x="3333643" y="58709"/>
                  <a:pt x="3333540" y="50502"/>
                </a:cubicBezTo>
                <a:cubicBezTo>
                  <a:pt x="3333630" y="42432"/>
                  <a:pt x="3335887" y="35862"/>
                  <a:pt x="3340311" y="30791"/>
                </a:cubicBezTo>
                <a:cubicBezTo>
                  <a:pt x="3344736" y="25720"/>
                  <a:pt x="3350791" y="23105"/>
                  <a:pt x="3358477" y="22946"/>
                </a:cubicBezTo>
                <a:close/>
                <a:moveTo>
                  <a:pt x="3234651" y="22946"/>
                </a:moveTo>
                <a:cubicBezTo>
                  <a:pt x="3239326" y="23013"/>
                  <a:pt x="3243261" y="23950"/>
                  <a:pt x="3246456" y="25755"/>
                </a:cubicBezTo>
                <a:cubicBezTo>
                  <a:pt x="3249651" y="27561"/>
                  <a:pt x="3252143" y="29833"/>
                  <a:pt x="3253930" y="32570"/>
                </a:cubicBezTo>
                <a:cubicBezTo>
                  <a:pt x="3255717" y="35307"/>
                  <a:pt x="3256835" y="38106"/>
                  <a:pt x="3257283" y="40967"/>
                </a:cubicBezTo>
                <a:lnTo>
                  <a:pt x="3248272" y="40967"/>
                </a:lnTo>
                <a:cubicBezTo>
                  <a:pt x="3247633" y="38632"/>
                  <a:pt x="3246240" y="36440"/>
                  <a:pt x="3244094" y="34393"/>
                </a:cubicBezTo>
                <a:cubicBezTo>
                  <a:pt x="3241948" y="32345"/>
                  <a:pt x="3238801" y="31254"/>
                  <a:pt x="3234651" y="31118"/>
                </a:cubicBezTo>
                <a:cubicBezTo>
                  <a:pt x="3229780" y="31212"/>
                  <a:pt x="3225955" y="33015"/>
                  <a:pt x="3223179" y="36527"/>
                </a:cubicBezTo>
                <a:cubicBezTo>
                  <a:pt x="3220402" y="40040"/>
                  <a:pt x="3218988" y="44698"/>
                  <a:pt x="3218935" y="50502"/>
                </a:cubicBezTo>
                <a:cubicBezTo>
                  <a:pt x="3218998" y="56352"/>
                  <a:pt x="3220443" y="61023"/>
                  <a:pt x="3223270" y="64515"/>
                </a:cubicBezTo>
                <a:cubicBezTo>
                  <a:pt x="3226097" y="68008"/>
                  <a:pt x="3229926" y="69798"/>
                  <a:pt x="3234756" y="69885"/>
                </a:cubicBezTo>
                <a:cubicBezTo>
                  <a:pt x="3239098" y="69748"/>
                  <a:pt x="3242307" y="68634"/>
                  <a:pt x="3244383" y="66545"/>
                </a:cubicBezTo>
                <a:cubicBezTo>
                  <a:pt x="3246458" y="64456"/>
                  <a:pt x="3247755" y="62217"/>
                  <a:pt x="3248272" y="59827"/>
                </a:cubicBezTo>
                <a:lnTo>
                  <a:pt x="3257283" y="59827"/>
                </a:lnTo>
                <a:cubicBezTo>
                  <a:pt x="3256654" y="64712"/>
                  <a:pt x="3254375" y="68929"/>
                  <a:pt x="3250446" y="72478"/>
                </a:cubicBezTo>
                <a:cubicBezTo>
                  <a:pt x="3246517" y="76028"/>
                  <a:pt x="3241252" y="77887"/>
                  <a:pt x="3234651" y="78058"/>
                </a:cubicBezTo>
                <a:cubicBezTo>
                  <a:pt x="3227057" y="77918"/>
                  <a:pt x="3221028" y="75342"/>
                  <a:pt x="3216565" y="70330"/>
                </a:cubicBezTo>
                <a:cubicBezTo>
                  <a:pt x="3212101" y="65319"/>
                  <a:pt x="3209818" y="58709"/>
                  <a:pt x="3209715" y="50502"/>
                </a:cubicBezTo>
                <a:cubicBezTo>
                  <a:pt x="3209804" y="42432"/>
                  <a:pt x="3212062" y="35862"/>
                  <a:pt x="3216486" y="30791"/>
                </a:cubicBezTo>
                <a:cubicBezTo>
                  <a:pt x="3220910" y="25720"/>
                  <a:pt x="3226966" y="23105"/>
                  <a:pt x="3234651" y="22946"/>
                </a:cubicBezTo>
                <a:close/>
                <a:moveTo>
                  <a:pt x="3123199" y="22946"/>
                </a:moveTo>
                <a:cubicBezTo>
                  <a:pt x="3130885" y="23092"/>
                  <a:pt x="3136941" y="25681"/>
                  <a:pt x="3141365" y="30712"/>
                </a:cubicBezTo>
                <a:cubicBezTo>
                  <a:pt x="3145789" y="35744"/>
                  <a:pt x="3148047" y="42340"/>
                  <a:pt x="3148136" y="50502"/>
                </a:cubicBezTo>
                <a:cubicBezTo>
                  <a:pt x="3148047" y="58663"/>
                  <a:pt x="3145789" y="65260"/>
                  <a:pt x="3141365" y="70291"/>
                </a:cubicBezTo>
                <a:cubicBezTo>
                  <a:pt x="3136941" y="75323"/>
                  <a:pt x="3130885" y="77911"/>
                  <a:pt x="3123199" y="78058"/>
                </a:cubicBezTo>
                <a:cubicBezTo>
                  <a:pt x="3116193" y="77940"/>
                  <a:pt x="3110482" y="75661"/>
                  <a:pt x="3106069" y="71221"/>
                </a:cubicBezTo>
                <a:cubicBezTo>
                  <a:pt x="3101655" y="66781"/>
                  <a:pt x="3099088" y="60888"/>
                  <a:pt x="3098368" y="53540"/>
                </a:cubicBezTo>
                <a:lnTo>
                  <a:pt x="3088519" y="53540"/>
                </a:lnTo>
                <a:lnTo>
                  <a:pt x="3088519" y="76905"/>
                </a:lnTo>
                <a:lnTo>
                  <a:pt x="3079508" y="76905"/>
                </a:lnTo>
                <a:lnTo>
                  <a:pt x="3079508" y="24098"/>
                </a:lnTo>
                <a:lnTo>
                  <a:pt x="3088519" y="24098"/>
                </a:lnTo>
                <a:lnTo>
                  <a:pt x="3088519" y="45368"/>
                </a:lnTo>
                <a:lnTo>
                  <a:pt x="3098578" y="45368"/>
                </a:lnTo>
                <a:cubicBezTo>
                  <a:pt x="3099655" y="38612"/>
                  <a:pt x="3102371" y="33212"/>
                  <a:pt x="3106724" y="29167"/>
                </a:cubicBezTo>
                <a:cubicBezTo>
                  <a:pt x="3111076" y="25122"/>
                  <a:pt x="3116568" y="23049"/>
                  <a:pt x="3123199" y="22946"/>
                </a:cubicBezTo>
                <a:close/>
                <a:moveTo>
                  <a:pt x="2699261" y="22946"/>
                </a:moveTo>
                <a:cubicBezTo>
                  <a:pt x="2705530" y="22996"/>
                  <a:pt x="2710515" y="24677"/>
                  <a:pt x="2714218" y="27988"/>
                </a:cubicBezTo>
                <a:cubicBezTo>
                  <a:pt x="2717920" y="31300"/>
                  <a:pt x="2719814" y="35940"/>
                  <a:pt x="2719901" y="41910"/>
                </a:cubicBezTo>
                <a:lnTo>
                  <a:pt x="2719901" y="76905"/>
                </a:lnTo>
                <a:lnTo>
                  <a:pt x="2711415" y="76905"/>
                </a:lnTo>
                <a:lnTo>
                  <a:pt x="2711415" y="70619"/>
                </a:lnTo>
                <a:cubicBezTo>
                  <a:pt x="2709384" y="73083"/>
                  <a:pt x="2706896" y="74938"/>
                  <a:pt x="2703950" y="76185"/>
                </a:cubicBezTo>
                <a:cubicBezTo>
                  <a:pt x="2701003" y="77431"/>
                  <a:pt x="2697833" y="78055"/>
                  <a:pt x="2694441" y="78058"/>
                </a:cubicBezTo>
                <a:cubicBezTo>
                  <a:pt x="2689189" y="78010"/>
                  <a:pt x="2684868" y="76560"/>
                  <a:pt x="2681475" y="73709"/>
                </a:cubicBezTo>
                <a:cubicBezTo>
                  <a:pt x="2678083" y="70859"/>
                  <a:pt x="2676328" y="66895"/>
                  <a:pt x="2676210" y="61817"/>
                </a:cubicBezTo>
                <a:cubicBezTo>
                  <a:pt x="2676269" y="56690"/>
                  <a:pt x="2678116" y="52695"/>
                  <a:pt x="2681750" y="49834"/>
                </a:cubicBezTo>
                <a:cubicBezTo>
                  <a:pt x="2685385" y="46972"/>
                  <a:pt x="2690453" y="45518"/>
                  <a:pt x="2696956" y="45473"/>
                </a:cubicBezTo>
                <a:lnTo>
                  <a:pt x="2710995" y="45473"/>
                </a:lnTo>
                <a:lnTo>
                  <a:pt x="2710995" y="41910"/>
                </a:lnTo>
                <a:cubicBezTo>
                  <a:pt x="2710924" y="38243"/>
                  <a:pt x="2709784" y="35493"/>
                  <a:pt x="2707577" y="33659"/>
                </a:cubicBezTo>
                <a:cubicBezTo>
                  <a:pt x="2705370" y="31826"/>
                  <a:pt x="2702528" y="30909"/>
                  <a:pt x="2699051" y="30909"/>
                </a:cubicBezTo>
                <a:cubicBezTo>
                  <a:pt x="2695611" y="30959"/>
                  <a:pt x="2692904" y="31644"/>
                  <a:pt x="2690931" y="32965"/>
                </a:cubicBezTo>
                <a:cubicBezTo>
                  <a:pt x="2688958" y="34286"/>
                  <a:pt x="2687613" y="35940"/>
                  <a:pt x="2686898" y="37929"/>
                </a:cubicBezTo>
                <a:lnTo>
                  <a:pt x="2678201" y="37929"/>
                </a:lnTo>
                <a:cubicBezTo>
                  <a:pt x="2679059" y="33729"/>
                  <a:pt x="2681272" y="30210"/>
                  <a:pt x="2684841" y="27373"/>
                </a:cubicBezTo>
                <a:cubicBezTo>
                  <a:pt x="2688410" y="24535"/>
                  <a:pt x="2693217" y="23059"/>
                  <a:pt x="2699261" y="22946"/>
                </a:cubicBezTo>
                <a:close/>
                <a:moveTo>
                  <a:pt x="2592809" y="22946"/>
                </a:moveTo>
                <a:cubicBezTo>
                  <a:pt x="2598166" y="22992"/>
                  <a:pt x="2602567" y="24341"/>
                  <a:pt x="2606011" y="26993"/>
                </a:cubicBezTo>
                <a:cubicBezTo>
                  <a:pt x="2609456" y="29645"/>
                  <a:pt x="2611237" y="33325"/>
                  <a:pt x="2611354" y="38034"/>
                </a:cubicBezTo>
                <a:cubicBezTo>
                  <a:pt x="2611270" y="41210"/>
                  <a:pt x="2610471" y="43711"/>
                  <a:pt x="2608958" y="45538"/>
                </a:cubicBezTo>
                <a:cubicBezTo>
                  <a:pt x="2607445" y="47365"/>
                  <a:pt x="2605729" y="48635"/>
                  <a:pt x="2603811" y="49349"/>
                </a:cubicBezTo>
                <a:cubicBezTo>
                  <a:pt x="2605913" y="49773"/>
                  <a:pt x="2608021" y="50943"/>
                  <a:pt x="2610137" y="52859"/>
                </a:cubicBezTo>
                <a:cubicBezTo>
                  <a:pt x="2612251" y="54776"/>
                  <a:pt x="2613391" y="57727"/>
                  <a:pt x="2613555" y="61713"/>
                </a:cubicBezTo>
                <a:cubicBezTo>
                  <a:pt x="2613426" y="66794"/>
                  <a:pt x="2611431" y="70776"/>
                  <a:pt x="2607570" y="73657"/>
                </a:cubicBezTo>
                <a:cubicBezTo>
                  <a:pt x="2603709" y="76538"/>
                  <a:pt x="2598754" y="78005"/>
                  <a:pt x="2592705" y="78058"/>
                </a:cubicBezTo>
                <a:cubicBezTo>
                  <a:pt x="2587027" y="78055"/>
                  <a:pt x="2582194" y="76698"/>
                  <a:pt x="2578207" y="73984"/>
                </a:cubicBezTo>
                <a:cubicBezTo>
                  <a:pt x="2574219" y="71271"/>
                  <a:pt x="2571822" y="67216"/>
                  <a:pt x="2571016" y="61817"/>
                </a:cubicBezTo>
                <a:lnTo>
                  <a:pt x="2579922" y="61817"/>
                </a:lnTo>
                <a:cubicBezTo>
                  <a:pt x="2580595" y="64500"/>
                  <a:pt x="2582079" y="66548"/>
                  <a:pt x="2584375" y="67960"/>
                </a:cubicBezTo>
                <a:cubicBezTo>
                  <a:pt x="2586672" y="69372"/>
                  <a:pt x="2589518" y="70084"/>
                  <a:pt x="2592914" y="70095"/>
                </a:cubicBezTo>
                <a:cubicBezTo>
                  <a:pt x="2596470" y="70075"/>
                  <a:pt x="2599286" y="69329"/>
                  <a:pt x="2601362" y="67855"/>
                </a:cubicBezTo>
                <a:cubicBezTo>
                  <a:pt x="2603437" y="66382"/>
                  <a:pt x="2604499" y="64299"/>
                  <a:pt x="2604544" y="61608"/>
                </a:cubicBezTo>
                <a:cubicBezTo>
                  <a:pt x="2604536" y="59039"/>
                  <a:pt x="2603557" y="57105"/>
                  <a:pt x="2601610" y="55806"/>
                </a:cubicBezTo>
                <a:cubicBezTo>
                  <a:pt x="2599664" y="54507"/>
                  <a:pt x="2596799" y="53857"/>
                  <a:pt x="2593019" y="53855"/>
                </a:cubicBezTo>
                <a:lnTo>
                  <a:pt x="2584741" y="53855"/>
                </a:lnTo>
                <a:lnTo>
                  <a:pt x="2584741" y="46101"/>
                </a:lnTo>
                <a:lnTo>
                  <a:pt x="2592495" y="46101"/>
                </a:lnTo>
                <a:cubicBezTo>
                  <a:pt x="2595706" y="46086"/>
                  <a:pt x="2598164" y="45409"/>
                  <a:pt x="2599869" y="44071"/>
                </a:cubicBezTo>
                <a:cubicBezTo>
                  <a:pt x="2601573" y="42733"/>
                  <a:pt x="2602434" y="40825"/>
                  <a:pt x="2602449" y="38348"/>
                </a:cubicBezTo>
                <a:cubicBezTo>
                  <a:pt x="2602414" y="35975"/>
                  <a:pt x="2601514" y="34146"/>
                  <a:pt x="2599751" y="32860"/>
                </a:cubicBezTo>
                <a:cubicBezTo>
                  <a:pt x="2597987" y="31575"/>
                  <a:pt x="2595568" y="30924"/>
                  <a:pt x="2592495" y="30909"/>
                </a:cubicBezTo>
                <a:cubicBezTo>
                  <a:pt x="2589142" y="30959"/>
                  <a:pt x="2586497" y="31671"/>
                  <a:pt x="2584558" y="33044"/>
                </a:cubicBezTo>
                <a:cubicBezTo>
                  <a:pt x="2582620" y="34417"/>
                  <a:pt x="2581389" y="36150"/>
                  <a:pt x="2580865" y="38243"/>
                </a:cubicBezTo>
                <a:lnTo>
                  <a:pt x="2572064" y="38243"/>
                </a:lnTo>
                <a:cubicBezTo>
                  <a:pt x="2572791" y="33205"/>
                  <a:pt x="2575109" y="29398"/>
                  <a:pt x="2579019" y="26823"/>
                </a:cubicBezTo>
                <a:cubicBezTo>
                  <a:pt x="2582928" y="24247"/>
                  <a:pt x="2587525" y="22955"/>
                  <a:pt x="2592809" y="22946"/>
                </a:cubicBezTo>
                <a:close/>
                <a:moveTo>
                  <a:pt x="2520172" y="22946"/>
                </a:moveTo>
                <a:cubicBezTo>
                  <a:pt x="2527275" y="23033"/>
                  <a:pt x="2532872" y="25347"/>
                  <a:pt x="2536962" y="29887"/>
                </a:cubicBezTo>
                <a:cubicBezTo>
                  <a:pt x="2541052" y="34428"/>
                  <a:pt x="2543140" y="40670"/>
                  <a:pt x="2543222" y="48616"/>
                </a:cubicBezTo>
                <a:lnTo>
                  <a:pt x="2543222" y="53226"/>
                </a:lnTo>
                <a:lnTo>
                  <a:pt x="2504770" y="53226"/>
                </a:lnTo>
                <a:lnTo>
                  <a:pt x="2504770" y="53435"/>
                </a:lnTo>
                <a:cubicBezTo>
                  <a:pt x="2504838" y="58251"/>
                  <a:pt x="2506327" y="62189"/>
                  <a:pt x="2509236" y="65249"/>
                </a:cubicBezTo>
                <a:cubicBezTo>
                  <a:pt x="2512145" y="68309"/>
                  <a:pt x="2516070" y="69890"/>
                  <a:pt x="2521010" y="69990"/>
                </a:cubicBezTo>
                <a:cubicBezTo>
                  <a:pt x="2524679" y="69881"/>
                  <a:pt x="2527556" y="69104"/>
                  <a:pt x="2529641" y="67659"/>
                </a:cubicBezTo>
                <a:cubicBezTo>
                  <a:pt x="2531725" y="66214"/>
                  <a:pt x="2533005" y="64756"/>
                  <a:pt x="2533478" y="63284"/>
                </a:cubicBezTo>
                <a:lnTo>
                  <a:pt x="2542594" y="63284"/>
                </a:lnTo>
                <a:cubicBezTo>
                  <a:pt x="2542151" y="65413"/>
                  <a:pt x="2541092" y="67605"/>
                  <a:pt x="2539415" y="69862"/>
                </a:cubicBezTo>
                <a:cubicBezTo>
                  <a:pt x="2537739" y="72118"/>
                  <a:pt x="2535376" y="74032"/>
                  <a:pt x="2532326" y="75601"/>
                </a:cubicBezTo>
                <a:cubicBezTo>
                  <a:pt x="2529275" y="77171"/>
                  <a:pt x="2525469" y="77990"/>
                  <a:pt x="2520905" y="78058"/>
                </a:cubicBezTo>
                <a:cubicBezTo>
                  <a:pt x="2513148" y="77970"/>
                  <a:pt x="2506974" y="75499"/>
                  <a:pt x="2502386" y="70645"/>
                </a:cubicBezTo>
                <a:cubicBezTo>
                  <a:pt x="2497798" y="65790"/>
                  <a:pt x="2495449" y="59076"/>
                  <a:pt x="2495340" y="50502"/>
                </a:cubicBezTo>
                <a:cubicBezTo>
                  <a:pt x="2495471" y="41882"/>
                  <a:pt x="2497802" y="35154"/>
                  <a:pt x="2502334" y="30319"/>
                </a:cubicBezTo>
                <a:cubicBezTo>
                  <a:pt x="2506865" y="25485"/>
                  <a:pt x="2512811" y="23027"/>
                  <a:pt x="2520172" y="22946"/>
                </a:cubicBezTo>
                <a:close/>
                <a:moveTo>
                  <a:pt x="2333968" y="22946"/>
                </a:moveTo>
                <a:cubicBezTo>
                  <a:pt x="2338022" y="22943"/>
                  <a:pt x="2341847" y="23950"/>
                  <a:pt x="2345442" y="25969"/>
                </a:cubicBezTo>
                <a:cubicBezTo>
                  <a:pt x="2349038" y="27987"/>
                  <a:pt x="2351971" y="31036"/>
                  <a:pt x="2354240" y="35115"/>
                </a:cubicBezTo>
                <a:cubicBezTo>
                  <a:pt x="2356508" y="39194"/>
                  <a:pt x="2357679" y="44323"/>
                  <a:pt x="2357751" y="50502"/>
                </a:cubicBezTo>
                <a:cubicBezTo>
                  <a:pt x="2357679" y="56713"/>
                  <a:pt x="2356497" y="61858"/>
                  <a:pt x="2354205" y="65935"/>
                </a:cubicBezTo>
                <a:cubicBezTo>
                  <a:pt x="2351913" y="70012"/>
                  <a:pt x="2348945" y="73053"/>
                  <a:pt x="2345303" y="75058"/>
                </a:cubicBezTo>
                <a:cubicBezTo>
                  <a:pt x="2341660" y="77063"/>
                  <a:pt x="2337777" y="78063"/>
                  <a:pt x="2333653" y="78058"/>
                </a:cubicBezTo>
                <a:cubicBezTo>
                  <a:pt x="2329403" y="77981"/>
                  <a:pt x="2325880" y="77191"/>
                  <a:pt x="2323084" y="75687"/>
                </a:cubicBezTo>
                <a:cubicBezTo>
                  <a:pt x="2320288" y="74183"/>
                  <a:pt x="2318258" y="72424"/>
                  <a:pt x="2316994" y="70409"/>
                </a:cubicBezTo>
                <a:lnTo>
                  <a:pt x="2316994" y="96917"/>
                </a:lnTo>
                <a:lnTo>
                  <a:pt x="2307984" y="96917"/>
                </a:lnTo>
                <a:lnTo>
                  <a:pt x="2307984" y="24098"/>
                </a:lnTo>
                <a:lnTo>
                  <a:pt x="2316680" y="24098"/>
                </a:lnTo>
                <a:lnTo>
                  <a:pt x="2316680" y="31642"/>
                </a:lnTo>
                <a:cubicBezTo>
                  <a:pt x="2317976" y="29309"/>
                  <a:pt x="2320045" y="27296"/>
                  <a:pt x="2322888" y="25605"/>
                </a:cubicBezTo>
                <a:cubicBezTo>
                  <a:pt x="2325730" y="23913"/>
                  <a:pt x="2329423" y="23027"/>
                  <a:pt x="2333968" y="22946"/>
                </a:cubicBezTo>
                <a:close/>
                <a:moveTo>
                  <a:pt x="2270636" y="22946"/>
                </a:moveTo>
                <a:cubicBezTo>
                  <a:pt x="2276905" y="22996"/>
                  <a:pt x="2281891" y="24677"/>
                  <a:pt x="2285592" y="27988"/>
                </a:cubicBezTo>
                <a:cubicBezTo>
                  <a:pt x="2289295" y="31300"/>
                  <a:pt x="2291189" y="35940"/>
                  <a:pt x="2291277" y="41910"/>
                </a:cubicBezTo>
                <a:lnTo>
                  <a:pt x="2291277" y="76905"/>
                </a:lnTo>
                <a:lnTo>
                  <a:pt x="2282790" y="76905"/>
                </a:lnTo>
                <a:lnTo>
                  <a:pt x="2282790" y="70619"/>
                </a:lnTo>
                <a:cubicBezTo>
                  <a:pt x="2280760" y="73083"/>
                  <a:pt x="2278271" y="74938"/>
                  <a:pt x="2275324" y="76185"/>
                </a:cubicBezTo>
                <a:cubicBezTo>
                  <a:pt x="2272378" y="77431"/>
                  <a:pt x="2269209" y="78055"/>
                  <a:pt x="2265816" y="78058"/>
                </a:cubicBezTo>
                <a:cubicBezTo>
                  <a:pt x="2260564" y="78010"/>
                  <a:pt x="2256242" y="76560"/>
                  <a:pt x="2252850" y="73709"/>
                </a:cubicBezTo>
                <a:cubicBezTo>
                  <a:pt x="2249458" y="70859"/>
                  <a:pt x="2247703" y="66895"/>
                  <a:pt x="2247585" y="61817"/>
                </a:cubicBezTo>
                <a:cubicBezTo>
                  <a:pt x="2247644" y="56690"/>
                  <a:pt x="2249491" y="52695"/>
                  <a:pt x="2253125" y="49834"/>
                </a:cubicBezTo>
                <a:cubicBezTo>
                  <a:pt x="2256760" y="46972"/>
                  <a:pt x="2261828" y="45518"/>
                  <a:pt x="2268331" y="45473"/>
                </a:cubicBezTo>
                <a:lnTo>
                  <a:pt x="2282371" y="45473"/>
                </a:lnTo>
                <a:lnTo>
                  <a:pt x="2282371" y="41910"/>
                </a:lnTo>
                <a:cubicBezTo>
                  <a:pt x="2282298" y="38243"/>
                  <a:pt x="2281159" y="35493"/>
                  <a:pt x="2278952" y="33659"/>
                </a:cubicBezTo>
                <a:cubicBezTo>
                  <a:pt x="2276746" y="31826"/>
                  <a:pt x="2273904" y="30909"/>
                  <a:pt x="2270426" y="30909"/>
                </a:cubicBezTo>
                <a:cubicBezTo>
                  <a:pt x="2266986" y="30959"/>
                  <a:pt x="2264280" y="31644"/>
                  <a:pt x="2262306" y="32965"/>
                </a:cubicBezTo>
                <a:cubicBezTo>
                  <a:pt x="2260333" y="34286"/>
                  <a:pt x="2258988" y="35940"/>
                  <a:pt x="2258272" y="37929"/>
                </a:cubicBezTo>
                <a:lnTo>
                  <a:pt x="2249576" y="37929"/>
                </a:lnTo>
                <a:cubicBezTo>
                  <a:pt x="2250434" y="33729"/>
                  <a:pt x="2252647" y="30210"/>
                  <a:pt x="2256216" y="27373"/>
                </a:cubicBezTo>
                <a:cubicBezTo>
                  <a:pt x="2259785" y="24535"/>
                  <a:pt x="2264592" y="23059"/>
                  <a:pt x="2270636" y="22946"/>
                </a:cubicBezTo>
                <a:close/>
                <a:moveTo>
                  <a:pt x="2158746" y="22946"/>
                </a:moveTo>
                <a:cubicBezTo>
                  <a:pt x="2166541" y="23092"/>
                  <a:pt x="2172692" y="25681"/>
                  <a:pt x="2177199" y="30712"/>
                </a:cubicBezTo>
                <a:cubicBezTo>
                  <a:pt x="2181707" y="35744"/>
                  <a:pt x="2184007" y="42340"/>
                  <a:pt x="2184101" y="50502"/>
                </a:cubicBezTo>
                <a:cubicBezTo>
                  <a:pt x="2184007" y="58663"/>
                  <a:pt x="2181707" y="65260"/>
                  <a:pt x="2177199" y="70291"/>
                </a:cubicBezTo>
                <a:cubicBezTo>
                  <a:pt x="2172692" y="75323"/>
                  <a:pt x="2166541" y="77911"/>
                  <a:pt x="2158746" y="78058"/>
                </a:cubicBezTo>
                <a:cubicBezTo>
                  <a:pt x="2150951" y="77911"/>
                  <a:pt x="2144800" y="75323"/>
                  <a:pt x="2140292" y="70291"/>
                </a:cubicBezTo>
                <a:cubicBezTo>
                  <a:pt x="2135785" y="65260"/>
                  <a:pt x="2133484" y="58663"/>
                  <a:pt x="2133390" y="50502"/>
                </a:cubicBezTo>
                <a:cubicBezTo>
                  <a:pt x="2133484" y="42340"/>
                  <a:pt x="2135785" y="35744"/>
                  <a:pt x="2140292" y="30712"/>
                </a:cubicBezTo>
                <a:cubicBezTo>
                  <a:pt x="2144800" y="25681"/>
                  <a:pt x="2150951" y="23092"/>
                  <a:pt x="2158746" y="22946"/>
                </a:cubicBezTo>
                <a:close/>
                <a:moveTo>
                  <a:pt x="2043922" y="22946"/>
                </a:moveTo>
                <a:cubicBezTo>
                  <a:pt x="2051025" y="23033"/>
                  <a:pt x="2056621" y="25347"/>
                  <a:pt x="2060712" y="29887"/>
                </a:cubicBezTo>
                <a:cubicBezTo>
                  <a:pt x="2064803" y="34428"/>
                  <a:pt x="2066889" y="40670"/>
                  <a:pt x="2066972" y="48616"/>
                </a:cubicBezTo>
                <a:lnTo>
                  <a:pt x="2066972" y="53226"/>
                </a:lnTo>
                <a:lnTo>
                  <a:pt x="2028520" y="53226"/>
                </a:lnTo>
                <a:lnTo>
                  <a:pt x="2028520" y="53435"/>
                </a:lnTo>
                <a:cubicBezTo>
                  <a:pt x="2028588" y="58251"/>
                  <a:pt x="2030076" y="62189"/>
                  <a:pt x="2032986" y="65249"/>
                </a:cubicBezTo>
                <a:cubicBezTo>
                  <a:pt x="2035896" y="68309"/>
                  <a:pt x="2039820" y="69890"/>
                  <a:pt x="2044760" y="69990"/>
                </a:cubicBezTo>
                <a:cubicBezTo>
                  <a:pt x="2048429" y="69881"/>
                  <a:pt x="2051306" y="69104"/>
                  <a:pt x="2053391" y="67659"/>
                </a:cubicBezTo>
                <a:cubicBezTo>
                  <a:pt x="2055475" y="66214"/>
                  <a:pt x="2056755" y="64756"/>
                  <a:pt x="2057228" y="63284"/>
                </a:cubicBezTo>
                <a:lnTo>
                  <a:pt x="2066344" y="63284"/>
                </a:lnTo>
                <a:cubicBezTo>
                  <a:pt x="2065901" y="65413"/>
                  <a:pt x="2064842" y="67605"/>
                  <a:pt x="2063166" y="69862"/>
                </a:cubicBezTo>
                <a:cubicBezTo>
                  <a:pt x="2061489" y="72118"/>
                  <a:pt x="2059126" y="74032"/>
                  <a:pt x="2056076" y="75601"/>
                </a:cubicBezTo>
                <a:cubicBezTo>
                  <a:pt x="2053026" y="77171"/>
                  <a:pt x="2049219" y="77990"/>
                  <a:pt x="2044655" y="78058"/>
                </a:cubicBezTo>
                <a:cubicBezTo>
                  <a:pt x="2036898" y="77970"/>
                  <a:pt x="2030724" y="75499"/>
                  <a:pt x="2026137" y="70645"/>
                </a:cubicBezTo>
                <a:cubicBezTo>
                  <a:pt x="2021548" y="65790"/>
                  <a:pt x="2019199" y="59076"/>
                  <a:pt x="2019090" y="50502"/>
                </a:cubicBezTo>
                <a:cubicBezTo>
                  <a:pt x="2019221" y="41882"/>
                  <a:pt x="2021552" y="35154"/>
                  <a:pt x="2026084" y="30319"/>
                </a:cubicBezTo>
                <a:cubicBezTo>
                  <a:pt x="2030616" y="25485"/>
                  <a:pt x="2036561" y="23027"/>
                  <a:pt x="2043922" y="22946"/>
                </a:cubicBezTo>
                <a:close/>
                <a:moveTo>
                  <a:pt x="1986877" y="22946"/>
                </a:moveTo>
                <a:cubicBezTo>
                  <a:pt x="1991551" y="23013"/>
                  <a:pt x="1995486" y="23950"/>
                  <a:pt x="1998681" y="25755"/>
                </a:cubicBezTo>
                <a:cubicBezTo>
                  <a:pt x="2001877" y="27561"/>
                  <a:pt x="2004368" y="29833"/>
                  <a:pt x="2006155" y="32570"/>
                </a:cubicBezTo>
                <a:cubicBezTo>
                  <a:pt x="2007942" y="35307"/>
                  <a:pt x="2009060" y="38106"/>
                  <a:pt x="2009508" y="40967"/>
                </a:cubicBezTo>
                <a:lnTo>
                  <a:pt x="2000497" y="40967"/>
                </a:lnTo>
                <a:cubicBezTo>
                  <a:pt x="1999858" y="38632"/>
                  <a:pt x="1998465" y="36440"/>
                  <a:pt x="1996320" y="34393"/>
                </a:cubicBezTo>
                <a:cubicBezTo>
                  <a:pt x="1994174" y="32345"/>
                  <a:pt x="1991026" y="31254"/>
                  <a:pt x="1986877" y="31118"/>
                </a:cubicBezTo>
                <a:cubicBezTo>
                  <a:pt x="1982004" y="31212"/>
                  <a:pt x="1978180" y="33015"/>
                  <a:pt x="1975404" y="36527"/>
                </a:cubicBezTo>
                <a:cubicBezTo>
                  <a:pt x="1972627" y="40040"/>
                  <a:pt x="1971213" y="44698"/>
                  <a:pt x="1971161" y="50502"/>
                </a:cubicBezTo>
                <a:cubicBezTo>
                  <a:pt x="1971224" y="56352"/>
                  <a:pt x="1972669" y="61023"/>
                  <a:pt x="1975495" y="64515"/>
                </a:cubicBezTo>
                <a:cubicBezTo>
                  <a:pt x="1978322" y="68008"/>
                  <a:pt x="1982151" y="69798"/>
                  <a:pt x="1986981" y="69885"/>
                </a:cubicBezTo>
                <a:cubicBezTo>
                  <a:pt x="1991323" y="69748"/>
                  <a:pt x="1994532" y="68634"/>
                  <a:pt x="1996608" y="66545"/>
                </a:cubicBezTo>
                <a:cubicBezTo>
                  <a:pt x="1998684" y="64456"/>
                  <a:pt x="1999980" y="62217"/>
                  <a:pt x="2000497" y="59827"/>
                </a:cubicBezTo>
                <a:lnTo>
                  <a:pt x="2009508" y="59827"/>
                </a:lnTo>
                <a:cubicBezTo>
                  <a:pt x="2008879" y="64712"/>
                  <a:pt x="2006600" y="68929"/>
                  <a:pt x="2002671" y="72478"/>
                </a:cubicBezTo>
                <a:cubicBezTo>
                  <a:pt x="1998742" y="76028"/>
                  <a:pt x="1993477" y="77887"/>
                  <a:pt x="1986877" y="78058"/>
                </a:cubicBezTo>
                <a:cubicBezTo>
                  <a:pt x="1979283" y="77918"/>
                  <a:pt x="1973254" y="75342"/>
                  <a:pt x="1968790" y="70330"/>
                </a:cubicBezTo>
                <a:cubicBezTo>
                  <a:pt x="1964326" y="65319"/>
                  <a:pt x="1962043" y="58709"/>
                  <a:pt x="1961940" y="50502"/>
                </a:cubicBezTo>
                <a:cubicBezTo>
                  <a:pt x="1962030" y="42432"/>
                  <a:pt x="1964287" y="35862"/>
                  <a:pt x="1968711" y="30791"/>
                </a:cubicBezTo>
                <a:cubicBezTo>
                  <a:pt x="1973136" y="25720"/>
                  <a:pt x="1979191" y="23105"/>
                  <a:pt x="1986877" y="22946"/>
                </a:cubicBezTo>
                <a:close/>
                <a:moveTo>
                  <a:pt x="1691497" y="22946"/>
                </a:moveTo>
                <a:cubicBezTo>
                  <a:pt x="1698600" y="23033"/>
                  <a:pt x="1704196" y="25347"/>
                  <a:pt x="1708287" y="29887"/>
                </a:cubicBezTo>
                <a:cubicBezTo>
                  <a:pt x="1712378" y="34428"/>
                  <a:pt x="1714464" y="40670"/>
                  <a:pt x="1714547" y="48616"/>
                </a:cubicBezTo>
                <a:lnTo>
                  <a:pt x="1714547" y="53226"/>
                </a:lnTo>
                <a:lnTo>
                  <a:pt x="1676095" y="53226"/>
                </a:lnTo>
                <a:lnTo>
                  <a:pt x="1676095" y="53435"/>
                </a:lnTo>
                <a:cubicBezTo>
                  <a:pt x="1676163" y="58251"/>
                  <a:pt x="1677651" y="62189"/>
                  <a:pt x="1680561" y="65249"/>
                </a:cubicBezTo>
                <a:cubicBezTo>
                  <a:pt x="1683471" y="68309"/>
                  <a:pt x="1687395" y="69890"/>
                  <a:pt x="1692335" y="69990"/>
                </a:cubicBezTo>
                <a:cubicBezTo>
                  <a:pt x="1696004" y="69881"/>
                  <a:pt x="1698881" y="69104"/>
                  <a:pt x="1700966" y="67659"/>
                </a:cubicBezTo>
                <a:cubicBezTo>
                  <a:pt x="1703050" y="66214"/>
                  <a:pt x="1704330" y="64756"/>
                  <a:pt x="1704803" y="63284"/>
                </a:cubicBezTo>
                <a:lnTo>
                  <a:pt x="1713919" y="63284"/>
                </a:lnTo>
                <a:cubicBezTo>
                  <a:pt x="1713476" y="65413"/>
                  <a:pt x="1712417" y="67605"/>
                  <a:pt x="1710741" y="69862"/>
                </a:cubicBezTo>
                <a:cubicBezTo>
                  <a:pt x="1709064" y="72118"/>
                  <a:pt x="1706701" y="74032"/>
                  <a:pt x="1703651" y="75601"/>
                </a:cubicBezTo>
                <a:cubicBezTo>
                  <a:pt x="1700601" y="77171"/>
                  <a:pt x="1696794" y="77990"/>
                  <a:pt x="1692230" y="78058"/>
                </a:cubicBezTo>
                <a:cubicBezTo>
                  <a:pt x="1684473" y="77970"/>
                  <a:pt x="1678300" y="75499"/>
                  <a:pt x="1673711" y="70645"/>
                </a:cubicBezTo>
                <a:cubicBezTo>
                  <a:pt x="1669123" y="65790"/>
                  <a:pt x="1666774" y="59076"/>
                  <a:pt x="1666665" y="50502"/>
                </a:cubicBezTo>
                <a:cubicBezTo>
                  <a:pt x="1666796" y="41882"/>
                  <a:pt x="1669127" y="35154"/>
                  <a:pt x="1673659" y="30319"/>
                </a:cubicBezTo>
                <a:cubicBezTo>
                  <a:pt x="1678191" y="25485"/>
                  <a:pt x="1684136" y="23027"/>
                  <a:pt x="1691497" y="22946"/>
                </a:cubicBezTo>
                <a:close/>
                <a:moveTo>
                  <a:pt x="1403861" y="22946"/>
                </a:moveTo>
                <a:cubicBezTo>
                  <a:pt x="1410130" y="22996"/>
                  <a:pt x="1415116" y="24677"/>
                  <a:pt x="1418818" y="27988"/>
                </a:cubicBezTo>
                <a:cubicBezTo>
                  <a:pt x="1422519" y="31300"/>
                  <a:pt x="1424414" y="35940"/>
                  <a:pt x="1424502" y="41910"/>
                </a:cubicBezTo>
                <a:lnTo>
                  <a:pt x="1424502" y="76905"/>
                </a:lnTo>
                <a:lnTo>
                  <a:pt x="1416015" y="76905"/>
                </a:lnTo>
                <a:lnTo>
                  <a:pt x="1416015" y="70619"/>
                </a:lnTo>
                <a:cubicBezTo>
                  <a:pt x="1413985" y="73083"/>
                  <a:pt x="1411496" y="74938"/>
                  <a:pt x="1408550" y="76185"/>
                </a:cubicBezTo>
                <a:cubicBezTo>
                  <a:pt x="1405603" y="77431"/>
                  <a:pt x="1402433" y="78055"/>
                  <a:pt x="1399041" y="78058"/>
                </a:cubicBezTo>
                <a:cubicBezTo>
                  <a:pt x="1393790" y="78010"/>
                  <a:pt x="1389467" y="76560"/>
                  <a:pt x="1386075" y="73709"/>
                </a:cubicBezTo>
                <a:cubicBezTo>
                  <a:pt x="1382683" y="70859"/>
                  <a:pt x="1380928" y="66895"/>
                  <a:pt x="1380810" y="61817"/>
                </a:cubicBezTo>
                <a:cubicBezTo>
                  <a:pt x="1380869" y="56690"/>
                  <a:pt x="1382716" y="52695"/>
                  <a:pt x="1386350" y="49834"/>
                </a:cubicBezTo>
                <a:cubicBezTo>
                  <a:pt x="1389985" y="46972"/>
                  <a:pt x="1395053" y="45518"/>
                  <a:pt x="1401556" y="45473"/>
                </a:cubicBezTo>
                <a:lnTo>
                  <a:pt x="1415596" y="45473"/>
                </a:lnTo>
                <a:lnTo>
                  <a:pt x="1415596" y="41910"/>
                </a:lnTo>
                <a:cubicBezTo>
                  <a:pt x="1415524" y="38243"/>
                  <a:pt x="1414384" y="35493"/>
                  <a:pt x="1412177" y="33659"/>
                </a:cubicBezTo>
                <a:cubicBezTo>
                  <a:pt x="1409971" y="31826"/>
                  <a:pt x="1407129" y="30909"/>
                  <a:pt x="1403651" y="30909"/>
                </a:cubicBezTo>
                <a:cubicBezTo>
                  <a:pt x="1400211" y="30959"/>
                  <a:pt x="1397504" y="31644"/>
                  <a:pt x="1395531" y="32965"/>
                </a:cubicBezTo>
                <a:cubicBezTo>
                  <a:pt x="1393558" y="34286"/>
                  <a:pt x="1392213" y="35940"/>
                  <a:pt x="1391498" y="37929"/>
                </a:cubicBezTo>
                <a:lnTo>
                  <a:pt x="1382801" y="37929"/>
                </a:lnTo>
                <a:cubicBezTo>
                  <a:pt x="1383659" y="33729"/>
                  <a:pt x="1385872" y="30210"/>
                  <a:pt x="1389441" y="27373"/>
                </a:cubicBezTo>
                <a:cubicBezTo>
                  <a:pt x="1393010" y="24535"/>
                  <a:pt x="1397817" y="23059"/>
                  <a:pt x="1403861" y="22946"/>
                </a:cubicBezTo>
                <a:close/>
                <a:moveTo>
                  <a:pt x="1354560" y="22946"/>
                </a:moveTo>
                <a:cubicBezTo>
                  <a:pt x="1359916" y="22992"/>
                  <a:pt x="1364317" y="24341"/>
                  <a:pt x="1367761" y="26993"/>
                </a:cubicBezTo>
                <a:cubicBezTo>
                  <a:pt x="1371206" y="29645"/>
                  <a:pt x="1372987" y="33325"/>
                  <a:pt x="1373105" y="38034"/>
                </a:cubicBezTo>
                <a:cubicBezTo>
                  <a:pt x="1373020" y="41210"/>
                  <a:pt x="1372220" y="43711"/>
                  <a:pt x="1370708" y="45538"/>
                </a:cubicBezTo>
                <a:cubicBezTo>
                  <a:pt x="1369195" y="47365"/>
                  <a:pt x="1367479" y="48635"/>
                  <a:pt x="1365561" y="49349"/>
                </a:cubicBezTo>
                <a:cubicBezTo>
                  <a:pt x="1367663" y="49773"/>
                  <a:pt x="1369772" y="50943"/>
                  <a:pt x="1371887" y="52859"/>
                </a:cubicBezTo>
                <a:cubicBezTo>
                  <a:pt x="1374002" y="54776"/>
                  <a:pt x="1375141" y="57727"/>
                  <a:pt x="1375305" y="61713"/>
                </a:cubicBezTo>
                <a:cubicBezTo>
                  <a:pt x="1375176" y="66794"/>
                  <a:pt x="1373181" y="70776"/>
                  <a:pt x="1369320" y="73657"/>
                </a:cubicBezTo>
                <a:cubicBezTo>
                  <a:pt x="1365458" y="76538"/>
                  <a:pt x="1360503" y="78005"/>
                  <a:pt x="1354455" y="78058"/>
                </a:cubicBezTo>
                <a:cubicBezTo>
                  <a:pt x="1348777" y="78055"/>
                  <a:pt x="1343944" y="76698"/>
                  <a:pt x="1339957" y="73984"/>
                </a:cubicBezTo>
                <a:cubicBezTo>
                  <a:pt x="1335968" y="71271"/>
                  <a:pt x="1333572" y="67216"/>
                  <a:pt x="1332766" y="61817"/>
                </a:cubicBezTo>
                <a:lnTo>
                  <a:pt x="1341672" y="61817"/>
                </a:lnTo>
                <a:cubicBezTo>
                  <a:pt x="1342344" y="64500"/>
                  <a:pt x="1343829" y="66548"/>
                  <a:pt x="1346125" y="67960"/>
                </a:cubicBezTo>
                <a:cubicBezTo>
                  <a:pt x="1348421" y="69372"/>
                  <a:pt x="1351268" y="70084"/>
                  <a:pt x="1354664" y="70095"/>
                </a:cubicBezTo>
                <a:cubicBezTo>
                  <a:pt x="1358220" y="70075"/>
                  <a:pt x="1361036" y="69329"/>
                  <a:pt x="1363112" y="67855"/>
                </a:cubicBezTo>
                <a:cubicBezTo>
                  <a:pt x="1365188" y="66382"/>
                  <a:pt x="1366248" y="64299"/>
                  <a:pt x="1366294" y="61608"/>
                </a:cubicBezTo>
                <a:cubicBezTo>
                  <a:pt x="1366286" y="59039"/>
                  <a:pt x="1365308" y="57105"/>
                  <a:pt x="1363361" y="55806"/>
                </a:cubicBezTo>
                <a:cubicBezTo>
                  <a:pt x="1361414" y="54507"/>
                  <a:pt x="1358550" y="53857"/>
                  <a:pt x="1354769" y="53855"/>
                </a:cubicBezTo>
                <a:lnTo>
                  <a:pt x="1346492" y="53855"/>
                </a:lnTo>
                <a:lnTo>
                  <a:pt x="1346492" y="46101"/>
                </a:lnTo>
                <a:lnTo>
                  <a:pt x="1354245" y="46101"/>
                </a:lnTo>
                <a:cubicBezTo>
                  <a:pt x="1357456" y="46086"/>
                  <a:pt x="1359914" y="45409"/>
                  <a:pt x="1361619" y="44071"/>
                </a:cubicBezTo>
                <a:cubicBezTo>
                  <a:pt x="1363323" y="42733"/>
                  <a:pt x="1364183" y="40825"/>
                  <a:pt x="1364199" y="38348"/>
                </a:cubicBezTo>
                <a:cubicBezTo>
                  <a:pt x="1364164" y="35975"/>
                  <a:pt x="1363265" y="34146"/>
                  <a:pt x="1361501" y="32860"/>
                </a:cubicBezTo>
                <a:cubicBezTo>
                  <a:pt x="1359737" y="31575"/>
                  <a:pt x="1357318" y="30924"/>
                  <a:pt x="1354245" y="30909"/>
                </a:cubicBezTo>
                <a:cubicBezTo>
                  <a:pt x="1350892" y="30959"/>
                  <a:pt x="1348247" y="31671"/>
                  <a:pt x="1346308" y="33044"/>
                </a:cubicBezTo>
                <a:cubicBezTo>
                  <a:pt x="1344370" y="34417"/>
                  <a:pt x="1343139" y="36150"/>
                  <a:pt x="1342615" y="38243"/>
                </a:cubicBezTo>
                <a:lnTo>
                  <a:pt x="1333814" y="38243"/>
                </a:lnTo>
                <a:cubicBezTo>
                  <a:pt x="1334541" y="33205"/>
                  <a:pt x="1336859" y="29398"/>
                  <a:pt x="1340769" y="26823"/>
                </a:cubicBezTo>
                <a:cubicBezTo>
                  <a:pt x="1344678" y="24247"/>
                  <a:pt x="1349275" y="22955"/>
                  <a:pt x="1354560" y="22946"/>
                </a:cubicBezTo>
                <a:close/>
                <a:moveTo>
                  <a:pt x="1280036" y="22946"/>
                </a:moveTo>
                <a:cubicBezTo>
                  <a:pt x="1286305" y="22996"/>
                  <a:pt x="1291291" y="24677"/>
                  <a:pt x="1294993" y="27988"/>
                </a:cubicBezTo>
                <a:cubicBezTo>
                  <a:pt x="1298695" y="31300"/>
                  <a:pt x="1300589" y="35940"/>
                  <a:pt x="1300676" y="41910"/>
                </a:cubicBezTo>
                <a:lnTo>
                  <a:pt x="1300676" y="76905"/>
                </a:lnTo>
                <a:lnTo>
                  <a:pt x="1292190" y="76905"/>
                </a:lnTo>
                <a:lnTo>
                  <a:pt x="1292190" y="70619"/>
                </a:lnTo>
                <a:cubicBezTo>
                  <a:pt x="1290160" y="73083"/>
                  <a:pt x="1287671" y="74938"/>
                  <a:pt x="1284725" y="76185"/>
                </a:cubicBezTo>
                <a:cubicBezTo>
                  <a:pt x="1281778" y="77431"/>
                  <a:pt x="1278608" y="78055"/>
                  <a:pt x="1275216" y="78058"/>
                </a:cubicBezTo>
                <a:cubicBezTo>
                  <a:pt x="1269964" y="78010"/>
                  <a:pt x="1265643" y="76560"/>
                  <a:pt x="1262250" y="73709"/>
                </a:cubicBezTo>
                <a:cubicBezTo>
                  <a:pt x="1258858" y="70859"/>
                  <a:pt x="1257103" y="66895"/>
                  <a:pt x="1256985" y="61817"/>
                </a:cubicBezTo>
                <a:cubicBezTo>
                  <a:pt x="1257044" y="56690"/>
                  <a:pt x="1258891" y="52695"/>
                  <a:pt x="1262525" y="49834"/>
                </a:cubicBezTo>
                <a:cubicBezTo>
                  <a:pt x="1266160" y="46972"/>
                  <a:pt x="1271228" y="45518"/>
                  <a:pt x="1277731" y="45473"/>
                </a:cubicBezTo>
                <a:lnTo>
                  <a:pt x="1291771" y="45473"/>
                </a:lnTo>
                <a:lnTo>
                  <a:pt x="1291771" y="41910"/>
                </a:lnTo>
                <a:cubicBezTo>
                  <a:pt x="1291699" y="38243"/>
                  <a:pt x="1290559" y="35493"/>
                  <a:pt x="1288352" y="33659"/>
                </a:cubicBezTo>
                <a:cubicBezTo>
                  <a:pt x="1286146" y="31826"/>
                  <a:pt x="1283304" y="30909"/>
                  <a:pt x="1279826" y="30909"/>
                </a:cubicBezTo>
                <a:cubicBezTo>
                  <a:pt x="1276386" y="30959"/>
                  <a:pt x="1273680" y="31644"/>
                  <a:pt x="1271706" y="32965"/>
                </a:cubicBezTo>
                <a:cubicBezTo>
                  <a:pt x="1269733" y="34286"/>
                  <a:pt x="1268388" y="35940"/>
                  <a:pt x="1267672" y="37929"/>
                </a:cubicBezTo>
                <a:lnTo>
                  <a:pt x="1258976" y="37929"/>
                </a:lnTo>
                <a:cubicBezTo>
                  <a:pt x="1259834" y="33729"/>
                  <a:pt x="1262047" y="30210"/>
                  <a:pt x="1265616" y="27373"/>
                </a:cubicBezTo>
                <a:cubicBezTo>
                  <a:pt x="1269185" y="24535"/>
                  <a:pt x="1273992" y="23059"/>
                  <a:pt x="1280036" y="22946"/>
                </a:cubicBezTo>
                <a:close/>
                <a:moveTo>
                  <a:pt x="1175261" y="22946"/>
                </a:moveTo>
                <a:cubicBezTo>
                  <a:pt x="1181530" y="22996"/>
                  <a:pt x="1186515" y="24677"/>
                  <a:pt x="1190218" y="27988"/>
                </a:cubicBezTo>
                <a:cubicBezTo>
                  <a:pt x="1193920" y="31300"/>
                  <a:pt x="1195814" y="35940"/>
                  <a:pt x="1195902" y="41910"/>
                </a:cubicBezTo>
                <a:lnTo>
                  <a:pt x="1195902" y="76905"/>
                </a:lnTo>
                <a:lnTo>
                  <a:pt x="1187415" y="76905"/>
                </a:lnTo>
                <a:lnTo>
                  <a:pt x="1187415" y="70619"/>
                </a:lnTo>
                <a:cubicBezTo>
                  <a:pt x="1185385" y="73083"/>
                  <a:pt x="1182896" y="74938"/>
                  <a:pt x="1179950" y="76185"/>
                </a:cubicBezTo>
                <a:cubicBezTo>
                  <a:pt x="1177003" y="77431"/>
                  <a:pt x="1173833" y="78055"/>
                  <a:pt x="1170441" y="78058"/>
                </a:cubicBezTo>
                <a:cubicBezTo>
                  <a:pt x="1165189" y="78010"/>
                  <a:pt x="1160868" y="76560"/>
                  <a:pt x="1157475" y="73709"/>
                </a:cubicBezTo>
                <a:cubicBezTo>
                  <a:pt x="1154083" y="70859"/>
                  <a:pt x="1152328" y="66895"/>
                  <a:pt x="1152210" y="61817"/>
                </a:cubicBezTo>
                <a:cubicBezTo>
                  <a:pt x="1152269" y="56690"/>
                  <a:pt x="1154116" y="52695"/>
                  <a:pt x="1157750" y="49834"/>
                </a:cubicBezTo>
                <a:cubicBezTo>
                  <a:pt x="1161385" y="46972"/>
                  <a:pt x="1166453" y="45518"/>
                  <a:pt x="1172956" y="45473"/>
                </a:cubicBezTo>
                <a:lnTo>
                  <a:pt x="1186996" y="45473"/>
                </a:lnTo>
                <a:lnTo>
                  <a:pt x="1186996" y="41910"/>
                </a:lnTo>
                <a:cubicBezTo>
                  <a:pt x="1186924" y="38243"/>
                  <a:pt x="1185784" y="35493"/>
                  <a:pt x="1183578" y="33659"/>
                </a:cubicBezTo>
                <a:cubicBezTo>
                  <a:pt x="1181371" y="31826"/>
                  <a:pt x="1178529" y="30909"/>
                  <a:pt x="1175051" y="30909"/>
                </a:cubicBezTo>
                <a:cubicBezTo>
                  <a:pt x="1171611" y="30959"/>
                  <a:pt x="1168905" y="31644"/>
                  <a:pt x="1166931" y="32965"/>
                </a:cubicBezTo>
                <a:cubicBezTo>
                  <a:pt x="1164958" y="34286"/>
                  <a:pt x="1163614" y="35940"/>
                  <a:pt x="1162897" y="37929"/>
                </a:cubicBezTo>
                <a:lnTo>
                  <a:pt x="1154201" y="37929"/>
                </a:lnTo>
                <a:cubicBezTo>
                  <a:pt x="1155059" y="33729"/>
                  <a:pt x="1157272" y="30210"/>
                  <a:pt x="1160841" y="27373"/>
                </a:cubicBezTo>
                <a:cubicBezTo>
                  <a:pt x="1164410" y="24535"/>
                  <a:pt x="1169217" y="23059"/>
                  <a:pt x="1175261" y="22946"/>
                </a:cubicBezTo>
                <a:close/>
                <a:moveTo>
                  <a:pt x="1114768" y="22946"/>
                </a:moveTo>
                <a:cubicBezTo>
                  <a:pt x="1118822" y="22943"/>
                  <a:pt x="1122646" y="23950"/>
                  <a:pt x="1126242" y="25969"/>
                </a:cubicBezTo>
                <a:cubicBezTo>
                  <a:pt x="1129838" y="27987"/>
                  <a:pt x="1132771" y="31036"/>
                  <a:pt x="1135040" y="35115"/>
                </a:cubicBezTo>
                <a:cubicBezTo>
                  <a:pt x="1137308" y="39194"/>
                  <a:pt x="1138479" y="44323"/>
                  <a:pt x="1138552" y="50502"/>
                </a:cubicBezTo>
                <a:cubicBezTo>
                  <a:pt x="1138479" y="56713"/>
                  <a:pt x="1137297" y="61858"/>
                  <a:pt x="1135005" y="65935"/>
                </a:cubicBezTo>
                <a:cubicBezTo>
                  <a:pt x="1132713" y="70012"/>
                  <a:pt x="1129745" y="73053"/>
                  <a:pt x="1126103" y="75058"/>
                </a:cubicBezTo>
                <a:cubicBezTo>
                  <a:pt x="1122460" y="77063"/>
                  <a:pt x="1118577" y="78063"/>
                  <a:pt x="1114453" y="78058"/>
                </a:cubicBezTo>
                <a:cubicBezTo>
                  <a:pt x="1110203" y="77981"/>
                  <a:pt x="1106680" y="77191"/>
                  <a:pt x="1103884" y="75687"/>
                </a:cubicBezTo>
                <a:cubicBezTo>
                  <a:pt x="1101088" y="74183"/>
                  <a:pt x="1099058" y="72424"/>
                  <a:pt x="1097794" y="70409"/>
                </a:cubicBezTo>
                <a:lnTo>
                  <a:pt x="1097794" y="96917"/>
                </a:lnTo>
                <a:lnTo>
                  <a:pt x="1088783" y="96917"/>
                </a:lnTo>
                <a:lnTo>
                  <a:pt x="1088783" y="24098"/>
                </a:lnTo>
                <a:lnTo>
                  <a:pt x="1097480" y="24098"/>
                </a:lnTo>
                <a:lnTo>
                  <a:pt x="1097480" y="31642"/>
                </a:lnTo>
                <a:cubicBezTo>
                  <a:pt x="1098776" y="29309"/>
                  <a:pt x="1100846" y="27296"/>
                  <a:pt x="1103688" y="25605"/>
                </a:cubicBezTo>
                <a:cubicBezTo>
                  <a:pt x="1106530" y="23913"/>
                  <a:pt x="1110223" y="23027"/>
                  <a:pt x="1114768" y="22946"/>
                </a:cubicBezTo>
                <a:close/>
                <a:moveTo>
                  <a:pt x="977122" y="22946"/>
                </a:moveTo>
                <a:cubicBezTo>
                  <a:pt x="984225" y="23033"/>
                  <a:pt x="989822" y="25347"/>
                  <a:pt x="993912" y="29887"/>
                </a:cubicBezTo>
                <a:cubicBezTo>
                  <a:pt x="998003" y="34428"/>
                  <a:pt x="1000089" y="40670"/>
                  <a:pt x="1000172" y="48616"/>
                </a:cubicBezTo>
                <a:lnTo>
                  <a:pt x="1000172" y="53226"/>
                </a:lnTo>
                <a:lnTo>
                  <a:pt x="961720" y="53226"/>
                </a:lnTo>
                <a:lnTo>
                  <a:pt x="961720" y="53435"/>
                </a:lnTo>
                <a:cubicBezTo>
                  <a:pt x="961788" y="58251"/>
                  <a:pt x="963276" y="62189"/>
                  <a:pt x="966186" y="65249"/>
                </a:cubicBezTo>
                <a:cubicBezTo>
                  <a:pt x="969095" y="68309"/>
                  <a:pt x="973020" y="69890"/>
                  <a:pt x="977960" y="69990"/>
                </a:cubicBezTo>
                <a:cubicBezTo>
                  <a:pt x="981629" y="69881"/>
                  <a:pt x="984506" y="69104"/>
                  <a:pt x="986591" y="67659"/>
                </a:cubicBezTo>
                <a:cubicBezTo>
                  <a:pt x="988675" y="66214"/>
                  <a:pt x="989955" y="64756"/>
                  <a:pt x="990428" y="63284"/>
                </a:cubicBezTo>
                <a:lnTo>
                  <a:pt x="999544" y="63284"/>
                </a:lnTo>
                <a:cubicBezTo>
                  <a:pt x="999101" y="65413"/>
                  <a:pt x="998042" y="67605"/>
                  <a:pt x="996366" y="69862"/>
                </a:cubicBezTo>
                <a:cubicBezTo>
                  <a:pt x="994689" y="72118"/>
                  <a:pt x="992326" y="74032"/>
                  <a:pt x="989276" y="75601"/>
                </a:cubicBezTo>
                <a:cubicBezTo>
                  <a:pt x="986226" y="77171"/>
                  <a:pt x="982419" y="77990"/>
                  <a:pt x="977855" y="78058"/>
                </a:cubicBezTo>
                <a:cubicBezTo>
                  <a:pt x="970097" y="77970"/>
                  <a:pt x="963924" y="75499"/>
                  <a:pt x="959336" y="70645"/>
                </a:cubicBezTo>
                <a:cubicBezTo>
                  <a:pt x="954748" y="65790"/>
                  <a:pt x="952399" y="59076"/>
                  <a:pt x="952290" y="50502"/>
                </a:cubicBezTo>
                <a:cubicBezTo>
                  <a:pt x="952421" y="41882"/>
                  <a:pt x="954752" y="35154"/>
                  <a:pt x="959284" y="30319"/>
                </a:cubicBezTo>
                <a:cubicBezTo>
                  <a:pt x="963815" y="25485"/>
                  <a:pt x="969761" y="23027"/>
                  <a:pt x="977122" y="22946"/>
                </a:cubicBezTo>
                <a:close/>
                <a:moveTo>
                  <a:pt x="920077" y="22946"/>
                </a:moveTo>
                <a:cubicBezTo>
                  <a:pt x="924751" y="23013"/>
                  <a:pt x="928686" y="23950"/>
                  <a:pt x="931881" y="25755"/>
                </a:cubicBezTo>
                <a:cubicBezTo>
                  <a:pt x="935077" y="27561"/>
                  <a:pt x="937568" y="29833"/>
                  <a:pt x="939355" y="32570"/>
                </a:cubicBezTo>
                <a:cubicBezTo>
                  <a:pt x="941142" y="35307"/>
                  <a:pt x="942260" y="38106"/>
                  <a:pt x="942708" y="40967"/>
                </a:cubicBezTo>
                <a:lnTo>
                  <a:pt x="933697" y="40967"/>
                </a:lnTo>
                <a:cubicBezTo>
                  <a:pt x="933058" y="38632"/>
                  <a:pt x="931665" y="36440"/>
                  <a:pt x="929520" y="34393"/>
                </a:cubicBezTo>
                <a:cubicBezTo>
                  <a:pt x="927374" y="32345"/>
                  <a:pt x="924226" y="31254"/>
                  <a:pt x="920077" y="31118"/>
                </a:cubicBezTo>
                <a:cubicBezTo>
                  <a:pt x="915204" y="31212"/>
                  <a:pt x="911380" y="33015"/>
                  <a:pt x="908604" y="36527"/>
                </a:cubicBezTo>
                <a:cubicBezTo>
                  <a:pt x="905827" y="40040"/>
                  <a:pt x="904413" y="44698"/>
                  <a:pt x="904360" y="50502"/>
                </a:cubicBezTo>
                <a:cubicBezTo>
                  <a:pt x="904424" y="56352"/>
                  <a:pt x="905869" y="61023"/>
                  <a:pt x="908695" y="64515"/>
                </a:cubicBezTo>
                <a:cubicBezTo>
                  <a:pt x="911522" y="68008"/>
                  <a:pt x="915351" y="69798"/>
                  <a:pt x="920181" y="69885"/>
                </a:cubicBezTo>
                <a:cubicBezTo>
                  <a:pt x="924523" y="69748"/>
                  <a:pt x="927732" y="68634"/>
                  <a:pt x="929807" y="66545"/>
                </a:cubicBezTo>
                <a:cubicBezTo>
                  <a:pt x="931883" y="64456"/>
                  <a:pt x="933180" y="62217"/>
                  <a:pt x="933697" y="59827"/>
                </a:cubicBezTo>
                <a:lnTo>
                  <a:pt x="942708" y="59827"/>
                </a:lnTo>
                <a:cubicBezTo>
                  <a:pt x="942079" y="64712"/>
                  <a:pt x="939800" y="68929"/>
                  <a:pt x="935871" y="72478"/>
                </a:cubicBezTo>
                <a:cubicBezTo>
                  <a:pt x="931942" y="76028"/>
                  <a:pt x="926677" y="77887"/>
                  <a:pt x="920077" y="78058"/>
                </a:cubicBezTo>
                <a:cubicBezTo>
                  <a:pt x="912483" y="77918"/>
                  <a:pt x="906454" y="75342"/>
                  <a:pt x="901990" y="70330"/>
                </a:cubicBezTo>
                <a:cubicBezTo>
                  <a:pt x="897526" y="65319"/>
                  <a:pt x="895243" y="58709"/>
                  <a:pt x="895140" y="50502"/>
                </a:cubicBezTo>
                <a:cubicBezTo>
                  <a:pt x="895230" y="42432"/>
                  <a:pt x="897487" y="35862"/>
                  <a:pt x="901911" y="30791"/>
                </a:cubicBezTo>
                <a:cubicBezTo>
                  <a:pt x="906336" y="25720"/>
                  <a:pt x="912391" y="23105"/>
                  <a:pt x="920077" y="22946"/>
                </a:cubicBezTo>
                <a:close/>
                <a:moveTo>
                  <a:pt x="40757" y="12154"/>
                </a:moveTo>
                <a:cubicBezTo>
                  <a:pt x="34484" y="12207"/>
                  <a:pt x="28905" y="13673"/>
                  <a:pt x="24020" y="16555"/>
                </a:cubicBezTo>
                <a:cubicBezTo>
                  <a:pt x="19136" y="19436"/>
                  <a:pt x="15288" y="23417"/>
                  <a:pt x="12476" y="28499"/>
                </a:cubicBezTo>
                <a:cubicBezTo>
                  <a:pt x="9664" y="33581"/>
                  <a:pt x="8229" y="39448"/>
                  <a:pt x="8172" y="46101"/>
                </a:cubicBezTo>
                <a:cubicBezTo>
                  <a:pt x="8229" y="52754"/>
                  <a:pt x="9664" y="58622"/>
                  <a:pt x="12476" y="63703"/>
                </a:cubicBezTo>
                <a:cubicBezTo>
                  <a:pt x="15288" y="68785"/>
                  <a:pt x="19136" y="72766"/>
                  <a:pt x="24020" y="75648"/>
                </a:cubicBezTo>
                <a:cubicBezTo>
                  <a:pt x="28905" y="78529"/>
                  <a:pt x="34484" y="79996"/>
                  <a:pt x="40757" y="80048"/>
                </a:cubicBezTo>
                <a:cubicBezTo>
                  <a:pt x="47031" y="79996"/>
                  <a:pt x="52610" y="78529"/>
                  <a:pt x="57494" y="75648"/>
                </a:cubicBezTo>
                <a:cubicBezTo>
                  <a:pt x="62378" y="72766"/>
                  <a:pt x="66226" y="68785"/>
                  <a:pt x="69039" y="63703"/>
                </a:cubicBezTo>
                <a:cubicBezTo>
                  <a:pt x="71851" y="58622"/>
                  <a:pt x="73285" y="52754"/>
                  <a:pt x="73342" y="46101"/>
                </a:cubicBezTo>
                <a:cubicBezTo>
                  <a:pt x="73285" y="39448"/>
                  <a:pt x="71851" y="33581"/>
                  <a:pt x="69039" y="28499"/>
                </a:cubicBezTo>
                <a:cubicBezTo>
                  <a:pt x="66226" y="23417"/>
                  <a:pt x="62378" y="19436"/>
                  <a:pt x="57494" y="16555"/>
                </a:cubicBezTo>
                <a:cubicBezTo>
                  <a:pt x="52610" y="13673"/>
                  <a:pt x="47031" y="12207"/>
                  <a:pt x="40757" y="12154"/>
                </a:cubicBezTo>
                <a:close/>
                <a:moveTo>
                  <a:pt x="1908991" y="11525"/>
                </a:moveTo>
                <a:lnTo>
                  <a:pt x="1908991" y="34786"/>
                </a:lnTo>
                <a:lnTo>
                  <a:pt x="1926593" y="34786"/>
                </a:lnTo>
                <a:cubicBezTo>
                  <a:pt x="1931039" y="34713"/>
                  <a:pt x="1934353" y="33600"/>
                  <a:pt x="1936534" y="31446"/>
                </a:cubicBezTo>
                <a:cubicBezTo>
                  <a:pt x="1938714" y="29291"/>
                  <a:pt x="1939801" y="26528"/>
                  <a:pt x="1939795" y="23155"/>
                </a:cubicBezTo>
                <a:cubicBezTo>
                  <a:pt x="1939762" y="19508"/>
                  <a:pt x="1938544" y="16666"/>
                  <a:pt x="1936140" y="14629"/>
                </a:cubicBezTo>
                <a:cubicBezTo>
                  <a:pt x="1933737" y="12593"/>
                  <a:pt x="1930345" y="11558"/>
                  <a:pt x="1925964" y="11525"/>
                </a:cubicBezTo>
                <a:close/>
                <a:moveTo>
                  <a:pt x="842191" y="11525"/>
                </a:moveTo>
                <a:lnTo>
                  <a:pt x="842191" y="34786"/>
                </a:lnTo>
                <a:lnTo>
                  <a:pt x="859793" y="34786"/>
                </a:lnTo>
                <a:cubicBezTo>
                  <a:pt x="864239" y="34713"/>
                  <a:pt x="867553" y="33600"/>
                  <a:pt x="869733" y="31446"/>
                </a:cubicBezTo>
                <a:cubicBezTo>
                  <a:pt x="871914" y="29291"/>
                  <a:pt x="873001" y="26528"/>
                  <a:pt x="872995" y="23155"/>
                </a:cubicBezTo>
                <a:cubicBezTo>
                  <a:pt x="872962" y="19508"/>
                  <a:pt x="871744" y="16666"/>
                  <a:pt x="869341" y="14629"/>
                </a:cubicBezTo>
                <a:cubicBezTo>
                  <a:pt x="866937" y="12593"/>
                  <a:pt x="863545" y="11558"/>
                  <a:pt x="859164" y="11525"/>
                </a:cubicBezTo>
                <a:close/>
                <a:moveTo>
                  <a:pt x="210207" y="10582"/>
                </a:moveTo>
                <a:cubicBezTo>
                  <a:pt x="206187" y="10639"/>
                  <a:pt x="202818" y="11957"/>
                  <a:pt x="200098" y="14537"/>
                </a:cubicBezTo>
                <a:cubicBezTo>
                  <a:pt x="197378" y="17116"/>
                  <a:pt x="195328" y="20615"/>
                  <a:pt x="193947" y="25034"/>
                </a:cubicBezTo>
                <a:cubicBezTo>
                  <a:pt x="192567" y="29452"/>
                  <a:pt x="191875" y="34449"/>
                  <a:pt x="191871" y="40024"/>
                </a:cubicBezTo>
                <a:cubicBezTo>
                  <a:pt x="191875" y="45599"/>
                  <a:pt x="192567" y="50596"/>
                  <a:pt x="193947" y="55015"/>
                </a:cubicBezTo>
                <a:cubicBezTo>
                  <a:pt x="195328" y="59434"/>
                  <a:pt x="197378" y="62932"/>
                  <a:pt x="200098" y="65512"/>
                </a:cubicBezTo>
                <a:cubicBezTo>
                  <a:pt x="202818" y="68091"/>
                  <a:pt x="206187" y="69409"/>
                  <a:pt x="210207" y="69466"/>
                </a:cubicBezTo>
                <a:cubicBezTo>
                  <a:pt x="214226" y="69409"/>
                  <a:pt x="217596" y="68091"/>
                  <a:pt x="220316" y="65512"/>
                </a:cubicBezTo>
                <a:cubicBezTo>
                  <a:pt x="223035" y="62932"/>
                  <a:pt x="225086" y="59434"/>
                  <a:pt x="226466" y="55015"/>
                </a:cubicBezTo>
                <a:cubicBezTo>
                  <a:pt x="227847" y="50596"/>
                  <a:pt x="228539" y="45599"/>
                  <a:pt x="228542" y="40024"/>
                </a:cubicBezTo>
                <a:cubicBezTo>
                  <a:pt x="228539" y="34449"/>
                  <a:pt x="227847" y="29452"/>
                  <a:pt x="226466" y="25034"/>
                </a:cubicBezTo>
                <a:cubicBezTo>
                  <a:pt x="225086" y="20615"/>
                  <a:pt x="223035" y="17116"/>
                  <a:pt x="220316" y="14537"/>
                </a:cubicBezTo>
                <a:cubicBezTo>
                  <a:pt x="217596" y="11958"/>
                  <a:pt x="214226" y="10639"/>
                  <a:pt x="210207" y="10582"/>
                </a:cubicBezTo>
                <a:close/>
                <a:moveTo>
                  <a:pt x="40757" y="4296"/>
                </a:moveTo>
                <a:cubicBezTo>
                  <a:pt x="48517" y="4364"/>
                  <a:pt x="55454" y="6184"/>
                  <a:pt x="61569" y="9756"/>
                </a:cubicBezTo>
                <a:cubicBezTo>
                  <a:pt x="67683" y="13328"/>
                  <a:pt x="72517" y="18245"/>
                  <a:pt x="76070" y="24506"/>
                </a:cubicBezTo>
                <a:cubicBezTo>
                  <a:pt x="79623" y="30767"/>
                  <a:pt x="81438" y="37966"/>
                  <a:pt x="81515" y="46101"/>
                </a:cubicBezTo>
                <a:cubicBezTo>
                  <a:pt x="81438" y="54237"/>
                  <a:pt x="79623" y="61435"/>
                  <a:pt x="76070" y="67697"/>
                </a:cubicBezTo>
                <a:cubicBezTo>
                  <a:pt x="72517" y="73958"/>
                  <a:pt x="67683" y="78874"/>
                  <a:pt x="61569" y="82446"/>
                </a:cubicBezTo>
                <a:cubicBezTo>
                  <a:pt x="55454" y="86019"/>
                  <a:pt x="48517" y="87839"/>
                  <a:pt x="40757" y="87906"/>
                </a:cubicBezTo>
                <a:cubicBezTo>
                  <a:pt x="32997" y="87839"/>
                  <a:pt x="26060" y="86019"/>
                  <a:pt x="19946" y="82446"/>
                </a:cubicBezTo>
                <a:cubicBezTo>
                  <a:pt x="13831" y="78874"/>
                  <a:pt x="8997" y="73958"/>
                  <a:pt x="5444" y="67697"/>
                </a:cubicBezTo>
                <a:cubicBezTo>
                  <a:pt x="1891" y="61435"/>
                  <a:pt x="76" y="54237"/>
                  <a:pt x="0" y="46101"/>
                </a:cubicBezTo>
                <a:cubicBezTo>
                  <a:pt x="76" y="37966"/>
                  <a:pt x="1891" y="30767"/>
                  <a:pt x="5444" y="24506"/>
                </a:cubicBezTo>
                <a:cubicBezTo>
                  <a:pt x="8997" y="18245"/>
                  <a:pt x="13831" y="13328"/>
                  <a:pt x="19946" y="9756"/>
                </a:cubicBezTo>
                <a:cubicBezTo>
                  <a:pt x="26060" y="6184"/>
                  <a:pt x="32997" y="4364"/>
                  <a:pt x="40757" y="4296"/>
                </a:cubicBezTo>
                <a:close/>
                <a:moveTo>
                  <a:pt x="1899770" y="3143"/>
                </a:moveTo>
                <a:lnTo>
                  <a:pt x="1927117" y="3143"/>
                </a:lnTo>
                <a:cubicBezTo>
                  <a:pt x="1934272" y="3270"/>
                  <a:pt x="1939738" y="5112"/>
                  <a:pt x="1943514" y="8670"/>
                </a:cubicBezTo>
                <a:cubicBezTo>
                  <a:pt x="1947290" y="12228"/>
                  <a:pt x="1949194" y="16742"/>
                  <a:pt x="1949224" y="22213"/>
                </a:cubicBezTo>
                <a:cubicBezTo>
                  <a:pt x="1949111" y="26709"/>
                  <a:pt x="1948081" y="30289"/>
                  <a:pt x="1946134" y="32952"/>
                </a:cubicBezTo>
                <a:cubicBezTo>
                  <a:pt x="1944186" y="35615"/>
                  <a:pt x="1942004" y="37414"/>
                  <a:pt x="1939585" y="38348"/>
                </a:cubicBezTo>
                <a:cubicBezTo>
                  <a:pt x="1941388" y="38828"/>
                  <a:pt x="1943242" y="39777"/>
                  <a:pt x="1945146" y="41192"/>
                </a:cubicBezTo>
                <a:cubicBezTo>
                  <a:pt x="1947050" y="42608"/>
                  <a:pt x="1948663" y="44542"/>
                  <a:pt x="1949985" y="46994"/>
                </a:cubicBezTo>
                <a:cubicBezTo>
                  <a:pt x="1951307" y="49446"/>
                  <a:pt x="1951996" y="52466"/>
                  <a:pt x="1952053" y="56055"/>
                </a:cubicBezTo>
                <a:cubicBezTo>
                  <a:pt x="1951977" y="62333"/>
                  <a:pt x="1949798" y="67353"/>
                  <a:pt x="1945518" y="71116"/>
                </a:cubicBezTo>
                <a:cubicBezTo>
                  <a:pt x="1941237" y="74879"/>
                  <a:pt x="1935313" y="76809"/>
                  <a:pt x="1927746" y="76905"/>
                </a:cubicBezTo>
                <a:lnTo>
                  <a:pt x="1899770" y="76905"/>
                </a:lnTo>
                <a:close/>
                <a:moveTo>
                  <a:pt x="832971" y="3143"/>
                </a:moveTo>
                <a:lnTo>
                  <a:pt x="860317" y="3143"/>
                </a:lnTo>
                <a:cubicBezTo>
                  <a:pt x="867472" y="3270"/>
                  <a:pt x="872938" y="5112"/>
                  <a:pt x="876714" y="8670"/>
                </a:cubicBezTo>
                <a:cubicBezTo>
                  <a:pt x="880490" y="12228"/>
                  <a:pt x="882394" y="16742"/>
                  <a:pt x="882424" y="22213"/>
                </a:cubicBezTo>
                <a:cubicBezTo>
                  <a:pt x="882311" y="26709"/>
                  <a:pt x="881281" y="30289"/>
                  <a:pt x="879334" y="32952"/>
                </a:cubicBezTo>
                <a:cubicBezTo>
                  <a:pt x="877386" y="35615"/>
                  <a:pt x="875204" y="37414"/>
                  <a:pt x="872785" y="38348"/>
                </a:cubicBezTo>
                <a:cubicBezTo>
                  <a:pt x="874588" y="38828"/>
                  <a:pt x="876442" y="39777"/>
                  <a:pt x="878346" y="41192"/>
                </a:cubicBezTo>
                <a:cubicBezTo>
                  <a:pt x="880250" y="42608"/>
                  <a:pt x="881863" y="44542"/>
                  <a:pt x="883185" y="46994"/>
                </a:cubicBezTo>
                <a:cubicBezTo>
                  <a:pt x="884507" y="49446"/>
                  <a:pt x="885196" y="52466"/>
                  <a:pt x="885253" y="56055"/>
                </a:cubicBezTo>
                <a:cubicBezTo>
                  <a:pt x="885177" y="62333"/>
                  <a:pt x="882998" y="67353"/>
                  <a:pt x="878718" y="71116"/>
                </a:cubicBezTo>
                <a:cubicBezTo>
                  <a:pt x="874437" y="74879"/>
                  <a:pt x="868513" y="76809"/>
                  <a:pt x="860945" y="76905"/>
                </a:cubicBezTo>
                <a:lnTo>
                  <a:pt x="832971" y="76905"/>
                </a:lnTo>
                <a:close/>
                <a:moveTo>
                  <a:pt x="696601" y="3143"/>
                </a:moveTo>
                <a:lnTo>
                  <a:pt x="704983" y="3143"/>
                </a:lnTo>
                <a:lnTo>
                  <a:pt x="704983" y="76905"/>
                </a:lnTo>
                <a:lnTo>
                  <a:pt x="695658" y="76905"/>
                </a:lnTo>
                <a:lnTo>
                  <a:pt x="695658" y="14040"/>
                </a:lnTo>
                <a:lnTo>
                  <a:pt x="677113" y="25670"/>
                </a:lnTo>
                <a:lnTo>
                  <a:pt x="677113" y="15926"/>
                </a:lnTo>
                <a:close/>
                <a:moveTo>
                  <a:pt x="608342" y="3143"/>
                </a:moveTo>
                <a:lnTo>
                  <a:pt x="666283" y="3143"/>
                </a:lnTo>
                <a:lnTo>
                  <a:pt x="666283" y="11735"/>
                </a:lnTo>
                <a:lnTo>
                  <a:pt x="641975" y="11735"/>
                </a:lnTo>
                <a:lnTo>
                  <a:pt x="641975" y="76905"/>
                </a:lnTo>
                <a:lnTo>
                  <a:pt x="632650" y="76905"/>
                </a:lnTo>
                <a:lnTo>
                  <a:pt x="632650" y="11735"/>
                </a:lnTo>
                <a:lnTo>
                  <a:pt x="608342" y="11735"/>
                </a:lnTo>
                <a:close/>
                <a:moveTo>
                  <a:pt x="461495" y="3143"/>
                </a:moveTo>
                <a:lnTo>
                  <a:pt x="470820" y="3143"/>
                </a:lnTo>
                <a:lnTo>
                  <a:pt x="470820" y="36043"/>
                </a:lnTo>
                <a:lnTo>
                  <a:pt x="503615" y="3143"/>
                </a:lnTo>
                <a:lnTo>
                  <a:pt x="515664" y="3143"/>
                </a:lnTo>
                <a:lnTo>
                  <a:pt x="480669" y="38453"/>
                </a:lnTo>
                <a:lnTo>
                  <a:pt x="516293" y="76905"/>
                </a:lnTo>
                <a:lnTo>
                  <a:pt x="503929" y="76905"/>
                </a:lnTo>
                <a:lnTo>
                  <a:pt x="470820" y="41701"/>
                </a:lnTo>
                <a:lnTo>
                  <a:pt x="470820" y="76905"/>
                </a:lnTo>
                <a:lnTo>
                  <a:pt x="461495" y="76905"/>
                </a:lnTo>
                <a:close/>
                <a:moveTo>
                  <a:pt x="404345" y="3143"/>
                </a:moveTo>
                <a:lnTo>
                  <a:pt x="450027" y="3143"/>
                </a:lnTo>
                <a:lnTo>
                  <a:pt x="450027" y="11735"/>
                </a:lnTo>
                <a:lnTo>
                  <a:pt x="413670" y="11735"/>
                </a:lnTo>
                <a:lnTo>
                  <a:pt x="413670" y="76905"/>
                </a:lnTo>
                <a:lnTo>
                  <a:pt x="404345" y="76905"/>
                </a:lnTo>
                <a:close/>
                <a:moveTo>
                  <a:pt x="341357" y="1991"/>
                </a:moveTo>
                <a:cubicBezTo>
                  <a:pt x="348811" y="2122"/>
                  <a:pt x="354622" y="4086"/>
                  <a:pt x="358789" y="7885"/>
                </a:cubicBezTo>
                <a:cubicBezTo>
                  <a:pt x="362955" y="11683"/>
                  <a:pt x="365073" y="16528"/>
                  <a:pt x="365140" y="22422"/>
                </a:cubicBezTo>
                <a:cubicBezTo>
                  <a:pt x="364970" y="26958"/>
                  <a:pt x="363713" y="30512"/>
                  <a:pt x="361369" y="33083"/>
                </a:cubicBezTo>
                <a:cubicBezTo>
                  <a:pt x="359024" y="35654"/>
                  <a:pt x="356615" y="37374"/>
                  <a:pt x="354139" y="38243"/>
                </a:cubicBezTo>
                <a:cubicBezTo>
                  <a:pt x="355858" y="38612"/>
                  <a:pt x="357764" y="39469"/>
                  <a:pt x="359859" y="40812"/>
                </a:cubicBezTo>
                <a:cubicBezTo>
                  <a:pt x="361954" y="42155"/>
                  <a:pt x="363775" y="44075"/>
                  <a:pt x="365323" y="46571"/>
                </a:cubicBezTo>
                <a:cubicBezTo>
                  <a:pt x="366871" y="49067"/>
                  <a:pt x="367683" y="52228"/>
                  <a:pt x="367760" y="56055"/>
                </a:cubicBezTo>
                <a:cubicBezTo>
                  <a:pt x="367622" y="62381"/>
                  <a:pt x="365226" y="67593"/>
                  <a:pt x="360570" y="71693"/>
                </a:cubicBezTo>
                <a:cubicBezTo>
                  <a:pt x="355914" y="75792"/>
                  <a:pt x="349824" y="77914"/>
                  <a:pt x="342300" y="78058"/>
                </a:cubicBezTo>
                <a:cubicBezTo>
                  <a:pt x="335140" y="78029"/>
                  <a:pt x="329107" y="76252"/>
                  <a:pt x="324200" y="72727"/>
                </a:cubicBezTo>
                <a:cubicBezTo>
                  <a:pt x="319293" y="69202"/>
                  <a:pt x="316350" y="64099"/>
                  <a:pt x="315372" y="57417"/>
                </a:cubicBezTo>
                <a:lnTo>
                  <a:pt x="324802" y="57417"/>
                </a:lnTo>
                <a:cubicBezTo>
                  <a:pt x="325584" y="61036"/>
                  <a:pt x="327504" y="63935"/>
                  <a:pt x="330565" y="66113"/>
                </a:cubicBezTo>
                <a:cubicBezTo>
                  <a:pt x="333625" y="68292"/>
                  <a:pt x="337537" y="69409"/>
                  <a:pt x="342300" y="69466"/>
                </a:cubicBezTo>
                <a:cubicBezTo>
                  <a:pt x="347043" y="69403"/>
                  <a:pt x="350863" y="68141"/>
                  <a:pt x="353759" y="65681"/>
                </a:cubicBezTo>
                <a:cubicBezTo>
                  <a:pt x="356656" y="63221"/>
                  <a:pt x="358145" y="59942"/>
                  <a:pt x="358225" y="55845"/>
                </a:cubicBezTo>
                <a:cubicBezTo>
                  <a:pt x="358105" y="51512"/>
                  <a:pt x="356486" y="48312"/>
                  <a:pt x="353367" y="46245"/>
                </a:cubicBezTo>
                <a:cubicBezTo>
                  <a:pt x="350247" y="44178"/>
                  <a:pt x="346349" y="43152"/>
                  <a:pt x="341671" y="43168"/>
                </a:cubicBezTo>
                <a:lnTo>
                  <a:pt x="332555" y="43168"/>
                </a:lnTo>
                <a:lnTo>
                  <a:pt x="332555" y="34681"/>
                </a:lnTo>
                <a:lnTo>
                  <a:pt x="341042" y="34681"/>
                </a:lnTo>
                <a:cubicBezTo>
                  <a:pt x="345683" y="34600"/>
                  <a:pt x="349263" y="33426"/>
                  <a:pt x="351782" y="31158"/>
                </a:cubicBezTo>
                <a:cubicBezTo>
                  <a:pt x="354301" y="28890"/>
                  <a:pt x="355575" y="26013"/>
                  <a:pt x="355606" y="22527"/>
                </a:cubicBezTo>
                <a:cubicBezTo>
                  <a:pt x="355582" y="18958"/>
                  <a:pt x="354347" y="16090"/>
                  <a:pt x="351900" y="13922"/>
                </a:cubicBezTo>
                <a:cubicBezTo>
                  <a:pt x="349453" y="11755"/>
                  <a:pt x="345938" y="10641"/>
                  <a:pt x="341357" y="10582"/>
                </a:cubicBezTo>
                <a:cubicBezTo>
                  <a:pt x="337043" y="10626"/>
                  <a:pt x="333542" y="11665"/>
                  <a:pt x="330853" y="13700"/>
                </a:cubicBezTo>
                <a:cubicBezTo>
                  <a:pt x="328164" y="15734"/>
                  <a:pt x="326391" y="18502"/>
                  <a:pt x="325536" y="22003"/>
                </a:cubicBezTo>
                <a:lnTo>
                  <a:pt x="316211" y="22003"/>
                </a:lnTo>
                <a:cubicBezTo>
                  <a:pt x="317363" y="15302"/>
                  <a:pt x="320271" y="10290"/>
                  <a:pt x="324933" y="6968"/>
                </a:cubicBezTo>
                <a:cubicBezTo>
                  <a:pt x="329596" y="3646"/>
                  <a:pt x="335070" y="1987"/>
                  <a:pt x="341357" y="1991"/>
                </a:cubicBezTo>
                <a:close/>
                <a:moveTo>
                  <a:pt x="274996" y="1991"/>
                </a:moveTo>
                <a:cubicBezTo>
                  <a:pt x="282304" y="2148"/>
                  <a:pt x="288040" y="4270"/>
                  <a:pt x="292205" y="8356"/>
                </a:cubicBezTo>
                <a:cubicBezTo>
                  <a:pt x="296370" y="12442"/>
                  <a:pt x="298492" y="17550"/>
                  <a:pt x="298570" y="23679"/>
                </a:cubicBezTo>
                <a:cubicBezTo>
                  <a:pt x="298431" y="29195"/>
                  <a:pt x="296929" y="33906"/>
                  <a:pt x="294065" y="37811"/>
                </a:cubicBezTo>
                <a:cubicBezTo>
                  <a:pt x="291201" y="41716"/>
                  <a:pt x="287813" y="45353"/>
                  <a:pt x="283902" y="48721"/>
                </a:cubicBezTo>
                <a:lnTo>
                  <a:pt x="262633" y="68314"/>
                </a:lnTo>
                <a:lnTo>
                  <a:pt x="300352" y="68314"/>
                </a:lnTo>
                <a:lnTo>
                  <a:pt x="300352" y="76905"/>
                </a:lnTo>
                <a:lnTo>
                  <a:pt x="249745" y="76905"/>
                </a:lnTo>
                <a:lnTo>
                  <a:pt x="249745" y="68837"/>
                </a:lnTo>
                <a:lnTo>
                  <a:pt x="277615" y="42748"/>
                </a:lnTo>
                <a:cubicBezTo>
                  <a:pt x="281162" y="39557"/>
                  <a:pt x="283943" y="36536"/>
                  <a:pt x="285958" y="33685"/>
                </a:cubicBezTo>
                <a:cubicBezTo>
                  <a:pt x="287973" y="30835"/>
                  <a:pt x="288999" y="27499"/>
                  <a:pt x="289036" y="23679"/>
                </a:cubicBezTo>
                <a:cubicBezTo>
                  <a:pt x="288972" y="19879"/>
                  <a:pt x="287658" y="16766"/>
                  <a:pt x="285094" y="14341"/>
                </a:cubicBezTo>
                <a:cubicBezTo>
                  <a:pt x="282529" y="11916"/>
                  <a:pt x="279093" y="10663"/>
                  <a:pt x="274786" y="10582"/>
                </a:cubicBezTo>
                <a:cubicBezTo>
                  <a:pt x="270327" y="10635"/>
                  <a:pt x="266751" y="11787"/>
                  <a:pt x="264060" y="14040"/>
                </a:cubicBezTo>
                <a:cubicBezTo>
                  <a:pt x="261369" y="16293"/>
                  <a:pt x="259601" y="19331"/>
                  <a:pt x="258756" y="23155"/>
                </a:cubicBezTo>
                <a:lnTo>
                  <a:pt x="249536" y="23155"/>
                </a:lnTo>
                <a:cubicBezTo>
                  <a:pt x="250439" y="16819"/>
                  <a:pt x="253111" y="11733"/>
                  <a:pt x="257551" y="7898"/>
                </a:cubicBezTo>
                <a:cubicBezTo>
                  <a:pt x="261991" y="4062"/>
                  <a:pt x="267806" y="2094"/>
                  <a:pt x="274996" y="1991"/>
                </a:cubicBezTo>
                <a:close/>
                <a:moveTo>
                  <a:pt x="210207" y="1991"/>
                </a:moveTo>
                <a:cubicBezTo>
                  <a:pt x="216125" y="2051"/>
                  <a:pt x="221157" y="3700"/>
                  <a:pt x="225302" y="6939"/>
                </a:cubicBezTo>
                <a:cubicBezTo>
                  <a:pt x="229447" y="10177"/>
                  <a:pt x="232609" y="14643"/>
                  <a:pt x="234786" y="20338"/>
                </a:cubicBezTo>
                <a:cubicBezTo>
                  <a:pt x="236964" y="26033"/>
                  <a:pt x="238061" y="32595"/>
                  <a:pt x="238077" y="40024"/>
                </a:cubicBezTo>
                <a:cubicBezTo>
                  <a:pt x="238061" y="47454"/>
                  <a:pt x="236964" y="54016"/>
                  <a:pt x="234786" y="59710"/>
                </a:cubicBezTo>
                <a:cubicBezTo>
                  <a:pt x="232609" y="65405"/>
                  <a:pt x="229447" y="69872"/>
                  <a:pt x="225302" y="73110"/>
                </a:cubicBezTo>
                <a:cubicBezTo>
                  <a:pt x="221157" y="76348"/>
                  <a:pt x="216125" y="77997"/>
                  <a:pt x="210207" y="78058"/>
                </a:cubicBezTo>
                <a:cubicBezTo>
                  <a:pt x="204288" y="77997"/>
                  <a:pt x="199257" y="76348"/>
                  <a:pt x="195112" y="73110"/>
                </a:cubicBezTo>
                <a:cubicBezTo>
                  <a:pt x="190967" y="69872"/>
                  <a:pt x="187805" y="65405"/>
                  <a:pt x="185627" y="59710"/>
                </a:cubicBezTo>
                <a:cubicBezTo>
                  <a:pt x="183450" y="54016"/>
                  <a:pt x="182353" y="47454"/>
                  <a:pt x="182337" y="40024"/>
                </a:cubicBezTo>
                <a:cubicBezTo>
                  <a:pt x="182353" y="32595"/>
                  <a:pt x="183450" y="26033"/>
                  <a:pt x="185627" y="20338"/>
                </a:cubicBezTo>
                <a:cubicBezTo>
                  <a:pt x="187805" y="14643"/>
                  <a:pt x="190967" y="10177"/>
                  <a:pt x="195112" y="6939"/>
                </a:cubicBezTo>
                <a:cubicBezTo>
                  <a:pt x="199257" y="3700"/>
                  <a:pt x="204288" y="2051"/>
                  <a:pt x="210207" y="1991"/>
                </a:cubicBezTo>
                <a:close/>
                <a:moveTo>
                  <a:pt x="141646" y="1991"/>
                </a:moveTo>
                <a:cubicBezTo>
                  <a:pt x="148954" y="2148"/>
                  <a:pt x="154690" y="4270"/>
                  <a:pt x="158855" y="8356"/>
                </a:cubicBezTo>
                <a:cubicBezTo>
                  <a:pt x="163020" y="12442"/>
                  <a:pt x="165142" y="17550"/>
                  <a:pt x="165220" y="23679"/>
                </a:cubicBezTo>
                <a:cubicBezTo>
                  <a:pt x="165081" y="29195"/>
                  <a:pt x="163579" y="33906"/>
                  <a:pt x="160715" y="37811"/>
                </a:cubicBezTo>
                <a:cubicBezTo>
                  <a:pt x="157851" y="41716"/>
                  <a:pt x="154463" y="45353"/>
                  <a:pt x="150552" y="48721"/>
                </a:cubicBezTo>
                <a:lnTo>
                  <a:pt x="129282" y="68314"/>
                </a:lnTo>
                <a:lnTo>
                  <a:pt x="167002" y="68314"/>
                </a:lnTo>
                <a:lnTo>
                  <a:pt x="167002" y="76905"/>
                </a:lnTo>
                <a:lnTo>
                  <a:pt x="116395" y="76905"/>
                </a:lnTo>
                <a:lnTo>
                  <a:pt x="116395" y="68837"/>
                </a:lnTo>
                <a:lnTo>
                  <a:pt x="144265" y="42748"/>
                </a:lnTo>
                <a:cubicBezTo>
                  <a:pt x="147812" y="39557"/>
                  <a:pt x="150593" y="36536"/>
                  <a:pt x="152608" y="33685"/>
                </a:cubicBezTo>
                <a:cubicBezTo>
                  <a:pt x="154623" y="30835"/>
                  <a:pt x="155649" y="27499"/>
                  <a:pt x="155686" y="23679"/>
                </a:cubicBezTo>
                <a:cubicBezTo>
                  <a:pt x="155623" y="19879"/>
                  <a:pt x="154308" y="16766"/>
                  <a:pt x="151744" y="14341"/>
                </a:cubicBezTo>
                <a:cubicBezTo>
                  <a:pt x="149179" y="11916"/>
                  <a:pt x="145743" y="10663"/>
                  <a:pt x="141436" y="10582"/>
                </a:cubicBezTo>
                <a:cubicBezTo>
                  <a:pt x="136977" y="10635"/>
                  <a:pt x="133401" y="11787"/>
                  <a:pt x="130710" y="14040"/>
                </a:cubicBezTo>
                <a:cubicBezTo>
                  <a:pt x="128019" y="16293"/>
                  <a:pt x="126250" y="19331"/>
                  <a:pt x="125406" y="23155"/>
                </a:cubicBezTo>
                <a:lnTo>
                  <a:pt x="116186" y="23155"/>
                </a:lnTo>
                <a:cubicBezTo>
                  <a:pt x="117089" y="16819"/>
                  <a:pt x="119761" y="11733"/>
                  <a:pt x="124201" y="7898"/>
                </a:cubicBezTo>
                <a:cubicBezTo>
                  <a:pt x="128641" y="4062"/>
                  <a:pt x="134456" y="2094"/>
                  <a:pt x="141646" y="1991"/>
                </a:cubicBezTo>
                <a:close/>
                <a:moveTo>
                  <a:pt x="3494989" y="0"/>
                </a:moveTo>
                <a:lnTo>
                  <a:pt x="3494989" y="8697"/>
                </a:lnTo>
                <a:lnTo>
                  <a:pt x="3475710" y="12259"/>
                </a:lnTo>
                <a:cubicBezTo>
                  <a:pt x="3469812" y="13339"/>
                  <a:pt x="3465473" y="15579"/>
                  <a:pt x="3462692" y="18978"/>
                </a:cubicBezTo>
                <a:cubicBezTo>
                  <a:pt x="3459911" y="22376"/>
                  <a:pt x="3458244" y="27052"/>
                  <a:pt x="3457689" y="33004"/>
                </a:cubicBezTo>
                <a:cubicBezTo>
                  <a:pt x="3459697" y="30066"/>
                  <a:pt x="3462256" y="27849"/>
                  <a:pt x="3465364" y="26351"/>
                </a:cubicBezTo>
                <a:cubicBezTo>
                  <a:pt x="3468472" y="24854"/>
                  <a:pt x="3472025" y="24103"/>
                  <a:pt x="3476024" y="24098"/>
                </a:cubicBezTo>
                <a:cubicBezTo>
                  <a:pt x="3482992" y="24136"/>
                  <a:pt x="3488728" y="26445"/>
                  <a:pt x="3493234" y="31027"/>
                </a:cubicBezTo>
                <a:cubicBezTo>
                  <a:pt x="3497739" y="35608"/>
                  <a:pt x="3500070" y="42240"/>
                  <a:pt x="3500228" y="50921"/>
                </a:cubicBezTo>
                <a:cubicBezTo>
                  <a:pt x="3500204" y="56006"/>
                  <a:pt x="3499180" y="60586"/>
                  <a:pt x="3497158" y="64662"/>
                </a:cubicBezTo>
                <a:cubicBezTo>
                  <a:pt x="3495136" y="68738"/>
                  <a:pt x="3492258" y="71975"/>
                  <a:pt x="3488524" y="74375"/>
                </a:cubicBezTo>
                <a:cubicBezTo>
                  <a:pt x="3484790" y="76774"/>
                  <a:pt x="3480344" y="78002"/>
                  <a:pt x="3475186" y="78058"/>
                </a:cubicBezTo>
                <a:cubicBezTo>
                  <a:pt x="3467018" y="77999"/>
                  <a:pt x="3460566" y="75209"/>
                  <a:pt x="3455829" y="69689"/>
                </a:cubicBezTo>
                <a:cubicBezTo>
                  <a:pt x="3451092" y="64168"/>
                  <a:pt x="3448674" y="56271"/>
                  <a:pt x="3448573" y="45996"/>
                </a:cubicBezTo>
                <a:cubicBezTo>
                  <a:pt x="3448513" y="32937"/>
                  <a:pt x="3450495" y="23145"/>
                  <a:pt x="3454519" y="16620"/>
                </a:cubicBezTo>
                <a:cubicBezTo>
                  <a:pt x="3458545" y="10096"/>
                  <a:pt x="3464980" y="5988"/>
                  <a:pt x="3473824" y="429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ru-RU"/>
          </a:p>
        </p:txBody>
      </p:sp>
      <p:pic>
        <p:nvPicPr>
          <p:cNvPr id="6" name="Рисунок 5" descr="Изображение выглядит как Шрифт, Графика, символ, логотип&#10;&#10;Автоматически созданное описание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9666513" y="432629"/>
            <a:ext cx="2092099" cy="31018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 темны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D2B8846-9ACD-49CB-BA30-6B0773C468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619" y="3082944"/>
            <a:ext cx="9415914" cy="59330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Обложка раздела</a:t>
            </a:r>
            <a:endParaRPr lang="en-US" dirty="0"/>
          </a:p>
        </p:txBody>
      </p:sp>
      <p:sp>
        <p:nvSpPr>
          <p:cNvPr id="4" name="Текст 2">
            <a:extLst>
              <a:ext uri="{FF2B5EF4-FFF2-40B4-BE49-F238E27FC236}">
                <a16:creationId xmlns:a16="http://schemas.microsoft.com/office/drawing/2014/main" id="{6F5BE6CC-BCDA-4FE1-9262-912C1FA52D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619" y="3924300"/>
            <a:ext cx="941591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ru-RU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</a:pPr>
            <a:r>
              <a:rPr lang="ru-RU" dirty="0"/>
              <a:t>Подзаголовок</a:t>
            </a:r>
          </a:p>
        </p:txBody>
      </p:sp>
      <p:pic>
        <p:nvPicPr>
          <p:cNvPr id="7" name="Т1">
            <a:extLst>
              <a:ext uri="{FF2B5EF4-FFF2-40B4-BE49-F238E27FC236}">
                <a16:creationId xmlns:a16="http://schemas.microsoft.com/office/drawing/2014/main" id="{9B7F86C3-546D-4431-A005-6D1D25C3392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618" y="443502"/>
            <a:ext cx="1608525" cy="599485"/>
          </a:xfrm>
          <a:prstGeom prst="rect">
            <a:avLst/>
          </a:prstGeom>
        </p:spPr>
      </p:pic>
      <p:pic>
        <p:nvPicPr>
          <p:cNvPr id="3" name="Рисунок 2" descr="Изображение выглядит как Шрифт, Графика, символ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BC484DB0-5AFF-C264-7E87-4AF1E00BD6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66513" y="432629"/>
            <a:ext cx="2092099" cy="310185"/>
          </a:xfrm>
          <a:prstGeom prst="rect">
            <a:avLst/>
          </a:prstGeom>
        </p:spPr>
      </p:pic>
      <p:pic>
        <p:nvPicPr>
          <p:cNvPr id="2" name="Рисунок 1" descr="Изображение выглядит как Шрифт, Графика, символ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C95422B2-B0F8-6A70-9EA4-5996480EAE6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9666513" y="432629"/>
            <a:ext cx="2092099" cy="310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5813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Маленький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4" name="Номер слайда 5"/>
          <p:cNvSpPr txBox="1"/>
          <p:nvPr/>
        </p:nvSpPr>
        <p:spPr bwMode="auto">
          <a:xfrm>
            <a:off x="0" y="6565920"/>
            <a:ext cx="432000" cy="12311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9B51A1E-902D-48AF-9020-955120F399B6}" type="slidenum">
              <a:rPr lang="ru-RU" sz="800" b="0" i="0" u="none" strike="noStrike" cap="none" spc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latin typeface="ALS Hauss"/>
                <a:ea typeface="Verdana"/>
                <a:cs typeface="Verdana"/>
              </a:rPr>
              <a:t>‹#›</a:t>
            </a:fld>
            <a:endParaRPr lang="ru-RU" sz="800" b="0" i="0" u="none" strike="noStrike" cap="none" spc="0">
              <a:ln>
                <a:noFill/>
              </a:ln>
              <a:solidFill>
                <a:schemeClr val="bg1">
                  <a:lumMod val="65000"/>
                </a:schemeClr>
              </a:solidFill>
              <a:latin typeface="ALS Hauss"/>
              <a:ea typeface="Verdana"/>
              <a:cs typeface="Verdana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 bwMode="auto"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 bwMode="auto">
          <a:xfrm>
            <a:off x="432619" y="466293"/>
            <a:ext cx="9519903" cy="22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8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Номер слайда 5"/>
          <p:cNvSpPr txBox="1"/>
          <p:nvPr/>
        </p:nvSpPr>
        <p:spPr bwMode="auto">
          <a:xfrm>
            <a:off x="0" y="6565920"/>
            <a:ext cx="432000" cy="12311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9B51A1E-902D-48AF-9020-955120F399B6}" type="slidenum">
              <a:rPr lang="ru-RU" sz="800" b="0" i="0" u="none" strike="noStrike" cap="none" spc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latin typeface="ALS Hauss"/>
                <a:ea typeface="Verdana"/>
                <a:cs typeface="Verdana"/>
              </a:rPr>
              <a:t>‹#›</a:t>
            </a:fld>
            <a:endParaRPr lang="ru-RU" sz="800" b="0" i="0" u="none" strike="noStrike" cap="none" spc="0">
              <a:ln>
                <a:noFill/>
              </a:ln>
              <a:solidFill>
                <a:schemeClr val="bg1">
                  <a:lumMod val="65000"/>
                </a:schemeClr>
              </a:solidFill>
              <a:latin typeface="ALS Hauss"/>
              <a:ea typeface="Verdana"/>
              <a:cs typeface="Verdana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 bwMode="auto"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3_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Номер слайда 5"/>
          <p:cNvSpPr txBox="1"/>
          <p:nvPr/>
        </p:nvSpPr>
        <p:spPr bwMode="auto">
          <a:xfrm>
            <a:off x="0" y="6565920"/>
            <a:ext cx="432000" cy="12311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9B51A1E-902D-48AF-9020-955120F399B6}" type="slidenum">
              <a:rPr lang="ru-RU" sz="800" b="0" i="0" u="none" strike="noStrike" cap="none" spc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latin typeface="ALS Hauss"/>
                <a:ea typeface="Verdana"/>
                <a:cs typeface="Verdana"/>
              </a:rPr>
              <a:t>‹#›</a:t>
            </a:fld>
            <a:endParaRPr lang="ru-RU" sz="800" b="0" i="0" u="none" strike="noStrike" cap="none" spc="0">
              <a:ln>
                <a:noFill/>
              </a:ln>
              <a:solidFill>
                <a:schemeClr val="bg1">
                  <a:lumMod val="65000"/>
                </a:schemeClr>
              </a:solidFill>
              <a:latin typeface="ALS Hauss"/>
              <a:ea typeface="Verdana"/>
              <a:cs typeface="Verdana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 bwMode="auto"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3" name="Рисунок 2" descr="Изображение выглядит как снимок экрана, размытие, дизайн, свет&#10;&#10;Автоматически созданное описание"/>
          <p:cNvPicPr>
            <a:picLocks noChangeAspect="1"/>
          </p:cNvPicPr>
          <p:nvPr userDrawn="1"/>
        </p:nvPicPr>
        <p:blipFill>
          <a:blip r:embed="rId2"/>
          <a:srcRect r="25021"/>
          <a:stretch/>
        </p:blipFill>
        <p:spPr bwMode="auto">
          <a:xfrm flipH="1">
            <a:off x="-1" y="676"/>
            <a:ext cx="12192000" cy="6857324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 bwMode="auto">
          <a:xfrm>
            <a:off x="432619" y="5489338"/>
            <a:ext cx="4542991" cy="10132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sz="1400" b="0" i="0" u="none" strike="noStrike" cap="none" spc="0">
                <a:ln>
                  <a:noFill/>
                </a:ln>
                <a:solidFill>
                  <a:srgbClr val="0061D5"/>
                </a:solidFill>
                <a:latin typeface="ALS Hauss"/>
                <a:ea typeface="Arial"/>
                <a:cs typeface="Arial"/>
              </a:rPr>
              <a:t>servionica.ru</a:t>
            </a:r>
          </a:p>
          <a:p>
            <a:pPr>
              <a:lnSpc>
                <a:spcPct val="120000"/>
              </a:lnSpc>
              <a:defRPr/>
            </a:pPr>
            <a:r>
              <a:rPr lang="en-US" sz="1400" b="0" i="0" u="none" strike="noStrike" cap="none" spc="0">
                <a:ln>
                  <a:noFill/>
                </a:ln>
                <a:solidFill>
                  <a:srgbClr val="0061D5"/>
                </a:solidFill>
                <a:latin typeface="ALS Hauss"/>
                <a:ea typeface="Arial"/>
                <a:cs typeface="Arial"/>
              </a:rPr>
              <a:t>info@servionica.ru            </a:t>
            </a:r>
            <a:endParaRPr/>
          </a:p>
          <a:p>
            <a:pPr>
              <a:lnSpc>
                <a:spcPct val="120000"/>
              </a:lnSpc>
              <a:defRPr/>
            </a:pPr>
            <a:r>
              <a:rPr lang="ru-RU" sz="1400" b="0" i="0" u="none" strike="noStrike" cap="none" spc="0">
                <a:ln>
                  <a:noFill/>
                </a:ln>
                <a:solidFill>
                  <a:srgbClr val="0061D5"/>
                </a:solidFill>
                <a:latin typeface="ALS Hauss"/>
                <a:ea typeface="Arial"/>
                <a:cs typeface="Arial"/>
              </a:rPr>
              <a:t>+7(495)</a:t>
            </a:r>
            <a:r>
              <a:rPr lang="en-US" sz="1400" b="0" i="0" u="none" strike="noStrike" cap="none" spc="0">
                <a:ln>
                  <a:noFill/>
                </a:ln>
                <a:solidFill>
                  <a:srgbClr val="0061D5"/>
                </a:solidFill>
                <a:latin typeface="ALS Hauss"/>
                <a:ea typeface="Arial"/>
                <a:cs typeface="Arial"/>
              </a:rPr>
              <a:t> </a:t>
            </a:r>
            <a:r>
              <a:rPr lang="ru-RU" sz="1400" b="0" i="0" u="none" strike="noStrike" cap="none" spc="0">
                <a:ln>
                  <a:noFill/>
                </a:ln>
                <a:solidFill>
                  <a:srgbClr val="0061D5"/>
                </a:solidFill>
                <a:latin typeface="ALS Hauss"/>
                <a:ea typeface="Arial"/>
                <a:cs typeface="Arial"/>
              </a:rPr>
              <a:t>788-0-788</a:t>
            </a:r>
            <a:endParaRPr/>
          </a:p>
          <a:p>
            <a:pPr>
              <a:lnSpc>
                <a:spcPct val="120000"/>
              </a:lnSpc>
              <a:defRPr/>
            </a:pPr>
            <a:r>
              <a:rPr lang="ru-RU" sz="1400" b="0" i="0" u="none" strike="noStrike" cap="none" spc="0">
                <a:ln>
                  <a:noFill/>
                </a:ln>
                <a:solidFill>
                  <a:srgbClr val="0061D5"/>
                </a:solidFill>
                <a:latin typeface="ALS Hauss"/>
                <a:ea typeface="Arial"/>
                <a:cs typeface="Arial"/>
              </a:rPr>
              <a:t>г. Москва ул. Профсоюзная, 76</a:t>
            </a:r>
            <a:endParaRPr/>
          </a:p>
        </p:txBody>
      </p:sp>
      <p:pic>
        <p:nvPicPr>
          <p:cNvPr id="7" name="Рисунок 6" descr="Изображение выглядит как Шрифт, Графика, символ, логотип&#10;&#10;Автоматически созданное описание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431799" y="431799"/>
            <a:ext cx="3908125" cy="57943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 bwMode="auto">
          <a:xfrm>
            <a:off x="422680" y="2921040"/>
            <a:ext cx="6115050" cy="118423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l" defTabSz="914400">
              <a:lnSpc>
                <a:spcPct val="80000"/>
              </a:lnSpc>
              <a:spcBef>
                <a:spcPts val="0"/>
              </a:spcBef>
              <a:buNone/>
              <a:defRPr/>
            </a:pPr>
            <a:r>
              <a:rPr lang="ru-RU" sz="4800">
                <a:solidFill>
                  <a:srgbClr val="0061D5"/>
                </a:solidFill>
                <a:latin typeface="ALS Hauss Medium"/>
                <a:ea typeface="Arial"/>
                <a:cs typeface="Arial"/>
              </a:rPr>
              <a:t>Спасибо </a:t>
            </a:r>
            <a:br>
              <a:rPr lang="ru-RU" sz="4800">
                <a:solidFill>
                  <a:srgbClr val="0061D5"/>
                </a:solidFill>
                <a:latin typeface="ALS Hauss Medium"/>
                <a:ea typeface="Arial"/>
                <a:cs typeface="Arial"/>
              </a:rPr>
            </a:br>
            <a:r>
              <a:rPr lang="ru-RU" sz="4800">
                <a:solidFill>
                  <a:srgbClr val="0061D5"/>
                </a:solidFill>
                <a:latin typeface="ALS Hauss Medium"/>
                <a:ea typeface="Arial"/>
                <a:cs typeface="Arial"/>
              </a:rPr>
              <a:t>за внимание!</a:t>
            </a:r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1 строка +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ижний колонтитул 1">
            <a:extLst>
              <a:ext uri="{FF2B5EF4-FFF2-40B4-BE49-F238E27FC236}">
                <a16:creationId xmlns:a16="http://schemas.microsoft.com/office/drawing/2014/main" id="{9C14ED32-7544-42DC-8715-95D91EA019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5245" y="6569260"/>
            <a:ext cx="1746657" cy="21598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/>
              <a:t>Оперативное совещание 14.02</a:t>
            </a:r>
            <a:endParaRPr lang="ru-RU" dirty="0"/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2ABD7811-6992-48B9-9A1D-98366247A3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127" y="1197033"/>
            <a:ext cx="11294930" cy="33239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AAE6"/>
                </a:solidFill>
                <a:latin typeface="ALS Hauss" panose="000005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5" name="Title Placeholder 6">
            <a:extLst>
              <a:ext uri="{FF2B5EF4-FFF2-40B4-BE49-F238E27FC236}">
                <a16:creationId xmlns:a16="http://schemas.microsoft.com/office/drawing/2014/main" id="{4EB224F2-8AA5-4221-8E0F-A7B3FE7B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481" y="419088"/>
            <a:ext cx="1018267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10106068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D5CD070-FCA7-4763-AD8F-A156764BC9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6794" y="442914"/>
            <a:ext cx="2282294" cy="306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7209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BB6EEBD-206E-4AE4-8FE6-837B83458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40A24B2-CC87-4098-9AF9-779D3F1DAC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FBF0810-2792-484F-B4F7-EA7B6260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82EC7-9BD5-488E-951C-682A3F2224C1}" type="datetimeFigureOut">
              <a:rPr lang="ru-RU" smtClean="0"/>
              <a:t>09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E6E9275-BA6D-42D9-8728-DB697C664F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06ADD1B-E264-450F-8351-7C822E9BE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4AF979-F9D7-4667-9897-73E8902E2D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73074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Содержание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31E6FEA-55A1-FDCA-E85E-196DB5BBCF3F}"/>
              </a:ext>
            </a:extLst>
          </p:cNvPr>
          <p:cNvSpPr txBox="1"/>
          <p:nvPr/>
        </p:nvSpPr>
        <p:spPr>
          <a:xfrm>
            <a:off x="431800" y="375858"/>
            <a:ext cx="8950682" cy="6647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ru-RU" sz="4800" b="0" kern="1200" spc="-150" baseline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Содержание</a:t>
            </a:r>
          </a:p>
        </p:txBody>
      </p:sp>
      <p:sp>
        <p:nvSpPr>
          <p:cNvPr id="7" name="Текст 2">
            <a:extLst>
              <a:ext uri="{FF2B5EF4-FFF2-40B4-BE49-F238E27FC236}">
                <a16:creationId xmlns:a16="http://schemas.microsoft.com/office/drawing/2014/main" id="{1C9C9AA4-C952-6470-6C12-FE661562D9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697229"/>
            <a:ext cx="565308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ALS Hauss" panose="000005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Пункты</a:t>
            </a:r>
          </a:p>
        </p:txBody>
      </p:sp>
      <p:pic>
        <p:nvPicPr>
          <p:cNvPr id="3" name="Рисунок 2" descr="Изображение выглядит как Шрифт, Графика, символ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095637E0-5C47-FDF8-FCE8-ED7DAD27BF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66513" y="432629"/>
            <a:ext cx="2092099" cy="310185"/>
          </a:xfrm>
          <a:prstGeom prst="rect">
            <a:avLst/>
          </a:prstGeom>
        </p:spPr>
      </p:pic>
      <p:pic>
        <p:nvPicPr>
          <p:cNvPr id="2" name="Рисунок 1" descr="Изображение выглядит как Шрифт, Графика, символ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F965528C-7003-F1E0-7E26-F32CB3B761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9666513" y="432629"/>
            <a:ext cx="2092099" cy="310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4829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A8B37D52-36D9-4E44-80B3-5A8CD72A4E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619" y="423292"/>
            <a:ext cx="9606530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93664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ент +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CF34B08F-006B-41C1-86DE-CC7D9DD576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619" y="1229955"/>
            <a:ext cx="961625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 panose="000005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9" name="Заголовок 5">
            <a:extLst>
              <a:ext uri="{FF2B5EF4-FFF2-40B4-BE49-F238E27FC236}">
                <a16:creationId xmlns:a16="http://schemas.microsoft.com/office/drawing/2014/main" id="{E00EF4DE-B783-4553-8F88-845E34CFB5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619" y="423292"/>
            <a:ext cx="6260281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465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Контент +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BCB0B84-622A-A22C-7F88-4654863459AC}"/>
              </a:ext>
            </a:extLst>
          </p:cNvPr>
          <p:cNvSpPr/>
          <p:nvPr/>
        </p:nvSpPr>
        <p:spPr>
          <a:xfrm>
            <a:off x="7151688" y="0"/>
            <a:ext cx="504031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tlCol="0" anchor="t"/>
          <a:lstStyle/>
          <a:p>
            <a:pPr algn="l"/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F34B08F-006B-41C1-86DE-CC7D9DD576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619" y="1229955"/>
            <a:ext cx="595071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 panose="000005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9" name="Заголовок 5">
            <a:extLst>
              <a:ext uri="{FF2B5EF4-FFF2-40B4-BE49-F238E27FC236}">
                <a16:creationId xmlns:a16="http://schemas.microsoft.com/office/drawing/2014/main" id="{E00EF4DE-B783-4553-8F88-845E34CFB5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619" y="423292"/>
            <a:ext cx="5950719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6" name="Рисунок 5" descr="Изображение выглядит как Шрифт, Графика, символ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39911E5A-CEDE-088C-4B26-D4953E3E4D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66513" y="431800"/>
            <a:ext cx="2092099" cy="310185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99E007B-5BA4-1760-D93F-56BAA43D5884}"/>
              </a:ext>
            </a:extLst>
          </p:cNvPr>
          <p:cNvSpPr/>
          <p:nvPr userDrawn="1"/>
        </p:nvSpPr>
        <p:spPr bwMode="auto">
          <a:xfrm>
            <a:off x="7151687" y="0"/>
            <a:ext cx="504031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tlCol="0" anchor="t"/>
          <a:lstStyle/>
          <a:p>
            <a:pPr algn="l">
              <a:defRPr/>
            </a:pPr>
            <a:endParaRPr lang="ru-RU" sz="1600" b="1">
              <a:solidFill>
                <a:schemeClr val="tx2"/>
              </a:solidFill>
            </a:endParaRPr>
          </a:p>
        </p:txBody>
      </p:sp>
      <p:pic>
        <p:nvPicPr>
          <p:cNvPr id="8" name="Рисунок 7" descr="Изображение выглядит как Шрифт, Графика, символ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72723DDF-8252-DBF0-7A70-F43CECCC2B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9666513" y="431799"/>
            <a:ext cx="2092099" cy="310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3546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ент 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CF34B08F-006B-41C1-86DE-CC7D9DD576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619" y="1268936"/>
            <a:ext cx="961625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2"/>
                </a:solidFill>
                <a:latin typeface="ALS Hauss" panose="000005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4" name="Текст 2">
            <a:extLst>
              <a:ext uri="{FF2B5EF4-FFF2-40B4-BE49-F238E27FC236}">
                <a16:creationId xmlns:a16="http://schemas.microsoft.com/office/drawing/2014/main" id="{3E31C3C2-BC8A-414D-ADBB-46933F75C8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619" y="2945077"/>
            <a:ext cx="339028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 panose="000005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Текст </a:t>
            </a: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3108FAD9-BD74-450D-947C-8ED0739C59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8967" y="2945077"/>
            <a:ext cx="327920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 panose="000005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Текст 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5FB85942-ED04-4227-A0A4-69ECA2C117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63341" y="2945077"/>
            <a:ext cx="339028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 panose="000005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Текст </a:t>
            </a: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9C9A92C7-B9C3-4926-A787-2AAADBD9D7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2" name="Заголовок 5">
            <a:extLst>
              <a:ext uri="{FF2B5EF4-FFF2-40B4-BE49-F238E27FC236}">
                <a16:creationId xmlns:a16="http://schemas.microsoft.com/office/drawing/2014/main" id="{D2B9477C-4BCB-41A1-A836-16598DC880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619" y="423292"/>
            <a:ext cx="9616256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565748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ент 4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CF34B08F-006B-41C1-86DE-CC7D9DD576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619" y="1268936"/>
            <a:ext cx="961625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2"/>
                </a:solidFill>
                <a:latin typeface="ALS Hauss" panose="000005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4" name="Текст 2">
            <a:extLst>
              <a:ext uri="{FF2B5EF4-FFF2-40B4-BE49-F238E27FC236}">
                <a16:creationId xmlns:a16="http://schemas.microsoft.com/office/drawing/2014/main" id="{3E31C3C2-BC8A-414D-ADBB-46933F75C8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619" y="2945074"/>
            <a:ext cx="234868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 panose="000005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Текст 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9821FB58-EEFF-4D62-8E3E-1195BEE71EE4}"/>
              </a:ext>
            </a:extLst>
          </p:cNvPr>
          <p:cNvSpPr txBox="1">
            <a:spLocks/>
          </p:cNvSpPr>
          <p:nvPr/>
        </p:nvSpPr>
        <p:spPr>
          <a:xfrm>
            <a:off x="0" y="6565920"/>
            <a:ext cx="432000" cy="12311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 rtl="0"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B51A1E-902D-48AF-9020-955120F399B6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LS Hauss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LS Haus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E246E568-BE14-4E5B-8D10-FB962D3638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5057" y="2945074"/>
            <a:ext cx="234868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 panose="000005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Текст </a:t>
            </a:r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1DCEB751-9680-46B5-9E2E-F2DF89FD96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27542" y="2945074"/>
            <a:ext cx="234868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 panose="000005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Текст 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8A375BFB-F95F-4BE2-A6D9-6E6681078C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10700" y="2945074"/>
            <a:ext cx="234868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LS Hauss" panose="000005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Текст </a:t>
            </a: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C36EBE3C-35A1-45FC-BF5E-B009BA14D4E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32619" y="6316884"/>
            <a:ext cx="4114800" cy="12311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4" name="Заголовок 5">
            <a:extLst>
              <a:ext uri="{FF2B5EF4-FFF2-40B4-BE49-F238E27FC236}">
                <a16:creationId xmlns:a16="http://schemas.microsoft.com/office/drawing/2014/main" id="{848787F0-71AD-454B-801F-BD480A72AC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619" y="423292"/>
            <a:ext cx="9616256" cy="3708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3000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03705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ижний колонтитул 1">
            <a:extLst>
              <a:ext uri="{FF2B5EF4-FFF2-40B4-BE49-F238E27FC236}">
                <a16:creationId xmlns:a16="http://schemas.microsoft.com/office/drawing/2014/main" id="{CA63CDCD-30A2-4DA6-B570-31B3BF14C402}"/>
              </a:ext>
            </a:extLst>
          </p:cNvPr>
          <p:cNvSpPr txBox="1">
            <a:spLocks/>
          </p:cNvSpPr>
          <p:nvPr/>
        </p:nvSpPr>
        <p:spPr>
          <a:xfrm>
            <a:off x="432619" y="5806118"/>
            <a:ext cx="9266646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6931D869-02FE-9457-98EC-05F8C24AF736}"/>
              </a:ext>
            </a:extLst>
          </p:cNvPr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8730182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" name="think-cell Slide" r:id="rId39" imgW="7772400" imgH="10058400" progId="TCLayout.ActiveDocument.1">
                  <p:embed/>
                </p:oleObj>
              </mc:Choice>
              <mc:Fallback>
                <p:oleObj name="think-cell Slide" r:id="rId39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6931D869-02FE-9457-98EC-05F8C24A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81387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86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49" r:id="rId19"/>
    <p:sldLayoutId id="2147483651" r:id="rId20"/>
    <p:sldLayoutId id="2147483652" r:id="rId21"/>
    <p:sldLayoutId id="2147483653" r:id="rId22"/>
    <p:sldLayoutId id="2147483654" r:id="rId23"/>
    <p:sldLayoutId id="2147483655" r:id="rId24"/>
    <p:sldLayoutId id="2147483656" r:id="rId25"/>
    <p:sldLayoutId id="2147483657" r:id="rId26"/>
    <p:sldLayoutId id="2147483658" r:id="rId27"/>
    <p:sldLayoutId id="2147483659" r:id="rId28"/>
    <p:sldLayoutId id="2147483660" r:id="rId29"/>
    <p:sldLayoutId id="2147483661" r:id="rId30"/>
    <p:sldLayoutId id="2147483662" r:id="rId31"/>
    <p:sldLayoutId id="2147483663" r:id="rId32"/>
    <p:sldLayoutId id="2147483687" r:id="rId33"/>
    <p:sldLayoutId id="2147483689" r:id="rId34"/>
    <p:sldLayoutId id="2147483690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>
          <p15:clr>
            <a:srgbClr val="BBE3F7"/>
          </p15:clr>
        </p15:guide>
        <p15:guide id="2" pos="7680">
          <p15:clr>
            <a:srgbClr val="BBE3F7"/>
          </p15:clr>
        </p15:guide>
        <p15:guide id="28" pos="3840" userDrawn="1">
          <p15:clr>
            <a:srgbClr val="BBE3F7"/>
          </p15:clr>
        </p15:guide>
        <p15:guide id="36" pos="7401" userDrawn="1">
          <p15:clr>
            <a:srgbClr val="BBE3F7"/>
          </p15:clr>
        </p15:guide>
        <p15:guide id="38" pos="7673" userDrawn="1">
          <p15:clr>
            <a:srgbClr val="BBE3F7"/>
          </p15:clr>
        </p15:guide>
        <p15:guide id="64" orient="horz" pos="4320">
          <p15:clr>
            <a:srgbClr val="BBE3F7"/>
          </p15:clr>
        </p15:guide>
        <p15:guide id="66" orient="horz" pos="278" userDrawn="1">
          <p15:clr>
            <a:srgbClr val="BBE3F7"/>
          </p15:clr>
        </p15:guide>
        <p15:guide id="86" orient="horz" pos="2160" userDrawn="1">
          <p15:clr>
            <a:srgbClr val="BBE3F7"/>
          </p15:clr>
        </p15:guide>
        <p15:guide id="87" pos="279" userDrawn="1">
          <p15:clr>
            <a:srgbClr val="BBE3F7"/>
          </p15:clr>
        </p15:guide>
        <p15:guide id="88" orient="horz" pos="4042" userDrawn="1">
          <p15:clr>
            <a:srgbClr val="BBE3F7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13" Type="http://schemas.openxmlformats.org/officeDocument/2006/relationships/image" Target="../media/image32.png"/><Relationship Id="rId18" Type="http://schemas.openxmlformats.org/officeDocument/2006/relationships/image" Target="../media/image37.sv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svg"/><Relationship Id="rId17" Type="http://schemas.openxmlformats.org/officeDocument/2006/relationships/image" Target="../media/image36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5.sv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5.sv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10" Type="http://schemas.openxmlformats.org/officeDocument/2006/relationships/image" Target="../media/image29.svg"/><Relationship Id="rId4" Type="http://schemas.openxmlformats.org/officeDocument/2006/relationships/image" Target="../media/image23.svg"/><Relationship Id="rId9" Type="http://schemas.openxmlformats.org/officeDocument/2006/relationships/image" Target="../media/image28.png"/><Relationship Id="rId14" Type="http://schemas.openxmlformats.org/officeDocument/2006/relationships/image" Target="../media/image33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svg"/><Relationship Id="rId3" Type="http://schemas.openxmlformats.org/officeDocument/2006/relationships/image" Target="../media/image39.svg"/><Relationship Id="rId7" Type="http://schemas.openxmlformats.org/officeDocument/2006/relationships/image" Target="../media/image43.svg"/><Relationship Id="rId12" Type="http://schemas.openxmlformats.org/officeDocument/2006/relationships/image" Target="../media/image48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5" Type="http://schemas.openxmlformats.org/officeDocument/2006/relationships/image" Target="../media/image41.sv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svg"/><Relationship Id="rId1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55.jpg"/><Relationship Id="rId4" Type="http://schemas.openxmlformats.org/officeDocument/2006/relationships/image" Target="../media/image54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9D8CD25-8A1D-4954-9193-179E6C083AF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383" r="28439" b="18382"/>
          <a:stretch/>
        </p:blipFill>
        <p:spPr>
          <a:xfrm>
            <a:off x="5943600" y="-819"/>
            <a:ext cx="6248400" cy="5521255"/>
          </a:xfrm>
          <a:prstGeom prst="rect">
            <a:avLst/>
          </a:prstGeom>
          <a:noFill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6FCCBF6-95DC-43EF-8665-0E1C42A320CA}"/>
              </a:ext>
            </a:extLst>
          </p:cNvPr>
          <p:cNvSpPr txBox="1"/>
          <p:nvPr/>
        </p:nvSpPr>
        <p:spPr>
          <a:xfrm>
            <a:off x="560915" y="3087807"/>
            <a:ext cx="5130022" cy="19423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5000"/>
              </a:lnSpc>
            </a:pPr>
            <a:r>
              <a:rPr lang="ru-RU" sz="4800" dirty="0">
                <a:solidFill>
                  <a:schemeClr val="bg1"/>
                </a:solidFill>
                <a:latin typeface="+mj-lt"/>
              </a:rPr>
              <a:t>Отличное место для старта карьеры в ИТ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C64E0681-0F56-1F0C-C4EF-F5E719DDF65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50977" y="336280"/>
            <a:ext cx="432767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solidFill>
                  <a:srgbClr val="15151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1 в цифрах</a:t>
            </a:r>
          </a:p>
        </p:txBody>
      </p:sp>
      <p:sp>
        <p:nvSpPr>
          <p:cNvPr id="10" name="Скругленный прямоугольник 1">
            <a:extLst>
              <a:ext uri="{FF2B5EF4-FFF2-40B4-BE49-F238E27FC236}">
                <a16:creationId xmlns:a16="http://schemas.microsoft.com/office/drawing/2014/main" id="{AE2402AF-1B0C-5776-CF48-5B2ED4C98559}"/>
              </a:ext>
            </a:extLst>
          </p:cNvPr>
          <p:cNvSpPr/>
          <p:nvPr/>
        </p:nvSpPr>
        <p:spPr>
          <a:xfrm>
            <a:off x="6462028" y="1137897"/>
            <a:ext cx="2340000" cy="1179513"/>
          </a:xfrm>
          <a:prstGeom prst="roundRect">
            <a:avLst>
              <a:gd name="adj" fmla="val 9515"/>
            </a:avLst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 000+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численность сотрудников Холдинга Т1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Скругленный прямоугольник 3">
            <a:extLst>
              <a:ext uri="{FF2B5EF4-FFF2-40B4-BE49-F238E27FC236}">
                <a16:creationId xmlns:a16="http://schemas.microsoft.com/office/drawing/2014/main" id="{BD4D5C33-A7EB-1DC4-0108-DC2CAEE10037}"/>
              </a:ext>
            </a:extLst>
          </p:cNvPr>
          <p:cNvSpPr/>
          <p:nvPr/>
        </p:nvSpPr>
        <p:spPr>
          <a:xfrm>
            <a:off x="8928641" y="1137897"/>
            <a:ext cx="2836910" cy="1179512"/>
          </a:xfrm>
          <a:prstGeom prst="roundRect">
            <a:avLst>
              <a:gd name="adj" fmla="val 882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tlCol="0" anchor="ctr"/>
          <a:lstStyle/>
          <a:p>
            <a:pPr lvl="0">
              <a:defRPr/>
            </a:pPr>
            <a:r>
              <a:rPr lang="ru-RU" sz="4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2,9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млрд ₽</a:t>
            </a:r>
          </a:p>
          <a:p>
            <a:pPr lvl="0">
              <a:defRPr/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</a:rPr>
              <a:t>суммарная выручка холдинга</a:t>
            </a:r>
            <a:r>
              <a:rPr lang="ru-RU" sz="1200" dirty="0">
                <a:solidFill>
                  <a:srgbClr val="FFFFFF"/>
                </a:solidFill>
                <a:latin typeface="Arial" panose="020B0604020202020204"/>
              </a:rPr>
              <a:t> </a:t>
            </a:r>
            <a:br>
              <a:rPr lang="ru-RU" sz="1200" dirty="0">
                <a:solidFill>
                  <a:srgbClr val="FFFFFF"/>
                </a:solidFill>
                <a:latin typeface="Arial" panose="020B0604020202020204"/>
              </a:rPr>
            </a:br>
            <a:r>
              <a:rPr lang="ru-RU" sz="1200" dirty="0">
                <a:solidFill>
                  <a:srgbClr val="FFFFFF"/>
                </a:solidFill>
                <a:latin typeface="Arial" panose="020B0604020202020204"/>
              </a:rPr>
              <a:t>с НДС 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A8013AF8-DAC9-434C-95E9-D85407863EF8}"/>
              </a:ext>
            </a:extLst>
          </p:cNvPr>
          <p:cNvGrpSpPr/>
          <p:nvPr/>
        </p:nvGrpSpPr>
        <p:grpSpPr>
          <a:xfrm>
            <a:off x="431415" y="1137897"/>
            <a:ext cx="5904000" cy="1179513"/>
            <a:chOff x="431415" y="1388269"/>
            <a:chExt cx="5904000" cy="1179513"/>
          </a:xfrm>
        </p:grpSpPr>
        <p:sp>
          <p:nvSpPr>
            <p:cNvPr id="7" name="Скругленный прямоугольник 1">
              <a:extLst>
                <a:ext uri="{FF2B5EF4-FFF2-40B4-BE49-F238E27FC236}">
                  <a16:creationId xmlns:a16="http://schemas.microsoft.com/office/drawing/2014/main" id="{B5826864-D02C-5BE0-3A1F-564E02816EC0}"/>
                </a:ext>
              </a:extLst>
            </p:cNvPr>
            <p:cNvSpPr/>
            <p:nvPr/>
          </p:nvSpPr>
          <p:spPr>
            <a:xfrm>
              <a:off x="431415" y="1388269"/>
              <a:ext cx="5904000" cy="1179513"/>
            </a:xfrm>
            <a:prstGeom prst="roundRect">
              <a:avLst>
                <a:gd name="adj" fmla="val 9072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F6BBF56-9A55-A186-F1F9-7DD79EC6587C}"/>
                </a:ext>
              </a:extLst>
            </p:cNvPr>
            <p:cNvSpPr txBox="1"/>
            <p:nvPr/>
          </p:nvSpPr>
          <p:spPr>
            <a:xfrm>
              <a:off x="2200805" y="1626719"/>
              <a:ext cx="3813175" cy="73866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Многопрофильный ИТ-холдинг, предоставляющий полный спектр решений для реализации высокотехнологичных проектов с учётом актуальных потребностей и отраслевой специфики заказчиков</a:t>
              </a:r>
            </a:p>
          </p:txBody>
        </p:sp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CDFF39DD-5C50-48E4-1FCC-E23DBE8A94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95114" y="1741534"/>
              <a:ext cx="1207064" cy="480082"/>
            </a:xfrm>
            <a:prstGeom prst="rect">
              <a:avLst/>
            </a:prstGeom>
          </p:spPr>
        </p:pic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F9CD7FA0-965D-45FA-B468-C76FE7F9809C}"/>
              </a:ext>
            </a:extLst>
          </p:cNvPr>
          <p:cNvGrpSpPr/>
          <p:nvPr/>
        </p:nvGrpSpPr>
        <p:grpSpPr>
          <a:xfrm>
            <a:off x="5886308" y="3711162"/>
            <a:ext cx="3523302" cy="2547175"/>
            <a:chOff x="5886308" y="3906013"/>
            <a:chExt cx="3523302" cy="2547175"/>
          </a:xfrm>
        </p:grpSpPr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C389AEFA-6074-7D0F-86EC-381D73C75FCD}"/>
                </a:ext>
              </a:extLst>
            </p:cNvPr>
            <p:cNvSpPr/>
            <p:nvPr/>
          </p:nvSpPr>
          <p:spPr>
            <a:xfrm>
              <a:off x="5886308" y="3906013"/>
              <a:ext cx="3523302" cy="2547175"/>
            </a:xfrm>
            <a:prstGeom prst="roundRect">
              <a:avLst>
                <a:gd name="adj" fmla="val 492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36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1" i="0" u="none" strike="noStrike" kern="1200" cap="none" spc="0" normalizeH="0" baseline="0" noProof="0" dirty="0">
                  <a:ln>
                    <a:noFill/>
                  </a:ln>
                  <a:solidFill>
                    <a:srgbClr val="00AAE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00+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AAE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городов присутствия в России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7D096BD-ACE2-9EFB-9AE7-0CB65392D558}"/>
                </a:ext>
              </a:extLst>
            </p:cNvPr>
            <p:cNvSpPr txBox="1"/>
            <p:nvPr/>
          </p:nvSpPr>
          <p:spPr>
            <a:xfrm>
              <a:off x="6070822" y="4898260"/>
              <a:ext cx="1605116" cy="13644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79388" marR="0" lvl="0" indent="-1793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00AAE5"/>
                </a:buClr>
                <a:buSzTx/>
                <a:buFont typeface="Arial"/>
                <a:buChar char="+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5151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Москва</a:t>
              </a:r>
            </a:p>
            <a:p>
              <a:pPr marL="179388" marR="0" lvl="0" indent="-1793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00AAE5"/>
                </a:buClr>
                <a:buSzTx/>
                <a:buFont typeface="Arial"/>
                <a:buChar char="+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5151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Санкт-Петербург</a:t>
              </a:r>
            </a:p>
            <a:p>
              <a:pPr marL="179388" marR="0" lvl="0" indent="-1793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00AAE5"/>
                </a:buClr>
                <a:buSzTx/>
                <a:buFont typeface="Arial"/>
                <a:buChar char="+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5151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Нижний Новгород</a:t>
              </a:r>
            </a:p>
            <a:p>
              <a:pPr marL="179388" marR="0" lvl="0" indent="-1793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00AAE5"/>
                </a:buClr>
                <a:buSzTx/>
                <a:buFont typeface="Arial"/>
                <a:buChar char="+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5151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Казань</a:t>
              </a:r>
            </a:p>
            <a:p>
              <a:pPr marL="179388" marR="0" lvl="0" indent="-1793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00AAE5"/>
                </a:buClr>
                <a:buSzTx/>
                <a:buFont typeface="Arial"/>
                <a:buChar char="+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5151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Екатеринбург</a:t>
              </a:r>
            </a:p>
            <a:p>
              <a:pPr marL="179388" marR="0" lvl="0" indent="-1793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00AAE5"/>
                </a:buClr>
                <a:buSzTx/>
                <a:buFont typeface="Arial"/>
                <a:buChar char="+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5151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Челябинск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15151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6021872-8798-3747-9938-3A19CF061C39}"/>
                </a:ext>
              </a:extLst>
            </p:cNvPr>
            <p:cNvSpPr txBox="1"/>
            <p:nvPr/>
          </p:nvSpPr>
          <p:spPr>
            <a:xfrm>
              <a:off x="7910277" y="4898260"/>
              <a:ext cx="1227864" cy="89255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79388" marR="0" lvl="0" indent="-1793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00AAE5"/>
                </a:buClr>
                <a:buSzTx/>
                <a:buFont typeface="Arial"/>
                <a:buChar char="+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5151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Ижевск</a:t>
              </a:r>
            </a:p>
            <a:p>
              <a:pPr marL="179388" marR="0" lvl="0" indent="-1793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00AAE5"/>
                </a:buClr>
                <a:buSzTx/>
                <a:buFont typeface="Arial"/>
                <a:buChar char="+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5151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Рязань</a:t>
              </a:r>
            </a:p>
            <a:p>
              <a:pPr marL="179388" marR="0" lvl="0" indent="-1793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00AAE5"/>
                </a:buClr>
                <a:buSzTx/>
                <a:buFont typeface="Arial"/>
                <a:buChar char="+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5151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Самара</a:t>
              </a:r>
            </a:p>
            <a:p>
              <a:pPr marL="179388" marR="0" lvl="0" indent="-1793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00AAE5"/>
                </a:buClr>
                <a:buSzTx/>
                <a:buFont typeface="Arial"/>
                <a:buChar char="+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5151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Новосибирск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9542913-BB45-8CBD-7590-930D0253DD83}"/>
                </a:ext>
              </a:extLst>
            </p:cNvPr>
            <p:cNvSpPr txBox="1"/>
            <p:nvPr/>
          </p:nvSpPr>
          <p:spPr>
            <a:xfrm>
              <a:off x="7910276" y="5887506"/>
              <a:ext cx="1181474" cy="1692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bg1">
                      <a:lumMod val="65000"/>
                    </a:schemeClr>
                  </a:solidFill>
                  <a:effectLst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dirty="0">
                  <a:solidFill>
                    <a:srgbClr val="FFFFFF">
                      <a:lumMod val="65000"/>
                    </a:srgbClr>
                  </a:solidFill>
                  <a:latin typeface="Arial" panose="020B0604020202020204"/>
                </a:rPr>
                <a:t>и</a:t>
              </a:r>
              <a:r>
                <a:rPr kumimoji="0" lang="ru-RU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другие города</a:t>
              </a:r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66885E72-62C8-4578-BBB8-FDFF2CD82D28}"/>
              </a:ext>
            </a:extLst>
          </p:cNvPr>
          <p:cNvGrpSpPr/>
          <p:nvPr/>
        </p:nvGrpSpPr>
        <p:grpSpPr>
          <a:xfrm>
            <a:off x="431415" y="2467395"/>
            <a:ext cx="4104000" cy="1080000"/>
            <a:chOff x="431415" y="2467395"/>
            <a:chExt cx="4104000" cy="1080000"/>
          </a:xfrm>
        </p:grpSpPr>
        <p:sp>
          <p:nvSpPr>
            <p:cNvPr id="35" name="Скругленный прямоугольник 1">
              <a:extLst>
                <a:ext uri="{FF2B5EF4-FFF2-40B4-BE49-F238E27FC236}">
                  <a16:creationId xmlns:a16="http://schemas.microsoft.com/office/drawing/2014/main" id="{4D61C617-23E0-830C-21CE-87C814751915}"/>
                </a:ext>
              </a:extLst>
            </p:cNvPr>
            <p:cNvSpPr/>
            <p:nvPr/>
          </p:nvSpPr>
          <p:spPr>
            <a:xfrm>
              <a:off x="431415" y="2467395"/>
              <a:ext cx="4104000" cy="1080000"/>
            </a:xfrm>
            <a:prstGeom prst="roundRect">
              <a:avLst>
                <a:gd name="adj" fmla="val 12785"/>
              </a:avLst>
            </a:prstGeom>
            <a:solidFill>
              <a:srgbClr val="E0F7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bIns="0" rtlCol="0" anchor="ctr"/>
            <a:lstStyle/>
            <a:p>
              <a:r>
                <a:rPr lang="ru-RU" sz="4000" b="1" dirty="0">
                  <a:solidFill>
                    <a:schemeClr val="bg2"/>
                  </a:solidFill>
                  <a:latin typeface="Arial" panose="020B0604020202020204"/>
                </a:rPr>
                <a:t>150+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ABBECCF7-B373-1060-4498-996E5D534440}"/>
                </a:ext>
              </a:extLst>
            </p:cNvPr>
            <p:cNvSpPr txBox="1"/>
            <p:nvPr/>
          </p:nvSpPr>
          <p:spPr>
            <a:xfrm>
              <a:off x="1952255" y="2730396"/>
              <a:ext cx="1753242" cy="55399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ru-RU" sz="1200" dirty="0">
                  <a:solidFill>
                    <a:srgbClr val="151515"/>
                  </a:solidFill>
                  <a:latin typeface="Arial" panose="020B0604020202020204" pitchFamily="34" charset="0"/>
                  <a:cs typeface="Arial"/>
                </a:rPr>
                <a:t>продуктов и услуг, </a:t>
              </a:r>
              <a:br>
                <a:rPr lang="en-US" sz="1200" dirty="0">
                  <a:solidFill>
                    <a:srgbClr val="151515"/>
                  </a:solidFill>
                  <a:latin typeface="Arial" panose="020B0604020202020204" pitchFamily="34" charset="0"/>
                  <a:cs typeface="Arial"/>
                </a:rPr>
              </a:br>
              <a:r>
                <a:rPr lang="ru-RU" sz="1200" dirty="0">
                  <a:solidFill>
                    <a:srgbClr val="151515"/>
                  </a:solidFill>
                  <a:latin typeface="Arial" panose="020B0604020202020204" pitchFamily="34" charset="0"/>
                  <a:cs typeface="Arial"/>
                </a:rPr>
                <a:t>в т</a:t>
              </a:r>
              <a:r>
                <a:rPr lang="en-US" sz="1200" dirty="0">
                  <a:solidFill>
                    <a:srgbClr val="151515"/>
                  </a:solidFill>
                  <a:latin typeface="Arial" panose="020B0604020202020204" pitchFamily="34" charset="0"/>
                  <a:cs typeface="Arial"/>
                </a:rPr>
                <a:t>.</a:t>
              </a:r>
              <a:r>
                <a:rPr lang="ru-RU" sz="1200" dirty="0">
                  <a:solidFill>
                    <a:srgbClr val="151515"/>
                  </a:solidFill>
                  <a:latin typeface="Arial" panose="020B0604020202020204" pitchFamily="34" charset="0"/>
                  <a:cs typeface="Arial"/>
                </a:rPr>
                <a:t> ч. собственных импортозамещенных</a:t>
              </a:r>
            </a:p>
          </p:txBody>
        </p:sp>
      </p:grpSp>
      <p:sp>
        <p:nvSpPr>
          <p:cNvPr id="44" name="Скругленный прямоугольник 5">
            <a:extLst>
              <a:ext uri="{FF2B5EF4-FFF2-40B4-BE49-F238E27FC236}">
                <a16:creationId xmlns:a16="http://schemas.microsoft.com/office/drawing/2014/main" id="{FEAFAF16-6630-C231-C545-92C9977FF985}"/>
              </a:ext>
            </a:extLst>
          </p:cNvPr>
          <p:cNvSpPr/>
          <p:nvPr/>
        </p:nvSpPr>
        <p:spPr>
          <a:xfrm>
            <a:off x="2906129" y="3711162"/>
            <a:ext cx="2845465" cy="2547175"/>
          </a:xfrm>
          <a:prstGeom prst="roundRect">
            <a:avLst>
              <a:gd name="adj" fmla="val 512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36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5151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Компетенции</a:t>
            </a:r>
          </a:p>
          <a:p>
            <a:pPr marL="179388" indent="-179388">
              <a:spcAft>
                <a:spcPts val="600"/>
              </a:spcAft>
              <a:buClr>
                <a:srgbClr val="00AAE5"/>
              </a:buClr>
              <a:buFont typeface="Arial"/>
              <a:buChar char="+"/>
              <a:defRPr/>
            </a:pPr>
            <a:r>
              <a:rPr lang="ru-RU" sz="1200" dirty="0">
                <a:solidFill>
                  <a:srgbClr val="151515"/>
                </a:solidFill>
                <a:latin typeface="Arial" panose="020B0604020202020204" pitchFamily="34" charset="0"/>
              </a:rPr>
              <a:t>Разработка ПО</a:t>
            </a:r>
          </a:p>
          <a:p>
            <a:pPr marL="179388" indent="-179388">
              <a:spcAft>
                <a:spcPts val="600"/>
              </a:spcAft>
              <a:buClr>
                <a:srgbClr val="00AAE5"/>
              </a:buClr>
              <a:buFont typeface="Arial"/>
              <a:buChar char="+"/>
              <a:defRPr/>
            </a:pPr>
            <a:r>
              <a:rPr lang="ru-RU" sz="1200" dirty="0">
                <a:solidFill>
                  <a:srgbClr val="151515"/>
                </a:solidFill>
                <a:latin typeface="Arial" panose="020B0604020202020204" pitchFamily="34" charset="0"/>
              </a:rPr>
              <a:t>Искусственный интеллект</a:t>
            </a:r>
          </a:p>
          <a:p>
            <a:pPr marL="179388" indent="-179388">
              <a:spcAft>
                <a:spcPts val="600"/>
              </a:spcAft>
              <a:buClr>
                <a:srgbClr val="00AAE5"/>
              </a:buClr>
              <a:buFont typeface="Arial"/>
              <a:buChar char="+"/>
              <a:defRPr/>
            </a:pPr>
            <a:r>
              <a:rPr lang="ru-RU" sz="1200" dirty="0">
                <a:solidFill>
                  <a:srgbClr val="151515"/>
                </a:solidFill>
                <a:latin typeface="Arial" panose="020B0604020202020204" pitchFamily="34" charset="0"/>
              </a:rPr>
              <a:t>Системная интеграция </a:t>
            </a:r>
          </a:p>
          <a:p>
            <a:pPr marL="179388" indent="-179388">
              <a:spcAft>
                <a:spcPts val="600"/>
              </a:spcAft>
              <a:buClr>
                <a:srgbClr val="00AAE5"/>
              </a:buClr>
              <a:buFont typeface="Arial"/>
              <a:buChar char="+"/>
              <a:defRPr/>
            </a:pPr>
            <a:r>
              <a:rPr lang="ru-RU" sz="1200" dirty="0">
                <a:solidFill>
                  <a:srgbClr val="151515"/>
                </a:solidFill>
                <a:latin typeface="Arial" panose="020B0604020202020204"/>
              </a:rPr>
              <a:t>Информационная безопасность</a:t>
            </a:r>
          </a:p>
          <a:p>
            <a:pPr marL="179388" indent="-179388">
              <a:spcAft>
                <a:spcPts val="600"/>
              </a:spcAft>
              <a:buClr>
                <a:srgbClr val="00AAE5"/>
              </a:buClr>
              <a:buFont typeface="Arial"/>
              <a:buChar char="+"/>
              <a:defRPr/>
            </a:pPr>
            <a:r>
              <a:rPr lang="ru-RU" sz="1200" dirty="0">
                <a:solidFill>
                  <a:srgbClr val="151515"/>
                </a:solidFill>
                <a:latin typeface="Arial" panose="020B0604020202020204"/>
              </a:rPr>
              <a:t>Облачные сервисы</a:t>
            </a:r>
          </a:p>
          <a:p>
            <a:pPr marL="179388" indent="-179388">
              <a:spcAft>
                <a:spcPts val="600"/>
              </a:spcAft>
              <a:buClr>
                <a:srgbClr val="00AAE5"/>
              </a:buClr>
              <a:buFont typeface="Arial"/>
              <a:buChar char="+"/>
              <a:defRPr/>
            </a:pPr>
            <a:r>
              <a:rPr lang="ru-RU" sz="1200" dirty="0">
                <a:solidFill>
                  <a:srgbClr val="151515"/>
                </a:solidFill>
                <a:latin typeface="Arial" panose="020B0604020202020204"/>
              </a:rPr>
              <a:t>Консалтинг, обучение</a:t>
            </a:r>
          </a:p>
          <a:p>
            <a:pPr marL="179388" indent="-179388">
              <a:spcAft>
                <a:spcPts val="600"/>
              </a:spcAft>
              <a:buClr>
                <a:srgbClr val="00AAE5"/>
              </a:buClr>
              <a:buFont typeface="Arial"/>
              <a:buChar char="+"/>
              <a:defRPr/>
            </a:pPr>
            <a:r>
              <a:rPr lang="ru-RU" sz="1200" dirty="0">
                <a:solidFill>
                  <a:srgbClr val="151515"/>
                </a:solidFill>
                <a:latin typeface="Arial" panose="020B0604020202020204"/>
              </a:rPr>
              <a:t>Аутсорсинг</a:t>
            </a: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7C3C95C8-0552-4D5D-AD68-B75F2C8B11C8}"/>
              </a:ext>
            </a:extLst>
          </p:cNvPr>
          <p:cNvGrpSpPr/>
          <p:nvPr/>
        </p:nvGrpSpPr>
        <p:grpSpPr>
          <a:xfrm>
            <a:off x="431415" y="3709771"/>
            <a:ext cx="2340000" cy="1044000"/>
            <a:chOff x="431415" y="3904622"/>
            <a:chExt cx="2340000" cy="1044000"/>
          </a:xfrm>
        </p:grpSpPr>
        <p:sp>
          <p:nvSpPr>
            <p:cNvPr id="43" name="Скругленный прямоугольник 1">
              <a:extLst>
                <a:ext uri="{FF2B5EF4-FFF2-40B4-BE49-F238E27FC236}">
                  <a16:creationId xmlns:a16="http://schemas.microsoft.com/office/drawing/2014/main" id="{AC406809-770A-6FF9-A04D-508AB77EE326}"/>
                </a:ext>
              </a:extLst>
            </p:cNvPr>
            <p:cNvSpPr/>
            <p:nvPr/>
          </p:nvSpPr>
          <p:spPr>
            <a:xfrm>
              <a:off x="431415" y="3904622"/>
              <a:ext cx="2340000" cy="1044000"/>
            </a:xfrm>
            <a:prstGeom prst="roundRect">
              <a:avLst>
                <a:gd name="adj" fmla="val 13578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36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70+</a:t>
              </a:r>
            </a:p>
            <a:p>
              <a:pPr>
                <a:defRPr/>
              </a:pPr>
              <a:r>
                <a:rPr lang="ru-RU" sz="1200" dirty="0">
                  <a:solidFill>
                    <a:srgbClr val="151515"/>
                  </a:solidFill>
                  <a:latin typeface="Arial" panose="020B0604020202020204" pitchFamily="34" charset="0"/>
                  <a:cs typeface="Arial"/>
                </a:rPr>
                <a:t>продуктов внесено в ЕРРП </a:t>
              </a:r>
            </a:p>
          </p:txBody>
        </p:sp>
        <p:pic>
          <p:nvPicPr>
            <p:cNvPr id="45" name="Рисунок 44">
              <a:extLst>
                <a:ext uri="{FF2B5EF4-FFF2-40B4-BE49-F238E27FC236}">
                  <a16:creationId xmlns:a16="http://schemas.microsoft.com/office/drawing/2014/main" id="{6D53F468-AC63-6986-CA5E-69D8182F925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98415" y="4032040"/>
              <a:ext cx="305388" cy="312367"/>
            </a:xfrm>
            <a:prstGeom prst="rect">
              <a:avLst/>
            </a:prstGeom>
          </p:spPr>
        </p:pic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85A29EB9-6684-4569-95D4-D928267147CC}"/>
              </a:ext>
            </a:extLst>
          </p:cNvPr>
          <p:cNvGrpSpPr/>
          <p:nvPr/>
        </p:nvGrpSpPr>
        <p:grpSpPr>
          <a:xfrm>
            <a:off x="431415" y="4888593"/>
            <a:ext cx="2340000" cy="1369744"/>
            <a:chOff x="431415" y="5083444"/>
            <a:chExt cx="2340000" cy="1369744"/>
          </a:xfrm>
        </p:grpSpPr>
        <p:sp>
          <p:nvSpPr>
            <p:cNvPr id="42" name="Скругленный прямоугольник 1">
              <a:extLst>
                <a:ext uri="{FF2B5EF4-FFF2-40B4-BE49-F238E27FC236}">
                  <a16:creationId xmlns:a16="http://schemas.microsoft.com/office/drawing/2014/main" id="{E6B86D95-DE43-554E-16E5-39A5F58474A2}"/>
                </a:ext>
              </a:extLst>
            </p:cNvPr>
            <p:cNvSpPr/>
            <p:nvPr/>
          </p:nvSpPr>
          <p:spPr>
            <a:xfrm>
              <a:off x="431415" y="5083444"/>
              <a:ext cx="2340000" cy="1369744"/>
            </a:xfrm>
            <a:prstGeom prst="roundRect">
              <a:avLst>
                <a:gd name="adj" fmla="val 9790"/>
              </a:avLst>
            </a:prstGeom>
            <a:solidFill>
              <a:srgbClr val="E0F7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36000" bIns="108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800+</a:t>
              </a:r>
            </a:p>
            <a:p>
              <a:pPr>
                <a:defRPr/>
              </a:pPr>
              <a:r>
                <a:rPr lang="ru-RU" sz="1200" dirty="0">
                  <a:solidFill>
                    <a:srgbClr val="151515"/>
                  </a:solidFill>
                  <a:latin typeface="Arial" panose="020B0604020202020204" pitchFamily="34" charset="0"/>
                  <a:cs typeface="Arial"/>
                </a:rPr>
                <a:t>проектов реализовано </a:t>
              </a:r>
              <a:br>
                <a:rPr lang="ru-RU" sz="1200" dirty="0">
                  <a:solidFill>
                    <a:srgbClr val="151515"/>
                  </a:solidFill>
                  <a:latin typeface="Arial" panose="020B0604020202020204" pitchFamily="34" charset="0"/>
                  <a:cs typeface="Arial"/>
                </a:rPr>
              </a:br>
              <a:r>
                <a:rPr lang="ru-RU" sz="1200" dirty="0">
                  <a:solidFill>
                    <a:srgbClr val="151515"/>
                  </a:solidFill>
                  <a:latin typeface="Arial" panose="020B0604020202020204" pitchFamily="34" charset="0"/>
                  <a:cs typeface="Arial"/>
                </a:rPr>
                <a:t>для государства </a:t>
              </a:r>
              <a:br>
                <a:rPr lang="ru-RU" sz="1200" dirty="0">
                  <a:solidFill>
                    <a:srgbClr val="151515"/>
                  </a:solidFill>
                  <a:latin typeface="Arial" panose="020B0604020202020204" pitchFamily="34" charset="0"/>
                  <a:cs typeface="Arial"/>
                </a:rPr>
              </a:br>
              <a:r>
                <a:rPr lang="ru-RU" sz="1200" dirty="0">
                  <a:solidFill>
                    <a:srgbClr val="151515"/>
                  </a:solidFill>
                  <a:latin typeface="Arial" panose="020B0604020202020204" pitchFamily="34" charset="0"/>
                  <a:cs typeface="Arial"/>
                </a:rPr>
                <a:t>и ключевых отраслей</a:t>
              </a:r>
            </a:p>
          </p:txBody>
        </p:sp>
        <p:pic>
          <p:nvPicPr>
            <p:cNvPr id="4" name="Рисунок 9">
              <a:extLst>
                <a:ext uri="{FF2B5EF4-FFF2-40B4-BE49-F238E27FC236}">
                  <a16:creationId xmlns:a16="http://schemas.microsoft.com/office/drawing/2014/main" id="{AD0030D0-D044-7820-C13D-AC26847F7C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398415" y="5195594"/>
              <a:ext cx="278204" cy="284562"/>
            </a:xfrm>
            <a:prstGeom prst="rect">
              <a:avLst/>
            </a:prstGeom>
          </p:spPr>
        </p:pic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BC22D79C-783D-450A-B46E-C42BF05EC60C}"/>
              </a:ext>
            </a:extLst>
          </p:cNvPr>
          <p:cNvGrpSpPr/>
          <p:nvPr/>
        </p:nvGrpSpPr>
        <p:grpSpPr>
          <a:xfrm>
            <a:off x="9544594" y="3709492"/>
            <a:ext cx="2220957" cy="2548845"/>
            <a:chOff x="9544594" y="3904343"/>
            <a:chExt cx="2220957" cy="2548845"/>
          </a:xfrm>
        </p:grpSpPr>
        <p:sp>
          <p:nvSpPr>
            <p:cNvPr id="2" name="Скругленный прямоугольник 1">
              <a:extLst>
                <a:ext uri="{FF2B5EF4-FFF2-40B4-BE49-F238E27FC236}">
                  <a16:creationId xmlns:a16="http://schemas.microsoft.com/office/drawing/2014/main" id="{4A01F761-13A5-A38D-65E9-19DD88D9D9E9}"/>
                </a:ext>
              </a:extLst>
            </p:cNvPr>
            <p:cNvSpPr/>
            <p:nvPr/>
          </p:nvSpPr>
          <p:spPr>
            <a:xfrm>
              <a:off x="9544594" y="3904343"/>
              <a:ext cx="2220957" cy="2548845"/>
            </a:xfrm>
            <a:prstGeom prst="roundRect">
              <a:avLst>
                <a:gd name="adj" fmla="val 408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36000" rtlCol="0" anchor="t" anchorCtr="0"/>
            <a:lstStyle/>
            <a:p>
              <a:r>
                <a:rPr lang="ru-RU" sz="4000" b="1" dirty="0">
                  <a:solidFill>
                    <a:srgbClr val="00AAE5"/>
                  </a:solidFill>
                  <a:latin typeface="Arial" panose="020B0604020202020204"/>
                </a:rPr>
                <a:t>40+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dirty="0">
                  <a:solidFill>
                    <a:srgbClr val="00AAE5"/>
                  </a:solidFill>
                  <a:latin typeface="Arial" panose="020B0604020202020204"/>
                </a:rPr>
                <a:t>центров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E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компетенций</a:t>
              </a:r>
            </a:p>
            <a:p>
              <a:endParaRPr lang="ru-RU" sz="4000" b="1" dirty="0">
                <a:solidFill>
                  <a:srgbClr val="00AAE5"/>
                </a:solidFill>
                <a:latin typeface="Arial" panose="020B0604020202020204"/>
              </a:endParaRPr>
            </a:p>
          </p:txBody>
        </p:sp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5807F530-57D3-F1C3-FE6B-C6186D6E07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014856" y="4699102"/>
              <a:ext cx="1746089" cy="1754085"/>
            </a:xfrm>
            <a:prstGeom prst="roundRect">
              <a:avLst>
                <a:gd name="adj" fmla="val 4019"/>
              </a:avLst>
            </a:prstGeom>
          </p:spPr>
        </p:pic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F16072F0-9007-4804-9B27-60DF51CB65A1}"/>
              </a:ext>
            </a:extLst>
          </p:cNvPr>
          <p:cNvGrpSpPr/>
          <p:nvPr/>
        </p:nvGrpSpPr>
        <p:grpSpPr>
          <a:xfrm>
            <a:off x="4662083" y="2467395"/>
            <a:ext cx="4140000" cy="1080000"/>
            <a:chOff x="4662083" y="2467395"/>
            <a:chExt cx="4140000" cy="1080000"/>
          </a:xfrm>
        </p:grpSpPr>
        <p:sp>
          <p:nvSpPr>
            <p:cNvPr id="23" name="Скругленный прямоугольник 1">
              <a:extLst>
                <a:ext uri="{FF2B5EF4-FFF2-40B4-BE49-F238E27FC236}">
                  <a16:creationId xmlns:a16="http://schemas.microsoft.com/office/drawing/2014/main" id="{8D6DEA8A-6CB3-4F4B-BAA8-21B6F4EF7823}"/>
                </a:ext>
              </a:extLst>
            </p:cNvPr>
            <p:cNvSpPr/>
            <p:nvPr/>
          </p:nvSpPr>
          <p:spPr>
            <a:xfrm>
              <a:off x="4662083" y="2467395"/>
              <a:ext cx="4140000" cy="1080000"/>
            </a:xfrm>
            <a:prstGeom prst="roundRect">
              <a:avLst>
                <a:gd name="adj" fmla="val 12208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bIns="0" rtlCol="0" anchor="ctr"/>
            <a:lstStyle/>
            <a:p>
              <a:r>
                <a:rPr lang="ru-RU" sz="4000" b="1" dirty="0">
                  <a:solidFill>
                    <a:schemeClr val="bg2"/>
                  </a:solidFill>
                  <a:latin typeface="Arial" panose="020B0604020202020204"/>
                </a:rPr>
                <a:t>300+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1971D20-4230-4097-BFA1-63009237E69C}"/>
                </a:ext>
              </a:extLst>
            </p:cNvPr>
            <p:cNvSpPr txBox="1"/>
            <p:nvPr/>
          </p:nvSpPr>
          <p:spPr>
            <a:xfrm>
              <a:off x="6199938" y="2822729"/>
              <a:ext cx="1476000" cy="369332"/>
            </a:xfrm>
            <a:prstGeom prst="rect">
              <a:avLst/>
            </a:prstGeom>
            <a:noFill/>
          </p:spPr>
          <p:txBody>
            <a:bodyPr wrap="square" lIns="0" tIns="0" rIns="0" bIns="0" anchor="b">
              <a:spAutoFit/>
            </a:bodyPr>
            <a:lstStyle/>
            <a:p>
              <a:pPr>
                <a:defRPr/>
              </a:pPr>
              <a:r>
                <a:rPr lang="ru-RU" sz="1200" dirty="0">
                  <a:solidFill>
                    <a:srgbClr val="151515"/>
                  </a:solidFill>
                  <a:latin typeface="Arial" panose="020B0604020202020204" pitchFamily="34" charset="0"/>
                  <a:cs typeface="Arial"/>
                </a:rPr>
                <a:t>партнеров-вендоров </a:t>
              </a:r>
              <a:br>
                <a:rPr lang="ru-RU" sz="1200" dirty="0">
                  <a:solidFill>
                    <a:srgbClr val="151515"/>
                  </a:solidFill>
                  <a:latin typeface="Arial" panose="020B0604020202020204" pitchFamily="34" charset="0"/>
                  <a:cs typeface="Arial"/>
                </a:rPr>
              </a:br>
              <a:r>
                <a:rPr lang="ru-RU" sz="1200" dirty="0">
                  <a:solidFill>
                    <a:srgbClr val="151515"/>
                  </a:solidFill>
                  <a:latin typeface="Arial" panose="020B0604020202020204" pitchFamily="34" charset="0"/>
                  <a:cs typeface="Arial"/>
                </a:rPr>
                <a:t>во всех сферах ИТ</a:t>
              </a: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E41DA65D-84D0-4613-B605-1C9AF5D5475D}"/>
              </a:ext>
            </a:extLst>
          </p:cNvPr>
          <p:cNvGrpSpPr/>
          <p:nvPr/>
        </p:nvGrpSpPr>
        <p:grpSpPr>
          <a:xfrm>
            <a:off x="8928751" y="2467395"/>
            <a:ext cx="2836800" cy="1080000"/>
            <a:chOff x="8928751" y="2467395"/>
            <a:chExt cx="2836800" cy="1080000"/>
          </a:xfrm>
        </p:grpSpPr>
        <p:sp>
          <p:nvSpPr>
            <p:cNvPr id="27" name="Скругленный прямоугольник 1">
              <a:extLst>
                <a:ext uri="{FF2B5EF4-FFF2-40B4-BE49-F238E27FC236}">
                  <a16:creationId xmlns:a16="http://schemas.microsoft.com/office/drawing/2014/main" id="{C6B11D56-C32E-416D-B044-6C64DA6593EC}"/>
                </a:ext>
              </a:extLst>
            </p:cNvPr>
            <p:cNvSpPr/>
            <p:nvPr/>
          </p:nvSpPr>
          <p:spPr>
            <a:xfrm>
              <a:off x="8928751" y="2467395"/>
              <a:ext cx="2836800" cy="1080000"/>
            </a:xfrm>
            <a:prstGeom prst="roundRect">
              <a:avLst>
                <a:gd name="adj" fmla="val 10481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bIns="10800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750+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32C9577-545E-4260-9EEF-E1B4FAD1DB18}"/>
                </a:ext>
              </a:extLst>
            </p:cNvPr>
            <p:cNvSpPr txBox="1"/>
            <p:nvPr/>
          </p:nvSpPr>
          <p:spPr>
            <a:xfrm>
              <a:off x="9138140" y="3151715"/>
              <a:ext cx="936000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ru-RU" sz="1200" dirty="0"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заказчиков</a:t>
              </a:r>
            </a:p>
          </p:txBody>
        </p: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163B03EB-EF6D-EEA0-3B57-A9F1BCB006E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40572" y="2541723"/>
              <a:ext cx="953947" cy="9539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23542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" name="Прямоугольник: скругленные углы 94">
            <a:extLst>
              <a:ext uri="{FF2B5EF4-FFF2-40B4-BE49-F238E27FC236}">
                <a16:creationId xmlns:a16="http://schemas.microsoft.com/office/drawing/2014/main" id="{E84A5FDA-F762-41C0-A90D-D648AF2082EC}"/>
              </a:ext>
            </a:extLst>
          </p:cNvPr>
          <p:cNvSpPr/>
          <p:nvPr/>
        </p:nvSpPr>
        <p:spPr>
          <a:xfrm>
            <a:off x="7396975" y="5302190"/>
            <a:ext cx="4352112" cy="792000"/>
          </a:xfrm>
          <a:prstGeom prst="roundRect">
            <a:avLst>
              <a:gd name="adj" fmla="val 19579"/>
            </a:avLst>
          </a:prstGeom>
          <a:solidFill>
            <a:schemeClr val="bg1"/>
          </a:solidFill>
          <a:ln>
            <a:noFill/>
          </a:ln>
          <a:effectLst>
            <a:outerShdw blurRad="127000" dist="127000" algn="l" rotWithShape="0">
              <a:prstClr val="black">
                <a:alpha val="1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2" name="TextBox 931">
            <a:extLst>
              <a:ext uri="{FF2B5EF4-FFF2-40B4-BE49-F238E27FC236}">
                <a16:creationId xmlns:a16="http://schemas.microsoft.com/office/drawing/2014/main" id="{C0660681-4564-415D-92AF-B8D00281DC7A}"/>
              </a:ext>
            </a:extLst>
          </p:cNvPr>
          <p:cNvSpPr txBox="1"/>
          <p:nvPr/>
        </p:nvSpPr>
        <p:spPr>
          <a:xfrm>
            <a:off x="8284514" y="5405803"/>
            <a:ext cx="27649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  <a:t>Удаленное сопровождение </a:t>
            </a:r>
            <a:br>
              <a:rPr lang="en-US" sz="1600" dirty="0">
                <a:solidFill>
                  <a:srgbClr val="151515"/>
                </a:solidFill>
                <a:latin typeface="Arial" panose="020B0604020202020204" pitchFamily="34" charset="0"/>
              </a:rPr>
            </a:br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  <a:t>и сервисы обучения</a:t>
            </a:r>
          </a:p>
        </p:txBody>
      </p:sp>
      <p:pic>
        <p:nvPicPr>
          <p:cNvPr id="933" name="Рисунок 932">
            <a:extLst>
              <a:ext uri="{FF2B5EF4-FFF2-40B4-BE49-F238E27FC236}">
                <a16:creationId xmlns:a16="http://schemas.microsoft.com/office/drawing/2014/main" id="{56A874B4-62C4-4356-ADD1-B0E34E32A7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19503" y="5500190"/>
            <a:ext cx="396000" cy="396000"/>
          </a:xfrm>
          <a:prstGeom prst="rect">
            <a:avLst/>
          </a:prstGeom>
        </p:spPr>
      </p:pic>
      <p:sp>
        <p:nvSpPr>
          <p:cNvPr id="927" name="Прямоугольник: скругленные углы 94">
            <a:extLst>
              <a:ext uri="{FF2B5EF4-FFF2-40B4-BE49-F238E27FC236}">
                <a16:creationId xmlns:a16="http://schemas.microsoft.com/office/drawing/2014/main" id="{C7B05469-FFFB-48C0-A49E-2F6A97C2CE6C}"/>
              </a:ext>
            </a:extLst>
          </p:cNvPr>
          <p:cNvSpPr/>
          <p:nvPr/>
        </p:nvSpPr>
        <p:spPr>
          <a:xfrm>
            <a:off x="7396975" y="4235759"/>
            <a:ext cx="4352112" cy="792000"/>
          </a:xfrm>
          <a:prstGeom prst="roundRect">
            <a:avLst>
              <a:gd name="adj" fmla="val 19579"/>
            </a:avLst>
          </a:prstGeom>
          <a:solidFill>
            <a:schemeClr val="bg1"/>
          </a:solidFill>
          <a:ln>
            <a:noFill/>
          </a:ln>
          <a:effectLst>
            <a:outerShdw blurRad="127000" dist="127000" algn="l" rotWithShape="0">
              <a:prstClr val="black">
                <a:alpha val="1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8" name="TextBox 927">
            <a:extLst>
              <a:ext uri="{FF2B5EF4-FFF2-40B4-BE49-F238E27FC236}">
                <a16:creationId xmlns:a16="http://schemas.microsoft.com/office/drawing/2014/main" id="{83FC8559-3C88-4326-ABCB-6525154E4511}"/>
              </a:ext>
            </a:extLst>
          </p:cNvPr>
          <p:cNvSpPr txBox="1"/>
          <p:nvPr/>
        </p:nvSpPr>
        <p:spPr>
          <a:xfrm>
            <a:off x="8306244" y="4339372"/>
            <a:ext cx="29107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  <a:t>Услуги 3</a:t>
            </a:r>
            <a:r>
              <a:rPr lang="en-US" sz="1600" dirty="0">
                <a:solidFill>
                  <a:srgbClr val="151515"/>
                </a:solidFill>
                <a:latin typeface="Arial" panose="020B0604020202020204" pitchFamily="34" charset="0"/>
              </a:rPr>
              <a:t>D-</a:t>
            </a:r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  <a:t>моделирования </a:t>
            </a:r>
            <a:b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</a:br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  <a:t>и 3</a:t>
            </a:r>
            <a:r>
              <a:rPr lang="en-US" sz="1600" dirty="0">
                <a:solidFill>
                  <a:srgbClr val="151515"/>
                </a:solidFill>
                <a:latin typeface="Arial" panose="020B0604020202020204" pitchFamily="34" charset="0"/>
              </a:rPr>
              <a:t>D-</a:t>
            </a:r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  <a:t>печати</a:t>
            </a:r>
          </a:p>
        </p:txBody>
      </p:sp>
      <p:pic>
        <p:nvPicPr>
          <p:cNvPr id="929" name="Рисунок 928">
            <a:extLst>
              <a:ext uri="{FF2B5EF4-FFF2-40B4-BE49-F238E27FC236}">
                <a16:creationId xmlns:a16="http://schemas.microsoft.com/office/drawing/2014/main" id="{3A7AF9E0-B754-4215-8F27-2BEFD28B9B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19503" y="4433759"/>
            <a:ext cx="396000" cy="396000"/>
          </a:xfrm>
          <a:prstGeom prst="rect">
            <a:avLst/>
          </a:prstGeom>
        </p:spPr>
      </p:pic>
      <p:sp>
        <p:nvSpPr>
          <p:cNvPr id="923" name="Прямоугольник: скругленные углы 94">
            <a:extLst>
              <a:ext uri="{FF2B5EF4-FFF2-40B4-BE49-F238E27FC236}">
                <a16:creationId xmlns:a16="http://schemas.microsoft.com/office/drawing/2014/main" id="{BCBA749A-8BAF-494E-9FBC-26B1B904ABB5}"/>
              </a:ext>
            </a:extLst>
          </p:cNvPr>
          <p:cNvSpPr/>
          <p:nvPr/>
        </p:nvSpPr>
        <p:spPr>
          <a:xfrm>
            <a:off x="441116" y="5085665"/>
            <a:ext cx="4352112" cy="1008525"/>
          </a:xfrm>
          <a:prstGeom prst="roundRect">
            <a:avLst>
              <a:gd name="adj" fmla="val 19579"/>
            </a:avLst>
          </a:prstGeom>
          <a:solidFill>
            <a:schemeClr val="bg1"/>
          </a:solidFill>
          <a:ln>
            <a:noFill/>
          </a:ln>
          <a:effectLst>
            <a:outerShdw blurRad="127000" dist="127000" dir="10800000" algn="r" rotWithShape="0">
              <a:prstClr val="black">
                <a:alpha val="1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4" name="TextBox 923">
            <a:extLst>
              <a:ext uri="{FF2B5EF4-FFF2-40B4-BE49-F238E27FC236}">
                <a16:creationId xmlns:a16="http://schemas.microsoft.com/office/drawing/2014/main" id="{ABBFFAB2-A5E5-4FCF-8F30-CED8205D162D}"/>
              </a:ext>
            </a:extLst>
          </p:cNvPr>
          <p:cNvSpPr txBox="1"/>
          <p:nvPr/>
        </p:nvSpPr>
        <p:spPr>
          <a:xfrm>
            <a:off x="1018763" y="5174429"/>
            <a:ext cx="26574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  <a:t>Обслуживание кассового, торгового и </a:t>
            </a:r>
            <a:r>
              <a:rPr lang="ru-RU" sz="1600" dirty="0" err="1">
                <a:solidFill>
                  <a:srgbClr val="151515"/>
                </a:solidFill>
                <a:latin typeface="Arial" panose="020B0604020202020204" pitchFamily="34" charset="0"/>
              </a:rPr>
              <a:t>постаматного</a:t>
            </a:r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  <a:t> оборудования</a:t>
            </a:r>
          </a:p>
        </p:txBody>
      </p:sp>
      <p:pic>
        <p:nvPicPr>
          <p:cNvPr id="925" name="Рисунок 924">
            <a:extLst>
              <a:ext uri="{FF2B5EF4-FFF2-40B4-BE49-F238E27FC236}">
                <a16:creationId xmlns:a16="http://schemas.microsoft.com/office/drawing/2014/main" id="{E69234B4-A43C-4545-A459-5C54195C579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2285" y="5391927"/>
            <a:ext cx="396000" cy="396000"/>
          </a:xfrm>
          <a:prstGeom prst="rect">
            <a:avLst/>
          </a:prstGeom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9AD28F63-4C7A-42DC-A5B1-7B77AC1C413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31779" y="344376"/>
            <a:ext cx="8412163" cy="9787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3200" b="1" dirty="0" err="1">
                <a:solidFill>
                  <a:srgbClr val="151515"/>
                </a:solidFill>
              </a:rPr>
              <a:t>Сервионика</a:t>
            </a:r>
            <a:r>
              <a:rPr lang="ru-RU" sz="3200" b="1" dirty="0">
                <a:solidFill>
                  <a:srgbClr val="151515"/>
                </a:solidFill>
              </a:rPr>
              <a:t> </a:t>
            </a:r>
            <a:r>
              <a:rPr lang="en-US" sz="3200" b="1" dirty="0">
                <a:solidFill>
                  <a:srgbClr val="151515"/>
                </a:solidFill>
              </a:rPr>
              <a:t>—</a:t>
            </a:r>
            <a:r>
              <a:rPr lang="ru-RU" sz="3200" b="1" dirty="0">
                <a:solidFill>
                  <a:srgbClr val="151515"/>
                </a:solidFill>
              </a:rPr>
              <a:t> ведущий российский провайдер полного спектра услуг</a:t>
            </a:r>
            <a:endParaRPr lang="ru-RU" sz="3200" b="1" dirty="0">
              <a:solidFill>
                <a:srgbClr val="15151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94">
            <a:extLst>
              <a:ext uri="{FF2B5EF4-FFF2-40B4-BE49-F238E27FC236}">
                <a16:creationId xmlns:a16="http://schemas.microsoft.com/office/drawing/2014/main" id="{B7208D33-B4E7-49EF-B792-A9C01DBAB69B}"/>
              </a:ext>
            </a:extLst>
          </p:cNvPr>
          <p:cNvSpPr/>
          <p:nvPr/>
        </p:nvSpPr>
        <p:spPr>
          <a:xfrm>
            <a:off x="442913" y="2674560"/>
            <a:ext cx="4352112" cy="864000"/>
          </a:xfrm>
          <a:prstGeom prst="roundRect">
            <a:avLst>
              <a:gd name="adj" fmla="val 19579"/>
            </a:avLst>
          </a:prstGeom>
          <a:solidFill>
            <a:schemeClr val="bg1"/>
          </a:solidFill>
          <a:ln>
            <a:noFill/>
          </a:ln>
          <a:effectLst>
            <a:outerShdw blurRad="127000" dist="127000" dir="10800000" algn="r" rotWithShape="0">
              <a:prstClr val="black">
                <a:alpha val="1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EF62A18-9A7E-46FF-8751-C9E58D5BD8B5}"/>
              </a:ext>
            </a:extLst>
          </p:cNvPr>
          <p:cNvSpPr txBox="1"/>
          <p:nvPr/>
        </p:nvSpPr>
        <p:spPr>
          <a:xfrm>
            <a:off x="1018763" y="2814173"/>
            <a:ext cx="35395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а ИТ-инфраструктуры</a:t>
            </a:r>
            <a:b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эксплуатация систем</a:t>
            </a:r>
            <a:endParaRPr lang="en-US" sz="1600" dirty="0">
              <a:solidFill>
                <a:srgbClr val="15151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306BEB31-7584-4E8D-ABD9-712C77AA0B66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2285" y="2908560"/>
            <a:ext cx="396000" cy="396000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A514091-0DD4-473B-B117-F801C20235A1}"/>
              </a:ext>
            </a:extLst>
          </p:cNvPr>
          <p:cNvSpPr/>
          <p:nvPr/>
        </p:nvSpPr>
        <p:spPr>
          <a:xfrm>
            <a:off x="339036" y="2071814"/>
            <a:ext cx="277351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00ADEB"/>
                </a:solidFill>
                <a:latin typeface="Arial" panose="020B0604020202020204" pitchFamily="34" charset="0"/>
              </a:rPr>
              <a:t>В портфель входят:</a:t>
            </a:r>
            <a:endParaRPr lang="ru-RU" sz="2000" b="1" dirty="0">
              <a:solidFill>
                <a:srgbClr val="00ADEB"/>
              </a:solidFill>
            </a:endParaRPr>
          </a:p>
        </p:txBody>
      </p:sp>
      <p:sp>
        <p:nvSpPr>
          <p:cNvPr id="911" name="Прямоугольник: скругленные углы 94">
            <a:extLst>
              <a:ext uri="{FF2B5EF4-FFF2-40B4-BE49-F238E27FC236}">
                <a16:creationId xmlns:a16="http://schemas.microsoft.com/office/drawing/2014/main" id="{F4411A1B-54AD-4ACA-B738-96F9D22DAFD5}"/>
              </a:ext>
            </a:extLst>
          </p:cNvPr>
          <p:cNvSpPr/>
          <p:nvPr/>
        </p:nvSpPr>
        <p:spPr>
          <a:xfrm>
            <a:off x="442913" y="3808112"/>
            <a:ext cx="4352112" cy="1008000"/>
          </a:xfrm>
          <a:prstGeom prst="roundRect">
            <a:avLst>
              <a:gd name="adj" fmla="val 19579"/>
            </a:avLst>
          </a:prstGeom>
          <a:solidFill>
            <a:schemeClr val="bg1"/>
          </a:solidFill>
          <a:ln>
            <a:noFill/>
          </a:ln>
          <a:effectLst>
            <a:outerShdw blurRad="127000" dist="127000" dir="10800000" algn="r" rotWithShape="0">
              <a:prstClr val="black">
                <a:alpha val="1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2" name="TextBox 911">
            <a:extLst>
              <a:ext uri="{FF2B5EF4-FFF2-40B4-BE49-F238E27FC236}">
                <a16:creationId xmlns:a16="http://schemas.microsoft.com/office/drawing/2014/main" id="{F7D07B15-47BB-47A6-AF0F-8C9951D03C5C}"/>
              </a:ext>
            </a:extLst>
          </p:cNvPr>
          <p:cNvSpPr txBox="1"/>
          <p:nvPr/>
        </p:nvSpPr>
        <p:spPr>
          <a:xfrm>
            <a:off x="1018763" y="3896614"/>
            <a:ext cx="24472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  <a:t>Обслуживание </a:t>
            </a:r>
            <a:b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</a:br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  <a:t>автоматизированных </a:t>
            </a:r>
            <a:b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</a:br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  <a:t>рабочих мест</a:t>
            </a:r>
          </a:p>
        </p:txBody>
      </p:sp>
      <p:pic>
        <p:nvPicPr>
          <p:cNvPr id="913" name="Рисунок 912">
            <a:extLst>
              <a:ext uri="{FF2B5EF4-FFF2-40B4-BE49-F238E27FC236}">
                <a16:creationId xmlns:a16="http://schemas.microsoft.com/office/drawing/2014/main" id="{9C04F752-C843-41DB-8541-5CBCFFFCD0B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2285" y="4114112"/>
            <a:ext cx="396000" cy="396000"/>
          </a:xfrm>
          <a:prstGeom prst="rect">
            <a:avLst/>
          </a:prstGeom>
        </p:spPr>
      </p:pic>
      <p:sp>
        <p:nvSpPr>
          <p:cNvPr id="915" name="Прямоугольник: скругленные углы 94">
            <a:extLst>
              <a:ext uri="{FF2B5EF4-FFF2-40B4-BE49-F238E27FC236}">
                <a16:creationId xmlns:a16="http://schemas.microsoft.com/office/drawing/2014/main" id="{2347FC37-D24B-4BB5-B292-2F63F6FC01F6}"/>
              </a:ext>
            </a:extLst>
          </p:cNvPr>
          <p:cNvSpPr/>
          <p:nvPr/>
        </p:nvSpPr>
        <p:spPr>
          <a:xfrm>
            <a:off x="7396975" y="2102897"/>
            <a:ext cx="4352112" cy="792000"/>
          </a:xfrm>
          <a:prstGeom prst="roundRect">
            <a:avLst>
              <a:gd name="adj" fmla="val 19579"/>
            </a:avLst>
          </a:prstGeom>
          <a:solidFill>
            <a:schemeClr val="bg1"/>
          </a:solidFill>
          <a:ln>
            <a:noFill/>
          </a:ln>
          <a:effectLst>
            <a:outerShdw blurRad="127000" dist="127000" algn="l" rotWithShape="0">
              <a:prstClr val="black">
                <a:alpha val="1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6" name="TextBox 915">
            <a:extLst>
              <a:ext uri="{FF2B5EF4-FFF2-40B4-BE49-F238E27FC236}">
                <a16:creationId xmlns:a16="http://schemas.microsoft.com/office/drawing/2014/main" id="{28DE4614-AED3-4865-857D-75F8818F45A8}"/>
              </a:ext>
            </a:extLst>
          </p:cNvPr>
          <p:cNvSpPr txBox="1"/>
          <p:nvPr/>
        </p:nvSpPr>
        <p:spPr>
          <a:xfrm>
            <a:off x="8269652" y="2206510"/>
            <a:ext cx="29838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  <a:t>Сервис печати</a:t>
            </a:r>
            <a:b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</a:br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  <a:t>(аутсорсинг офисной печати)</a:t>
            </a:r>
          </a:p>
        </p:txBody>
      </p:sp>
      <p:pic>
        <p:nvPicPr>
          <p:cNvPr id="917" name="Рисунок 916">
            <a:extLst>
              <a:ext uri="{FF2B5EF4-FFF2-40B4-BE49-F238E27FC236}">
                <a16:creationId xmlns:a16="http://schemas.microsoft.com/office/drawing/2014/main" id="{5AFEB215-94C4-4A9B-A6D4-CB635F9D888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214641" y="2300897"/>
            <a:ext cx="396000" cy="396000"/>
          </a:xfrm>
          <a:prstGeom prst="rect">
            <a:avLst/>
          </a:prstGeom>
        </p:spPr>
      </p:pic>
      <p:sp>
        <p:nvSpPr>
          <p:cNvPr id="919" name="Прямоугольник: скругленные углы 94">
            <a:extLst>
              <a:ext uri="{FF2B5EF4-FFF2-40B4-BE49-F238E27FC236}">
                <a16:creationId xmlns:a16="http://schemas.microsoft.com/office/drawing/2014/main" id="{B6BE6646-BBA8-4D63-9976-57F7F2912BC9}"/>
              </a:ext>
            </a:extLst>
          </p:cNvPr>
          <p:cNvSpPr/>
          <p:nvPr/>
        </p:nvSpPr>
        <p:spPr>
          <a:xfrm>
            <a:off x="7396975" y="3169328"/>
            <a:ext cx="4352112" cy="792000"/>
          </a:xfrm>
          <a:prstGeom prst="roundRect">
            <a:avLst>
              <a:gd name="adj" fmla="val 19579"/>
            </a:avLst>
          </a:prstGeom>
          <a:solidFill>
            <a:schemeClr val="bg1"/>
          </a:solidFill>
          <a:ln>
            <a:noFill/>
          </a:ln>
          <a:effectLst>
            <a:outerShdw blurRad="127000" dist="127000" algn="l" rotWithShape="0">
              <a:prstClr val="black">
                <a:alpha val="1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0" name="TextBox 919">
            <a:extLst>
              <a:ext uri="{FF2B5EF4-FFF2-40B4-BE49-F238E27FC236}">
                <a16:creationId xmlns:a16="http://schemas.microsoft.com/office/drawing/2014/main" id="{E8E10DF7-6FE2-4FCB-A595-30DA5EE8AA0F}"/>
              </a:ext>
            </a:extLst>
          </p:cNvPr>
          <p:cNvSpPr txBox="1"/>
          <p:nvPr/>
        </p:nvSpPr>
        <p:spPr>
          <a:xfrm>
            <a:off x="8269439" y="3272941"/>
            <a:ext cx="27128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  <a:t>Обслуживание платежной </a:t>
            </a:r>
            <a:br>
              <a:rPr lang="en-US" sz="1600" dirty="0">
                <a:solidFill>
                  <a:srgbClr val="151515"/>
                </a:solidFill>
                <a:latin typeface="Arial" panose="020B0604020202020204" pitchFamily="34" charset="0"/>
              </a:rPr>
            </a:br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</a:rPr>
              <a:t>инфраструктуры</a:t>
            </a:r>
          </a:p>
        </p:txBody>
      </p:sp>
      <p:pic>
        <p:nvPicPr>
          <p:cNvPr id="921" name="Рисунок 920">
            <a:extLst>
              <a:ext uri="{FF2B5EF4-FFF2-40B4-BE49-F238E27FC236}">
                <a16:creationId xmlns:a16="http://schemas.microsoft.com/office/drawing/2014/main" id="{5517A80E-0BBC-45A2-9787-0EE7E2795C1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212560" y="3367328"/>
            <a:ext cx="396000" cy="396000"/>
          </a:xfrm>
          <a:prstGeom prst="rect">
            <a:avLst/>
          </a:prstGeom>
        </p:spPr>
      </p:pic>
      <p:pic>
        <p:nvPicPr>
          <p:cNvPr id="908" name="Рисунок 907">
            <a:extLst>
              <a:ext uri="{FF2B5EF4-FFF2-40B4-BE49-F238E27FC236}">
                <a16:creationId xmlns:a16="http://schemas.microsoft.com/office/drawing/2014/main" id="{78FC35CE-A785-4F48-8D74-5D364057507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725598" y="1772335"/>
            <a:ext cx="5000395" cy="5000395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EB7BA49-78EF-4F46-9ECE-3E2702D1393A}"/>
              </a:ext>
            </a:extLst>
          </p:cNvPr>
          <p:cNvSpPr/>
          <p:nvPr/>
        </p:nvSpPr>
        <p:spPr>
          <a:xfrm>
            <a:off x="339036" y="1244005"/>
            <a:ext cx="96105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бласти оперативного и профессионального сопровождения и обслуживания </a:t>
            </a:r>
            <a:b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15151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 процессов, инфраструктурных решений, географически распределенных объектов</a:t>
            </a:r>
            <a:endParaRPr lang="ru-RU" sz="1600" dirty="0">
              <a:solidFill>
                <a:srgbClr val="15151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7919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" name="Группа 265">
            <a:extLst>
              <a:ext uri="{FF2B5EF4-FFF2-40B4-BE49-F238E27FC236}">
                <a16:creationId xmlns:a16="http://schemas.microsoft.com/office/drawing/2014/main" id="{C5CE373D-8DF6-4AD3-A5EA-0B23BF574923}"/>
              </a:ext>
            </a:extLst>
          </p:cNvPr>
          <p:cNvGrpSpPr/>
          <p:nvPr/>
        </p:nvGrpSpPr>
        <p:grpSpPr>
          <a:xfrm>
            <a:off x="4014343" y="1049150"/>
            <a:ext cx="8207282" cy="4575397"/>
            <a:chOff x="3090699" y="3116413"/>
            <a:chExt cx="5841852" cy="2859118"/>
          </a:xfrm>
          <a:solidFill>
            <a:srgbClr val="C7F0FF"/>
          </a:solidFill>
        </p:grpSpPr>
        <p:grpSp>
          <p:nvGrpSpPr>
            <p:cNvPr id="267" name="Рисунок 3">
              <a:extLst>
                <a:ext uri="{FF2B5EF4-FFF2-40B4-BE49-F238E27FC236}">
                  <a16:creationId xmlns:a16="http://schemas.microsoft.com/office/drawing/2014/main" id="{F7EF4F17-2303-4F68-99AB-79F975D08B92}"/>
                </a:ext>
              </a:extLst>
            </p:cNvPr>
            <p:cNvGrpSpPr/>
            <p:nvPr/>
          </p:nvGrpSpPr>
          <p:grpSpPr>
            <a:xfrm>
              <a:off x="6451361" y="3639198"/>
              <a:ext cx="1428527" cy="1577679"/>
              <a:chOff x="6775132" y="1812607"/>
              <a:chExt cx="2215515" cy="2812732"/>
            </a:xfrm>
            <a:grpFill/>
          </p:grpSpPr>
          <p:sp>
            <p:nvSpPr>
              <p:cNvPr id="424" name="Полилиния: фигура 155">
                <a:extLst>
                  <a:ext uri="{FF2B5EF4-FFF2-40B4-BE49-F238E27FC236}">
                    <a16:creationId xmlns:a16="http://schemas.microsoft.com/office/drawing/2014/main" id="{ECF51807-DCA7-4883-B20C-1A9A8A37B755}"/>
                  </a:ext>
                </a:extLst>
              </p:cNvPr>
              <p:cNvSpPr/>
              <p:nvPr/>
            </p:nvSpPr>
            <p:spPr>
              <a:xfrm>
                <a:off x="7733347" y="1920239"/>
                <a:ext cx="160019" cy="115252"/>
              </a:xfrm>
              <a:custGeom>
                <a:avLst/>
                <a:gdLst>
                  <a:gd name="connsiteX0" fmla="*/ 2857 w 160019"/>
                  <a:gd name="connsiteY0" fmla="*/ 76200 h 115252"/>
                  <a:gd name="connsiteX1" fmla="*/ 0 w 160019"/>
                  <a:gd name="connsiteY1" fmla="*/ 65723 h 115252"/>
                  <a:gd name="connsiteX2" fmla="*/ 20002 w 160019"/>
                  <a:gd name="connsiteY2" fmla="*/ 74295 h 115252"/>
                  <a:gd name="connsiteX3" fmla="*/ 29527 w 160019"/>
                  <a:gd name="connsiteY3" fmla="*/ 64770 h 115252"/>
                  <a:gd name="connsiteX4" fmla="*/ 42863 w 160019"/>
                  <a:gd name="connsiteY4" fmla="*/ 51435 h 115252"/>
                  <a:gd name="connsiteX5" fmla="*/ 62865 w 160019"/>
                  <a:gd name="connsiteY5" fmla="*/ 31433 h 115252"/>
                  <a:gd name="connsiteX6" fmla="*/ 74295 w 160019"/>
                  <a:gd name="connsiteY6" fmla="*/ 46673 h 115252"/>
                  <a:gd name="connsiteX7" fmla="*/ 80963 w 160019"/>
                  <a:gd name="connsiteY7" fmla="*/ 46673 h 115252"/>
                  <a:gd name="connsiteX8" fmla="*/ 97155 w 160019"/>
                  <a:gd name="connsiteY8" fmla="*/ 30480 h 115252"/>
                  <a:gd name="connsiteX9" fmla="*/ 111442 w 160019"/>
                  <a:gd name="connsiteY9" fmla="*/ 13335 h 115252"/>
                  <a:gd name="connsiteX10" fmla="*/ 140017 w 160019"/>
                  <a:gd name="connsiteY10" fmla="*/ 0 h 115252"/>
                  <a:gd name="connsiteX11" fmla="*/ 160020 w 160019"/>
                  <a:gd name="connsiteY11" fmla="*/ 15240 h 115252"/>
                  <a:gd name="connsiteX12" fmla="*/ 148590 w 160019"/>
                  <a:gd name="connsiteY12" fmla="*/ 47625 h 115252"/>
                  <a:gd name="connsiteX13" fmla="*/ 148590 w 160019"/>
                  <a:gd name="connsiteY13" fmla="*/ 65723 h 115252"/>
                  <a:gd name="connsiteX14" fmla="*/ 135255 w 160019"/>
                  <a:gd name="connsiteY14" fmla="*/ 79058 h 115252"/>
                  <a:gd name="connsiteX15" fmla="*/ 114300 w 160019"/>
                  <a:gd name="connsiteY15" fmla="*/ 88583 h 115252"/>
                  <a:gd name="connsiteX16" fmla="*/ 91440 w 160019"/>
                  <a:gd name="connsiteY16" fmla="*/ 97155 h 115252"/>
                  <a:gd name="connsiteX17" fmla="*/ 68580 w 160019"/>
                  <a:gd name="connsiteY17" fmla="*/ 97155 h 115252"/>
                  <a:gd name="connsiteX18" fmla="*/ 50482 w 160019"/>
                  <a:gd name="connsiteY18" fmla="*/ 115252 h 115252"/>
                  <a:gd name="connsiteX19" fmla="*/ 23813 w 160019"/>
                  <a:gd name="connsiteY19" fmla="*/ 104775 h 115252"/>
                  <a:gd name="connsiteX20" fmla="*/ 9525 w 160019"/>
                  <a:gd name="connsiteY20" fmla="*/ 84773 h 115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60019" h="115252">
                    <a:moveTo>
                      <a:pt x="2857" y="76200"/>
                    </a:moveTo>
                    <a:lnTo>
                      <a:pt x="0" y="65723"/>
                    </a:lnTo>
                    <a:lnTo>
                      <a:pt x="20002" y="74295"/>
                    </a:lnTo>
                    <a:lnTo>
                      <a:pt x="29527" y="64770"/>
                    </a:lnTo>
                    <a:lnTo>
                      <a:pt x="42863" y="51435"/>
                    </a:lnTo>
                    <a:lnTo>
                      <a:pt x="62865" y="31433"/>
                    </a:lnTo>
                    <a:lnTo>
                      <a:pt x="74295" y="46673"/>
                    </a:lnTo>
                    <a:lnTo>
                      <a:pt x="80963" y="46673"/>
                    </a:lnTo>
                    <a:lnTo>
                      <a:pt x="97155" y="30480"/>
                    </a:lnTo>
                    <a:lnTo>
                      <a:pt x="111442" y="13335"/>
                    </a:lnTo>
                    <a:lnTo>
                      <a:pt x="140017" y="0"/>
                    </a:lnTo>
                    <a:lnTo>
                      <a:pt x="160020" y="15240"/>
                    </a:lnTo>
                    <a:lnTo>
                      <a:pt x="148590" y="47625"/>
                    </a:lnTo>
                    <a:lnTo>
                      <a:pt x="148590" y="65723"/>
                    </a:lnTo>
                    <a:lnTo>
                      <a:pt x="135255" y="79058"/>
                    </a:lnTo>
                    <a:lnTo>
                      <a:pt x="114300" y="88583"/>
                    </a:lnTo>
                    <a:lnTo>
                      <a:pt x="91440" y="97155"/>
                    </a:lnTo>
                    <a:lnTo>
                      <a:pt x="68580" y="97155"/>
                    </a:lnTo>
                    <a:lnTo>
                      <a:pt x="50482" y="115252"/>
                    </a:lnTo>
                    <a:lnTo>
                      <a:pt x="23813" y="104775"/>
                    </a:lnTo>
                    <a:lnTo>
                      <a:pt x="9525" y="84773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5" name="Полилиния: фигура 156">
                <a:extLst>
                  <a:ext uri="{FF2B5EF4-FFF2-40B4-BE49-F238E27FC236}">
                    <a16:creationId xmlns:a16="http://schemas.microsoft.com/office/drawing/2014/main" id="{8D4FCACD-F6D8-4A84-B9B7-73EB1BEA7082}"/>
                  </a:ext>
                </a:extLst>
              </p:cNvPr>
              <p:cNvSpPr/>
              <p:nvPr/>
            </p:nvSpPr>
            <p:spPr>
              <a:xfrm>
                <a:off x="7477125" y="2017395"/>
                <a:ext cx="250507" cy="234314"/>
              </a:xfrm>
              <a:custGeom>
                <a:avLst/>
                <a:gdLst>
                  <a:gd name="connsiteX0" fmla="*/ 211455 w 250507"/>
                  <a:gd name="connsiteY0" fmla="*/ 5715 h 234314"/>
                  <a:gd name="connsiteX1" fmla="*/ 170498 w 250507"/>
                  <a:gd name="connsiteY1" fmla="*/ 5715 h 234314"/>
                  <a:gd name="connsiteX2" fmla="*/ 157163 w 250507"/>
                  <a:gd name="connsiteY2" fmla="*/ 19050 h 234314"/>
                  <a:gd name="connsiteX3" fmla="*/ 136207 w 250507"/>
                  <a:gd name="connsiteY3" fmla="*/ 33338 h 234314"/>
                  <a:gd name="connsiteX4" fmla="*/ 120968 w 250507"/>
                  <a:gd name="connsiteY4" fmla="*/ 18097 h 234314"/>
                  <a:gd name="connsiteX5" fmla="*/ 83820 w 250507"/>
                  <a:gd name="connsiteY5" fmla="*/ 29527 h 234314"/>
                  <a:gd name="connsiteX6" fmla="*/ 86677 w 250507"/>
                  <a:gd name="connsiteY6" fmla="*/ 53340 h 234314"/>
                  <a:gd name="connsiteX7" fmla="*/ 96202 w 250507"/>
                  <a:gd name="connsiteY7" fmla="*/ 62865 h 234314"/>
                  <a:gd name="connsiteX8" fmla="*/ 109538 w 250507"/>
                  <a:gd name="connsiteY8" fmla="*/ 76200 h 234314"/>
                  <a:gd name="connsiteX9" fmla="*/ 120015 w 250507"/>
                  <a:gd name="connsiteY9" fmla="*/ 86677 h 234314"/>
                  <a:gd name="connsiteX10" fmla="*/ 105727 w 250507"/>
                  <a:gd name="connsiteY10" fmla="*/ 98108 h 234314"/>
                  <a:gd name="connsiteX11" fmla="*/ 86677 w 250507"/>
                  <a:gd name="connsiteY11" fmla="*/ 80963 h 234314"/>
                  <a:gd name="connsiteX12" fmla="*/ 76200 w 250507"/>
                  <a:gd name="connsiteY12" fmla="*/ 91440 h 234314"/>
                  <a:gd name="connsiteX13" fmla="*/ 61913 w 250507"/>
                  <a:gd name="connsiteY13" fmla="*/ 77152 h 234314"/>
                  <a:gd name="connsiteX14" fmla="*/ 29527 w 250507"/>
                  <a:gd name="connsiteY14" fmla="*/ 83820 h 234314"/>
                  <a:gd name="connsiteX15" fmla="*/ 16193 w 250507"/>
                  <a:gd name="connsiteY15" fmla="*/ 76200 h 234314"/>
                  <a:gd name="connsiteX16" fmla="*/ 9525 w 250507"/>
                  <a:gd name="connsiteY16" fmla="*/ 92392 h 234314"/>
                  <a:gd name="connsiteX17" fmla="*/ 20002 w 250507"/>
                  <a:gd name="connsiteY17" fmla="*/ 102870 h 234314"/>
                  <a:gd name="connsiteX18" fmla="*/ 0 w 250507"/>
                  <a:gd name="connsiteY18" fmla="*/ 113347 h 234314"/>
                  <a:gd name="connsiteX19" fmla="*/ 0 w 250507"/>
                  <a:gd name="connsiteY19" fmla="*/ 137160 h 234314"/>
                  <a:gd name="connsiteX20" fmla="*/ 16193 w 250507"/>
                  <a:gd name="connsiteY20" fmla="*/ 152400 h 234314"/>
                  <a:gd name="connsiteX21" fmla="*/ 12382 w 250507"/>
                  <a:gd name="connsiteY21" fmla="*/ 170497 h 234314"/>
                  <a:gd name="connsiteX22" fmla="*/ 25718 w 250507"/>
                  <a:gd name="connsiteY22" fmla="*/ 170497 h 234314"/>
                  <a:gd name="connsiteX23" fmla="*/ 43815 w 250507"/>
                  <a:gd name="connsiteY23" fmla="*/ 188595 h 234314"/>
                  <a:gd name="connsiteX24" fmla="*/ 39052 w 250507"/>
                  <a:gd name="connsiteY24" fmla="*/ 209550 h 234314"/>
                  <a:gd name="connsiteX25" fmla="*/ 61913 w 250507"/>
                  <a:gd name="connsiteY25" fmla="*/ 220980 h 234314"/>
                  <a:gd name="connsiteX26" fmla="*/ 92393 w 250507"/>
                  <a:gd name="connsiteY26" fmla="*/ 221933 h 234314"/>
                  <a:gd name="connsiteX27" fmla="*/ 105727 w 250507"/>
                  <a:gd name="connsiteY27" fmla="*/ 234315 h 234314"/>
                  <a:gd name="connsiteX28" fmla="*/ 128588 w 250507"/>
                  <a:gd name="connsiteY28" fmla="*/ 234315 h 234314"/>
                  <a:gd name="connsiteX29" fmla="*/ 155257 w 250507"/>
                  <a:gd name="connsiteY29" fmla="*/ 226695 h 234314"/>
                  <a:gd name="connsiteX30" fmla="*/ 155257 w 250507"/>
                  <a:gd name="connsiteY30" fmla="*/ 206692 h 234314"/>
                  <a:gd name="connsiteX31" fmla="*/ 139065 w 250507"/>
                  <a:gd name="connsiteY31" fmla="*/ 191452 h 234314"/>
                  <a:gd name="connsiteX32" fmla="*/ 147638 w 250507"/>
                  <a:gd name="connsiteY32" fmla="*/ 181927 h 234314"/>
                  <a:gd name="connsiteX33" fmla="*/ 160973 w 250507"/>
                  <a:gd name="connsiteY33" fmla="*/ 195263 h 234314"/>
                  <a:gd name="connsiteX34" fmla="*/ 184785 w 250507"/>
                  <a:gd name="connsiteY34" fmla="*/ 152400 h 234314"/>
                  <a:gd name="connsiteX35" fmla="*/ 207645 w 250507"/>
                  <a:gd name="connsiteY35" fmla="*/ 130492 h 234314"/>
                  <a:gd name="connsiteX36" fmla="*/ 217170 w 250507"/>
                  <a:gd name="connsiteY36" fmla="*/ 140017 h 234314"/>
                  <a:gd name="connsiteX37" fmla="*/ 237173 w 250507"/>
                  <a:gd name="connsiteY37" fmla="*/ 119063 h 234314"/>
                  <a:gd name="connsiteX38" fmla="*/ 243840 w 250507"/>
                  <a:gd name="connsiteY38" fmla="*/ 100013 h 234314"/>
                  <a:gd name="connsiteX39" fmla="*/ 220980 w 250507"/>
                  <a:gd name="connsiteY39" fmla="*/ 92392 h 234314"/>
                  <a:gd name="connsiteX40" fmla="*/ 205740 w 250507"/>
                  <a:gd name="connsiteY40" fmla="*/ 107633 h 234314"/>
                  <a:gd name="connsiteX41" fmla="*/ 185738 w 250507"/>
                  <a:gd name="connsiteY41" fmla="*/ 94297 h 234314"/>
                  <a:gd name="connsiteX42" fmla="*/ 162877 w 250507"/>
                  <a:gd name="connsiteY42" fmla="*/ 80010 h 234314"/>
                  <a:gd name="connsiteX43" fmla="*/ 140018 w 250507"/>
                  <a:gd name="connsiteY43" fmla="*/ 62865 h 234314"/>
                  <a:gd name="connsiteX44" fmla="*/ 147638 w 250507"/>
                  <a:gd name="connsiteY44" fmla="*/ 46672 h 234314"/>
                  <a:gd name="connsiteX45" fmla="*/ 160020 w 250507"/>
                  <a:gd name="connsiteY45" fmla="*/ 34290 h 234314"/>
                  <a:gd name="connsiteX46" fmla="*/ 169545 w 250507"/>
                  <a:gd name="connsiteY46" fmla="*/ 66675 h 234314"/>
                  <a:gd name="connsiteX47" fmla="*/ 183832 w 250507"/>
                  <a:gd name="connsiteY47" fmla="*/ 81915 h 234314"/>
                  <a:gd name="connsiteX48" fmla="*/ 209550 w 250507"/>
                  <a:gd name="connsiteY48" fmla="*/ 86677 h 234314"/>
                  <a:gd name="connsiteX49" fmla="*/ 224790 w 250507"/>
                  <a:gd name="connsiteY49" fmla="*/ 80010 h 234314"/>
                  <a:gd name="connsiteX50" fmla="*/ 237173 w 250507"/>
                  <a:gd name="connsiteY50" fmla="*/ 80010 h 234314"/>
                  <a:gd name="connsiteX51" fmla="*/ 250507 w 250507"/>
                  <a:gd name="connsiteY51" fmla="*/ 66675 h 234314"/>
                  <a:gd name="connsiteX52" fmla="*/ 243840 w 250507"/>
                  <a:gd name="connsiteY52" fmla="*/ 40005 h 234314"/>
                  <a:gd name="connsiteX53" fmla="*/ 222885 w 250507"/>
                  <a:gd name="connsiteY53" fmla="*/ 40005 h 234314"/>
                  <a:gd name="connsiteX54" fmla="*/ 228600 w 250507"/>
                  <a:gd name="connsiteY54" fmla="*/ 17145 h 234314"/>
                  <a:gd name="connsiteX55" fmla="*/ 228600 w 250507"/>
                  <a:gd name="connsiteY55" fmla="*/ 0 h 234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250507" h="234314">
                    <a:moveTo>
                      <a:pt x="211455" y="5715"/>
                    </a:moveTo>
                    <a:lnTo>
                      <a:pt x="170498" y="5715"/>
                    </a:lnTo>
                    <a:lnTo>
                      <a:pt x="157163" y="19050"/>
                    </a:lnTo>
                    <a:lnTo>
                      <a:pt x="136207" y="33338"/>
                    </a:lnTo>
                    <a:lnTo>
                      <a:pt x="120968" y="18097"/>
                    </a:lnTo>
                    <a:lnTo>
                      <a:pt x="83820" y="29527"/>
                    </a:lnTo>
                    <a:lnTo>
                      <a:pt x="86677" y="53340"/>
                    </a:lnTo>
                    <a:lnTo>
                      <a:pt x="96202" y="62865"/>
                    </a:lnTo>
                    <a:lnTo>
                      <a:pt x="109538" y="76200"/>
                    </a:lnTo>
                    <a:lnTo>
                      <a:pt x="120015" y="86677"/>
                    </a:lnTo>
                    <a:lnTo>
                      <a:pt x="105727" y="98108"/>
                    </a:lnTo>
                    <a:lnTo>
                      <a:pt x="86677" y="80963"/>
                    </a:lnTo>
                    <a:lnTo>
                      <a:pt x="76200" y="91440"/>
                    </a:lnTo>
                    <a:lnTo>
                      <a:pt x="61913" y="77152"/>
                    </a:lnTo>
                    <a:lnTo>
                      <a:pt x="29527" y="83820"/>
                    </a:lnTo>
                    <a:lnTo>
                      <a:pt x="16193" y="76200"/>
                    </a:lnTo>
                    <a:lnTo>
                      <a:pt x="9525" y="92392"/>
                    </a:lnTo>
                    <a:lnTo>
                      <a:pt x="20002" y="102870"/>
                    </a:lnTo>
                    <a:lnTo>
                      <a:pt x="0" y="113347"/>
                    </a:lnTo>
                    <a:lnTo>
                      <a:pt x="0" y="137160"/>
                    </a:lnTo>
                    <a:lnTo>
                      <a:pt x="16193" y="152400"/>
                    </a:lnTo>
                    <a:lnTo>
                      <a:pt x="12382" y="170497"/>
                    </a:lnTo>
                    <a:lnTo>
                      <a:pt x="25718" y="170497"/>
                    </a:lnTo>
                    <a:lnTo>
                      <a:pt x="43815" y="188595"/>
                    </a:lnTo>
                    <a:lnTo>
                      <a:pt x="39052" y="209550"/>
                    </a:lnTo>
                    <a:lnTo>
                      <a:pt x="61913" y="220980"/>
                    </a:lnTo>
                    <a:lnTo>
                      <a:pt x="92393" y="221933"/>
                    </a:lnTo>
                    <a:lnTo>
                      <a:pt x="105727" y="234315"/>
                    </a:lnTo>
                    <a:lnTo>
                      <a:pt x="128588" y="234315"/>
                    </a:lnTo>
                    <a:lnTo>
                      <a:pt x="155257" y="226695"/>
                    </a:lnTo>
                    <a:lnTo>
                      <a:pt x="155257" y="206692"/>
                    </a:lnTo>
                    <a:lnTo>
                      <a:pt x="139065" y="191452"/>
                    </a:lnTo>
                    <a:lnTo>
                      <a:pt x="147638" y="181927"/>
                    </a:lnTo>
                    <a:lnTo>
                      <a:pt x="160973" y="195263"/>
                    </a:lnTo>
                    <a:lnTo>
                      <a:pt x="184785" y="152400"/>
                    </a:lnTo>
                    <a:lnTo>
                      <a:pt x="207645" y="130492"/>
                    </a:lnTo>
                    <a:lnTo>
                      <a:pt x="217170" y="140017"/>
                    </a:lnTo>
                    <a:lnTo>
                      <a:pt x="237173" y="119063"/>
                    </a:lnTo>
                    <a:lnTo>
                      <a:pt x="243840" y="100013"/>
                    </a:lnTo>
                    <a:lnTo>
                      <a:pt x="220980" y="92392"/>
                    </a:lnTo>
                    <a:lnTo>
                      <a:pt x="205740" y="107633"/>
                    </a:lnTo>
                    <a:lnTo>
                      <a:pt x="185738" y="94297"/>
                    </a:lnTo>
                    <a:lnTo>
                      <a:pt x="162877" y="80010"/>
                    </a:lnTo>
                    <a:lnTo>
                      <a:pt x="140018" y="62865"/>
                    </a:lnTo>
                    <a:lnTo>
                      <a:pt x="147638" y="46672"/>
                    </a:lnTo>
                    <a:lnTo>
                      <a:pt x="160020" y="34290"/>
                    </a:lnTo>
                    <a:lnTo>
                      <a:pt x="169545" y="66675"/>
                    </a:lnTo>
                    <a:lnTo>
                      <a:pt x="183832" y="81915"/>
                    </a:lnTo>
                    <a:lnTo>
                      <a:pt x="209550" y="86677"/>
                    </a:lnTo>
                    <a:lnTo>
                      <a:pt x="224790" y="80010"/>
                    </a:lnTo>
                    <a:lnTo>
                      <a:pt x="237173" y="80010"/>
                    </a:lnTo>
                    <a:lnTo>
                      <a:pt x="250507" y="66675"/>
                    </a:lnTo>
                    <a:lnTo>
                      <a:pt x="243840" y="40005"/>
                    </a:lnTo>
                    <a:lnTo>
                      <a:pt x="222885" y="40005"/>
                    </a:lnTo>
                    <a:lnTo>
                      <a:pt x="228600" y="17145"/>
                    </a:lnTo>
                    <a:lnTo>
                      <a:pt x="228600" y="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6" name="Полилиния: фигура 157">
                <a:extLst>
                  <a:ext uri="{FF2B5EF4-FFF2-40B4-BE49-F238E27FC236}">
                    <a16:creationId xmlns:a16="http://schemas.microsoft.com/office/drawing/2014/main" id="{3D38D87C-C8E6-4DD5-A929-EA57A35AF866}"/>
                  </a:ext>
                </a:extLst>
              </p:cNvPr>
              <p:cNvSpPr/>
              <p:nvPr/>
            </p:nvSpPr>
            <p:spPr>
              <a:xfrm>
                <a:off x="7699057" y="2246947"/>
                <a:ext cx="36194" cy="52387"/>
              </a:xfrm>
              <a:custGeom>
                <a:avLst/>
                <a:gdLst>
                  <a:gd name="connsiteX0" fmla="*/ 11430 w 36194"/>
                  <a:gd name="connsiteY0" fmla="*/ 953 h 52387"/>
                  <a:gd name="connsiteX1" fmla="*/ 0 w 36194"/>
                  <a:gd name="connsiteY1" fmla="*/ 11430 h 52387"/>
                  <a:gd name="connsiteX2" fmla="*/ 8573 w 36194"/>
                  <a:gd name="connsiteY2" fmla="*/ 37148 h 52387"/>
                  <a:gd name="connsiteX3" fmla="*/ 23813 w 36194"/>
                  <a:gd name="connsiteY3" fmla="*/ 52388 h 52387"/>
                  <a:gd name="connsiteX4" fmla="*/ 36195 w 36194"/>
                  <a:gd name="connsiteY4" fmla="*/ 28575 h 52387"/>
                  <a:gd name="connsiteX5" fmla="*/ 36195 w 36194"/>
                  <a:gd name="connsiteY5" fmla="*/ 9525 h 52387"/>
                  <a:gd name="connsiteX6" fmla="*/ 26670 w 36194"/>
                  <a:gd name="connsiteY6" fmla="*/ 0 h 5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194" h="52387">
                    <a:moveTo>
                      <a:pt x="11430" y="953"/>
                    </a:moveTo>
                    <a:lnTo>
                      <a:pt x="0" y="11430"/>
                    </a:lnTo>
                    <a:lnTo>
                      <a:pt x="8573" y="37148"/>
                    </a:lnTo>
                    <a:lnTo>
                      <a:pt x="23813" y="52388"/>
                    </a:lnTo>
                    <a:lnTo>
                      <a:pt x="36195" y="28575"/>
                    </a:lnTo>
                    <a:lnTo>
                      <a:pt x="36195" y="9525"/>
                    </a:lnTo>
                    <a:lnTo>
                      <a:pt x="26670" y="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7" name="Полилиния: фигура 158">
                <a:extLst>
                  <a:ext uri="{FF2B5EF4-FFF2-40B4-BE49-F238E27FC236}">
                    <a16:creationId xmlns:a16="http://schemas.microsoft.com/office/drawing/2014/main" id="{E238823D-8947-4D5F-8B61-EE9081D11406}"/>
                  </a:ext>
                </a:extLst>
              </p:cNvPr>
              <p:cNvSpPr/>
              <p:nvPr/>
            </p:nvSpPr>
            <p:spPr>
              <a:xfrm>
                <a:off x="7748587" y="2242184"/>
                <a:ext cx="121919" cy="105727"/>
              </a:xfrm>
              <a:custGeom>
                <a:avLst/>
                <a:gdLst>
                  <a:gd name="connsiteX0" fmla="*/ 14288 w 121919"/>
                  <a:gd name="connsiteY0" fmla="*/ 29528 h 105727"/>
                  <a:gd name="connsiteX1" fmla="*/ 0 w 121919"/>
                  <a:gd name="connsiteY1" fmla="*/ 43815 h 105727"/>
                  <a:gd name="connsiteX2" fmla="*/ 8573 w 121919"/>
                  <a:gd name="connsiteY2" fmla="*/ 63818 h 105727"/>
                  <a:gd name="connsiteX3" fmla="*/ 21907 w 121919"/>
                  <a:gd name="connsiteY3" fmla="*/ 78105 h 105727"/>
                  <a:gd name="connsiteX4" fmla="*/ 13335 w 121919"/>
                  <a:gd name="connsiteY4" fmla="*/ 98108 h 105727"/>
                  <a:gd name="connsiteX5" fmla="*/ 20955 w 121919"/>
                  <a:gd name="connsiteY5" fmla="*/ 105728 h 105727"/>
                  <a:gd name="connsiteX6" fmla="*/ 32385 w 121919"/>
                  <a:gd name="connsiteY6" fmla="*/ 81915 h 105727"/>
                  <a:gd name="connsiteX7" fmla="*/ 61913 w 121919"/>
                  <a:gd name="connsiteY7" fmla="*/ 75248 h 105727"/>
                  <a:gd name="connsiteX8" fmla="*/ 87630 w 121919"/>
                  <a:gd name="connsiteY8" fmla="*/ 64770 h 105727"/>
                  <a:gd name="connsiteX9" fmla="*/ 121920 w 121919"/>
                  <a:gd name="connsiteY9" fmla="*/ 44768 h 105727"/>
                  <a:gd name="connsiteX10" fmla="*/ 103823 w 121919"/>
                  <a:gd name="connsiteY10" fmla="*/ 11430 h 105727"/>
                  <a:gd name="connsiteX11" fmla="*/ 80010 w 121919"/>
                  <a:gd name="connsiteY11" fmla="*/ 11430 h 105727"/>
                  <a:gd name="connsiteX12" fmla="*/ 45720 w 121919"/>
                  <a:gd name="connsiteY12" fmla="*/ 0 h 105727"/>
                  <a:gd name="connsiteX13" fmla="*/ 29527 w 121919"/>
                  <a:gd name="connsiteY13" fmla="*/ 14288 h 105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1919" h="105727">
                    <a:moveTo>
                      <a:pt x="14288" y="29528"/>
                    </a:moveTo>
                    <a:lnTo>
                      <a:pt x="0" y="43815"/>
                    </a:lnTo>
                    <a:lnTo>
                      <a:pt x="8573" y="63818"/>
                    </a:lnTo>
                    <a:lnTo>
                      <a:pt x="21907" y="78105"/>
                    </a:lnTo>
                    <a:lnTo>
                      <a:pt x="13335" y="98108"/>
                    </a:lnTo>
                    <a:lnTo>
                      <a:pt x="20955" y="105728"/>
                    </a:lnTo>
                    <a:lnTo>
                      <a:pt x="32385" y="81915"/>
                    </a:lnTo>
                    <a:lnTo>
                      <a:pt x="61913" y="75248"/>
                    </a:lnTo>
                    <a:lnTo>
                      <a:pt x="87630" y="64770"/>
                    </a:lnTo>
                    <a:lnTo>
                      <a:pt x="121920" y="44768"/>
                    </a:lnTo>
                    <a:lnTo>
                      <a:pt x="103823" y="11430"/>
                    </a:lnTo>
                    <a:lnTo>
                      <a:pt x="80010" y="11430"/>
                    </a:lnTo>
                    <a:lnTo>
                      <a:pt x="45720" y="0"/>
                    </a:lnTo>
                    <a:lnTo>
                      <a:pt x="29527" y="14288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8" name="Полилиния: фигура 159">
                <a:extLst>
                  <a:ext uri="{FF2B5EF4-FFF2-40B4-BE49-F238E27FC236}">
                    <a16:creationId xmlns:a16="http://schemas.microsoft.com/office/drawing/2014/main" id="{F0C433FB-A0D1-481B-8F87-96633440A953}"/>
                  </a:ext>
                </a:extLst>
              </p:cNvPr>
              <p:cNvSpPr/>
              <p:nvPr/>
            </p:nvSpPr>
            <p:spPr>
              <a:xfrm>
                <a:off x="7442835" y="2203132"/>
                <a:ext cx="38100" cy="43814"/>
              </a:xfrm>
              <a:custGeom>
                <a:avLst/>
                <a:gdLst>
                  <a:gd name="connsiteX0" fmla="*/ 32385 w 38100"/>
                  <a:gd name="connsiteY0" fmla="*/ 13335 h 43814"/>
                  <a:gd name="connsiteX1" fmla="*/ 20955 w 38100"/>
                  <a:gd name="connsiteY1" fmla="*/ 1905 h 43814"/>
                  <a:gd name="connsiteX2" fmla="*/ 0 w 38100"/>
                  <a:gd name="connsiteY2" fmla="*/ 0 h 43814"/>
                  <a:gd name="connsiteX3" fmla="*/ 13335 w 38100"/>
                  <a:gd name="connsiteY3" fmla="*/ 14288 h 43814"/>
                  <a:gd name="connsiteX4" fmla="*/ 21907 w 38100"/>
                  <a:gd name="connsiteY4" fmla="*/ 43815 h 43814"/>
                  <a:gd name="connsiteX5" fmla="*/ 38100 w 38100"/>
                  <a:gd name="connsiteY5" fmla="*/ 43815 h 43814"/>
                  <a:gd name="connsiteX6" fmla="*/ 38100 w 38100"/>
                  <a:gd name="connsiteY6" fmla="*/ 27622 h 43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100" h="43814">
                    <a:moveTo>
                      <a:pt x="32385" y="13335"/>
                    </a:moveTo>
                    <a:lnTo>
                      <a:pt x="20955" y="1905"/>
                    </a:lnTo>
                    <a:lnTo>
                      <a:pt x="0" y="0"/>
                    </a:lnTo>
                    <a:lnTo>
                      <a:pt x="13335" y="14288"/>
                    </a:lnTo>
                    <a:lnTo>
                      <a:pt x="21907" y="43815"/>
                    </a:lnTo>
                    <a:lnTo>
                      <a:pt x="38100" y="43815"/>
                    </a:lnTo>
                    <a:lnTo>
                      <a:pt x="38100" y="27622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9" name="Полилиния: фигура 160">
                <a:extLst>
                  <a:ext uri="{FF2B5EF4-FFF2-40B4-BE49-F238E27FC236}">
                    <a16:creationId xmlns:a16="http://schemas.microsoft.com/office/drawing/2014/main" id="{1A7186B8-02BE-4EB2-9579-0AA8E334AE93}"/>
                  </a:ext>
                </a:extLst>
              </p:cNvPr>
              <p:cNvSpPr/>
              <p:nvPr/>
            </p:nvSpPr>
            <p:spPr>
              <a:xfrm>
                <a:off x="6811327" y="2711767"/>
                <a:ext cx="61912" cy="58102"/>
              </a:xfrm>
              <a:custGeom>
                <a:avLst/>
                <a:gdLst>
                  <a:gd name="connsiteX0" fmla="*/ 22860 w 61912"/>
                  <a:gd name="connsiteY0" fmla="*/ 2858 h 58102"/>
                  <a:gd name="connsiteX1" fmla="*/ 0 w 61912"/>
                  <a:gd name="connsiteY1" fmla="*/ 26670 h 58102"/>
                  <a:gd name="connsiteX2" fmla="*/ 0 w 61912"/>
                  <a:gd name="connsiteY2" fmla="*/ 42863 h 58102"/>
                  <a:gd name="connsiteX3" fmla="*/ 19050 w 61912"/>
                  <a:gd name="connsiteY3" fmla="*/ 42863 h 58102"/>
                  <a:gd name="connsiteX4" fmla="*/ 25718 w 61912"/>
                  <a:gd name="connsiteY4" fmla="*/ 58103 h 58102"/>
                  <a:gd name="connsiteX5" fmla="*/ 42863 w 61912"/>
                  <a:gd name="connsiteY5" fmla="*/ 50483 h 58102"/>
                  <a:gd name="connsiteX6" fmla="*/ 61913 w 61912"/>
                  <a:gd name="connsiteY6" fmla="*/ 30480 h 58102"/>
                  <a:gd name="connsiteX7" fmla="*/ 61913 w 61912"/>
                  <a:gd name="connsiteY7" fmla="*/ 0 h 58102"/>
                  <a:gd name="connsiteX8" fmla="*/ 37148 w 61912"/>
                  <a:gd name="connsiteY8" fmla="*/ 0 h 58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1912" h="58102">
                    <a:moveTo>
                      <a:pt x="22860" y="2858"/>
                    </a:moveTo>
                    <a:lnTo>
                      <a:pt x="0" y="26670"/>
                    </a:lnTo>
                    <a:lnTo>
                      <a:pt x="0" y="42863"/>
                    </a:lnTo>
                    <a:lnTo>
                      <a:pt x="19050" y="42863"/>
                    </a:lnTo>
                    <a:lnTo>
                      <a:pt x="25718" y="58103"/>
                    </a:lnTo>
                    <a:lnTo>
                      <a:pt x="42863" y="50483"/>
                    </a:lnTo>
                    <a:lnTo>
                      <a:pt x="61913" y="30480"/>
                    </a:lnTo>
                    <a:lnTo>
                      <a:pt x="61913" y="0"/>
                    </a:lnTo>
                    <a:lnTo>
                      <a:pt x="37148" y="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0" name="Полилиния: фигура 161">
                <a:extLst>
                  <a:ext uri="{FF2B5EF4-FFF2-40B4-BE49-F238E27FC236}">
                    <a16:creationId xmlns:a16="http://schemas.microsoft.com/office/drawing/2014/main" id="{EF5A8219-F48F-4FEE-BBFA-37F4FDD2041D}"/>
                  </a:ext>
                </a:extLst>
              </p:cNvPr>
              <p:cNvSpPr/>
              <p:nvPr/>
            </p:nvSpPr>
            <p:spPr>
              <a:xfrm>
                <a:off x="7661910" y="1812607"/>
                <a:ext cx="18097" cy="22859"/>
              </a:xfrm>
              <a:custGeom>
                <a:avLst/>
                <a:gdLst>
                  <a:gd name="connsiteX0" fmla="*/ 7620 w 18097"/>
                  <a:gd name="connsiteY0" fmla="*/ 0 h 22859"/>
                  <a:gd name="connsiteX1" fmla="*/ 0 w 18097"/>
                  <a:gd name="connsiteY1" fmla="*/ 14288 h 22859"/>
                  <a:gd name="connsiteX2" fmla="*/ 8572 w 18097"/>
                  <a:gd name="connsiteY2" fmla="*/ 22860 h 22859"/>
                  <a:gd name="connsiteX3" fmla="*/ 18097 w 18097"/>
                  <a:gd name="connsiteY3" fmla="*/ 14288 h 22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97" h="22859">
                    <a:moveTo>
                      <a:pt x="7620" y="0"/>
                    </a:moveTo>
                    <a:lnTo>
                      <a:pt x="0" y="14288"/>
                    </a:lnTo>
                    <a:lnTo>
                      <a:pt x="8572" y="22860"/>
                    </a:lnTo>
                    <a:lnTo>
                      <a:pt x="18097" y="14288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1" name="Полилиния: фигура 162">
                <a:extLst>
                  <a:ext uri="{FF2B5EF4-FFF2-40B4-BE49-F238E27FC236}">
                    <a16:creationId xmlns:a16="http://schemas.microsoft.com/office/drawing/2014/main" id="{9DA67AB4-4A33-4E58-9FB4-FE4BDBEC27F7}"/>
                  </a:ext>
                </a:extLst>
              </p:cNvPr>
              <p:cNvSpPr/>
              <p:nvPr/>
            </p:nvSpPr>
            <p:spPr>
              <a:xfrm>
                <a:off x="7565707" y="2367915"/>
                <a:ext cx="40005" cy="26669"/>
              </a:xfrm>
              <a:custGeom>
                <a:avLst/>
                <a:gdLst>
                  <a:gd name="connsiteX0" fmla="*/ 32385 w 40005"/>
                  <a:gd name="connsiteY0" fmla="*/ 4763 h 26669"/>
                  <a:gd name="connsiteX1" fmla="*/ 7620 w 40005"/>
                  <a:gd name="connsiteY1" fmla="*/ 0 h 26669"/>
                  <a:gd name="connsiteX2" fmla="*/ 0 w 40005"/>
                  <a:gd name="connsiteY2" fmla="*/ 5715 h 26669"/>
                  <a:gd name="connsiteX3" fmla="*/ 14288 w 40005"/>
                  <a:gd name="connsiteY3" fmla="*/ 12382 h 26669"/>
                  <a:gd name="connsiteX4" fmla="*/ 32385 w 40005"/>
                  <a:gd name="connsiteY4" fmla="*/ 26670 h 26669"/>
                  <a:gd name="connsiteX5" fmla="*/ 40005 w 40005"/>
                  <a:gd name="connsiteY5" fmla="*/ 16192 h 2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005" h="26669">
                    <a:moveTo>
                      <a:pt x="32385" y="4763"/>
                    </a:moveTo>
                    <a:lnTo>
                      <a:pt x="7620" y="0"/>
                    </a:lnTo>
                    <a:lnTo>
                      <a:pt x="0" y="5715"/>
                    </a:lnTo>
                    <a:lnTo>
                      <a:pt x="14288" y="12382"/>
                    </a:lnTo>
                    <a:lnTo>
                      <a:pt x="32385" y="26670"/>
                    </a:lnTo>
                    <a:lnTo>
                      <a:pt x="40005" y="16192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2" name="Полилиния: фигура 163">
                <a:extLst>
                  <a:ext uri="{FF2B5EF4-FFF2-40B4-BE49-F238E27FC236}">
                    <a16:creationId xmlns:a16="http://schemas.microsoft.com/office/drawing/2014/main" id="{CB786586-0820-48BA-AF86-70F2D62F9CBB}"/>
                  </a:ext>
                </a:extLst>
              </p:cNvPr>
              <p:cNvSpPr/>
              <p:nvPr/>
            </p:nvSpPr>
            <p:spPr>
              <a:xfrm>
                <a:off x="6775132" y="1958339"/>
                <a:ext cx="2215515" cy="2667000"/>
              </a:xfrm>
              <a:custGeom>
                <a:avLst/>
                <a:gdLst>
                  <a:gd name="connsiteX0" fmla="*/ 1956435 w 2215515"/>
                  <a:gd name="connsiteY0" fmla="*/ 0 h 2667000"/>
                  <a:gd name="connsiteX1" fmla="*/ 1929765 w 2215515"/>
                  <a:gd name="connsiteY1" fmla="*/ 26670 h 2667000"/>
                  <a:gd name="connsiteX2" fmla="*/ 1929765 w 2215515"/>
                  <a:gd name="connsiteY2" fmla="*/ 46673 h 2667000"/>
                  <a:gd name="connsiteX3" fmla="*/ 1943100 w 2215515"/>
                  <a:gd name="connsiteY3" fmla="*/ 60008 h 2667000"/>
                  <a:gd name="connsiteX4" fmla="*/ 1915478 w 2215515"/>
                  <a:gd name="connsiteY4" fmla="*/ 60008 h 2667000"/>
                  <a:gd name="connsiteX5" fmla="*/ 1889760 w 2215515"/>
                  <a:gd name="connsiteY5" fmla="*/ 80010 h 2667000"/>
                  <a:gd name="connsiteX6" fmla="*/ 1854518 w 2215515"/>
                  <a:gd name="connsiteY6" fmla="*/ 95250 h 2667000"/>
                  <a:gd name="connsiteX7" fmla="*/ 1815465 w 2215515"/>
                  <a:gd name="connsiteY7" fmla="*/ 56198 h 2667000"/>
                  <a:gd name="connsiteX8" fmla="*/ 1796415 w 2215515"/>
                  <a:gd name="connsiteY8" fmla="*/ 37148 h 2667000"/>
                  <a:gd name="connsiteX9" fmla="*/ 1757363 w 2215515"/>
                  <a:gd name="connsiteY9" fmla="*/ 39052 h 2667000"/>
                  <a:gd name="connsiteX10" fmla="*/ 1710690 w 2215515"/>
                  <a:gd name="connsiteY10" fmla="*/ 45720 h 2667000"/>
                  <a:gd name="connsiteX11" fmla="*/ 1684020 w 2215515"/>
                  <a:gd name="connsiteY11" fmla="*/ 78105 h 2667000"/>
                  <a:gd name="connsiteX12" fmla="*/ 1654493 w 2215515"/>
                  <a:gd name="connsiteY12" fmla="*/ 108585 h 2667000"/>
                  <a:gd name="connsiteX13" fmla="*/ 1619250 w 2215515"/>
                  <a:gd name="connsiteY13" fmla="*/ 160973 h 2667000"/>
                  <a:gd name="connsiteX14" fmla="*/ 1619250 w 2215515"/>
                  <a:gd name="connsiteY14" fmla="*/ 201930 h 2667000"/>
                  <a:gd name="connsiteX15" fmla="*/ 1590675 w 2215515"/>
                  <a:gd name="connsiteY15" fmla="*/ 237173 h 2667000"/>
                  <a:gd name="connsiteX16" fmla="*/ 1564005 w 2215515"/>
                  <a:gd name="connsiteY16" fmla="*/ 263843 h 2667000"/>
                  <a:gd name="connsiteX17" fmla="*/ 1534478 w 2215515"/>
                  <a:gd name="connsiteY17" fmla="*/ 264795 h 2667000"/>
                  <a:gd name="connsiteX18" fmla="*/ 1507807 w 2215515"/>
                  <a:gd name="connsiteY18" fmla="*/ 250507 h 2667000"/>
                  <a:gd name="connsiteX19" fmla="*/ 1469707 w 2215515"/>
                  <a:gd name="connsiteY19" fmla="*/ 271463 h 2667000"/>
                  <a:gd name="connsiteX20" fmla="*/ 1473518 w 2215515"/>
                  <a:gd name="connsiteY20" fmla="*/ 303848 h 2667000"/>
                  <a:gd name="connsiteX21" fmla="*/ 1446848 w 2215515"/>
                  <a:gd name="connsiteY21" fmla="*/ 275273 h 2667000"/>
                  <a:gd name="connsiteX22" fmla="*/ 1426845 w 2215515"/>
                  <a:gd name="connsiteY22" fmla="*/ 298132 h 2667000"/>
                  <a:gd name="connsiteX23" fmla="*/ 1395413 w 2215515"/>
                  <a:gd name="connsiteY23" fmla="*/ 298132 h 2667000"/>
                  <a:gd name="connsiteX24" fmla="*/ 1385888 w 2215515"/>
                  <a:gd name="connsiteY24" fmla="*/ 282893 h 2667000"/>
                  <a:gd name="connsiteX25" fmla="*/ 1406843 w 2215515"/>
                  <a:gd name="connsiteY25" fmla="*/ 257175 h 2667000"/>
                  <a:gd name="connsiteX26" fmla="*/ 1381125 w 2215515"/>
                  <a:gd name="connsiteY26" fmla="*/ 239077 h 2667000"/>
                  <a:gd name="connsiteX27" fmla="*/ 1339215 w 2215515"/>
                  <a:gd name="connsiteY27" fmla="*/ 257175 h 2667000"/>
                  <a:gd name="connsiteX28" fmla="*/ 1309688 w 2215515"/>
                  <a:gd name="connsiteY28" fmla="*/ 271463 h 2667000"/>
                  <a:gd name="connsiteX29" fmla="*/ 1297305 w 2215515"/>
                  <a:gd name="connsiteY29" fmla="*/ 306705 h 2667000"/>
                  <a:gd name="connsiteX30" fmla="*/ 1291590 w 2215515"/>
                  <a:gd name="connsiteY30" fmla="*/ 326707 h 2667000"/>
                  <a:gd name="connsiteX31" fmla="*/ 1300163 w 2215515"/>
                  <a:gd name="connsiteY31" fmla="*/ 371475 h 2667000"/>
                  <a:gd name="connsiteX32" fmla="*/ 1300163 w 2215515"/>
                  <a:gd name="connsiteY32" fmla="*/ 398145 h 2667000"/>
                  <a:gd name="connsiteX33" fmla="*/ 1276350 w 2215515"/>
                  <a:gd name="connsiteY33" fmla="*/ 421005 h 2667000"/>
                  <a:gd name="connsiteX34" fmla="*/ 1283018 w 2215515"/>
                  <a:gd name="connsiteY34" fmla="*/ 365760 h 2667000"/>
                  <a:gd name="connsiteX35" fmla="*/ 1256348 w 2215515"/>
                  <a:gd name="connsiteY35" fmla="*/ 357188 h 2667000"/>
                  <a:gd name="connsiteX36" fmla="*/ 1235393 w 2215515"/>
                  <a:gd name="connsiteY36" fmla="*/ 378143 h 2667000"/>
                  <a:gd name="connsiteX37" fmla="*/ 1211580 w 2215515"/>
                  <a:gd name="connsiteY37" fmla="*/ 389573 h 2667000"/>
                  <a:gd name="connsiteX38" fmla="*/ 1221105 w 2215515"/>
                  <a:gd name="connsiteY38" fmla="*/ 351473 h 2667000"/>
                  <a:gd name="connsiteX39" fmla="*/ 1247775 w 2215515"/>
                  <a:gd name="connsiteY39" fmla="*/ 333375 h 2667000"/>
                  <a:gd name="connsiteX40" fmla="*/ 1242060 w 2215515"/>
                  <a:gd name="connsiteY40" fmla="*/ 319088 h 2667000"/>
                  <a:gd name="connsiteX41" fmla="*/ 1201103 w 2215515"/>
                  <a:gd name="connsiteY41" fmla="*/ 337185 h 2667000"/>
                  <a:gd name="connsiteX42" fmla="*/ 1148715 w 2215515"/>
                  <a:gd name="connsiteY42" fmla="*/ 357188 h 2667000"/>
                  <a:gd name="connsiteX43" fmla="*/ 1137285 w 2215515"/>
                  <a:gd name="connsiteY43" fmla="*/ 389573 h 2667000"/>
                  <a:gd name="connsiteX44" fmla="*/ 1098232 w 2215515"/>
                  <a:gd name="connsiteY44" fmla="*/ 409575 h 2667000"/>
                  <a:gd name="connsiteX45" fmla="*/ 1071563 w 2215515"/>
                  <a:gd name="connsiteY45" fmla="*/ 409575 h 2667000"/>
                  <a:gd name="connsiteX46" fmla="*/ 1053465 w 2215515"/>
                  <a:gd name="connsiteY46" fmla="*/ 427673 h 2667000"/>
                  <a:gd name="connsiteX47" fmla="*/ 1082993 w 2215515"/>
                  <a:gd name="connsiteY47" fmla="*/ 445770 h 2667000"/>
                  <a:gd name="connsiteX48" fmla="*/ 1086803 w 2215515"/>
                  <a:gd name="connsiteY48" fmla="*/ 465773 h 2667000"/>
                  <a:gd name="connsiteX49" fmla="*/ 1055370 w 2215515"/>
                  <a:gd name="connsiteY49" fmla="*/ 494348 h 2667000"/>
                  <a:gd name="connsiteX50" fmla="*/ 1055370 w 2215515"/>
                  <a:gd name="connsiteY50" fmla="*/ 523875 h 2667000"/>
                  <a:gd name="connsiteX51" fmla="*/ 1072515 w 2215515"/>
                  <a:gd name="connsiteY51" fmla="*/ 535305 h 2667000"/>
                  <a:gd name="connsiteX52" fmla="*/ 1086803 w 2215515"/>
                  <a:gd name="connsiteY52" fmla="*/ 498157 h 2667000"/>
                  <a:gd name="connsiteX53" fmla="*/ 1096328 w 2215515"/>
                  <a:gd name="connsiteY53" fmla="*/ 506730 h 2667000"/>
                  <a:gd name="connsiteX54" fmla="*/ 1096328 w 2215515"/>
                  <a:gd name="connsiteY54" fmla="*/ 538163 h 2667000"/>
                  <a:gd name="connsiteX55" fmla="*/ 1120140 w 2215515"/>
                  <a:gd name="connsiteY55" fmla="*/ 550545 h 2667000"/>
                  <a:gd name="connsiteX56" fmla="*/ 1141095 w 2215515"/>
                  <a:gd name="connsiteY56" fmla="*/ 571500 h 2667000"/>
                  <a:gd name="connsiteX57" fmla="*/ 1150620 w 2215515"/>
                  <a:gd name="connsiteY57" fmla="*/ 577215 h 2667000"/>
                  <a:gd name="connsiteX58" fmla="*/ 1129665 w 2215515"/>
                  <a:gd name="connsiteY58" fmla="*/ 598170 h 2667000"/>
                  <a:gd name="connsiteX59" fmla="*/ 1102995 w 2215515"/>
                  <a:gd name="connsiteY59" fmla="*/ 597218 h 2667000"/>
                  <a:gd name="connsiteX60" fmla="*/ 1087755 w 2215515"/>
                  <a:gd name="connsiteY60" fmla="*/ 614363 h 2667000"/>
                  <a:gd name="connsiteX61" fmla="*/ 1075373 w 2215515"/>
                  <a:gd name="connsiteY61" fmla="*/ 626745 h 2667000"/>
                  <a:gd name="connsiteX62" fmla="*/ 1108710 w 2215515"/>
                  <a:gd name="connsiteY62" fmla="*/ 641985 h 2667000"/>
                  <a:gd name="connsiteX63" fmla="*/ 1108710 w 2215515"/>
                  <a:gd name="connsiteY63" fmla="*/ 662940 h 2667000"/>
                  <a:gd name="connsiteX64" fmla="*/ 1077278 w 2215515"/>
                  <a:gd name="connsiteY64" fmla="*/ 654368 h 2667000"/>
                  <a:gd name="connsiteX65" fmla="*/ 1050607 w 2215515"/>
                  <a:gd name="connsiteY65" fmla="*/ 655320 h 2667000"/>
                  <a:gd name="connsiteX66" fmla="*/ 1013460 w 2215515"/>
                  <a:gd name="connsiteY66" fmla="*/ 663893 h 2667000"/>
                  <a:gd name="connsiteX67" fmla="*/ 993457 w 2215515"/>
                  <a:gd name="connsiteY67" fmla="*/ 701040 h 2667000"/>
                  <a:gd name="connsiteX68" fmla="*/ 1000125 w 2215515"/>
                  <a:gd name="connsiteY68" fmla="*/ 738188 h 2667000"/>
                  <a:gd name="connsiteX69" fmla="*/ 964882 w 2215515"/>
                  <a:gd name="connsiteY69" fmla="*/ 738188 h 2667000"/>
                  <a:gd name="connsiteX70" fmla="*/ 933450 w 2215515"/>
                  <a:gd name="connsiteY70" fmla="*/ 746760 h 2667000"/>
                  <a:gd name="connsiteX71" fmla="*/ 913448 w 2215515"/>
                  <a:gd name="connsiteY71" fmla="*/ 726757 h 2667000"/>
                  <a:gd name="connsiteX72" fmla="*/ 878205 w 2215515"/>
                  <a:gd name="connsiteY72" fmla="*/ 722948 h 2667000"/>
                  <a:gd name="connsiteX73" fmla="*/ 878205 w 2215515"/>
                  <a:gd name="connsiteY73" fmla="*/ 748665 h 2667000"/>
                  <a:gd name="connsiteX74" fmla="*/ 896303 w 2215515"/>
                  <a:gd name="connsiteY74" fmla="*/ 766763 h 2667000"/>
                  <a:gd name="connsiteX75" fmla="*/ 896303 w 2215515"/>
                  <a:gd name="connsiteY75" fmla="*/ 786765 h 2667000"/>
                  <a:gd name="connsiteX76" fmla="*/ 904875 w 2215515"/>
                  <a:gd name="connsiteY76" fmla="*/ 807720 h 2667000"/>
                  <a:gd name="connsiteX77" fmla="*/ 919163 w 2215515"/>
                  <a:gd name="connsiteY77" fmla="*/ 854393 h 2667000"/>
                  <a:gd name="connsiteX78" fmla="*/ 916305 w 2215515"/>
                  <a:gd name="connsiteY78" fmla="*/ 881063 h 2667000"/>
                  <a:gd name="connsiteX79" fmla="*/ 883920 w 2215515"/>
                  <a:gd name="connsiteY79" fmla="*/ 863918 h 2667000"/>
                  <a:gd name="connsiteX80" fmla="*/ 871538 w 2215515"/>
                  <a:gd name="connsiteY80" fmla="*/ 876300 h 2667000"/>
                  <a:gd name="connsiteX81" fmla="*/ 842010 w 2215515"/>
                  <a:gd name="connsiteY81" fmla="*/ 870585 h 2667000"/>
                  <a:gd name="connsiteX82" fmla="*/ 821055 w 2215515"/>
                  <a:gd name="connsiteY82" fmla="*/ 856298 h 2667000"/>
                  <a:gd name="connsiteX83" fmla="*/ 793432 w 2215515"/>
                  <a:gd name="connsiteY83" fmla="*/ 828675 h 2667000"/>
                  <a:gd name="connsiteX84" fmla="*/ 764857 w 2215515"/>
                  <a:gd name="connsiteY84" fmla="*/ 829628 h 2667000"/>
                  <a:gd name="connsiteX85" fmla="*/ 764857 w 2215515"/>
                  <a:gd name="connsiteY85" fmla="*/ 806768 h 2667000"/>
                  <a:gd name="connsiteX86" fmla="*/ 752475 w 2215515"/>
                  <a:gd name="connsiteY86" fmla="*/ 794385 h 2667000"/>
                  <a:gd name="connsiteX87" fmla="*/ 737235 w 2215515"/>
                  <a:gd name="connsiteY87" fmla="*/ 808673 h 2667000"/>
                  <a:gd name="connsiteX88" fmla="*/ 717232 w 2215515"/>
                  <a:gd name="connsiteY88" fmla="*/ 788670 h 2667000"/>
                  <a:gd name="connsiteX89" fmla="*/ 728663 w 2215515"/>
                  <a:gd name="connsiteY89" fmla="*/ 777240 h 2667000"/>
                  <a:gd name="connsiteX90" fmla="*/ 746760 w 2215515"/>
                  <a:gd name="connsiteY90" fmla="*/ 771525 h 2667000"/>
                  <a:gd name="connsiteX91" fmla="*/ 746760 w 2215515"/>
                  <a:gd name="connsiteY91" fmla="*/ 740093 h 2667000"/>
                  <a:gd name="connsiteX92" fmla="*/ 732473 w 2215515"/>
                  <a:gd name="connsiteY92" fmla="*/ 725805 h 2667000"/>
                  <a:gd name="connsiteX93" fmla="*/ 705803 w 2215515"/>
                  <a:gd name="connsiteY93" fmla="*/ 742950 h 2667000"/>
                  <a:gd name="connsiteX94" fmla="*/ 705803 w 2215515"/>
                  <a:gd name="connsiteY94" fmla="*/ 716280 h 2667000"/>
                  <a:gd name="connsiteX95" fmla="*/ 689610 w 2215515"/>
                  <a:gd name="connsiteY95" fmla="*/ 700088 h 2667000"/>
                  <a:gd name="connsiteX96" fmla="*/ 673418 w 2215515"/>
                  <a:gd name="connsiteY96" fmla="*/ 700088 h 2667000"/>
                  <a:gd name="connsiteX97" fmla="*/ 684848 w 2215515"/>
                  <a:gd name="connsiteY97" fmla="*/ 665798 h 2667000"/>
                  <a:gd name="connsiteX98" fmla="*/ 650557 w 2215515"/>
                  <a:gd name="connsiteY98" fmla="*/ 654368 h 2667000"/>
                  <a:gd name="connsiteX99" fmla="*/ 641032 w 2215515"/>
                  <a:gd name="connsiteY99" fmla="*/ 663893 h 2667000"/>
                  <a:gd name="connsiteX100" fmla="*/ 609600 w 2215515"/>
                  <a:gd name="connsiteY100" fmla="*/ 640080 h 2667000"/>
                  <a:gd name="connsiteX101" fmla="*/ 596265 w 2215515"/>
                  <a:gd name="connsiteY101" fmla="*/ 653415 h 2667000"/>
                  <a:gd name="connsiteX102" fmla="*/ 586740 w 2215515"/>
                  <a:gd name="connsiteY102" fmla="*/ 679132 h 2667000"/>
                  <a:gd name="connsiteX103" fmla="*/ 575310 w 2215515"/>
                  <a:gd name="connsiteY103" fmla="*/ 687705 h 2667000"/>
                  <a:gd name="connsiteX104" fmla="*/ 563880 w 2215515"/>
                  <a:gd name="connsiteY104" fmla="*/ 675323 h 2667000"/>
                  <a:gd name="connsiteX105" fmla="*/ 552450 w 2215515"/>
                  <a:gd name="connsiteY105" fmla="*/ 678180 h 2667000"/>
                  <a:gd name="connsiteX106" fmla="*/ 546735 w 2215515"/>
                  <a:gd name="connsiteY106" fmla="*/ 695325 h 2667000"/>
                  <a:gd name="connsiteX107" fmla="*/ 523875 w 2215515"/>
                  <a:gd name="connsiteY107" fmla="*/ 680085 h 2667000"/>
                  <a:gd name="connsiteX108" fmla="*/ 508635 w 2215515"/>
                  <a:gd name="connsiteY108" fmla="*/ 664845 h 2667000"/>
                  <a:gd name="connsiteX109" fmla="*/ 490538 w 2215515"/>
                  <a:gd name="connsiteY109" fmla="*/ 678180 h 2667000"/>
                  <a:gd name="connsiteX110" fmla="*/ 473393 w 2215515"/>
                  <a:gd name="connsiteY110" fmla="*/ 661035 h 2667000"/>
                  <a:gd name="connsiteX111" fmla="*/ 469582 w 2215515"/>
                  <a:gd name="connsiteY111" fmla="*/ 678180 h 2667000"/>
                  <a:gd name="connsiteX112" fmla="*/ 463868 w 2215515"/>
                  <a:gd name="connsiteY112" fmla="*/ 710565 h 2667000"/>
                  <a:gd name="connsiteX113" fmla="*/ 484823 w 2215515"/>
                  <a:gd name="connsiteY113" fmla="*/ 742950 h 2667000"/>
                  <a:gd name="connsiteX114" fmla="*/ 488632 w 2215515"/>
                  <a:gd name="connsiteY114" fmla="*/ 771525 h 2667000"/>
                  <a:gd name="connsiteX115" fmla="*/ 488632 w 2215515"/>
                  <a:gd name="connsiteY115" fmla="*/ 797243 h 2667000"/>
                  <a:gd name="connsiteX116" fmla="*/ 450532 w 2215515"/>
                  <a:gd name="connsiteY116" fmla="*/ 802957 h 2667000"/>
                  <a:gd name="connsiteX117" fmla="*/ 421005 w 2215515"/>
                  <a:gd name="connsiteY117" fmla="*/ 828675 h 2667000"/>
                  <a:gd name="connsiteX118" fmla="*/ 391478 w 2215515"/>
                  <a:gd name="connsiteY118" fmla="*/ 840105 h 2667000"/>
                  <a:gd name="connsiteX119" fmla="*/ 378143 w 2215515"/>
                  <a:gd name="connsiteY119" fmla="*/ 813435 h 2667000"/>
                  <a:gd name="connsiteX120" fmla="*/ 374332 w 2215515"/>
                  <a:gd name="connsiteY120" fmla="*/ 828675 h 2667000"/>
                  <a:gd name="connsiteX121" fmla="*/ 373380 w 2215515"/>
                  <a:gd name="connsiteY121" fmla="*/ 840105 h 2667000"/>
                  <a:gd name="connsiteX122" fmla="*/ 329565 w 2215515"/>
                  <a:gd name="connsiteY122" fmla="*/ 840105 h 2667000"/>
                  <a:gd name="connsiteX123" fmla="*/ 306705 w 2215515"/>
                  <a:gd name="connsiteY123" fmla="*/ 817245 h 2667000"/>
                  <a:gd name="connsiteX124" fmla="*/ 316230 w 2215515"/>
                  <a:gd name="connsiteY124" fmla="*/ 807720 h 2667000"/>
                  <a:gd name="connsiteX125" fmla="*/ 305753 w 2215515"/>
                  <a:gd name="connsiteY125" fmla="*/ 791528 h 2667000"/>
                  <a:gd name="connsiteX126" fmla="*/ 263843 w 2215515"/>
                  <a:gd name="connsiteY126" fmla="*/ 803910 h 2667000"/>
                  <a:gd name="connsiteX127" fmla="*/ 210503 w 2215515"/>
                  <a:gd name="connsiteY127" fmla="*/ 813435 h 2667000"/>
                  <a:gd name="connsiteX128" fmla="*/ 175260 w 2215515"/>
                  <a:gd name="connsiteY128" fmla="*/ 831532 h 2667000"/>
                  <a:gd name="connsiteX129" fmla="*/ 149543 w 2215515"/>
                  <a:gd name="connsiteY129" fmla="*/ 857250 h 2667000"/>
                  <a:gd name="connsiteX130" fmla="*/ 136207 w 2215515"/>
                  <a:gd name="connsiteY130" fmla="*/ 870585 h 2667000"/>
                  <a:gd name="connsiteX131" fmla="*/ 156210 w 2215515"/>
                  <a:gd name="connsiteY131" fmla="*/ 888682 h 2667000"/>
                  <a:gd name="connsiteX132" fmla="*/ 136207 w 2215515"/>
                  <a:gd name="connsiteY132" fmla="*/ 888682 h 2667000"/>
                  <a:gd name="connsiteX133" fmla="*/ 119063 w 2215515"/>
                  <a:gd name="connsiteY133" fmla="*/ 864870 h 2667000"/>
                  <a:gd name="connsiteX134" fmla="*/ 119063 w 2215515"/>
                  <a:gd name="connsiteY134" fmla="*/ 836295 h 2667000"/>
                  <a:gd name="connsiteX135" fmla="*/ 103823 w 2215515"/>
                  <a:gd name="connsiteY135" fmla="*/ 821055 h 2667000"/>
                  <a:gd name="connsiteX136" fmla="*/ 85725 w 2215515"/>
                  <a:gd name="connsiteY136" fmla="*/ 845820 h 2667000"/>
                  <a:gd name="connsiteX137" fmla="*/ 80010 w 2215515"/>
                  <a:gd name="connsiteY137" fmla="*/ 862965 h 2667000"/>
                  <a:gd name="connsiteX138" fmla="*/ 51435 w 2215515"/>
                  <a:gd name="connsiteY138" fmla="*/ 851535 h 2667000"/>
                  <a:gd name="connsiteX139" fmla="*/ 27623 w 2215515"/>
                  <a:gd name="connsiteY139" fmla="*/ 845820 h 2667000"/>
                  <a:gd name="connsiteX140" fmla="*/ 31432 w 2215515"/>
                  <a:gd name="connsiteY140" fmla="*/ 870585 h 2667000"/>
                  <a:gd name="connsiteX141" fmla="*/ 42863 w 2215515"/>
                  <a:gd name="connsiteY141" fmla="*/ 879157 h 2667000"/>
                  <a:gd name="connsiteX142" fmla="*/ 40005 w 2215515"/>
                  <a:gd name="connsiteY142" fmla="*/ 892493 h 2667000"/>
                  <a:gd name="connsiteX143" fmla="*/ 30480 w 2215515"/>
                  <a:gd name="connsiteY143" fmla="*/ 902970 h 2667000"/>
                  <a:gd name="connsiteX144" fmla="*/ 37148 w 2215515"/>
                  <a:gd name="connsiteY144" fmla="*/ 919163 h 2667000"/>
                  <a:gd name="connsiteX145" fmla="*/ 49530 w 2215515"/>
                  <a:gd name="connsiteY145" fmla="*/ 938213 h 2667000"/>
                  <a:gd name="connsiteX146" fmla="*/ 61913 w 2215515"/>
                  <a:gd name="connsiteY146" fmla="*/ 950595 h 2667000"/>
                  <a:gd name="connsiteX147" fmla="*/ 57150 w 2215515"/>
                  <a:gd name="connsiteY147" fmla="*/ 979170 h 2667000"/>
                  <a:gd name="connsiteX148" fmla="*/ 67628 w 2215515"/>
                  <a:gd name="connsiteY148" fmla="*/ 1000125 h 2667000"/>
                  <a:gd name="connsiteX149" fmla="*/ 96203 w 2215515"/>
                  <a:gd name="connsiteY149" fmla="*/ 1010603 h 2667000"/>
                  <a:gd name="connsiteX150" fmla="*/ 96203 w 2215515"/>
                  <a:gd name="connsiteY150" fmla="*/ 1025843 h 2667000"/>
                  <a:gd name="connsiteX151" fmla="*/ 134303 w 2215515"/>
                  <a:gd name="connsiteY151" fmla="*/ 1053465 h 2667000"/>
                  <a:gd name="connsiteX152" fmla="*/ 152400 w 2215515"/>
                  <a:gd name="connsiteY152" fmla="*/ 1071563 h 2667000"/>
                  <a:gd name="connsiteX153" fmla="*/ 152400 w 2215515"/>
                  <a:gd name="connsiteY153" fmla="*/ 1106805 h 2667000"/>
                  <a:gd name="connsiteX154" fmla="*/ 172403 w 2215515"/>
                  <a:gd name="connsiteY154" fmla="*/ 1144905 h 2667000"/>
                  <a:gd name="connsiteX155" fmla="*/ 194310 w 2215515"/>
                  <a:gd name="connsiteY155" fmla="*/ 1144905 h 2667000"/>
                  <a:gd name="connsiteX156" fmla="*/ 196215 w 2215515"/>
                  <a:gd name="connsiteY156" fmla="*/ 1173480 h 2667000"/>
                  <a:gd name="connsiteX157" fmla="*/ 184785 w 2215515"/>
                  <a:gd name="connsiteY157" fmla="*/ 1173480 h 2667000"/>
                  <a:gd name="connsiteX158" fmla="*/ 179070 w 2215515"/>
                  <a:gd name="connsiteY158" fmla="*/ 1193483 h 2667000"/>
                  <a:gd name="connsiteX159" fmla="*/ 152400 w 2215515"/>
                  <a:gd name="connsiteY159" fmla="*/ 1220153 h 2667000"/>
                  <a:gd name="connsiteX160" fmla="*/ 129540 w 2215515"/>
                  <a:gd name="connsiteY160" fmla="*/ 1236345 h 2667000"/>
                  <a:gd name="connsiteX161" fmla="*/ 130493 w 2215515"/>
                  <a:gd name="connsiteY161" fmla="*/ 1286828 h 2667000"/>
                  <a:gd name="connsiteX162" fmla="*/ 109538 w 2215515"/>
                  <a:gd name="connsiteY162" fmla="*/ 1294448 h 2667000"/>
                  <a:gd name="connsiteX163" fmla="*/ 101918 w 2215515"/>
                  <a:gd name="connsiteY163" fmla="*/ 1322070 h 2667000"/>
                  <a:gd name="connsiteX164" fmla="*/ 118110 w 2215515"/>
                  <a:gd name="connsiteY164" fmla="*/ 1338263 h 2667000"/>
                  <a:gd name="connsiteX165" fmla="*/ 118110 w 2215515"/>
                  <a:gd name="connsiteY165" fmla="*/ 1361123 h 2667000"/>
                  <a:gd name="connsiteX166" fmla="*/ 109538 w 2215515"/>
                  <a:gd name="connsiteY166" fmla="*/ 1380173 h 2667000"/>
                  <a:gd name="connsiteX167" fmla="*/ 80963 w 2215515"/>
                  <a:gd name="connsiteY167" fmla="*/ 1371600 h 2667000"/>
                  <a:gd name="connsiteX168" fmla="*/ 60007 w 2215515"/>
                  <a:gd name="connsiteY168" fmla="*/ 1378267 h 2667000"/>
                  <a:gd name="connsiteX169" fmla="*/ 29528 w 2215515"/>
                  <a:gd name="connsiteY169" fmla="*/ 1422083 h 2667000"/>
                  <a:gd name="connsiteX170" fmla="*/ 0 w 2215515"/>
                  <a:gd name="connsiteY170" fmla="*/ 1433513 h 2667000"/>
                  <a:gd name="connsiteX171" fmla="*/ 0 w 2215515"/>
                  <a:gd name="connsiteY171" fmla="*/ 1444942 h 2667000"/>
                  <a:gd name="connsiteX172" fmla="*/ 7620 w 2215515"/>
                  <a:gd name="connsiteY172" fmla="*/ 1463992 h 2667000"/>
                  <a:gd name="connsiteX173" fmla="*/ 18098 w 2215515"/>
                  <a:gd name="connsiteY173" fmla="*/ 1488758 h 2667000"/>
                  <a:gd name="connsiteX174" fmla="*/ 42863 w 2215515"/>
                  <a:gd name="connsiteY174" fmla="*/ 1505903 h 2667000"/>
                  <a:gd name="connsiteX175" fmla="*/ 45720 w 2215515"/>
                  <a:gd name="connsiteY175" fmla="*/ 1552575 h 2667000"/>
                  <a:gd name="connsiteX176" fmla="*/ 70485 w 2215515"/>
                  <a:gd name="connsiteY176" fmla="*/ 1597342 h 2667000"/>
                  <a:gd name="connsiteX177" fmla="*/ 70485 w 2215515"/>
                  <a:gd name="connsiteY177" fmla="*/ 1615440 h 2667000"/>
                  <a:gd name="connsiteX178" fmla="*/ 76200 w 2215515"/>
                  <a:gd name="connsiteY178" fmla="*/ 1650683 h 2667000"/>
                  <a:gd name="connsiteX179" fmla="*/ 83820 w 2215515"/>
                  <a:gd name="connsiteY179" fmla="*/ 1704975 h 2667000"/>
                  <a:gd name="connsiteX180" fmla="*/ 62865 w 2215515"/>
                  <a:gd name="connsiteY180" fmla="*/ 1710690 h 2667000"/>
                  <a:gd name="connsiteX181" fmla="*/ 48578 w 2215515"/>
                  <a:gd name="connsiteY181" fmla="*/ 1733550 h 2667000"/>
                  <a:gd name="connsiteX182" fmla="*/ 35243 w 2215515"/>
                  <a:gd name="connsiteY182" fmla="*/ 1746885 h 2667000"/>
                  <a:gd name="connsiteX183" fmla="*/ 42863 w 2215515"/>
                  <a:gd name="connsiteY183" fmla="*/ 1770698 h 2667000"/>
                  <a:gd name="connsiteX184" fmla="*/ 50482 w 2215515"/>
                  <a:gd name="connsiteY184" fmla="*/ 1763078 h 2667000"/>
                  <a:gd name="connsiteX185" fmla="*/ 77153 w 2215515"/>
                  <a:gd name="connsiteY185" fmla="*/ 1773555 h 2667000"/>
                  <a:gd name="connsiteX186" fmla="*/ 77153 w 2215515"/>
                  <a:gd name="connsiteY186" fmla="*/ 1796415 h 2667000"/>
                  <a:gd name="connsiteX187" fmla="*/ 86678 w 2215515"/>
                  <a:gd name="connsiteY187" fmla="*/ 1805940 h 2667000"/>
                  <a:gd name="connsiteX188" fmla="*/ 77153 w 2215515"/>
                  <a:gd name="connsiteY188" fmla="*/ 1814513 h 2667000"/>
                  <a:gd name="connsiteX189" fmla="*/ 77153 w 2215515"/>
                  <a:gd name="connsiteY189" fmla="*/ 1839278 h 2667000"/>
                  <a:gd name="connsiteX190" fmla="*/ 101918 w 2215515"/>
                  <a:gd name="connsiteY190" fmla="*/ 1852613 h 2667000"/>
                  <a:gd name="connsiteX191" fmla="*/ 109538 w 2215515"/>
                  <a:gd name="connsiteY191" fmla="*/ 1891665 h 2667000"/>
                  <a:gd name="connsiteX192" fmla="*/ 139065 w 2215515"/>
                  <a:gd name="connsiteY192" fmla="*/ 1921192 h 2667000"/>
                  <a:gd name="connsiteX193" fmla="*/ 129540 w 2215515"/>
                  <a:gd name="connsiteY193" fmla="*/ 1948815 h 2667000"/>
                  <a:gd name="connsiteX194" fmla="*/ 112395 w 2215515"/>
                  <a:gd name="connsiteY194" fmla="*/ 1975485 h 2667000"/>
                  <a:gd name="connsiteX195" fmla="*/ 119063 w 2215515"/>
                  <a:gd name="connsiteY195" fmla="*/ 1996440 h 2667000"/>
                  <a:gd name="connsiteX196" fmla="*/ 119063 w 2215515"/>
                  <a:gd name="connsiteY196" fmla="*/ 2014538 h 2667000"/>
                  <a:gd name="connsiteX197" fmla="*/ 110490 w 2215515"/>
                  <a:gd name="connsiteY197" fmla="*/ 2023110 h 2667000"/>
                  <a:gd name="connsiteX198" fmla="*/ 110490 w 2215515"/>
                  <a:gd name="connsiteY198" fmla="*/ 2051685 h 2667000"/>
                  <a:gd name="connsiteX199" fmla="*/ 125730 w 2215515"/>
                  <a:gd name="connsiteY199" fmla="*/ 2058353 h 2667000"/>
                  <a:gd name="connsiteX200" fmla="*/ 148590 w 2215515"/>
                  <a:gd name="connsiteY200" fmla="*/ 2058353 h 2667000"/>
                  <a:gd name="connsiteX201" fmla="*/ 160020 w 2215515"/>
                  <a:gd name="connsiteY201" fmla="*/ 2046923 h 2667000"/>
                  <a:gd name="connsiteX202" fmla="*/ 173355 w 2215515"/>
                  <a:gd name="connsiteY202" fmla="*/ 2046923 h 2667000"/>
                  <a:gd name="connsiteX203" fmla="*/ 185738 w 2215515"/>
                  <a:gd name="connsiteY203" fmla="*/ 2062163 h 2667000"/>
                  <a:gd name="connsiteX204" fmla="*/ 211455 w 2215515"/>
                  <a:gd name="connsiteY204" fmla="*/ 2052638 h 2667000"/>
                  <a:gd name="connsiteX205" fmla="*/ 230505 w 2215515"/>
                  <a:gd name="connsiteY205" fmla="*/ 2061210 h 2667000"/>
                  <a:gd name="connsiteX206" fmla="*/ 245745 w 2215515"/>
                  <a:gd name="connsiteY206" fmla="*/ 2045970 h 2667000"/>
                  <a:gd name="connsiteX207" fmla="*/ 266700 w 2215515"/>
                  <a:gd name="connsiteY207" fmla="*/ 2046923 h 2667000"/>
                  <a:gd name="connsiteX208" fmla="*/ 267653 w 2215515"/>
                  <a:gd name="connsiteY208" fmla="*/ 2064067 h 2667000"/>
                  <a:gd name="connsiteX209" fmla="*/ 287655 w 2215515"/>
                  <a:gd name="connsiteY209" fmla="*/ 2084070 h 2667000"/>
                  <a:gd name="connsiteX210" fmla="*/ 287655 w 2215515"/>
                  <a:gd name="connsiteY210" fmla="*/ 2102168 h 2667000"/>
                  <a:gd name="connsiteX211" fmla="*/ 268605 w 2215515"/>
                  <a:gd name="connsiteY211" fmla="*/ 2107883 h 2667000"/>
                  <a:gd name="connsiteX212" fmla="*/ 268605 w 2215515"/>
                  <a:gd name="connsiteY212" fmla="*/ 2135505 h 2667000"/>
                  <a:gd name="connsiteX213" fmla="*/ 291465 w 2215515"/>
                  <a:gd name="connsiteY213" fmla="*/ 2133600 h 2667000"/>
                  <a:gd name="connsiteX214" fmla="*/ 315278 w 2215515"/>
                  <a:gd name="connsiteY214" fmla="*/ 2126933 h 2667000"/>
                  <a:gd name="connsiteX215" fmla="*/ 336232 w 2215515"/>
                  <a:gd name="connsiteY215" fmla="*/ 2142173 h 2667000"/>
                  <a:gd name="connsiteX216" fmla="*/ 354330 w 2215515"/>
                  <a:gd name="connsiteY216" fmla="*/ 2173605 h 2667000"/>
                  <a:gd name="connsiteX217" fmla="*/ 361950 w 2215515"/>
                  <a:gd name="connsiteY217" fmla="*/ 2204085 h 2667000"/>
                  <a:gd name="connsiteX218" fmla="*/ 371475 w 2215515"/>
                  <a:gd name="connsiteY218" fmla="*/ 2213610 h 2667000"/>
                  <a:gd name="connsiteX219" fmla="*/ 362903 w 2215515"/>
                  <a:gd name="connsiteY219" fmla="*/ 2222183 h 2667000"/>
                  <a:gd name="connsiteX220" fmla="*/ 362903 w 2215515"/>
                  <a:gd name="connsiteY220" fmla="*/ 2242185 h 2667000"/>
                  <a:gd name="connsiteX221" fmla="*/ 384810 w 2215515"/>
                  <a:gd name="connsiteY221" fmla="*/ 2252663 h 2667000"/>
                  <a:gd name="connsiteX222" fmla="*/ 404813 w 2215515"/>
                  <a:gd name="connsiteY222" fmla="*/ 2252663 h 2667000"/>
                  <a:gd name="connsiteX223" fmla="*/ 420053 w 2215515"/>
                  <a:gd name="connsiteY223" fmla="*/ 2267903 h 2667000"/>
                  <a:gd name="connsiteX224" fmla="*/ 417195 w 2215515"/>
                  <a:gd name="connsiteY224" fmla="*/ 2293620 h 2667000"/>
                  <a:gd name="connsiteX225" fmla="*/ 405765 w 2215515"/>
                  <a:gd name="connsiteY225" fmla="*/ 2305050 h 2667000"/>
                  <a:gd name="connsiteX226" fmla="*/ 405765 w 2215515"/>
                  <a:gd name="connsiteY226" fmla="*/ 2324100 h 2667000"/>
                  <a:gd name="connsiteX227" fmla="*/ 421957 w 2215515"/>
                  <a:gd name="connsiteY227" fmla="*/ 2340293 h 2667000"/>
                  <a:gd name="connsiteX228" fmla="*/ 430530 w 2215515"/>
                  <a:gd name="connsiteY228" fmla="*/ 2359343 h 2667000"/>
                  <a:gd name="connsiteX229" fmla="*/ 433388 w 2215515"/>
                  <a:gd name="connsiteY229" fmla="*/ 2376488 h 2667000"/>
                  <a:gd name="connsiteX230" fmla="*/ 451485 w 2215515"/>
                  <a:gd name="connsiteY230" fmla="*/ 2382203 h 2667000"/>
                  <a:gd name="connsiteX231" fmla="*/ 476250 w 2215515"/>
                  <a:gd name="connsiteY231" fmla="*/ 2392680 h 2667000"/>
                  <a:gd name="connsiteX232" fmla="*/ 476250 w 2215515"/>
                  <a:gd name="connsiteY232" fmla="*/ 2426970 h 2667000"/>
                  <a:gd name="connsiteX233" fmla="*/ 470535 w 2215515"/>
                  <a:gd name="connsiteY233" fmla="*/ 2462213 h 2667000"/>
                  <a:gd name="connsiteX234" fmla="*/ 470535 w 2215515"/>
                  <a:gd name="connsiteY234" fmla="*/ 2502218 h 2667000"/>
                  <a:gd name="connsiteX235" fmla="*/ 465773 w 2215515"/>
                  <a:gd name="connsiteY235" fmla="*/ 2544128 h 2667000"/>
                  <a:gd name="connsiteX236" fmla="*/ 469582 w 2215515"/>
                  <a:gd name="connsiteY236" fmla="*/ 2614613 h 2667000"/>
                  <a:gd name="connsiteX237" fmla="*/ 503873 w 2215515"/>
                  <a:gd name="connsiteY237" fmla="*/ 2648903 h 2667000"/>
                  <a:gd name="connsiteX238" fmla="*/ 534353 w 2215515"/>
                  <a:gd name="connsiteY238" fmla="*/ 2646998 h 2667000"/>
                  <a:gd name="connsiteX239" fmla="*/ 548640 w 2215515"/>
                  <a:gd name="connsiteY239" fmla="*/ 2626043 h 2667000"/>
                  <a:gd name="connsiteX240" fmla="*/ 557213 w 2215515"/>
                  <a:gd name="connsiteY240" fmla="*/ 2599373 h 2667000"/>
                  <a:gd name="connsiteX241" fmla="*/ 579120 w 2215515"/>
                  <a:gd name="connsiteY241" fmla="*/ 2599373 h 2667000"/>
                  <a:gd name="connsiteX242" fmla="*/ 625793 w 2215515"/>
                  <a:gd name="connsiteY242" fmla="*/ 2581275 h 2667000"/>
                  <a:gd name="connsiteX243" fmla="*/ 630555 w 2215515"/>
                  <a:gd name="connsiteY243" fmla="*/ 2558415 h 2667000"/>
                  <a:gd name="connsiteX244" fmla="*/ 648653 w 2215515"/>
                  <a:gd name="connsiteY244" fmla="*/ 2550795 h 2667000"/>
                  <a:gd name="connsiteX245" fmla="*/ 666750 w 2215515"/>
                  <a:gd name="connsiteY245" fmla="*/ 2568893 h 2667000"/>
                  <a:gd name="connsiteX246" fmla="*/ 666750 w 2215515"/>
                  <a:gd name="connsiteY246" fmla="*/ 2593658 h 2667000"/>
                  <a:gd name="connsiteX247" fmla="*/ 682943 w 2215515"/>
                  <a:gd name="connsiteY247" fmla="*/ 2615565 h 2667000"/>
                  <a:gd name="connsiteX248" fmla="*/ 682943 w 2215515"/>
                  <a:gd name="connsiteY248" fmla="*/ 2586038 h 2667000"/>
                  <a:gd name="connsiteX249" fmla="*/ 720090 w 2215515"/>
                  <a:gd name="connsiteY249" fmla="*/ 2560320 h 2667000"/>
                  <a:gd name="connsiteX250" fmla="*/ 720090 w 2215515"/>
                  <a:gd name="connsiteY250" fmla="*/ 2510790 h 2667000"/>
                  <a:gd name="connsiteX251" fmla="*/ 746760 w 2215515"/>
                  <a:gd name="connsiteY251" fmla="*/ 2484120 h 2667000"/>
                  <a:gd name="connsiteX252" fmla="*/ 757238 w 2215515"/>
                  <a:gd name="connsiteY252" fmla="*/ 2452688 h 2667000"/>
                  <a:gd name="connsiteX253" fmla="*/ 749618 w 2215515"/>
                  <a:gd name="connsiteY253" fmla="*/ 2425065 h 2667000"/>
                  <a:gd name="connsiteX254" fmla="*/ 769620 w 2215515"/>
                  <a:gd name="connsiteY254" fmla="*/ 2405063 h 2667000"/>
                  <a:gd name="connsiteX255" fmla="*/ 778193 w 2215515"/>
                  <a:gd name="connsiteY255" fmla="*/ 2377440 h 2667000"/>
                  <a:gd name="connsiteX256" fmla="*/ 795338 w 2215515"/>
                  <a:gd name="connsiteY256" fmla="*/ 2357438 h 2667000"/>
                  <a:gd name="connsiteX257" fmla="*/ 824865 w 2215515"/>
                  <a:gd name="connsiteY257" fmla="*/ 2362200 h 2667000"/>
                  <a:gd name="connsiteX258" fmla="*/ 854393 w 2215515"/>
                  <a:gd name="connsiteY258" fmla="*/ 2358390 h 2667000"/>
                  <a:gd name="connsiteX259" fmla="*/ 885825 w 2215515"/>
                  <a:gd name="connsiteY259" fmla="*/ 2373630 h 2667000"/>
                  <a:gd name="connsiteX260" fmla="*/ 913448 w 2215515"/>
                  <a:gd name="connsiteY260" fmla="*/ 2377440 h 2667000"/>
                  <a:gd name="connsiteX261" fmla="*/ 913448 w 2215515"/>
                  <a:gd name="connsiteY261" fmla="*/ 2403158 h 2667000"/>
                  <a:gd name="connsiteX262" fmla="*/ 926782 w 2215515"/>
                  <a:gd name="connsiteY262" fmla="*/ 2414588 h 2667000"/>
                  <a:gd name="connsiteX263" fmla="*/ 926782 w 2215515"/>
                  <a:gd name="connsiteY263" fmla="*/ 2434590 h 2667000"/>
                  <a:gd name="connsiteX264" fmla="*/ 957263 w 2215515"/>
                  <a:gd name="connsiteY264" fmla="*/ 2439353 h 2667000"/>
                  <a:gd name="connsiteX265" fmla="*/ 977265 w 2215515"/>
                  <a:gd name="connsiteY265" fmla="*/ 2419350 h 2667000"/>
                  <a:gd name="connsiteX266" fmla="*/ 977265 w 2215515"/>
                  <a:gd name="connsiteY266" fmla="*/ 2397443 h 2667000"/>
                  <a:gd name="connsiteX267" fmla="*/ 1000125 w 2215515"/>
                  <a:gd name="connsiteY267" fmla="*/ 2397443 h 2667000"/>
                  <a:gd name="connsiteX268" fmla="*/ 1015365 w 2215515"/>
                  <a:gd name="connsiteY268" fmla="*/ 2412683 h 2667000"/>
                  <a:gd name="connsiteX269" fmla="*/ 1034415 w 2215515"/>
                  <a:gd name="connsiteY269" fmla="*/ 2433638 h 2667000"/>
                  <a:gd name="connsiteX270" fmla="*/ 1034415 w 2215515"/>
                  <a:gd name="connsiteY270" fmla="*/ 2453640 h 2667000"/>
                  <a:gd name="connsiteX271" fmla="*/ 1052513 w 2215515"/>
                  <a:gd name="connsiteY271" fmla="*/ 2455545 h 2667000"/>
                  <a:gd name="connsiteX272" fmla="*/ 1063943 w 2215515"/>
                  <a:gd name="connsiteY272" fmla="*/ 2486978 h 2667000"/>
                  <a:gd name="connsiteX273" fmla="*/ 1082040 w 2215515"/>
                  <a:gd name="connsiteY273" fmla="*/ 2505075 h 2667000"/>
                  <a:gd name="connsiteX274" fmla="*/ 1103948 w 2215515"/>
                  <a:gd name="connsiteY274" fmla="*/ 2526983 h 2667000"/>
                  <a:gd name="connsiteX275" fmla="*/ 1099185 w 2215515"/>
                  <a:gd name="connsiteY275" fmla="*/ 2542223 h 2667000"/>
                  <a:gd name="connsiteX276" fmla="*/ 1113473 w 2215515"/>
                  <a:gd name="connsiteY276" fmla="*/ 2556510 h 2667000"/>
                  <a:gd name="connsiteX277" fmla="*/ 1120140 w 2215515"/>
                  <a:gd name="connsiteY277" fmla="*/ 2588895 h 2667000"/>
                  <a:gd name="connsiteX278" fmla="*/ 1150620 w 2215515"/>
                  <a:gd name="connsiteY278" fmla="*/ 2600325 h 2667000"/>
                  <a:gd name="connsiteX279" fmla="*/ 1172528 w 2215515"/>
                  <a:gd name="connsiteY279" fmla="*/ 2629853 h 2667000"/>
                  <a:gd name="connsiteX280" fmla="*/ 1193482 w 2215515"/>
                  <a:gd name="connsiteY280" fmla="*/ 2636520 h 2667000"/>
                  <a:gd name="connsiteX281" fmla="*/ 1193482 w 2215515"/>
                  <a:gd name="connsiteY281" fmla="*/ 2661285 h 2667000"/>
                  <a:gd name="connsiteX282" fmla="*/ 1216343 w 2215515"/>
                  <a:gd name="connsiteY282" fmla="*/ 2667000 h 2667000"/>
                  <a:gd name="connsiteX283" fmla="*/ 1241107 w 2215515"/>
                  <a:gd name="connsiteY283" fmla="*/ 2642235 h 2667000"/>
                  <a:gd name="connsiteX284" fmla="*/ 1268730 w 2215515"/>
                  <a:gd name="connsiteY284" fmla="*/ 2619375 h 2667000"/>
                  <a:gd name="connsiteX285" fmla="*/ 1296353 w 2215515"/>
                  <a:gd name="connsiteY285" fmla="*/ 2619375 h 2667000"/>
                  <a:gd name="connsiteX286" fmla="*/ 1308735 w 2215515"/>
                  <a:gd name="connsiteY286" fmla="*/ 2606993 h 2667000"/>
                  <a:gd name="connsiteX287" fmla="*/ 1323975 w 2215515"/>
                  <a:gd name="connsiteY287" fmla="*/ 2622233 h 2667000"/>
                  <a:gd name="connsiteX288" fmla="*/ 1344930 w 2215515"/>
                  <a:gd name="connsiteY288" fmla="*/ 2626995 h 2667000"/>
                  <a:gd name="connsiteX289" fmla="*/ 1354455 w 2215515"/>
                  <a:gd name="connsiteY289" fmla="*/ 2617470 h 2667000"/>
                  <a:gd name="connsiteX290" fmla="*/ 1383030 w 2215515"/>
                  <a:gd name="connsiteY290" fmla="*/ 2617470 h 2667000"/>
                  <a:gd name="connsiteX291" fmla="*/ 1394460 w 2215515"/>
                  <a:gd name="connsiteY291" fmla="*/ 2632710 h 2667000"/>
                  <a:gd name="connsiteX292" fmla="*/ 1412557 w 2215515"/>
                  <a:gd name="connsiteY292" fmla="*/ 2632710 h 2667000"/>
                  <a:gd name="connsiteX293" fmla="*/ 1418273 w 2215515"/>
                  <a:gd name="connsiteY293" fmla="*/ 2611755 h 2667000"/>
                  <a:gd name="connsiteX294" fmla="*/ 1453515 w 2215515"/>
                  <a:gd name="connsiteY294" fmla="*/ 2618423 h 2667000"/>
                  <a:gd name="connsiteX295" fmla="*/ 1465898 w 2215515"/>
                  <a:gd name="connsiteY295" fmla="*/ 2606040 h 2667000"/>
                  <a:gd name="connsiteX296" fmla="*/ 1491615 w 2215515"/>
                  <a:gd name="connsiteY296" fmla="*/ 2600325 h 2667000"/>
                  <a:gd name="connsiteX297" fmla="*/ 1515428 w 2215515"/>
                  <a:gd name="connsiteY297" fmla="*/ 2610803 h 2667000"/>
                  <a:gd name="connsiteX298" fmla="*/ 1544955 w 2215515"/>
                  <a:gd name="connsiteY298" fmla="*/ 2640330 h 2667000"/>
                  <a:gd name="connsiteX299" fmla="*/ 1567815 w 2215515"/>
                  <a:gd name="connsiteY299" fmla="*/ 2629853 h 2667000"/>
                  <a:gd name="connsiteX300" fmla="*/ 1593532 w 2215515"/>
                  <a:gd name="connsiteY300" fmla="*/ 2624138 h 2667000"/>
                  <a:gd name="connsiteX301" fmla="*/ 1604963 w 2215515"/>
                  <a:gd name="connsiteY301" fmla="*/ 2607945 h 2667000"/>
                  <a:gd name="connsiteX302" fmla="*/ 1624013 w 2215515"/>
                  <a:gd name="connsiteY302" fmla="*/ 2616518 h 2667000"/>
                  <a:gd name="connsiteX303" fmla="*/ 1638300 w 2215515"/>
                  <a:gd name="connsiteY303" fmla="*/ 2602230 h 2667000"/>
                  <a:gd name="connsiteX304" fmla="*/ 1654493 w 2215515"/>
                  <a:gd name="connsiteY304" fmla="*/ 2602230 h 2667000"/>
                  <a:gd name="connsiteX305" fmla="*/ 1669732 w 2215515"/>
                  <a:gd name="connsiteY305" fmla="*/ 2617470 h 2667000"/>
                  <a:gd name="connsiteX306" fmla="*/ 1684020 w 2215515"/>
                  <a:gd name="connsiteY306" fmla="*/ 2603183 h 2667000"/>
                  <a:gd name="connsiteX307" fmla="*/ 1724978 w 2215515"/>
                  <a:gd name="connsiteY307" fmla="*/ 2562225 h 2667000"/>
                  <a:gd name="connsiteX308" fmla="*/ 1755457 w 2215515"/>
                  <a:gd name="connsiteY308" fmla="*/ 2566988 h 2667000"/>
                  <a:gd name="connsiteX309" fmla="*/ 1755457 w 2215515"/>
                  <a:gd name="connsiteY309" fmla="*/ 2547938 h 2667000"/>
                  <a:gd name="connsiteX310" fmla="*/ 1793557 w 2215515"/>
                  <a:gd name="connsiteY310" fmla="*/ 2533650 h 2667000"/>
                  <a:gd name="connsiteX311" fmla="*/ 1821180 w 2215515"/>
                  <a:gd name="connsiteY311" fmla="*/ 2539365 h 2667000"/>
                  <a:gd name="connsiteX312" fmla="*/ 1849755 w 2215515"/>
                  <a:gd name="connsiteY312" fmla="*/ 2521268 h 2667000"/>
                  <a:gd name="connsiteX313" fmla="*/ 1847850 w 2215515"/>
                  <a:gd name="connsiteY313" fmla="*/ 2491740 h 2667000"/>
                  <a:gd name="connsiteX314" fmla="*/ 1893570 w 2215515"/>
                  <a:gd name="connsiteY314" fmla="*/ 2464118 h 2667000"/>
                  <a:gd name="connsiteX315" fmla="*/ 1936432 w 2215515"/>
                  <a:gd name="connsiteY315" fmla="*/ 2428875 h 2667000"/>
                  <a:gd name="connsiteX316" fmla="*/ 1920240 w 2215515"/>
                  <a:gd name="connsiteY316" fmla="*/ 2391728 h 2667000"/>
                  <a:gd name="connsiteX317" fmla="*/ 1920240 w 2215515"/>
                  <a:gd name="connsiteY317" fmla="*/ 2363153 h 2667000"/>
                  <a:gd name="connsiteX318" fmla="*/ 1902143 w 2215515"/>
                  <a:gd name="connsiteY318" fmla="*/ 2345055 h 2667000"/>
                  <a:gd name="connsiteX319" fmla="*/ 1918335 w 2215515"/>
                  <a:gd name="connsiteY319" fmla="*/ 2328863 h 2667000"/>
                  <a:gd name="connsiteX320" fmla="*/ 1923098 w 2215515"/>
                  <a:gd name="connsiteY320" fmla="*/ 2292668 h 2667000"/>
                  <a:gd name="connsiteX321" fmla="*/ 1884045 w 2215515"/>
                  <a:gd name="connsiteY321" fmla="*/ 2275523 h 2667000"/>
                  <a:gd name="connsiteX322" fmla="*/ 1852613 w 2215515"/>
                  <a:gd name="connsiteY322" fmla="*/ 2275523 h 2667000"/>
                  <a:gd name="connsiteX323" fmla="*/ 1848803 w 2215515"/>
                  <a:gd name="connsiteY323" fmla="*/ 2257425 h 2667000"/>
                  <a:gd name="connsiteX324" fmla="*/ 1870710 w 2215515"/>
                  <a:gd name="connsiteY324" fmla="*/ 2252663 h 2667000"/>
                  <a:gd name="connsiteX325" fmla="*/ 1859280 w 2215515"/>
                  <a:gd name="connsiteY325" fmla="*/ 2229803 h 2667000"/>
                  <a:gd name="connsiteX326" fmla="*/ 1864995 w 2215515"/>
                  <a:gd name="connsiteY326" fmla="*/ 2186940 h 2667000"/>
                  <a:gd name="connsiteX327" fmla="*/ 1838325 w 2215515"/>
                  <a:gd name="connsiteY327" fmla="*/ 2182178 h 2667000"/>
                  <a:gd name="connsiteX328" fmla="*/ 1811655 w 2215515"/>
                  <a:gd name="connsiteY328" fmla="*/ 2154555 h 2667000"/>
                  <a:gd name="connsiteX329" fmla="*/ 1834515 w 2215515"/>
                  <a:gd name="connsiteY329" fmla="*/ 2148840 h 2667000"/>
                  <a:gd name="connsiteX330" fmla="*/ 1837373 w 2215515"/>
                  <a:gd name="connsiteY330" fmla="*/ 2115503 h 2667000"/>
                  <a:gd name="connsiteX331" fmla="*/ 1826895 w 2215515"/>
                  <a:gd name="connsiteY331" fmla="*/ 2105025 h 2667000"/>
                  <a:gd name="connsiteX332" fmla="*/ 1821180 w 2215515"/>
                  <a:gd name="connsiteY332" fmla="*/ 2086928 h 2667000"/>
                  <a:gd name="connsiteX333" fmla="*/ 1829753 w 2215515"/>
                  <a:gd name="connsiteY333" fmla="*/ 2065020 h 2667000"/>
                  <a:gd name="connsiteX334" fmla="*/ 1811655 w 2215515"/>
                  <a:gd name="connsiteY334" fmla="*/ 2046923 h 2667000"/>
                  <a:gd name="connsiteX335" fmla="*/ 1826895 w 2215515"/>
                  <a:gd name="connsiteY335" fmla="*/ 2026920 h 2667000"/>
                  <a:gd name="connsiteX336" fmla="*/ 1814513 w 2215515"/>
                  <a:gd name="connsiteY336" fmla="*/ 2014538 h 2667000"/>
                  <a:gd name="connsiteX337" fmla="*/ 1814513 w 2215515"/>
                  <a:gd name="connsiteY337" fmla="*/ 1984058 h 2667000"/>
                  <a:gd name="connsiteX338" fmla="*/ 1843088 w 2215515"/>
                  <a:gd name="connsiteY338" fmla="*/ 1968817 h 2667000"/>
                  <a:gd name="connsiteX339" fmla="*/ 1862138 w 2215515"/>
                  <a:gd name="connsiteY339" fmla="*/ 1958340 h 2667000"/>
                  <a:gd name="connsiteX340" fmla="*/ 1884998 w 2215515"/>
                  <a:gd name="connsiteY340" fmla="*/ 1961198 h 2667000"/>
                  <a:gd name="connsiteX341" fmla="*/ 1904048 w 2215515"/>
                  <a:gd name="connsiteY341" fmla="*/ 1942148 h 2667000"/>
                  <a:gd name="connsiteX342" fmla="*/ 1928813 w 2215515"/>
                  <a:gd name="connsiteY342" fmla="*/ 1931670 h 2667000"/>
                  <a:gd name="connsiteX343" fmla="*/ 1932623 w 2215515"/>
                  <a:gd name="connsiteY343" fmla="*/ 1906905 h 2667000"/>
                  <a:gd name="connsiteX344" fmla="*/ 1916430 w 2215515"/>
                  <a:gd name="connsiteY344" fmla="*/ 1890713 h 2667000"/>
                  <a:gd name="connsiteX345" fmla="*/ 1925955 w 2215515"/>
                  <a:gd name="connsiteY345" fmla="*/ 1866900 h 2667000"/>
                  <a:gd name="connsiteX346" fmla="*/ 1958340 w 2215515"/>
                  <a:gd name="connsiteY346" fmla="*/ 1861185 h 2667000"/>
                  <a:gd name="connsiteX347" fmla="*/ 2001203 w 2215515"/>
                  <a:gd name="connsiteY347" fmla="*/ 1818323 h 2667000"/>
                  <a:gd name="connsiteX348" fmla="*/ 1999298 w 2215515"/>
                  <a:gd name="connsiteY348" fmla="*/ 1769745 h 2667000"/>
                  <a:gd name="connsiteX349" fmla="*/ 2029778 w 2215515"/>
                  <a:gd name="connsiteY349" fmla="*/ 1759267 h 2667000"/>
                  <a:gd name="connsiteX350" fmla="*/ 2029778 w 2215515"/>
                  <a:gd name="connsiteY350" fmla="*/ 1743075 h 2667000"/>
                  <a:gd name="connsiteX351" fmla="*/ 1999298 w 2215515"/>
                  <a:gd name="connsiteY351" fmla="*/ 1712595 h 2667000"/>
                  <a:gd name="connsiteX352" fmla="*/ 1992630 w 2215515"/>
                  <a:gd name="connsiteY352" fmla="*/ 1690688 h 2667000"/>
                  <a:gd name="connsiteX353" fmla="*/ 1958340 w 2215515"/>
                  <a:gd name="connsiteY353" fmla="*/ 1656398 h 2667000"/>
                  <a:gd name="connsiteX354" fmla="*/ 1936432 w 2215515"/>
                  <a:gd name="connsiteY354" fmla="*/ 1651635 h 2667000"/>
                  <a:gd name="connsiteX355" fmla="*/ 1931670 w 2215515"/>
                  <a:gd name="connsiteY355" fmla="*/ 1624013 h 2667000"/>
                  <a:gd name="connsiteX356" fmla="*/ 1937385 w 2215515"/>
                  <a:gd name="connsiteY356" fmla="*/ 1591628 h 2667000"/>
                  <a:gd name="connsiteX357" fmla="*/ 1920240 w 2215515"/>
                  <a:gd name="connsiteY357" fmla="*/ 1574483 h 2667000"/>
                  <a:gd name="connsiteX358" fmla="*/ 1945957 w 2215515"/>
                  <a:gd name="connsiteY358" fmla="*/ 1540192 h 2667000"/>
                  <a:gd name="connsiteX359" fmla="*/ 1945957 w 2215515"/>
                  <a:gd name="connsiteY359" fmla="*/ 1510665 h 2667000"/>
                  <a:gd name="connsiteX360" fmla="*/ 1947863 w 2215515"/>
                  <a:gd name="connsiteY360" fmla="*/ 1473517 h 2667000"/>
                  <a:gd name="connsiteX361" fmla="*/ 1934528 w 2215515"/>
                  <a:gd name="connsiteY361" fmla="*/ 1460183 h 2667000"/>
                  <a:gd name="connsiteX362" fmla="*/ 1927860 w 2215515"/>
                  <a:gd name="connsiteY362" fmla="*/ 1433513 h 2667000"/>
                  <a:gd name="connsiteX363" fmla="*/ 1915478 w 2215515"/>
                  <a:gd name="connsiteY363" fmla="*/ 1421130 h 2667000"/>
                  <a:gd name="connsiteX364" fmla="*/ 1914525 w 2215515"/>
                  <a:gd name="connsiteY364" fmla="*/ 1388745 h 2667000"/>
                  <a:gd name="connsiteX365" fmla="*/ 1939290 w 2215515"/>
                  <a:gd name="connsiteY365" fmla="*/ 1383030 h 2667000"/>
                  <a:gd name="connsiteX366" fmla="*/ 1960245 w 2215515"/>
                  <a:gd name="connsiteY366" fmla="*/ 1388745 h 2667000"/>
                  <a:gd name="connsiteX367" fmla="*/ 1987868 w 2215515"/>
                  <a:gd name="connsiteY367" fmla="*/ 1403985 h 2667000"/>
                  <a:gd name="connsiteX368" fmla="*/ 2015490 w 2215515"/>
                  <a:gd name="connsiteY368" fmla="*/ 1389698 h 2667000"/>
                  <a:gd name="connsiteX369" fmla="*/ 2037398 w 2215515"/>
                  <a:gd name="connsiteY369" fmla="*/ 1383030 h 2667000"/>
                  <a:gd name="connsiteX370" fmla="*/ 2059305 w 2215515"/>
                  <a:gd name="connsiteY370" fmla="*/ 1361123 h 2667000"/>
                  <a:gd name="connsiteX371" fmla="*/ 2075498 w 2215515"/>
                  <a:gd name="connsiteY371" fmla="*/ 1332548 h 2667000"/>
                  <a:gd name="connsiteX372" fmla="*/ 2096453 w 2215515"/>
                  <a:gd name="connsiteY372" fmla="*/ 1333500 h 2667000"/>
                  <a:gd name="connsiteX373" fmla="*/ 2108835 w 2215515"/>
                  <a:gd name="connsiteY373" fmla="*/ 1325880 h 2667000"/>
                  <a:gd name="connsiteX374" fmla="*/ 2118360 w 2215515"/>
                  <a:gd name="connsiteY374" fmla="*/ 1335405 h 2667000"/>
                  <a:gd name="connsiteX375" fmla="*/ 2130743 w 2215515"/>
                  <a:gd name="connsiteY375" fmla="*/ 1331595 h 2667000"/>
                  <a:gd name="connsiteX376" fmla="*/ 2130743 w 2215515"/>
                  <a:gd name="connsiteY376" fmla="*/ 1307783 h 2667000"/>
                  <a:gd name="connsiteX377" fmla="*/ 2128838 w 2215515"/>
                  <a:gd name="connsiteY377" fmla="*/ 1268730 h 2667000"/>
                  <a:gd name="connsiteX378" fmla="*/ 2133600 w 2215515"/>
                  <a:gd name="connsiteY378" fmla="*/ 1242060 h 2667000"/>
                  <a:gd name="connsiteX379" fmla="*/ 2112645 w 2215515"/>
                  <a:gd name="connsiteY379" fmla="*/ 1221105 h 2667000"/>
                  <a:gd name="connsiteX380" fmla="*/ 2106930 w 2215515"/>
                  <a:gd name="connsiteY380" fmla="*/ 1203960 h 2667000"/>
                  <a:gd name="connsiteX381" fmla="*/ 2087880 w 2215515"/>
                  <a:gd name="connsiteY381" fmla="*/ 1184910 h 2667000"/>
                  <a:gd name="connsiteX382" fmla="*/ 2054543 w 2215515"/>
                  <a:gd name="connsiteY382" fmla="*/ 1167765 h 2667000"/>
                  <a:gd name="connsiteX383" fmla="*/ 2045970 w 2215515"/>
                  <a:gd name="connsiteY383" fmla="*/ 1147763 h 2667000"/>
                  <a:gd name="connsiteX384" fmla="*/ 2023110 w 2215515"/>
                  <a:gd name="connsiteY384" fmla="*/ 1117283 h 2667000"/>
                  <a:gd name="connsiteX385" fmla="*/ 2023110 w 2215515"/>
                  <a:gd name="connsiteY385" fmla="*/ 1100138 h 2667000"/>
                  <a:gd name="connsiteX386" fmla="*/ 2011680 w 2215515"/>
                  <a:gd name="connsiteY386" fmla="*/ 1094423 h 2667000"/>
                  <a:gd name="connsiteX387" fmla="*/ 2017395 w 2215515"/>
                  <a:gd name="connsiteY387" fmla="*/ 1065848 h 2667000"/>
                  <a:gd name="connsiteX388" fmla="*/ 2026920 w 2215515"/>
                  <a:gd name="connsiteY388" fmla="*/ 1056323 h 2667000"/>
                  <a:gd name="connsiteX389" fmla="*/ 2010728 w 2215515"/>
                  <a:gd name="connsiteY389" fmla="*/ 1040130 h 2667000"/>
                  <a:gd name="connsiteX390" fmla="*/ 2014538 w 2215515"/>
                  <a:gd name="connsiteY390" fmla="*/ 1016318 h 2667000"/>
                  <a:gd name="connsiteX391" fmla="*/ 2051685 w 2215515"/>
                  <a:gd name="connsiteY391" fmla="*/ 1001078 h 2667000"/>
                  <a:gd name="connsiteX392" fmla="*/ 2051685 w 2215515"/>
                  <a:gd name="connsiteY392" fmla="*/ 987743 h 2667000"/>
                  <a:gd name="connsiteX393" fmla="*/ 2080260 w 2215515"/>
                  <a:gd name="connsiteY393" fmla="*/ 988695 h 2667000"/>
                  <a:gd name="connsiteX394" fmla="*/ 2077403 w 2215515"/>
                  <a:gd name="connsiteY394" fmla="*/ 957263 h 2667000"/>
                  <a:gd name="connsiteX395" fmla="*/ 2056448 w 2215515"/>
                  <a:gd name="connsiteY395" fmla="*/ 951548 h 2667000"/>
                  <a:gd name="connsiteX396" fmla="*/ 2042160 w 2215515"/>
                  <a:gd name="connsiteY396" fmla="*/ 933450 h 2667000"/>
                  <a:gd name="connsiteX397" fmla="*/ 2060257 w 2215515"/>
                  <a:gd name="connsiteY397" fmla="*/ 916305 h 2667000"/>
                  <a:gd name="connsiteX398" fmla="*/ 2078355 w 2215515"/>
                  <a:gd name="connsiteY398" fmla="*/ 916305 h 2667000"/>
                  <a:gd name="connsiteX399" fmla="*/ 2078355 w 2215515"/>
                  <a:gd name="connsiteY399" fmla="*/ 894398 h 2667000"/>
                  <a:gd name="connsiteX400" fmla="*/ 2096453 w 2215515"/>
                  <a:gd name="connsiteY400" fmla="*/ 882015 h 2667000"/>
                  <a:gd name="connsiteX401" fmla="*/ 2096453 w 2215515"/>
                  <a:gd name="connsiteY401" fmla="*/ 865823 h 2667000"/>
                  <a:gd name="connsiteX402" fmla="*/ 2118360 w 2215515"/>
                  <a:gd name="connsiteY402" fmla="*/ 860107 h 2667000"/>
                  <a:gd name="connsiteX403" fmla="*/ 2131695 w 2215515"/>
                  <a:gd name="connsiteY403" fmla="*/ 876300 h 2667000"/>
                  <a:gd name="connsiteX404" fmla="*/ 2149793 w 2215515"/>
                  <a:gd name="connsiteY404" fmla="*/ 873443 h 2667000"/>
                  <a:gd name="connsiteX405" fmla="*/ 2159318 w 2215515"/>
                  <a:gd name="connsiteY405" fmla="*/ 853440 h 2667000"/>
                  <a:gd name="connsiteX406" fmla="*/ 2153603 w 2215515"/>
                  <a:gd name="connsiteY406" fmla="*/ 835343 h 2667000"/>
                  <a:gd name="connsiteX407" fmla="*/ 2172653 w 2215515"/>
                  <a:gd name="connsiteY407" fmla="*/ 804863 h 2667000"/>
                  <a:gd name="connsiteX408" fmla="*/ 2178368 w 2215515"/>
                  <a:gd name="connsiteY408" fmla="*/ 784860 h 2667000"/>
                  <a:gd name="connsiteX409" fmla="*/ 2197418 w 2215515"/>
                  <a:gd name="connsiteY409" fmla="*/ 781050 h 2667000"/>
                  <a:gd name="connsiteX410" fmla="*/ 2197418 w 2215515"/>
                  <a:gd name="connsiteY410" fmla="*/ 762953 h 2667000"/>
                  <a:gd name="connsiteX411" fmla="*/ 2187893 w 2215515"/>
                  <a:gd name="connsiteY411" fmla="*/ 737235 h 2667000"/>
                  <a:gd name="connsiteX412" fmla="*/ 2165033 w 2215515"/>
                  <a:gd name="connsiteY412" fmla="*/ 723900 h 2667000"/>
                  <a:gd name="connsiteX413" fmla="*/ 2143125 w 2215515"/>
                  <a:gd name="connsiteY413" fmla="*/ 701993 h 2667000"/>
                  <a:gd name="connsiteX414" fmla="*/ 2143125 w 2215515"/>
                  <a:gd name="connsiteY414" fmla="*/ 676275 h 2667000"/>
                  <a:gd name="connsiteX415" fmla="*/ 2141220 w 2215515"/>
                  <a:gd name="connsiteY415" fmla="*/ 647700 h 2667000"/>
                  <a:gd name="connsiteX416" fmla="*/ 2120265 w 2215515"/>
                  <a:gd name="connsiteY416" fmla="*/ 637223 h 2667000"/>
                  <a:gd name="connsiteX417" fmla="*/ 2105025 w 2215515"/>
                  <a:gd name="connsiteY417" fmla="*/ 617220 h 2667000"/>
                  <a:gd name="connsiteX418" fmla="*/ 2105025 w 2215515"/>
                  <a:gd name="connsiteY418" fmla="*/ 593407 h 2667000"/>
                  <a:gd name="connsiteX419" fmla="*/ 2122170 w 2215515"/>
                  <a:gd name="connsiteY419" fmla="*/ 589598 h 2667000"/>
                  <a:gd name="connsiteX420" fmla="*/ 2114550 w 2215515"/>
                  <a:gd name="connsiteY420" fmla="*/ 566738 h 2667000"/>
                  <a:gd name="connsiteX421" fmla="*/ 2090738 w 2215515"/>
                  <a:gd name="connsiteY421" fmla="*/ 560070 h 2667000"/>
                  <a:gd name="connsiteX422" fmla="*/ 2095500 w 2215515"/>
                  <a:gd name="connsiteY422" fmla="*/ 539115 h 2667000"/>
                  <a:gd name="connsiteX423" fmla="*/ 2120265 w 2215515"/>
                  <a:gd name="connsiteY423" fmla="*/ 529590 h 2667000"/>
                  <a:gd name="connsiteX424" fmla="*/ 2120265 w 2215515"/>
                  <a:gd name="connsiteY424" fmla="*/ 508635 h 2667000"/>
                  <a:gd name="connsiteX425" fmla="*/ 2131695 w 2215515"/>
                  <a:gd name="connsiteY425" fmla="*/ 497205 h 2667000"/>
                  <a:gd name="connsiteX426" fmla="*/ 2159318 w 2215515"/>
                  <a:gd name="connsiteY426" fmla="*/ 497205 h 2667000"/>
                  <a:gd name="connsiteX427" fmla="*/ 2162175 w 2215515"/>
                  <a:gd name="connsiteY427" fmla="*/ 467678 h 2667000"/>
                  <a:gd name="connsiteX428" fmla="*/ 2197418 w 2215515"/>
                  <a:gd name="connsiteY428" fmla="*/ 467678 h 2667000"/>
                  <a:gd name="connsiteX429" fmla="*/ 2211705 w 2215515"/>
                  <a:gd name="connsiteY429" fmla="*/ 453390 h 2667000"/>
                  <a:gd name="connsiteX430" fmla="*/ 2203133 w 2215515"/>
                  <a:gd name="connsiteY430" fmla="*/ 423863 h 2667000"/>
                  <a:gd name="connsiteX431" fmla="*/ 2215515 w 2215515"/>
                  <a:gd name="connsiteY431" fmla="*/ 400050 h 2667000"/>
                  <a:gd name="connsiteX432" fmla="*/ 2198370 w 2215515"/>
                  <a:gd name="connsiteY432" fmla="*/ 372428 h 2667000"/>
                  <a:gd name="connsiteX433" fmla="*/ 2182178 w 2215515"/>
                  <a:gd name="connsiteY433" fmla="*/ 372428 h 2667000"/>
                  <a:gd name="connsiteX434" fmla="*/ 2166938 w 2215515"/>
                  <a:gd name="connsiteY434" fmla="*/ 342900 h 2667000"/>
                  <a:gd name="connsiteX435" fmla="*/ 2149793 w 2215515"/>
                  <a:gd name="connsiteY435" fmla="*/ 325755 h 2667000"/>
                  <a:gd name="connsiteX436" fmla="*/ 2126933 w 2215515"/>
                  <a:gd name="connsiteY436" fmla="*/ 325755 h 2667000"/>
                  <a:gd name="connsiteX437" fmla="*/ 2097405 w 2215515"/>
                  <a:gd name="connsiteY437" fmla="*/ 335280 h 2667000"/>
                  <a:gd name="connsiteX438" fmla="*/ 2070735 w 2215515"/>
                  <a:gd name="connsiteY438" fmla="*/ 323850 h 2667000"/>
                  <a:gd name="connsiteX439" fmla="*/ 2042160 w 2215515"/>
                  <a:gd name="connsiteY439" fmla="*/ 319088 h 2667000"/>
                  <a:gd name="connsiteX440" fmla="*/ 2042160 w 2215515"/>
                  <a:gd name="connsiteY440" fmla="*/ 286703 h 2667000"/>
                  <a:gd name="connsiteX441" fmla="*/ 2020253 w 2215515"/>
                  <a:gd name="connsiteY441" fmla="*/ 274320 h 2667000"/>
                  <a:gd name="connsiteX442" fmla="*/ 2008823 w 2215515"/>
                  <a:gd name="connsiteY442" fmla="*/ 245745 h 2667000"/>
                  <a:gd name="connsiteX443" fmla="*/ 2025968 w 2215515"/>
                  <a:gd name="connsiteY443" fmla="*/ 219075 h 2667000"/>
                  <a:gd name="connsiteX444" fmla="*/ 2025968 w 2215515"/>
                  <a:gd name="connsiteY444" fmla="*/ 189548 h 2667000"/>
                  <a:gd name="connsiteX445" fmla="*/ 2045018 w 2215515"/>
                  <a:gd name="connsiteY445" fmla="*/ 176213 h 2667000"/>
                  <a:gd name="connsiteX446" fmla="*/ 2045018 w 2215515"/>
                  <a:gd name="connsiteY446" fmla="*/ 147638 h 2667000"/>
                  <a:gd name="connsiteX447" fmla="*/ 2058353 w 2215515"/>
                  <a:gd name="connsiteY447" fmla="*/ 114300 h 2667000"/>
                  <a:gd name="connsiteX448" fmla="*/ 2087880 w 2215515"/>
                  <a:gd name="connsiteY448" fmla="*/ 92393 h 2667000"/>
                  <a:gd name="connsiteX449" fmla="*/ 2065973 w 2215515"/>
                  <a:gd name="connsiteY449" fmla="*/ 55245 h 2667000"/>
                  <a:gd name="connsiteX450" fmla="*/ 2040255 w 2215515"/>
                  <a:gd name="connsiteY450" fmla="*/ 45720 h 2667000"/>
                  <a:gd name="connsiteX451" fmla="*/ 2033588 w 2215515"/>
                  <a:gd name="connsiteY451" fmla="*/ 27623 h 2667000"/>
                  <a:gd name="connsiteX452" fmla="*/ 2005013 w 2215515"/>
                  <a:gd name="connsiteY452" fmla="*/ 23813 h 2667000"/>
                  <a:gd name="connsiteX453" fmla="*/ 1971675 w 2215515"/>
                  <a:gd name="connsiteY453" fmla="*/ 12383 h 2667000"/>
                  <a:gd name="connsiteX454" fmla="*/ 1956435 w 2215515"/>
                  <a:gd name="connsiteY454" fmla="*/ 0 h 266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</a:cxnLst>
                <a:rect l="l" t="t" r="r" b="b"/>
                <a:pathLst>
                  <a:path w="2215515" h="2667000">
                    <a:moveTo>
                      <a:pt x="1956435" y="0"/>
                    </a:moveTo>
                    <a:lnTo>
                      <a:pt x="1929765" y="26670"/>
                    </a:lnTo>
                    <a:lnTo>
                      <a:pt x="1929765" y="46673"/>
                    </a:lnTo>
                    <a:lnTo>
                      <a:pt x="1943100" y="60008"/>
                    </a:lnTo>
                    <a:lnTo>
                      <a:pt x="1915478" y="60008"/>
                    </a:lnTo>
                    <a:lnTo>
                      <a:pt x="1889760" y="80010"/>
                    </a:lnTo>
                    <a:lnTo>
                      <a:pt x="1854518" y="95250"/>
                    </a:lnTo>
                    <a:lnTo>
                      <a:pt x="1815465" y="56198"/>
                    </a:lnTo>
                    <a:lnTo>
                      <a:pt x="1796415" y="37148"/>
                    </a:lnTo>
                    <a:lnTo>
                      <a:pt x="1757363" y="39052"/>
                    </a:lnTo>
                    <a:lnTo>
                      <a:pt x="1710690" y="45720"/>
                    </a:lnTo>
                    <a:lnTo>
                      <a:pt x="1684020" y="78105"/>
                    </a:lnTo>
                    <a:lnTo>
                      <a:pt x="1654493" y="108585"/>
                    </a:lnTo>
                    <a:lnTo>
                      <a:pt x="1619250" y="160973"/>
                    </a:lnTo>
                    <a:lnTo>
                      <a:pt x="1619250" y="201930"/>
                    </a:lnTo>
                    <a:lnTo>
                      <a:pt x="1590675" y="237173"/>
                    </a:lnTo>
                    <a:lnTo>
                      <a:pt x="1564005" y="263843"/>
                    </a:lnTo>
                    <a:lnTo>
                      <a:pt x="1534478" y="264795"/>
                    </a:lnTo>
                    <a:lnTo>
                      <a:pt x="1507807" y="250507"/>
                    </a:lnTo>
                    <a:lnTo>
                      <a:pt x="1469707" y="271463"/>
                    </a:lnTo>
                    <a:cubicBezTo>
                      <a:pt x="1469707" y="271463"/>
                      <a:pt x="1478280" y="308610"/>
                      <a:pt x="1473518" y="303848"/>
                    </a:cubicBezTo>
                    <a:cubicBezTo>
                      <a:pt x="1469707" y="300038"/>
                      <a:pt x="1446848" y="275273"/>
                      <a:pt x="1446848" y="275273"/>
                    </a:cubicBezTo>
                    <a:lnTo>
                      <a:pt x="1426845" y="298132"/>
                    </a:lnTo>
                    <a:lnTo>
                      <a:pt x="1395413" y="298132"/>
                    </a:lnTo>
                    <a:cubicBezTo>
                      <a:pt x="1395413" y="298132"/>
                      <a:pt x="1376363" y="291465"/>
                      <a:pt x="1385888" y="282893"/>
                    </a:cubicBezTo>
                    <a:cubicBezTo>
                      <a:pt x="1395413" y="273368"/>
                      <a:pt x="1406843" y="257175"/>
                      <a:pt x="1406843" y="257175"/>
                    </a:cubicBezTo>
                    <a:lnTo>
                      <a:pt x="1381125" y="239077"/>
                    </a:lnTo>
                    <a:lnTo>
                      <a:pt x="1339215" y="257175"/>
                    </a:lnTo>
                    <a:lnTo>
                      <a:pt x="1309688" y="271463"/>
                    </a:lnTo>
                    <a:lnTo>
                      <a:pt x="1297305" y="306705"/>
                    </a:lnTo>
                    <a:lnTo>
                      <a:pt x="1291590" y="326707"/>
                    </a:lnTo>
                    <a:lnTo>
                      <a:pt x="1300163" y="371475"/>
                    </a:lnTo>
                    <a:lnTo>
                      <a:pt x="1300163" y="398145"/>
                    </a:lnTo>
                    <a:lnTo>
                      <a:pt x="1276350" y="421005"/>
                    </a:lnTo>
                    <a:lnTo>
                      <a:pt x="1283018" y="365760"/>
                    </a:lnTo>
                    <a:lnTo>
                      <a:pt x="1256348" y="357188"/>
                    </a:lnTo>
                    <a:lnTo>
                      <a:pt x="1235393" y="378143"/>
                    </a:lnTo>
                    <a:lnTo>
                      <a:pt x="1211580" y="389573"/>
                    </a:lnTo>
                    <a:lnTo>
                      <a:pt x="1221105" y="351473"/>
                    </a:lnTo>
                    <a:cubicBezTo>
                      <a:pt x="1221105" y="351473"/>
                      <a:pt x="1247775" y="341948"/>
                      <a:pt x="1247775" y="333375"/>
                    </a:cubicBezTo>
                    <a:cubicBezTo>
                      <a:pt x="1247775" y="324803"/>
                      <a:pt x="1242060" y="319088"/>
                      <a:pt x="1242060" y="319088"/>
                    </a:cubicBezTo>
                    <a:lnTo>
                      <a:pt x="1201103" y="337185"/>
                    </a:lnTo>
                    <a:lnTo>
                      <a:pt x="1148715" y="357188"/>
                    </a:lnTo>
                    <a:lnTo>
                      <a:pt x="1137285" y="389573"/>
                    </a:lnTo>
                    <a:lnTo>
                      <a:pt x="1098232" y="409575"/>
                    </a:lnTo>
                    <a:lnTo>
                      <a:pt x="1071563" y="409575"/>
                    </a:lnTo>
                    <a:lnTo>
                      <a:pt x="1053465" y="427673"/>
                    </a:lnTo>
                    <a:lnTo>
                      <a:pt x="1082993" y="445770"/>
                    </a:lnTo>
                    <a:lnTo>
                      <a:pt x="1086803" y="465773"/>
                    </a:lnTo>
                    <a:lnTo>
                      <a:pt x="1055370" y="494348"/>
                    </a:lnTo>
                    <a:lnTo>
                      <a:pt x="1055370" y="523875"/>
                    </a:lnTo>
                    <a:lnTo>
                      <a:pt x="1072515" y="535305"/>
                    </a:lnTo>
                    <a:lnTo>
                      <a:pt x="1086803" y="498157"/>
                    </a:lnTo>
                    <a:lnTo>
                      <a:pt x="1096328" y="506730"/>
                    </a:lnTo>
                    <a:lnTo>
                      <a:pt x="1096328" y="538163"/>
                    </a:lnTo>
                    <a:lnTo>
                      <a:pt x="1120140" y="550545"/>
                    </a:lnTo>
                    <a:lnTo>
                      <a:pt x="1141095" y="571500"/>
                    </a:lnTo>
                    <a:lnTo>
                      <a:pt x="1150620" y="577215"/>
                    </a:lnTo>
                    <a:lnTo>
                      <a:pt x="1129665" y="598170"/>
                    </a:lnTo>
                    <a:lnTo>
                      <a:pt x="1102995" y="597218"/>
                    </a:lnTo>
                    <a:lnTo>
                      <a:pt x="1087755" y="614363"/>
                    </a:lnTo>
                    <a:lnTo>
                      <a:pt x="1075373" y="626745"/>
                    </a:lnTo>
                    <a:lnTo>
                      <a:pt x="1108710" y="641985"/>
                    </a:lnTo>
                    <a:lnTo>
                      <a:pt x="1108710" y="662940"/>
                    </a:lnTo>
                    <a:lnTo>
                      <a:pt x="1077278" y="654368"/>
                    </a:lnTo>
                    <a:lnTo>
                      <a:pt x="1050607" y="655320"/>
                    </a:lnTo>
                    <a:lnTo>
                      <a:pt x="1013460" y="663893"/>
                    </a:lnTo>
                    <a:lnTo>
                      <a:pt x="993457" y="701040"/>
                    </a:lnTo>
                    <a:lnTo>
                      <a:pt x="1000125" y="738188"/>
                    </a:lnTo>
                    <a:lnTo>
                      <a:pt x="964882" y="738188"/>
                    </a:lnTo>
                    <a:lnTo>
                      <a:pt x="933450" y="746760"/>
                    </a:lnTo>
                    <a:lnTo>
                      <a:pt x="913448" y="726757"/>
                    </a:lnTo>
                    <a:lnTo>
                      <a:pt x="878205" y="722948"/>
                    </a:lnTo>
                    <a:lnTo>
                      <a:pt x="878205" y="748665"/>
                    </a:lnTo>
                    <a:lnTo>
                      <a:pt x="896303" y="766763"/>
                    </a:lnTo>
                    <a:lnTo>
                      <a:pt x="896303" y="786765"/>
                    </a:lnTo>
                    <a:lnTo>
                      <a:pt x="904875" y="807720"/>
                    </a:lnTo>
                    <a:lnTo>
                      <a:pt x="919163" y="854393"/>
                    </a:lnTo>
                    <a:lnTo>
                      <a:pt x="916305" y="881063"/>
                    </a:lnTo>
                    <a:lnTo>
                      <a:pt x="883920" y="863918"/>
                    </a:lnTo>
                    <a:lnTo>
                      <a:pt x="871538" y="876300"/>
                    </a:lnTo>
                    <a:lnTo>
                      <a:pt x="842010" y="870585"/>
                    </a:lnTo>
                    <a:lnTo>
                      <a:pt x="821055" y="856298"/>
                    </a:lnTo>
                    <a:lnTo>
                      <a:pt x="793432" y="828675"/>
                    </a:lnTo>
                    <a:lnTo>
                      <a:pt x="764857" y="829628"/>
                    </a:lnTo>
                    <a:lnTo>
                      <a:pt x="764857" y="806768"/>
                    </a:lnTo>
                    <a:cubicBezTo>
                      <a:pt x="764857" y="806768"/>
                      <a:pt x="752475" y="786765"/>
                      <a:pt x="752475" y="794385"/>
                    </a:cubicBezTo>
                    <a:cubicBezTo>
                      <a:pt x="752475" y="801053"/>
                      <a:pt x="737235" y="808673"/>
                      <a:pt x="737235" y="808673"/>
                    </a:cubicBezTo>
                    <a:lnTo>
                      <a:pt x="717232" y="788670"/>
                    </a:lnTo>
                    <a:lnTo>
                      <a:pt x="728663" y="777240"/>
                    </a:lnTo>
                    <a:lnTo>
                      <a:pt x="746760" y="771525"/>
                    </a:lnTo>
                    <a:lnTo>
                      <a:pt x="746760" y="740093"/>
                    </a:lnTo>
                    <a:lnTo>
                      <a:pt x="732473" y="725805"/>
                    </a:lnTo>
                    <a:lnTo>
                      <a:pt x="705803" y="742950"/>
                    </a:lnTo>
                    <a:lnTo>
                      <a:pt x="705803" y="716280"/>
                    </a:lnTo>
                    <a:lnTo>
                      <a:pt x="689610" y="700088"/>
                    </a:lnTo>
                    <a:lnTo>
                      <a:pt x="673418" y="700088"/>
                    </a:lnTo>
                    <a:lnTo>
                      <a:pt x="684848" y="665798"/>
                    </a:lnTo>
                    <a:lnTo>
                      <a:pt x="650557" y="654368"/>
                    </a:lnTo>
                    <a:lnTo>
                      <a:pt x="641032" y="663893"/>
                    </a:lnTo>
                    <a:lnTo>
                      <a:pt x="609600" y="640080"/>
                    </a:lnTo>
                    <a:cubicBezTo>
                      <a:pt x="609600" y="640080"/>
                      <a:pt x="606743" y="653415"/>
                      <a:pt x="596265" y="653415"/>
                    </a:cubicBezTo>
                    <a:cubicBezTo>
                      <a:pt x="585788" y="653415"/>
                      <a:pt x="586740" y="679132"/>
                      <a:pt x="586740" y="679132"/>
                    </a:cubicBezTo>
                    <a:lnTo>
                      <a:pt x="575310" y="687705"/>
                    </a:lnTo>
                    <a:lnTo>
                      <a:pt x="563880" y="675323"/>
                    </a:lnTo>
                    <a:lnTo>
                      <a:pt x="552450" y="678180"/>
                    </a:lnTo>
                    <a:lnTo>
                      <a:pt x="546735" y="695325"/>
                    </a:lnTo>
                    <a:lnTo>
                      <a:pt x="523875" y="680085"/>
                    </a:lnTo>
                    <a:lnTo>
                      <a:pt x="508635" y="664845"/>
                    </a:lnTo>
                    <a:lnTo>
                      <a:pt x="490538" y="678180"/>
                    </a:lnTo>
                    <a:lnTo>
                      <a:pt x="473393" y="661035"/>
                    </a:lnTo>
                    <a:lnTo>
                      <a:pt x="469582" y="678180"/>
                    </a:lnTo>
                    <a:lnTo>
                      <a:pt x="463868" y="710565"/>
                    </a:lnTo>
                    <a:lnTo>
                      <a:pt x="484823" y="742950"/>
                    </a:lnTo>
                    <a:lnTo>
                      <a:pt x="488632" y="771525"/>
                    </a:lnTo>
                    <a:cubicBezTo>
                      <a:pt x="488632" y="771525"/>
                      <a:pt x="495300" y="797243"/>
                      <a:pt x="488632" y="797243"/>
                    </a:cubicBezTo>
                    <a:cubicBezTo>
                      <a:pt x="481965" y="797243"/>
                      <a:pt x="450532" y="802957"/>
                      <a:pt x="450532" y="802957"/>
                    </a:cubicBezTo>
                    <a:lnTo>
                      <a:pt x="421005" y="828675"/>
                    </a:lnTo>
                    <a:lnTo>
                      <a:pt x="391478" y="840105"/>
                    </a:lnTo>
                    <a:lnTo>
                      <a:pt x="378143" y="813435"/>
                    </a:lnTo>
                    <a:lnTo>
                      <a:pt x="374332" y="828675"/>
                    </a:lnTo>
                    <a:lnTo>
                      <a:pt x="373380" y="840105"/>
                    </a:lnTo>
                    <a:lnTo>
                      <a:pt x="329565" y="840105"/>
                    </a:lnTo>
                    <a:lnTo>
                      <a:pt x="306705" y="817245"/>
                    </a:lnTo>
                    <a:lnTo>
                      <a:pt x="316230" y="807720"/>
                    </a:lnTo>
                    <a:lnTo>
                      <a:pt x="305753" y="791528"/>
                    </a:lnTo>
                    <a:lnTo>
                      <a:pt x="263843" y="803910"/>
                    </a:lnTo>
                    <a:lnTo>
                      <a:pt x="210503" y="813435"/>
                    </a:lnTo>
                    <a:lnTo>
                      <a:pt x="175260" y="831532"/>
                    </a:lnTo>
                    <a:lnTo>
                      <a:pt x="149543" y="857250"/>
                    </a:lnTo>
                    <a:lnTo>
                      <a:pt x="136207" y="870585"/>
                    </a:lnTo>
                    <a:lnTo>
                      <a:pt x="156210" y="888682"/>
                    </a:lnTo>
                    <a:lnTo>
                      <a:pt x="136207" y="888682"/>
                    </a:lnTo>
                    <a:lnTo>
                      <a:pt x="119063" y="864870"/>
                    </a:lnTo>
                    <a:lnTo>
                      <a:pt x="119063" y="836295"/>
                    </a:lnTo>
                    <a:lnTo>
                      <a:pt x="103823" y="821055"/>
                    </a:lnTo>
                    <a:lnTo>
                      <a:pt x="85725" y="845820"/>
                    </a:lnTo>
                    <a:lnTo>
                      <a:pt x="80010" y="862965"/>
                    </a:lnTo>
                    <a:lnTo>
                      <a:pt x="51435" y="851535"/>
                    </a:lnTo>
                    <a:lnTo>
                      <a:pt x="27623" y="845820"/>
                    </a:lnTo>
                    <a:lnTo>
                      <a:pt x="31432" y="870585"/>
                    </a:lnTo>
                    <a:lnTo>
                      <a:pt x="42863" y="879157"/>
                    </a:lnTo>
                    <a:lnTo>
                      <a:pt x="40005" y="892493"/>
                    </a:lnTo>
                    <a:lnTo>
                      <a:pt x="30480" y="902970"/>
                    </a:lnTo>
                    <a:lnTo>
                      <a:pt x="37148" y="919163"/>
                    </a:lnTo>
                    <a:lnTo>
                      <a:pt x="49530" y="938213"/>
                    </a:lnTo>
                    <a:lnTo>
                      <a:pt x="61913" y="950595"/>
                    </a:lnTo>
                    <a:lnTo>
                      <a:pt x="57150" y="979170"/>
                    </a:lnTo>
                    <a:lnTo>
                      <a:pt x="67628" y="1000125"/>
                    </a:lnTo>
                    <a:lnTo>
                      <a:pt x="96203" y="1010603"/>
                    </a:lnTo>
                    <a:lnTo>
                      <a:pt x="96203" y="1025843"/>
                    </a:lnTo>
                    <a:lnTo>
                      <a:pt x="134303" y="1053465"/>
                    </a:lnTo>
                    <a:lnTo>
                      <a:pt x="152400" y="1071563"/>
                    </a:lnTo>
                    <a:lnTo>
                      <a:pt x="152400" y="1106805"/>
                    </a:lnTo>
                    <a:lnTo>
                      <a:pt x="172403" y="1144905"/>
                    </a:lnTo>
                    <a:lnTo>
                      <a:pt x="194310" y="1144905"/>
                    </a:lnTo>
                    <a:lnTo>
                      <a:pt x="196215" y="1173480"/>
                    </a:lnTo>
                    <a:lnTo>
                      <a:pt x="184785" y="1173480"/>
                    </a:lnTo>
                    <a:lnTo>
                      <a:pt x="179070" y="1193483"/>
                    </a:lnTo>
                    <a:lnTo>
                      <a:pt x="152400" y="1220153"/>
                    </a:lnTo>
                    <a:lnTo>
                      <a:pt x="129540" y="1236345"/>
                    </a:lnTo>
                    <a:lnTo>
                      <a:pt x="130493" y="1286828"/>
                    </a:lnTo>
                    <a:lnTo>
                      <a:pt x="109538" y="1294448"/>
                    </a:lnTo>
                    <a:lnTo>
                      <a:pt x="101918" y="1322070"/>
                    </a:lnTo>
                    <a:lnTo>
                      <a:pt x="118110" y="1338263"/>
                    </a:lnTo>
                    <a:lnTo>
                      <a:pt x="118110" y="1361123"/>
                    </a:lnTo>
                    <a:lnTo>
                      <a:pt x="109538" y="1380173"/>
                    </a:lnTo>
                    <a:lnTo>
                      <a:pt x="80963" y="1371600"/>
                    </a:lnTo>
                    <a:lnTo>
                      <a:pt x="60007" y="1378267"/>
                    </a:lnTo>
                    <a:lnTo>
                      <a:pt x="29528" y="1422083"/>
                    </a:lnTo>
                    <a:lnTo>
                      <a:pt x="0" y="1433513"/>
                    </a:lnTo>
                    <a:lnTo>
                      <a:pt x="0" y="1444942"/>
                    </a:lnTo>
                    <a:lnTo>
                      <a:pt x="7620" y="1463992"/>
                    </a:lnTo>
                    <a:lnTo>
                      <a:pt x="18098" y="1488758"/>
                    </a:lnTo>
                    <a:lnTo>
                      <a:pt x="42863" y="1505903"/>
                    </a:lnTo>
                    <a:lnTo>
                      <a:pt x="45720" y="1552575"/>
                    </a:lnTo>
                    <a:lnTo>
                      <a:pt x="70485" y="1597342"/>
                    </a:lnTo>
                    <a:lnTo>
                      <a:pt x="70485" y="1615440"/>
                    </a:lnTo>
                    <a:lnTo>
                      <a:pt x="76200" y="1650683"/>
                    </a:lnTo>
                    <a:lnTo>
                      <a:pt x="83820" y="1704975"/>
                    </a:lnTo>
                    <a:lnTo>
                      <a:pt x="62865" y="1710690"/>
                    </a:lnTo>
                    <a:lnTo>
                      <a:pt x="48578" y="1733550"/>
                    </a:lnTo>
                    <a:lnTo>
                      <a:pt x="35243" y="1746885"/>
                    </a:lnTo>
                    <a:lnTo>
                      <a:pt x="42863" y="1770698"/>
                    </a:lnTo>
                    <a:lnTo>
                      <a:pt x="50482" y="1763078"/>
                    </a:lnTo>
                    <a:lnTo>
                      <a:pt x="77153" y="1773555"/>
                    </a:lnTo>
                    <a:lnTo>
                      <a:pt x="77153" y="1796415"/>
                    </a:lnTo>
                    <a:lnTo>
                      <a:pt x="86678" y="1805940"/>
                    </a:lnTo>
                    <a:lnTo>
                      <a:pt x="77153" y="1814513"/>
                    </a:lnTo>
                    <a:lnTo>
                      <a:pt x="77153" y="1839278"/>
                    </a:lnTo>
                    <a:lnTo>
                      <a:pt x="101918" y="1852613"/>
                    </a:lnTo>
                    <a:lnTo>
                      <a:pt x="109538" y="1891665"/>
                    </a:lnTo>
                    <a:lnTo>
                      <a:pt x="139065" y="1921192"/>
                    </a:lnTo>
                    <a:lnTo>
                      <a:pt x="129540" y="1948815"/>
                    </a:lnTo>
                    <a:lnTo>
                      <a:pt x="112395" y="1975485"/>
                    </a:lnTo>
                    <a:lnTo>
                      <a:pt x="119063" y="1996440"/>
                    </a:lnTo>
                    <a:lnTo>
                      <a:pt x="119063" y="2014538"/>
                    </a:lnTo>
                    <a:lnTo>
                      <a:pt x="110490" y="2023110"/>
                    </a:lnTo>
                    <a:lnTo>
                      <a:pt x="110490" y="2051685"/>
                    </a:lnTo>
                    <a:lnTo>
                      <a:pt x="125730" y="2058353"/>
                    </a:lnTo>
                    <a:lnTo>
                      <a:pt x="148590" y="2058353"/>
                    </a:lnTo>
                    <a:lnTo>
                      <a:pt x="160020" y="2046923"/>
                    </a:lnTo>
                    <a:lnTo>
                      <a:pt x="173355" y="2046923"/>
                    </a:lnTo>
                    <a:lnTo>
                      <a:pt x="185738" y="2062163"/>
                    </a:lnTo>
                    <a:lnTo>
                      <a:pt x="211455" y="2052638"/>
                    </a:lnTo>
                    <a:lnTo>
                      <a:pt x="230505" y="2061210"/>
                    </a:lnTo>
                    <a:lnTo>
                      <a:pt x="245745" y="2045970"/>
                    </a:lnTo>
                    <a:lnTo>
                      <a:pt x="266700" y="2046923"/>
                    </a:lnTo>
                    <a:lnTo>
                      <a:pt x="267653" y="2064067"/>
                    </a:lnTo>
                    <a:lnTo>
                      <a:pt x="287655" y="2084070"/>
                    </a:lnTo>
                    <a:lnTo>
                      <a:pt x="287655" y="2102168"/>
                    </a:lnTo>
                    <a:lnTo>
                      <a:pt x="268605" y="2107883"/>
                    </a:lnTo>
                    <a:lnTo>
                      <a:pt x="268605" y="2135505"/>
                    </a:lnTo>
                    <a:lnTo>
                      <a:pt x="291465" y="2133600"/>
                    </a:lnTo>
                    <a:lnTo>
                      <a:pt x="315278" y="2126933"/>
                    </a:lnTo>
                    <a:lnTo>
                      <a:pt x="336232" y="2142173"/>
                    </a:lnTo>
                    <a:lnTo>
                      <a:pt x="354330" y="2173605"/>
                    </a:lnTo>
                    <a:lnTo>
                      <a:pt x="361950" y="2204085"/>
                    </a:lnTo>
                    <a:lnTo>
                      <a:pt x="371475" y="2213610"/>
                    </a:lnTo>
                    <a:lnTo>
                      <a:pt x="362903" y="2222183"/>
                    </a:lnTo>
                    <a:lnTo>
                      <a:pt x="362903" y="2242185"/>
                    </a:lnTo>
                    <a:lnTo>
                      <a:pt x="384810" y="2252663"/>
                    </a:lnTo>
                    <a:lnTo>
                      <a:pt x="404813" y="2252663"/>
                    </a:lnTo>
                    <a:lnTo>
                      <a:pt x="420053" y="2267903"/>
                    </a:lnTo>
                    <a:lnTo>
                      <a:pt x="417195" y="2293620"/>
                    </a:lnTo>
                    <a:lnTo>
                      <a:pt x="405765" y="2305050"/>
                    </a:lnTo>
                    <a:lnTo>
                      <a:pt x="405765" y="2324100"/>
                    </a:lnTo>
                    <a:lnTo>
                      <a:pt x="421957" y="2340293"/>
                    </a:lnTo>
                    <a:lnTo>
                      <a:pt x="430530" y="2359343"/>
                    </a:lnTo>
                    <a:lnTo>
                      <a:pt x="433388" y="2376488"/>
                    </a:lnTo>
                    <a:lnTo>
                      <a:pt x="451485" y="2382203"/>
                    </a:lnTo>
                    <a:lnTo>
                      <a:pt x="476250" y="2392680"/>
                    </a:lnTo>
                    <a:lnTo>
                      <a:pt x="476250" y="2426970"/>
                    </a:lnTo>
                    <a:lnTo>
                      <a:pt x="470535" y="2462213"/>
                    </a:lnTo>
                    <a:lnTo>
                      <a:pt x="470535" y="2502218"/>
                    </a:lnTo>
                    <a:lnTo>
                      <a:pt x="465773" y="2544128"/>
                    </a:lnTo>
                    <a:lnTo>
                      <a:pt x="469582" y="2614613"/>
                    </a:lnTo>
                    <a:lnTo>
                      <a:pt x="503873" y="2648903"/>
                    </a:lnTo>
                    <a:lnTo>
                      <a:pt x="534353" y="2646998"/>
                    </a:lnTo>
                    <a:lnTo>
                      <a:pt x="548640" y="2626043"/>
                    </a:lnTo>
                    <a:lnTo>
                      <a:pt x="557213" y="2599373"/>
                    </a:lnTo>
                    <a:lnTo>
                      <a:pt x="579120" y="2599373"/>
                    </a:lnTo>
                    <a:lnTo>
                      <a:pt x="625793" y="2581275"/>
                    </a:lnTo>
                    <a:lnTo>
                      <a:pt x="630555" y="2558415"/>
                    </a:lnTo>
                    <a:lnTo>
                      <a:pt x="648653" y="2550795"/>
                    </a:lnTo>
                    <a:lnTo>
                      <a:pt x="666750" y="2568893"/>
                    </a:lnTo>
                    <a:lnTo>
                      <a:pt x="666750" y="2593658"/>
                    </a:lnTo>
                    <a:lnTo>
                      <a:pt x="682943" y="2615565"/>
                    </a:lnTo>
                    <a:lnTo>
                      <a:pt x="682943" y="2586038"/>
                    </a:lnTo>
                    <a:lnTo>
                      <a:pt x="720090" y="2560320"/>
                    </a:lnTo>
                    <a:lnTo>
                      <a:pt x="720090" y="2510790"/>
                    </a:lnTo>
                    <a:lnTo>
                      <a:pt x="746760" y="2484120"/>
                    </a:lnTo>
                    <a:lnTo>
                      <a:pt x="757238" y="2452688"/>
                    </a:lnTo>
                    <a:lnTo>
                      <a:pt x="749618" y="2425065"/>
                    </a:lnTo>
                    <a:lnTo>
                      <a:pt x="769620" y="2405063"/>
                    </a:lnTo>
                    <a:lnTo>
                      <a:pt x="778193" y="2377440"/>
                    </a:lnTo>
                    <a:lnTo>
                      <a:pt x="795338" y="2357438"/>
                    </a:lnTo>
                    <a:lnTo>
                      <a:pt x="824865" y="2362200"/>
                    </a:lnTo>
                    <a:lnTo>
                      <a:pt x="854393" y="2358390"/>
                    </a:lnTo>
                    <a:lnTo>
                      <a:pt x="885825" y="2373630"/>
                    </a:lnTo>
                    <a:lnTo>
                      <a:pt x="913448" y="2377440"/>
                    </a:lnTo>
                    <a:lnTo>
                      <a:pt x="913448" y="2403158"/>
                    </a:lnTo>
                    <a:lnTo>
                      <a:pt x="926782" y="2414588"/>
                    </a:lnTo>
                    <a:lnTo>
                      <a:pt x="926782" y="2434590"/>
                    </a:lnTo>
                    <a:lnTo>
                      <a:pt x="957263" y="2439353"/>
                    </a:lnTo>
                    <a:lnTo>
                      <a:pt x="977265" y="2419350"/>
                    </a:lnTo>
                    <a:lnTo>
                      <a:pt x="977265" y="2397443"/>
                    </a:lnTo>
                    <a:lnTo>
                      <a:pt x="1000125" y="2397443"/>
                    </a:lnTo>
                    <a:lnTo>
                      <a:pt x="1015365" y="2412683"/>
                    </a:lnTo>
                    <a:lnTo>
                      <a:pt x="1034415" y="2433638"/>
                    </a:lnTo>
                    <a:lnTo>
                      <a:pt x="1034415" y="2453640"/>
                    </a:lnTo>
                    <a:lnTo>
                      <a:pt x="1052513" y="2455545"/>
                    </a:lnTo>
                    <a:lnTo>
                      <a:pt x="1063943" y="2486978"/>
                    </a:lnTo>
                    <a:lnTo>
                      <a:pt x="1082040" y="2505075"/>
                    </a:lnTo>
                    <a:lnTo>
                      <a:pt x="1103948" y="2526983"/>
                    </a:lnTo>
                    <a:lnTo>
                      <a:pt x="1099185" y="2542223"/>
                    </a:lnTo>
                    <a:lnTo>
                      <a:pt x="1113473" y="2556510"/>
                    </a:lnTo>
                    <a:lnTo>
                      <a:pt x="1120140" y="2588895"/>
                    </a:lnTo>
                    <a:lnTo>
                      <a:pt x="1150620" y="2600325"/>
                    </a:lnTo>
                    <a:lnTo>
                      <a:pt x="1172528" y="2629853"/>
                    </a:lnTo>
                    <a:lnTo>
                      <a:pt x="1193482" y="2636520"/>
                    </a:lnTo>
                    <a:lnTo>
                      <a:pt x="1193482" y="2661285"/>
                    </a:lnTo>
                    <a:lnTo>
                      <a:pt x="1216343" y="2667000"/>
                    </a:lnTo>
                    <a:lnTo>
                      <a:pt x="1241107" y="2642235"/>
                    </a:lnTo>
                    <a:lnTo>
                      <a:pt x="1268730" y="2619375"/>
                    </a:lnTo>
                    <a:lnTo>
                      <a:pt x="1296353" y="2619375"/>
                    </a:lnTo>
                    <a:lnTo>
                      <a:pt x="1308735" y="2606993"/>
                    </a:lnTo>
                    <a:lnTo>
                      <a:pt x="1323975" y="2622233"/>
                    </a:lnTo>
                    <a:lnTo>
                      <a:pt x="1344930" y="2626995"/>
                    </a:lnTo>
                    <a:lnTo>
                      <a:pt x="1354455" y="2617470"/>
                    </a:lnTo>
                    <a:lnTo>
                      <a:pt x="1383030" y="2617470"/>
                    </a:lnTo>
                    <a:lnTo>
                      <a:pt x="1394460" y="2632710"/>
                    </a:lnTo>
                    <a:lnTo>
                      <a:pt x="1412557" y="2632710"/>
                    </a:lnTo>
                    <a:lnTo>
                      <a:pt x="1418273" y="2611755"/>
                    </a:lnTo>
                    <a:lnTo>
                      <a:pt x="1453515" y="2618423"/>
                    </a:lnTo>
                    <a:lnTo>
                      <a:pt x="1465898" y="2606040"/>
                    </a:lnTo>
                    <a:lnTo>
                      <a:pt x="1491615" y="2600325"/>
                    </a:lnTo>
                    <a:lnTo>
                      <a:pt x="1515428" y="2610803"/>
                    </a:lnTo>
                    <a:lnTo>
                      <a:pt x="1544955" y="2640330"/>
                    </a:lnTo>
                    <a:lnTo>
                      <a:pt x="1567815" y="2629853"/>
                    </a:lnTo>
                    <a:lnTo>
                      <a:pt x="1593532" y="2624138"/>
                    </a:lnTo>
                    <a:lnTo>
                      <a:pt x="1604963" y="2607945"/>
                    </a:lnTo>
                    <a:lnTo>
                      <a:pt x="1624013" y="2616518"/>
                    </a:lnTo>
                    <a:lnTo>
                      <a:pt x="1638300" y="2602230"/>
                    </a:lnTo>
                    <a:lnTo>
                      <a:pt x="1654493" y="2602230"/>
                    </a:lnTo>
                    <a:lnTo>
                      <a:pt x="1669732" y="2617470"/>
                    </a:lnTo>
                    <a:lnTo>
                      <a:pt x="1684020" y="2603183"/>
                    </a:lnTo>
                    <a:lnTo>
                      <a:pt x="1724978" y="2562225"/>
                    </a:lnTo>
                    <a:lnTo>
                      <a:pt x="1755457" y="2566988"/>
                    </a:lnTo>
                    <a:lnTo>
                      <a:pt x="1755457" y="2547938"/>
                    </a:lnTo>
                    <a:lnTo>
                      <a:pt x="1793557" y="2533650"/>
                    </a:lnTo>
                    <a:lnTo>
                      <a:pt x="1821180" y="2539365"/>
                    </a:lnTo>
                    <a:lnTo>
                      <a:pt x="1849755" y="2521268"/>
                    </a:lnTo>
                    <a:lnTo>
                      <a:pt x="1847850" y="2491740"/>
                    </a:lnTo>
                    <a:lnTo>
                      <a:pt x="1893570" y="2464118"/>
                    </a:lnTo>
                    <a:lnTo>
                      <a:pt x="1936432" y="2428875"/>
                    </a:lnTo>
                    <a:lnTo>
                      <a:pt x="1920240" y="2391728"/>
                    </a:lnTo>
                    <a:lnTo>
                      <a:pt x="1920240" y="2363153"/>
                    </a:lnTo>
                    <a:lnTo>
                      <a:pt x="1902143" y="2345055"/>
                    </a:lnTo>
                    <a:lnTo>
                      <a:pt x="1918335" y="2328863"/>
                    </a:lnTo>
                    <a:lnTo>
                      <a:pt x="1923098" y="2292668"/>
                    </a:lnTo>
                    <a:lnTo>
                      <a:pt x="1884045" y="2275523"/>
                    </a:lnTo>
                    <a:lnTo>
                      <a:pt x="1852613" y="2275523"/>
                    </a:lnTo>
                    <a:lnTo>
                      <a:pt x="1848803" y="2257425"/>
                    </a:lnTo>
                    <a:lnTo>
                      <a:pt x="1870710" y="2252663"/>
                    </a:lnTo>
                    <a:lnTo>
                      <a:pt x="1859280" y="2229803"/>
                    </a:lnTo>
                    <a:lnTo>
                      <a:pt x="1864995" y="2186940"/>
                    </a:lnTo>
                    <a:lnTo>
                      <a:pt x="1838325" y="2182178"/>
                    </a:lnTo>
                    <a:lnTo>
                      <a:pt x="1811655" y="2154555"/>
                    </a:lnTo>
                    <a:lnTo>
                      <a:pt x="1834515" y="2148840"/>
                    </a:lnTo>
                    <a:lnTo>
                      <a:pt x="1837373" y="2115503"/>
                    </a:lnTo>
                    <a:lnTo>
                      <a:pt x="1826895" y="2105025"/>
                    </a:lnTo>
                    <a:lnTo>
                      <a:pt x="1821180" y="2086928"/>
                    </a:lnTo>
                    <a:lnTo>
                      <a:pt x="1829753" y="2065020"/>
                    </a:lnTo>
                    <a:lnTo>
                      <a:pt x="1811655" y="2046923"/>
                    </a:lnTo>
                    <a:lnTo>
                      <a:pt x="1826895" y="2026920"/>
                    </a:lnTo>
                    <a:lnTo>
                      <a:pt x="1814513" y="2014538"/>
                    </a:lnTo>
                    <a:lnTo>
                      <a:pt x="1814513" y="1984058"/>
                    </a:lnTo>
                    <a:lnTo>
                      <a:pt x="1843088" y="1968817"/>
                    </a:lnTo>
                    <a:lnTo>
                      <a:pt x="1862138" y="1958340"/>
                    </a:lnTo>
                    <a:lnTo>
                      <a:pt x="1884998" y="1961198"/>
                    </a:lnTo>
                    <a:lnTo>
                      <a:pt x="1904048" y="1942148"/>
                    </a:lnTo>
                    <a:lnTo>
                      <a:pt x="1928813" y="1931670"/>
                    </a:lnTo>
                    <a:lnTo>
                      <a:pt x="1932623" y="1906905"/>
                    </a:lnTo>
                    <a:lnTo>
                      <a:pt x="1916430" y="1890713"/>
                    </a:lnTo>
                    <a:lnTo>
                      <a:pt x="1925955" y="1866900"/>
                    </a:lnTo>
                    <a:lnTo>
                      <a:pt x="1958340" y="1861185"/>
                    </a:lnTo>
                    <a:lnTo>
                      <a:pt x="2001203" y="1818323"/>
                    </a:lnTo>
                    <a:lnTo>
                      <a:pt x="1999298" y="1769745"/>
                    </a:lnTo>
                    <a:lnTo>
                      <a:pt x="2029778" y="1759267"/>
                    </a:lnTo>
                    <a:lnTo>
                      <a:pt x="2029778" y="1743075"/>
                    </a:lnTo>
                    <a:lnTo>
                      <a:pt x="1999298" y="1712595"/>
                    </a:lnTo>
                    <a:lnTo>
                      <a:pt x="1992630" y="1690688"/>
                    </a:lnTo>
                    <a:lnTo>
                      <a:pt x="1958340" y="1656398"/>
                    </a:lnTo>
                    <a:lnTo>
                      <a:pt x="1936432" y="1651635"/>
                    </a:lnTo>
                    <a:lnTo>
                      <a:pt x="1931670" y="1624013"/>
                    </a:lnTo>
                    <a:lnTo>
                      <a:pt x="1937385" y="1591628"/>
                    </a:lnTo>
                    <a:lnTo>
                      <a:pt x="1920240" y="1574483"/>
                    </a:lnTo>
                    <a:lnTo>
                      <a:pt x="1945957" y="1540192"/>
                    </a:lnTo>
                    <a:lnTo>
                      <a:pt x="1945957" y="1510665"/>
                    </a:lnTo>
                    <a:lnTo>
                      <a:pt x="1947863" y="1473517"/>
                    </a:lnTo>
                    <a:lnTo>
                      <a:pt x="1934528" y="1460183"/>
                    </a:lnTo>
                    <a:lnTo>
                      <a:pt x="1927860" y="1433513"/>
                    </a:lnTo>
                    <a:lnTo>
                      <a:pt x="1915478" y="1421130"/>
                    </a:lnTo>
                    <a:lnTo>
                      <a:pt x="1914525" y="1388745"/>
                    </a:lnTo>
                    <a:lnTo>
                      <a:pt x="1939290" y="1383030"/>
                    </a:lnTo>
                    <a:lnTo>
                      <a:pt x="1960245" y="1388745"/>
                    </a:lnTo>
                    <a:lnTo>
                      <a:pt x="1987868" y="1403985"/>
                    </a:lnTo>
                    <a:lnTo>
                      <a:pt x="2015490" y="1389698"/>
                    </a:lnTo>
                    <a:lnTo>
                      <a:pt x="2037398" y="1383030"/>
                    </a:lnTo>
                    <a:lnTo>
                      <a:pt x="2059305" y="1361123"/>
                    </a:lnTo>
                    <a:lnTo>
                      <a:pt x="2075498" y="1332548"/>
                    </a:lnTo>
                    <a:lnTo>
                      <a:pt x="2096453" y="1333500"/>
                    </a:lnTo>
                    <a:lnTo>
                      <a:pt x="2108835" y="1325880"/>
                    </a:lnTo>
                    <a:lnTo>
                      <a:pt x="2118360" y="1335405"/>
                    </a:lnTo>
                    <a:lnTo>
                      <a:pt x="2130743" y="1331595"/>
                    </a:lnTo>
                    <a:lnTo>
                      <a:pt x="2130743" y="1307783"/>
                    </a:lnTo>
                    <a:lnTo>
                      <a:pt x="2128838" y="1268730"/>
                    </a:lnTo>
                    <a:lnTo>
                      <a:pt x="2133600" y="1242060"/>
                    </a:lnTo>
                    <a:lnTo>
                      <a:pt x="2112645" y="1221105"/>
                    </a:lnTo>
                    <a:lnTo>
                      <a:pt x="2106930" y="1203960"/>
                    </a:lnTo>
                    <a:lnTo>
                      <a:pt x="2087880" y="1184910"/>
                    </a:lnTo>
                    <a:lnTo>
                      <a:pt x="2054543" y="1167765"/>
                    </a:lnTo>
                    <a:lnTo>
                      <a:pt x="2045970" y="1147763"/>
                    </a:lnTo>
                    <a:lnTo>
                      <a:pt x="2023110" y="1117283"/>
                    </a:lnTo>
                    <a:lnTo>
                      <a:pt x="2023110" y="1100138"/>
                    </a:lnTo>
                    <a:lnTo>
                      <a:pt x="2011680" y="1094423"/>
                    </a:lnTo>
                    <a:lnTo>
                      <a:pt x="2017395" y="1065848"/>
                    </a:lnTo>
                    <a:lnTo>
                      <a:pt x="2026920" y="1056323"/>
                    </a:lnTo>
                    <a:lnTo>
                      <a:pt x="2010728" y="1040130"/>
                    </a:lnTo>
                    <a:lnTo>
                      <a:pt x="2014538" y="1016318"/>
                    </a:lnTo>
                    <a:lnTo>
                      <a:pt x="2051685" y="1001078"/>
                    </a:lnTo>
                    <a:lnTo>
                      <a:pt x="2051685" y="987743"/>
                    </a:lnTo>
                    <a:lnTo>
                      <a:pt x="2080260" y="988695"/>
                    </a:lnTo>
                    <a:lnTo>
                      <a:pt x="2077403" y="957263"/>
                    </a:lnTo>
                    <a:lnTo>
                      <a:pt x="2056448" y="951548"/>
                    </a:lnTo>
                    <a:lnTo>
                      <a:pt x="2042160" y="933450"/>
                    </a:lnTo>
                    <a:lnTo>
                      <a:pt x="2060257" y="916305"/>
                    </a:lnTo>
                    <a:lnTo>
                      <a:pt x="2078355" y="916305"/>
                    </a:lnTo>
                    <a:lnTo>
                      <a:pt x="2078355" y="894398"/>
                    </a:lnTo>
                    <a:lnTo>
                      <a:pt x="2096453" y="882015"/>
                    </a:lnTo>
                    <a:lnTo>
                      <a:pt x="2096453" y="865823"/>
                    </a:lnTo>
                    <a:lnTo>
                      <a:pt x="2118360" y="860107"/>
                    </a:lnTo>
                    <a:lnTo>
                      <a:pt x="2131695" y="876300"/>
                    </a:lnTo>
                    <a:lnTo>
                      <a:pt x="2149793" y="873443"/>
                    </a:lnTo>
                    <a:lnTo>
                      <a:pt x="2159318" y="853440"/>
                    </a:lnTo>
                    <a:lnTo>
                      <a:pt x="2153603" y="835343"/>
                    </a:lnTo>
                    <a:lnTo>
                      <a:pt x="2172653" y="804863"/>
                    </a:lnTo>
                    <a:lnTo>
                      <a:pt x="2178368" y="784860"/>
                    </a:lnTo>
                    <a:lnTo>
                      <a:pt x="2197418" y="781050"/>
                    </a:lnTo>
                    <a:lnTo>
                      <a:pt x="2197418" y="762953"/>
                    </a:lnTo>
                    <a:lnTo>
                      <a:pt x="2187893" y="737235"/>
                    </a:lnTo>
                    <a:lnTo>
                      <a:pt x="2165033" y="723900"/>
                    </a:lnTo>
                    <a:lnTo>
                      <a:pt x="2143125" y="701993"/>
                    </a:lnTo>
                    <a:lnTo>
                      <a:pt x="2143125" y="676275"/>
                    </a:lnTo>
                    <a:lnTo>
                      <a:pt x="2141220" y="647700"/>
                    </a:lnTo>
                    <a:lnTo>
                      <a:pt x="2120265" y="637223"/>
                    </a:lnTo>
                    <a:lnTo>
                      <a:pt x="2105025" y="617220"/>
                    </a:lnTo>
                    <a:lnTo>
                      <a:pt x="2105025" y="593407"/>
                    </a:lnTo>
                    <a:lnTo>
                      <a:pt x="2122170" y="589598"/>
                    </a:lnTo>
                    <a:lnTo>
                      <a:pt x="2114550" y="566738"/>
                    </a:lnTo>
                    <a:lnTo>
                      <a:pt x="2090738" y="560070"/>
                    </a:lnTo>
                    <a:lnTo>
                      <a:pt x="2095500" y="539115"/>
                    </a:lnTo>
                    <a:lnTo>
                      <a:pt x="2120265" y="529590"/>
                    </a:lnTo>
                    <a:lnTo>
                      <a:pt x="2120265" y="508635"/>
                    </a:lnTo>
                    <a:lnTo>
                      <a:pt x="2131695" y="497205"/>
                    </a:lnTo>
                    <a:lnTo>
                      <a:pt x="2159318" y="497205"/>
                    </a:lnTo>
                    <a:lnTo>
                      <a:pt x="2162175" y="467678"/>
                    </a:lnTo>
                    <a:lnTo>
                      <a:pt x="2197418" y="467678"/>
                    </a:lnTo>
                    <a:lnTo>
                      <a:pt x="2211705" y="453390"/>
                    </a:lnTo>
                    <a:lnTo>
                      <a:pt x="2203133" y="423863"/>
                    </a:lnTo>
                    <a:lnTo>
                      <a:pt x="2215515" y="400050"/>
                    </a:lnTo>
                    <a:lnTo>
                      <a:pt x="2198370" y="372428"/>
                    </a:lnTo>
                    <a:lnTo>
                      <a:pt x="2182178" y="372428"/>
                    </a:lnTo>
                    <a:lnTo>
                      <a:pt x="2166938" y="342900"/>
                    </a:lnTo>
                    <a:lnTo>
                      <a:pt x="2149793" y="325755"/>
                    </a:lnTo>
                    <a:lnTo>
                      <a:pt x="2126933" y="325755"/>
                    </a:lnTo>
                    <a:lnTo>
                      <a:pt x="2097405" y="335280"/>
                    </a:lnTo>
                    <a:lnTo>
                      <a:pt x="2070735" y="323850"/>
                    </a:lnTo>
                    <a:lnTo>
                      <a:pt x="2042160" y="319088"/>
                    </a:lnTo>
                    <a:lnTo>
                      <a:pt x="2042160" y="286703"/>
                    </a:lnTo>
                    <a:lnTo>
                      <a:pt x="2020253" y="274320"/>
                    </a:lnTo>
                    <a:lnTo>
                      <a:pt x="2008823" y="245745"/>
                    </a:lnTo>
                    <a:lnTo>
                      <a:pt x="2025968" y="219075"/>
                    </a:lnTo>
                    <a:lnTo>
                      <a:pt x="2025968" y="189548"/>
                    </a:lnTo>
                    <a:lnTo>
                      <a:pt x="2045018" y="176213"/>
                    </a:lnTo>
                    <a:lnTo>
                      <a:pt x="2045018" y="147638"/>
                    </a:lnTo>
                    <a:lnTo>
                      <a:pt x="2058353" y="114300"/>
                    </a:lnTo>
                    <a:lnTo>
                      <a:pt x="2087880" y="92393"/>
                    </a:lnTo>
                    <a:lnTo>
                      <a:pt x="2065973" y="55245"/>
                    </a:lnTo>
                    <a:lnTo>
                      <a:pt x="2040255" y="45720"/>
                    </a:lnTo>
                    <a:lnTo>
                      <a:pt x="2033588" y="27623"/>
                    </a:lnTo>
                    <a:lnTo>
                      <a:pt x="2005013" y="23813"/>
                    </a:lnTo>
                    <a:lnTo>
                      <a:pt x="1971675" y="12383"/>
                    </a:lnTo>
                    <a:lnTo>
                      <a:pt x="1956435" y="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68" name="Полилиния: фигура 5">
              <a:extLst>
                <a:ext uri="{FF2B5EF4-FFF2-40B4-BE49-F238E27FC236}">
                  <a16:creationId xmlns:a16="http://schemas.microsoft.com/office/drawing/2014/main" id="{8749B32C-F055-4910-8BA9-696E99AC6600}"/>
                </a:ext>
              </a:extLst>
            </p:cNvPr>
            <p:cNvSpPr/>
            <p:nvPr/>
          </p:nvSpPr>
          <p:spPr>
            <a:xfrm>
              <a:off x="4275407" y="3966702"/>
              <a:ext cx="321203" cy="357422"/>
            </a:xfrm>
            <a:custGeom>
              <a:avLst/>
              <a:gdLst>
                <a:gd name="connsiteX0" fmla="*/ 128588 w 498157"/>
                <a:gd name="connsiteY0" fmla="*/ 360997 h 637222"/>
                <a:gd name="connsiteX1" fmla="*/ 122872 w 498157"/>
                <a:gd name="connsiteY1" fmla="*/ 329565 h 637222"/>
                <a:gd name="connsiteX2" fmla="*/ 136208 w 498157"/>
                <a:gd name="connsiteY2" fmla="*/ 316230 h 637222"/>
                <a:gd name="connsiteX3" fmla="*/ 145733 w 498157"/>
                <a:gd name="connsiteY3" fmla="*/ 291465 h 637222"/>
                <a:gd name="connsiteX4" fmla="*/ 165735 w 498157"/>
                <a:gd name="connsiteY4" fmla="*/ 311467 h 637222"/>
                <a:gd name="connsiteX5" fmla="*/ 149542 w 498157"/>
                <a:gd name="connsiteY5" fmla="*/ 327660 h 637222"/>
                <a:gd name="connsiteX6" fmla="*/ 142875 w 498157"/>
                <a:gd name="connsiteY6" fmla="*/ 359092 h 637222"/>
                <a:gd name="connsiteX7" fmla="*/ 162878 w 498157"/>
                <a:gd name="connsiteY7" fmla="*/ 367665 h 637222"/>
                <a:gd name="connsiteX8" fmla="*/ 172403 w 498157"/>
                <a:gd name="connsiteY8" fmla="*/ 420052 h 637222"/>
                <a:gd name="connsiteX9" fmla="*/ 190500 w 498157"/>
                <a:gd name="connsiteY9" fmla="*/ 451485 h 637222"/>
                <a:gd name="connsiteX10" fmla="*/ 200978 w 498157"/>
                <a:gd name="connsiteY10" fmla="*/ 479107 h 637222"/>
                <a:gd name="connsiteX11" fmla="*/ 213360 w 498157"/>
                <a:gd name="connsiteY11" fmla="*/ 508635 h 637222"/>
                <a:gd name="connsiteX12" fmla="*/ 240030 w 498157"/>
                <a:gd name="connsiteY12" fmla="*/ 536257 h 637222"/>
                <a:gd name="connsiteX13" fmla="*/ 240030 w 498157"/>
                <a:gd name="connsiteY13" fmla="*/ 574357 h 637222"/>
                <a:gd name="connsiteX14" fmla="*/ 266700 w 498157"/>
                <a:gd name="connsiteY14" fmla="*/ 600075 h 637222"/>
                <a:gd name="connsiteX15" fmla="*/ 307658 w 498157"/>
                <a:gd name="connsiteY15" fmla="*/ 622935 h 637222"/>
                <a:gd name="connsiteX16" fmla="*/ 345758 w 498157"/>
                <a:gd name="connsiteY16" fmla="*/ 637222 h 637222"/>
                <a:gd name="connsiteX17" fmla="*/ 389572 w 498157"/>
                <a:gd name="connsiteY17" fmla="*/ 628650 h 637222"/>
                <a:gd name="connsiteX18" fmla="*/ 429578 w 498157"/>
                <a:gd name="connsiteY18" fmla="*/ 628650 h 637222"/>
                <a:gd name="connsiteX19" fmla="*/ 466725 w 498157"/>
                <a:gd name="connsiteY19" fmla="*/ 591502 h 637222"/>
                <a:gd name="connsiteX20" fmla="*/ 491490 w 498157"/>
                <a:gd name="connsiteY20" fmla="*/ 548640 h 637222"/>
                <a:gd name="connsiteX21" fmla="*/ 497205 w 498157"/>
                <a:gd name="connsiteY21" fmla="*/ 498157 h 637222"/>
                <a:gd name="connsiteX22" fmla="*/ 498158 w 498157"/>
                <a:gd name="connsiteY22" fmla="*/ 466725 h 637222"/>
                <a:gd name="connsiteX23" fmla="*/ 473392 w 498157"/>
                <a:gd name="connsiteY23" fmla="*/ 441960 h 637222"/>
                <a:gd name="connsiteX24" fmla="*/ 473392 w 498157"/>
                <a:gd name="connsiteY24" fmla="*/ 399097 h 637222"/>
                <a:gd name="connsiteX25" fmla="*/ 464820 w 498157"/>
                <a:gd name="connsiteY25" fmla="*/ 379095 h 637222"/>
                <a:gd name="connsiteX26" fmla="*/ 471488 w 498157"/>
                <a:gd name="connsiteY26" fmla="*/ 343852 h 637222"/>
                <a:gd name="connsiteX27" fmla="*/ 471488 w 498157"/>
                <a:gd name="connsiteY27" fmla="*/ 302895 h 637222"/>
                <a:gd name="connsiteX28" fmla="*/ 460058 w 498157"/>
                <a:gd name="connsiteY28" fmla="*/ 263842 h 637222"/>
                <a:gd name="connsiteX29" fmla="*/ 437197 w 498157"/>
                <a:gd name="connsiteY29" fmla="*/ 240030 h 637222"/>
                <a:gd name="connsiteX30" fmla="*/ 437197 w 498157"/>
                <a:gd name="connsiteY30" fmla="*/ 206692 h 637222"/>
                <a:gd name="connsiteX31" fmla="*/ 416242 w 498157"/>
                <a:gd name="connsiteY31" fmla="*/ 197167 h 637222"/>
                <a:gd name="connsiteX32" fmla="*/ 416242 w 498157"/>
                <a:gd name="connsiteY32" fmla="*/ 167640 h 637222"/>
                <a:gd name="connsiteX33" fmla="*/ 398145 w 498157"/>
                <a:gd name="connsiteY33" fmla="*/ 149542 h 637222"/>
                <a:gd name="connsiteX34" fmla="*/ 374333 w 498157"/>
                <a:gd name="connsiteY34" fmla="*/ 136207 h 637222"/>
                <a:gd name="connsiteX35" fmla="*/ 374333 w 498157"/>
                <a:gd name="connsiteY35" fmla="*/ 109538 h 637222"/>
                <a:gd name="connsiteX36" fmla="*/ 367665 w 498157"/>
                <a:gd name="connsiteY36" fmla="*/ 82867 h 637222"/>
                <a:gd name="connsiteX37" fmla="*/ 381953 w 498157"/>
                <a:gd name="connsiteY37" fmla="*/ 67627 h 637222"/>
                <a:gd name="connsiteX38" fmla="*/ 398145 w 498157"/>
                <a:gd name="connsiteY38" fmla="*/ 83820 h 637222"/>
                <a:gd name="connsiteX39" fmla="*/ 413385 w 498157"/>
                <a:gd name="connsiteY39" fmla="*/ 94297 h 637222"/>
                <a:gd name="connsiteX40" fmla="*/ 406717 w 498157"/>
                <a:gd name="connsiteY40" fmla="*/ 68580 h 637222"/>
                <a:gd name="connsiteX41" fmla="*/ 406717 w 498157"/>
                <a:gd name="connsiteY41" fmla="*/ 45720 h 637222"/>
                <a:gd name="connsiteX42" fmla="*/ 372428 w 498157"/>
                <a:gd name="connsiteY42" fmla="*/ 44767 h 637222"/>
                <a:gd name="connsiteX43" fmla="*/ 348615 w 498157"/>
                <a:gd name="connsiteY43" fmla="*/ 47625 h 637222"/>
                <a:gd name="connsiteX44" fmla="*/ 354330 w 498157"/>
                <a:gd name="connsiteY44" fmla="*/ 18097 h 637222"/>
                <a:gd name="connsiteX45" fmla="*/ 330517 w 498157"/>
                <a:gd name="connsiteY45" fmla="*/ 35242 h 637222"/>
                <a:gd name="connsiteX46" fmla="*/ 310515 w 498157"/>
                <a:gd name="connsiteY46" fmla="*/ 15240 h 637222"/>
                <a:gd name="connsiteX47" fmla="*/ 286703 w 498157"/>
                <a:gd name="connsiteY47" fmla="*/ 15240 h 637222"/>
                <a:gd name="connsiteX48" fmla="*/ 245745 w 498157"/>
                <a:gd name="connsiteY48" fmla="*/ 0 h 637222"/>
                <a:gd name="connsiteX49" fmla="*/ 186690 w 498157"/>
                <a:gd name="connsiteY49" fmla="*/ 29527 h 637222"/>
                <a:gd name="connsiteX50" fmla="*/ 140970 w 498157"/>
                <a:gd name="connsiteY50" fmla="*/ 51435 h 637222"/>
                <a:gd name="connsiteX51" fmla="*/ 140970 w 498157"/>
                <a:gd name="connsiteY51" fmla="*/ 127635 h 637222"/>
                <a:gd name="connsiteX52" fmla="*/ 119063 w 498157"/>
                <a:gd name="connsiteY52" fmla="*/ 167640 h 637222"/>
                <a:gd name="connsiteX53" fmla="*/ 46672 w 498157"/>
                <a:gd name="connsiteY53" fmla="*/ 167640 h 637222"/>
                <a:gd name="connsiteX54" fmla="*/ 3810 w 498157"/>
                <a:gd name="connsiteY54" fmla="*/ 210502 h 637222"/>
                <a:gd name="connsiteX55" fmla="*/ 0 w 498157"/>
                <a:gd name="connsiteY55" fmla="*/ 236220 h 637222"/>
                <a:gd name="connsiteX56" fmla="*/ 67628 w 498157"/>
                <a:gd name="connsiteY56" fmla="*/ 298132 h 637222"/>
                <a:gd name="connsiteX57" fmla="*/ 64770 w 498157"/>
                <a:gd name="connsiteY57" fmla="*/ 322897 h 637222"/>
                <a:gd name="connsiteX58" fmla="*/ 57150 w 498157"/>
                <a:gd name="connsiteY58" fmla="*/ 343852 h 637222"/>
                <a:gd name="connsiteX59" fmla="*/ 72390 w 498157"/>
                <a:gd name="connsiteY59" fmla="*/ 359092 h 637222"/>
                <a:gd name="connsiteX60" fmla="*/ 96203 w 498157"/>
                <a:gd name="connsiteY60" fmla="*/ 353377 h 637222"/>
                <a:gd name="connsiteX61" fmla="*/ 111442 w 498157"/>
                <a:gd name="connsiteY61" fmla="*/ 361950 h 637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498157" h="637222">
                  <a:moveTo>
                    <a:pt x="128588" y="360997"/>
                  </a:moveTo>
                  <a:lnTo>
                    <a:pt x="122872" y="329565"/>
                  </a:lnTo>
                  <a:lnTo>
                    <a:pt x="136208" y="316230"/>
                  </a:lnTo>
                  <a:lnTo>
                    <a:pt x="145733" y="291465"/>
                  </a:lnTo>
                  <a:lnTo>
                    <a:pt x="165735" y="311467"/>
                  </a:lnTo>
                  <a:lnTo>
                    <a:pt x="149542" y="327660"/>
                  </a:lnTo>
                  <a:lnTo>
                    <a:pt x="142875" y="359092"/>
                  </a:lnTo>
                  <a:lnTo>
                    <a:pt x="162878" y="367665"/>
                  </a:lnTo>
                  <a:lnTo>
                    <a:pt x="172403" y="420052"/>
                  </a:lnTo>
                  <a:lnTo>
                    <a:pt x="190500" y="451485"/>
                  </a:lnTo>
                  <a:lnTo>
                    <a:pt x="200978" y="479107"/>
                  </a:lnTo>
                  <a:lnTo>
                    <a:pt x="213360" y="508635"/>
                  </a:lnTo>
                  <a:lnTo>
                    <a:pt x="240030" y="536257"/>
                  </a:lnTo>
                  <a:lnTo>
                    <a:pt x="240030" y="574357"/>
                  </a:lnTo>
                  <a:lnTo>
                    <a:pt x="266700" y="600075"/>
                  </a:lnTo>
                  <a:lnTo>
                    <a:pt x="307658" y="622935"/>
                  </a:lnTo>
                  <a:lnTo>
                    <a:pt x="345758" y="637222"/>
                  </a:lnTo>
                  <a:lnTo>
                    <a:pt x="389572" y="628650"/>
                  </a:lnTo>
                  <a:lnTo>
                    <a:pt x="429578" y="628650"/>
                  </a:lnTo>
                  <a:lnTo>
                    <a:pt x="466725" y="591502"/>
                  </a:lnTo>
                  <a:lnTo>
                    <a:pt x="491490" y="548640"/>
                  </a:lnTo>
                  <a:lnTo>
                    <a:pt x="497205" y="498157"/>
                  </a:lnTo>
                  <a:lnTo>
                    <a:pt x="498158" y="466725"/>
                  </a:lnTo>
                  <a:lnTo>
                    <a:pt x="473392" y="441960"/>
                  </a:lnTo>
                  <a:lnTo>
                    <a:pt x="473392" y="399097"/>
                  </a:lnTo>
                  <a:lnTo>
                    <a:pt x="464820" y="379095"/>
                  </a:lnTo>
                  <a:lnTo>
                    <a:pt x="471488" y="343852"/>
                  </a:lnTo>
                  <a:lnTo>
                    <a:pt x="471488" y="302895"/>
                  </a:lnTo>
                  <a:lnTo>
                    <a:pt x="460058" y="263842"/>
                  </a:lnTo>
                  <a:lnTo>
                    <a:pt x="437197" y="240030"/>
                  </a:lnTo>
                  <a:lnTo>
                    <a:pt x="437197" y="206692"/>
                  </a:lnTo>
                  <a:lnTo>
                    <a:pt x="416242" y="197167"/>
                  </a:lnTo>
                  <a:lnTo>
                    <a:pt x="416242" y="167640"/>
                  </a:lnTo>
                  <a:lnTo>
                    <a:pt x="398145" y="149542"/>
                  </a:lnTo>
                  <a:lnTo>
                    <a:pt x="374333" y="136207"/>
                  </a:lnTo>
                  <a:lnTo>
                    <a:pt x="374333" y="109538"/>
                  </a:lnTo>
                  <a:lnTo>
                    <a:pt x="367665" y="82867"/>
                  </a:lnTo>
                  <a:lnTo>
                    <a:pt x="381953" y="67627"/>
                  </a:lnTo>
                  <a:lnTo>
                    <a:pt x="398145" y="83820"/>
                  </a:lnTo>
                  <a:lnTo>
                    <a:pt x="413385" y="94297"/>
                  </a:lnTo>
                  <a:lnTo>
                    <a:pt x="406717" y="68580"/>
                  </a:lnTo>
                  <a:lnTo>
                    <a:pt x="406717" y="45720"/>
                  </a:lnTo>
                  <a:lnTo>
                    <a:pt x="372428" y="44767"/>
                  </a:lnTo>
                  <a:lnTo>
                    <a:pt x="348615" y="47625"/>
                  </a:lnTo>
                  <a:lnTo>
                    <a:pt x="354330" y="18097"/>
                  </a:lnTo>
                  <a:lnTo>
                    <a:pt x="330517" y="35242"/>
                  </a:lnTo>
                  <a:lnTo>
                    <a:pt x="310515" y="15240"/>
                  </a:lnTo>
                  <a:lnTo>
                    <a:pt x="286703" y="15240"/>
                  </a:lnTo>
                  <a:lnTo>
                    <a:pt x="245745" y="0"/>
                  </a:lnTo>
                  <a:lnTo>
                    <a:pt x="186690" y="29527"/>
                  </a:lnTo>
                  <a:lnTo>
                    <a:pt x="140970" y="51435"/>
                  </a:lnTo>
                  <a:lnTo>
                    <a:pt x="140970" y="127635"/>
                  </a:lnTo>
                  <a:lnTo>
                    <a:pt x="119063" y="167640"/>
                  </a:lnTo>
                  <a:lnTo>
                    <a:pt x="46672" y="167640"/>
                  </a:lnTo>
                  <a:lnTo>
                    <a:pt x="3810" y="210502"/>
                  </a:lnTo>
                  <a:lnTo>
                    <a:pt x="0" y="236220"/>
                  </a:lnTo>
                  <a:lnTo>
                    <a:pt x="67628" y="298132"/>
                  </a:lnTo>
                  <a:lnTo>
                    <a:pt x="64770" y="322897"/>
                  </a:lnTo>
                  <a:lnTo>
                    <a:pt x="57150" y="343852"/>
                  </a:lnTo>
                  <a:lnTo>
                    <a:pt x="72390" y="359092"/>
                  </a:lnTo>
                  <a:lnTo>
                    <a:pt x="96203" y="353377"/>
                  </a:lnTo>
                  <a:lnTo>
                    <a:pt x="111442" y="36195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9" name="Полилиния: фигура 6">
              <a:extLst>
                <a:ext uri="{FF2B5EF4-FFF2-40B4-BE49-F238E27FC236}">
                  <a16:creationId xmlns:a16="http://schemas.microsoft.com/office/drawing/2014/main" id="{E2D3623C-5846-4AF5-AF84-961224581E24}"/>
                </a:ext>
              </a:extLst>
            </p:cNvPr>
            <p:cNvSpPr/>
            <p:nvPr/>
          </p:nvSpPr>
          <p:spPr>
            <a:xfrm>
              <a:off x="3610275" y="4391441"/>
              <a:ext cx="183632" cy="251638"/>
            </a:xfrm>
            <a:custGeom>
              <a:avLst/>
              <a:gdLst>
                <a:gd name="connsiteX0" fmla="*/ 91440 w 284797"/>
                <a:gd name="connsiteY0" fmla="*/ 425767 h 448627"/>
                <a:gd name="connsiteX1" fmla="*/ 110490 w 284797"/>
                <a:gd name="connsiteY1" fmla="*/ 448628 h 448627"/>
                <a:gd name="connsiteX2" fmla="*/ 119063 w 284797"/>
                <a:gd name="connsiteY2" fmla="*/ 424815 h 448627"/>
                <a:gd name="connsiteX3" fmla="*/ 139065 w 284797"/>
                <a:gd name="connsiteY3" fmla="*/ 424815 h 448627"/>
                <a:gd name="connsiteX4" fmla="*/ 147638 w 284797"/>
                <a:gd name="connsiteY4" fmla="*/ 410528 h 448627"/>
                <a:gd name="connsiteX5" fmla="*/ 155258 w 284797"/>
                <a:gd name="connsiteY5" fmla="*/ 393382 h 448627"/>
                <a:gd name="connsiteX6" fmla="*/ 158115 w 284797"/>
                <a:gd name="connsiteY6" fmla="*/ 363855 h 448627"/>
                <a:gd name="connsiteX7" fmla="*/ 170498 w 284797"/>
                <a:gd name="connsiteY7" fmla="*/ 350520 h 448627"/>
                <a:gd name="connsiteX8" fmla="*/ 173355 w 284797"/>
                <a:gd name="connsiteY8" fmla="*/ 333375 h 448627"/>
                <a:gd name="connsiteX9" fmla="*/ 195263 w 284797"/>
                <a:gd name="connsiteY9" fmla="*/ 315278 h 448627"/>
                <a:gd name="connsiteX10" fmla="*/ 182880 w 284797"/>
                <a:gd name="connsiteY10" fmla="*/ 302895 h 448627"/>
                <a:gd name="connsiteX11" fmla="*/ 194310 w 284797"/>
                <a:gd name="connsiteY11" fmla="*/ 291465 h 448627"/>
                <a:gd name="connsiteX12" fmla="*/ 206693 w 284797"/>
                <a:gd name="connsiteY12" fmla="*/ 285750 h 448627"/>
                <a:gd name="connsiteX13" fmla="*/ 206693 w 284797"/>
                <a:gd name="connsiteY13" fmla="*/ 265747 h 448627"/>
                <a:gd name="connsiteX14" fmla="*/ 219075 w 284797"/>
                <a:gd name="connsiteY14" fmla="*/ 259080 h 448627"/>
                <a:gd name="connsiteX15" fmla="*/ 233363 w 284797"/>
                <a:gd name="connsiteY15" fmla="*/ 244792 h 448627"/>
                <a:gd name="connsiteX16" fmla="*/ 252413 w 284797"/>
                <a:gd name="connsiteY16" fmla="*/ 236220 h 448627"/>
                <a:gd name="connsiteX17" fmla="*/ 258128 w 284797"/>
                <a:gd name="connsiteY17" fmla="*/ 216217 h 448627"/>
                <a:gd name="connsiteX18" fmla="*/ 243840 w 284797"/>
                <a:gd name="connsiteY18" fmla="*/ 205740 h 448627"/>
                <a:gd name="connsiteX19" fmla="*/ 239078 w 284797"/>
                <a:gd name="connsiteY19" fmla="*/ 194310 h 448627"/>
                <a:gd name="connsiteX20" fmla="*/ 249555 w 284797"/>
                <a:gd name="connsiteY20" fmla="*/ 183832 h 448627"/>
                <a:gd name="connsiteX21" fmla="*/ 249555 w 284797"/>
                <a:gd name="connsiteY21" fmla="*/ 165735 h 448627"/>
                <a:gd name="connsiteX22" fmla="*/ 260033 w 284797"/>
                <a:gd name="connsiteY22" fmla="*/ 154305 h 448627"/>
                <a:gd name="connsiteX23" fmla="*/ 282893 w 284797"/>
                <a:gd name="connsiteY23" fmla="*/ 152400 h 448627"/>
                <a:gd name="connsiteX24" fmla="*/ 277178 w 284797"/>
                <a:gd name="connsiteY24" fmla="*/ 124777 h 448627"/>
                <a:gd name="connsiteX25" fmla="*/ 284798 w 284797"/>
                <a:gd name="connsiteY25" fmla="*/ 100013 h 448627"/>
                <a:gd name="connsiteX26" fmla="*/ 276225 w 284797"/>
                <a:gd name="connsiteY26" fmla="*/ 79057 h 448627"/>
                <a:gd name="connsiteX27" fmla="*/ 274320 w 284797"/>
                <a:gd name="connsiteY27" fmla="*/ 59055 h 448627"/>
                <a:gd name="connsiteX28" fmla="*/ 256223 w 284797"/>
                <a:gd name="connsiteY28" fmla="*/ 40957 h 448627"/>
                <a:gd name="connsiteX29" fmla="*/ 265748 w 284797"/>
                <a:gd name="connsiteY29" fmla="*/ 20955 h 448627"/>
                <a:gd name="connsiteX30" fmla="*/ 248603 w 284797"/>
                <a:gd name="connsiteY30" fmla="*/ 1905 h 448627"/>
                <a:gd name="connsiteX31" fmla="*/ 216218 w 284797"/>
                <a:gd name="connsiteY31" fmla="*/ 0 h 448627"/>
                <a:gd name="connsiteX32" fmla="*/ 192405 w 284797"/>
                <a:gd name="connsiteY32" fmla="*/ 32385 h 448627"/>
                <a:gd name="connsiteX33" fmla="*/ 162878 w 284797"/>
                <a:gd name="connsiteY33" fmla="*/ 43815 h 448627"/>
                <a:gd name="connsiteX34" fmla="*/ 160973 w 284797"/>
                <a:gd name="connsiteY34" fmla="*/ 64770 h 448627"/>
                <a:gd name="connsiteX35" fmla="*/ 145733 w 284797"/>
                <a:gd name="connsiteY35" fmla="*/ 83820 h 448627"/>
                <a:gd name="connsiteX36" fmla="*/ 110490 w 284797"/>
                <a:gd name="connsiteY36" fmla="*/ 84772 h 448627"/>
                <a:gd name="connsiteX37" fmla="*/ 96203 w 284797"/>
                <a:gd name="connsiteY37" fmla="*/ 101917 h 448627"/>
                <a:gd name="connsiteX38" fmla="*/ 96203 w 284797"/>
                <a:gd name="connsiteY38" fmla="*/ 131445 h 448627"/>
                <a:gd name="connsiteX39" fmla="*/ 61913 w 284797"/>
                <a:gd name="connsiteY39" fmla="*/ 152400 h 448627"/>
                <a:gd name="connsiteX40" fmla="*/ 40005 w 284797"/>
                <a:gd name="connsiteY40" fmla="*/ 158115 h 448627"/>
                <a:gd name="connsiteX41" fmla="*/ 46673 w 284797"/>
                <a:gd name="connsiteY41" fmla="*/ 183832 h 448627"/>
                <a:gd name="connsiteX42" fmla="*/ 31433 w 284797"/>
                <a:gd name="connsiteY42" fmla="*/ 211455 h 448627"/>
                <a:gd name="connsiteX43" fmla="*/ 4763 w 284797"/>
                <a:gd name="connsiteY43" fmla="*/ 239078 h 448627"/>
                <a:gd name="connsiteX44" fmla="*/ 0 w 284797"/>
                <a:gd name="connsiteY44" fmla="*/ 258128 h 448627"/>
                <a:gd name="connsiteX45" fmla="*/ 12383 w 284797"/>
                <a:gd name="connsiteY45" fmla="*/ 286703 h 448627"/>
                <a:gd name="connsiteX46" fmla="*/ 32385 w 284797"/>
                <a:gd name="connsiteY46" fmla="*/ 306705 h 448627"/>
                <a:gd name="connsiteX47" fmla="*/ 25718 w 284797"/>
                <a:gd name="connsiteY47" fmla="*/ 328613 h 448627"/>
                <a:gd name="connsiteX48" fmla="*/ 17145 w 284797"/>
                <a:gd name="connsiteY48" fmla="*/ 350520 h 448627"/>
                <a:gd name="connsiteX49" fmla="*/ 43815 w 284797"/>
                <a:gd name="connsiteY49" fmla="*/ 357188 h 448627"/>
                <a:gd name="connsiteX50" fmla="*/ 67628 w 284797"/>
                <a:gd name="connsiteY50" fmla="*/ 380047 h 448627"/>
                <a:gd name="connsiteX51" fmla="*/ 67628 w 284797"/>
                <a:gd name="connsiteY51" fmla="*/ 427672 h 448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84797" h="448627">
                  <a:moveTo>
                    <a:pt x="91440" y="425767"/>
                  </a:moveTo>
                  <a:lnTo>
                    <a:pt x="110490" y="448628"/>
                  </a:lnTo>
                  <a:lnTo>
                    <a:pt x="119063" y="424815"/>
                  </a:lnTo>
                  <a:lnTo>
                    <a:pt x="139065" y="424815"/>
                  </a:lnTo>
                  <a:lnTo>
                    <a:pt x="147638" y="410528"/>
                  </a:lnTo>
                  <a:lnTo>
                    <a:pt x="155258" y="393382"/>
                  </a:lnTo>
                  <a:lnTo>
                    <a:pt x="158115" y="363855"/>
                  </a:lnTo>
                  <a:lnTo>
                    <a:pt x="170498" y="350520"/>
                  </a:lnTo>
                  <a:lnTo>
                    <a:pt x="173355" y="333375"/>
                  </a:lnTo>
                  <a:lnTo>
                    <a:pt x="195263" y="315278"/>
                  </a:lnTo>
                  <a:lnTo>
                    <a:pt x="182880" y="302895"/>
                  </a:lnTo>
                  <a:lnTo>
                    <a:pt x="194310" y="291465"/>
                  </a:lnTo>
                  <a:lnTo>
                    <a:pt x="206693" y="285750"/>
                  </a:lnTo>
                  <a:lnTo>
                    <a:pt x="206693" y="265747"/>
                  </a:lnTo>
                  <a:lnTo>
                    <a:pt x="219075" y="259080"/>
                  </a:lnTo>
                  <a:lnTo>
                    <a:pt x="233363" y="244792"/>
                  </a:lnTo>
                  <a:lnTo>
                    <a:pt x="252413" y="236220"/>
                  </a:lnTo>
                  <a:lnTo>
                    <a:pt x="258128" y="216217"/>
                  </a:lnTo>
                  <a:lnTo>
                    <a:pt x="243840" y="205740"/>
                  </a:lnTo>
                  <a:lnTo>
                    <a:pt x="239078" y="194310"/>
                  </a:lnTo>
                  <a:lnTo>
                    <a:pt x="249555" y="183832"/>
                  </a:lnTo>
                  <a:lnTo>
                    <a:pt x="249555" y="165735"/>
                  </a:lnTo>
                  <a:lnTo>
                    <a:pt x="260033" y="154305"/>
                  </a:lnTo>
                  <a:lnTo>
                    <a:pt x="282893" y="152400"/>
                  </a:lnTo>
                  <a:lnTo>
                    <a:pt x="277178" y="124777"/>
                  </a:lnTo>
                  <a:lnTo>
                    <a:pt x="284798" y="100013"/>
                  </a:lnTo>
                  <a:lnTo>
                    <a:pt x="276225" y="79057"/>
                  </a:lnTo>
                  <a:lnTo>
                    <a:pt x="274320" y="59055"/>
                  </a:lnTo>
                  <a:lnTo>
                    <a:pt x="256223" y="40957"/>
                  </a:lnTo>
                  <a:lnTo>
                    <a:pt x="265748" y="20955"/>
                  </a:lnTo>
                  <a:lnTo>
                    <a:pt x="248603" y="1905"/>
                  </a:lnTo>
                  <a:lnTo>
                    <a:pt x="216218" y="0"/>
                  </a:lnTo>
                  <a:lnTo>
                    <a:pt x="192405" y="32385"/>
                  </a:lnTo>
                  <a:lnTo>
                    <a:pt x="162878" y="43815"/>
                  </a:lnTo>
                  <a:lnTo>
                    <a:pt x="160973" y="64770"/>
                  </a:lnTo>
                  <a:lnTo>
                    <a:pt x="145733" y="83820"/>
                  </a:lnTo>
                  <a:lnTo>
                    <a:pt x="110490" y="84772"/>
                  </a:lnTo>
                  <a:lnTo>
                    <a:pt x="96203" y="101917"/>
                  </a:lnTo>
                  <a:lnTo>
                    <a:pt x="96203" y="131445"/>
                  </a:lnTo>
                  <a:lnTo>
                    <a:pt x="61913" y="152400"/>
                  </a:lnTo>
                  <a:lnTo>
                    <a:pt x="40005" y="158115"/>
                  </a:lnTo>
                  <a:lnTo>
                    <a:pt x="46673" y="183832"/>
                  </a:lnTo>
                  <a:lnTo>
                    <a:pt x="31433" y="211455"/>
                  </a:lnTo>
                  <a:lnTo>
                    <a:pt x="4763" y="239078"/>
                  </a:lnTo>
                  <a:lnTo>
                    <a:pt x="0" y="258128"/>
                  </a:lnTo>
                  <a:lnTo>
                    <a:pt x="12383" y="286703"/>
                  </a:lnTo>
                  <a:lnTo>
                    <a:pt x="32385" y="306705"/>
                  </a:lnTo>
                  <a:lnTo>
                    <a:pt x="25718" y="328613"/>
                  </a:lnTo>
                  <a:lnTo>
                    <a:pt x="17145" y="350520"/>
                  </a:lnTo>
                  <a:lnTo>
                    <a:pt x="43815" y="357188"/>
                  </a:lnTo>
                  <a:lnTo>
                    <a:pt x="67628" y="380047"/>
                  </a:lnTo>
                  <a:lnTo>
                    <a:pt x="67628" y="427672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0" name="Полилиния: фигура 7">
              <a:extLst>
                <a:ext uri="{FF2B5EF4-FFF2-40B4-BE49-F238E27FC236}">
                  <a16:creationId xmlns:a16="http://schemas.microsoft.com/office/drawing/2014/main" id="{8FEA9D68-9B37-47DF-8D45-74359462E583}"/>
                </a:ext>
              </a:extLst>
            </p:cNvPr>
            <p:cNvSpPr/>
            <p:nvPr/>
          </p:nvSpPr>
          <p:spPr>
            <a:xfrm>
              <a:off x="3581410" y="4630256"/>
              <a:ext cx="227238" cy="171498"/>
            </a:xfrm>
            <a:custGeom>
              <a:avLst/>
              <a:gdLst>
                <a:gd name="connsiteX0" fmla="*/ 85725 w 352425"/>
                <a:gd name="connsiteY0" fmla="*/ 24765 h 305752"/>
                <a:gd name="connsiteX1" fmla="*/ 76200 w 352425"/>
                <a:gd name="connsiteY1" fmla="*/ 45720 h 305752"/>
                <a:gd name="connsiteX2" fmla="*/ 47625 w 352425"/>
                <a:gd name="connsiteY2" fmla="*/ 54293 h 305752"/>
                <a:gd name="connsiteX3" fmla="*/ 36195 w 352425"/>
                <a:gd name="connsiteY3" fmla="*/ 85725 h 305752"/>
                <a:gd name="connsiteX4" fmla="*/ 20955 w 352425"/>
                <a:gd name="connsiteY4" fmla="*/ 121920 h 305752"/>
                <a:gd name="connsiteX5" fmla="*/ 12383 w 352425"/>
                <a:gd name="connsiteY5" fmla="*/ 156210 h 305752"/>
                <a:gd name="connsiteX6" fmla="*/ 14288 w 352425"/>
                <a:gd name="connsiteY6" fmla="*/ 180023 h 305752"/>
                <a:gd name="connsiteX7" fmla="*/ 0 w 352425"/>
                <a:gd name="connsiteY7" fmla="*/ 189548 h 305752"/>
                <a:gd name="connsiteX8" fmla="*/ 20955 w 352425"/>
                <a:gd name="connsiteY8" fmla="*/ 210503 h 305752"/>
                <a:gd name="connsiteX9" fmla="*/ 12383 w 352425"/>
                <a:gd name="connsiteY9" fmla="*/ 241935 h 305752"/>
                <a:gd name="connsiteX10" fmla="*/ 5715 w 352425"/>
                <a:gd name="connsiteY10" fmla="*/ 270510 h 305752"/>
                <a:gd name="connsiteX11" fmla="*/ 26670 w 352425"/>
                <a:gd name="connsiteY11" fmla="*/ 281940 h 305752"/>
                <a:gd name="connsiteX12" fmla="*/ 26670 w 352425"/>
                <a:gd name="connsiteY12" fmla="*/ 305753 h 305752"/>
                <a:gd name="connsiteX13" fmla="*/ 40005 w 352425"/>
                <a:gd name="connsiteY13" fmla="*/ 293370 h 305752"/>
                <a:gd name="connsiteX14" fmla="*/ 54292 w 352425"/>
                <a:gd name="connsiteY14" fmla="*/ 270510 h 305752"/>
                <a:gd name="connsiteX15" fmla="*/ 72390 w 352425"/>
                <a:gd name="connsiteY15" fmla="*/ 271463 h 305752"/>
                <a:gd name="connsiteX16" fmla="*/ 93345 w 352425"/>
                <a:gd name="connsiteY16" fmla="*/ 260985 h 305752"/>
                <a:gd name="connsiteX17" fmla="*/ 112395 w 352425"/>
                <a:gd name="connsiteY17" fmla="*/ 257175 h 305752"/>
                <a:gd name="connsiteX18" fmla="*/ 133350 w 352425"/>
                <a:gd name="connsiteY18" fmla="*/ 236220 h 305752"/>
                <a:gd name="connsiteX19" fmla="*/ 152400 w 352425"/>
                <a:gd name="connsiteY19" fmla="*/ 236220 h 305752"/>
                <a:gd name="connsiteX20" fmla="*/ 166688 w 352425"/>
                <a:gd name="connsiteY20" fmla="*/ 250508 h 305752"/>
                <a:gd name="connsiteX21" fmla="*/ 170498 w 352425"/>
                <a:gd name="connsiteY21" fmla="*/ 267653 h 305752"/>
                <a:gd name="connsiteX22" fmla="*/ 191452 w 352425"/>
                <a:gd name="connsiteY22" fmla="*/ 269558 h 305752"/>
                <a:gd name="connsiteX23" fmla="*/ 198120 w 352425"/>
                <a:gd name="connsiteY23" fmla="*/ 262890 h 305752"/>
                <a:gd name="connsiteX24" fmla="*/ 209550 w 352425"/>
                <a:gd name="connsiteY24" fmla="*/ 265748 h 305752"/>
                <a:gd name="connsiteX25" fmla="*/ 229552 w 352425"/>
                <a:gd name="connsiteY25" fmla="*/ 281940 h 305752"/>
                <a:gd name="connsiteX26" fmla="*/ 245745 w 352425"/>
                <a:gd name="connsiteY26" fmla="*/ 269558 h 305752"/>
                <a:gd name="connsiteX27" fmla="*/ 264795 w 352425"/>
                <a:gd name="connsiteY27" fmla="*/ 269558 h 305752"/>
                <a:gd name="connsiteX28" fmla="*/ 291465 w 352425"/>
                <a:gd name="connsiteY28" fmla="*/ 263843 h 305752"/>
                <a:gd name="connsiteX29" fmla="*/ 300990 w 352425"/>
                <a:gd name="connsiteY29" fmla="*/ 248603 h 305752"/>
                <a:gd name="connsiteX30" fmla="*/ 320040 w 352425"/>
                <a:gd name="connsiteY30" fmla="*/ 229553 h 305752"/>
                <a:gd name="connsiteX31" fmla="*/ 345758 w 352425"/>
                <a:gd name="connsiteY31" fmla="*/ 219075 h 305752"/>
                <a:gd name="connsiteX32" fmla="*/ 352425 w 352425"/>
                <a:gd name="connsiteY32" fmla="*/ 195263 h 305752"/>
                <a:gd name="connsiteX33" fmla="*/ 345758 w 352425"/>
                <a:gd name="connsiteY33" fmla="*/ 180975 h 305752"/>
                <a:gd name="connsiteX34" fmla="*/ 328613 w 352425"/>
                <a:gd name="connsiteY34" fmla="*/ 167640 h 305752"/>
                <a:gd name="connsiteX35" fmla="*/ 318135 w 352425"/>
                <a:gd name="connsiteY35" fmla="*/ 145733 h 305752"/>
                <a:gd name="connsiteX36" fmla="*/ 306705 w 352425"/>
                <a:gd name="connsiteY36" fmla="*/ 134303 h 305752"/>
                <a:gd name="connsiteX37" fmla="*/ 306705 w 352425"/>
                <a:gd name="connsiteY37" fmla="*/ 120015 h 305752"/>
                <a:gd name="connsiteX38" fmla="*/ 282892 w 352425"/>
                <a:gd name="connsiteY38" fmla="*/ 113348 h 305752"/>
                <a:gd name="connsiteX39" fmla="*/ 260985 w 352425"/>
                <a:gd name="connsiteY39" fmla="*/ 120015 h 305752"/>
                <a:gd name="connsiteX40" fmla="*/ 232410 w 352425"/>
                <a:gd name="connsiteY40" fmla="*/ 112395 h 305752"/>
                <a:gd name="connsiteX41" fmla="*/ 219075 w 352425"/>
                <a:gd name="connsiteY41" fmla="*/ 99060 h 305752"/>
                <a:gd name="connsiteX42" fmla="*/ 198120 w 352425"/>
                <a:gd name="connsiteY42" fmla="*/ 86678 h 305752"/>
                <a:gd name="connsiteX43" fmla="*/ 181927 w 352425"/>
                <a:gd name="connsiteY43" fmla="*/ 70485 h 305752"/>
                <a:gd name="connsiteX44" fmla="*/ 177165 w 352425"/>
                <a:gd name="connsiteY44" fmla="*/ 41910 h 305752"/>
                <a:gd name="connsiteX45" fmla="*/ 158115 w 352425"/>
                <a:gd name="connsiteY45" fmla="*/ 31433 h 305752"/>
                <a:gd name="connsiteX46" fmla="*/ 155258 w 352425"/>
                <a:gd name="connsiteY46" fmla="*/ 22860 h 305752"/>
                <a:gd name="connsiteX47" fmla="*/ 136208 w 352425"/>
                <a:gd name="connsiteY47" fmla="*/ 0 h 305752"/>
                <a:gd name="connsiteX48" fmla="*/ 112395 w 352425"/>
                <a:gd name="connsiteY48" fmla="*/ 1905 h 30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52425" h="305752">
                  <a:moveTo>
                    <a:pt x="85725" y="24765"/>
                  </a:moveTo>
                  <a:lnTo>
                    <a:pt x="76200" y="45720"/>
                  </a:lnTo>
                  <a:lnTo>
                    <a:pt x="47625" y="54293"/>
                  </a:lnTo>
                  <a:lnTo>
                    <a:pt x="36195" y="85725"/>
                  </a:lnTo>
                  <a:lnTo>
                    <a:pt x="20955" y="121920"/>
                  </a:lnTo>
                  <a:lnTo>
                    <a:pt x="12383" y="156210"/>
                  </a:lnTo>
                  <a:lnTo>
                    <a:pt x="14288" y="180023"/>
                  </a:lnTo>
                  <a:lnTo>
                    <a:pt x="0" y="189548"/>
                  </a:lnTo>
                  <a:lnTo>
                    <a:pt x="20955" y="210503"/>
                  </a:lnTo>
                  <a:lnTo>
                    <a:pt x="12383" y="241935"/>
                  </a:lnTo>
                  <a:lnTo>
                    <a:pt x="5715" y="270510"/>
                  </a:lnTo>
                  <a:lnTo>
                    <a:pt x="26670" y="281940"/>
                  </a:lnTo>
                  <a:lnTo>
                    <a:pt x="26670" y="305753"/>
                  </a:lnTo>
                  <a:lnTo>
                    <a:pt x="40005" y="293370"/>
                  </a:lnTo>
                  <a:lnTo>
                    <a:pt x="54292" y="270510"/>
                  </a:lnTo>
                  <a:lnTo>
                    <a:pt x="72390" y="271463"/>
                  </a:lnTo>
                  <a:lnTo>
                    <a:pt x="93345" y="260985"/>
                  </a:lnTo>
                  <a:lnTo>
                    <a:pt x="112395" y="257175"/>
                  </a:lnTo>
                  <a:lnTo>
                    <a:pt x="133350" y="236220"/>
                  </a:lnTo>
                  <a:lnTo>
                    <a:pt x="152400" y="236220"/>
                  </a:lnTo>
                  <a:lnTo>
                    <a:pt x="166688" y="250508"/>
                  </a:lnTo>
                  <a:lnTo>
                    <a:pt x="170498" y="267653"/>
                  </a:lnTo>
                  <a:lnTo>
                    <a:pt x="191452" y="269558"/>
                  </a:lnTo>
                  <a:lnTo>
                    <a:pt x="198120" y="262890"/>
                  </a:lnTo>
                  <a:lnTo>
                    <a:pt x="209550" y="265748"/>
                  </a:lnTo>
                  <a:lnTo>
                    <a:pt x="229552" y="281940"/>
                  </a:lnTo>
                  <a:lnTo>
                    <a:pt x="245745" y="269558"/>
                  </a:lnTo>
                  <a:lnTo>
                    <a:pt x="264795" y="269558"/>
                  </a:lnTo>
                  <a:lnTo>
                    <a:pt x="291465" y="263843"/>
                  </a:lnTo>
                  <a:lnTo>
                    <a:pt x="300990" y="248603"/>
                  </a:lnTo>
                  <a:lnTo>
                    <a:pt x="320040" y="229553"/>
                  </a:lnTo>
                  <a:lnTo>
                    <a:pt x="345758" y="219075"/>
                  </a:lnTo>
                  <a:lnTo>
                    <a:pt x="352425" y="195263"/>
                  </a:lnTo>
                  <a:lnTo>
                    <a:pt x="345758" y="180975"/>
                  </a:lnTo>
                  <a:lnTo>
                    <a:pt x="328613" y="167640"/>
                  </a:lnTo>
                  <a:lnTo>
                    <a:pt x="318135" y="145733"/>
                  </a:lnTo>
                  <a:lnTo>
                    <a:pt x="306705" y="134303"/>
                  </a:lnTo>
                  <a:lnTo>
                    <a:pt x="306705" y="120015"/>
                  </a:lnTo>
                  <a:lnTo>
                    <a:pt x="282892" y="113348"/>
                  </a:lnTo>
                  <a:lnTo>
                    <a:pt x="260985" y="120015"/>
                  </a:lnTo>
                  <a:lnTo>
                    <a:pt x="232410" y="112395"/>
                  </a:lnTo>
                  <a:lnTo>
                    <a:pt x="219075" y="99060"/>
                  </a:lnTo>
                  <a:lnTo>
                    <a:pt x="198120" y="86678"/>
                  </a:lnTo>
                  <a:lnTo>
                    <a:pt x="181927" y="70485"/>
                  </a:lnTo>
                  <a:lnTo>
                    <a:pt x="177165" y="41910"/>
                  </a:lnTo>
                  <a:lnTo>
                    <a:pt x="158115" y="31433"/>
                  </a:lnTo>
                  <a:lnTo>
                    <a:pt x="155258" y="22860"/>
                  </a:lnTo>
                  <a:lnTo>
                    <a:pt x="136208" y="0"/>
                  </a:lnTo>
                  <a:lnTo>
                    <a:pt x="112395" y="190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1" name="Полилиния: фигура 8">
              <a:extLst>
                <a:ext uri="{FF2B5EF4-FFF2-40B4-BE49-F238E27FC236}">
                  <a16:creationId xmlns:a16="http://schemas.microsoft.com/office/drawing/2014/main" id="{37F5392C-74FC-4874-A373-B9000D5B402D}"/>
                </a:ext>
              </a:extLst>
            </p:cNvPr>
            <p:cNvSpPr/>
            <p:nvPr/>
          </p:nvSpPr>
          <p:spPr>
            <a:xfrm>
              <a:off x="3478232" y="4759549"/>
              <a:ext cx="178719" cy="146388"/>
            </a:xfrm>
            <a:custGeom>
              <a:avLst/>
              <a:gdLst>
                <a:gd name="connsiteX0" fmla="*/ 139065 w 277177"/>
                <a:gd name="connsiteY0" fmla="*/ 48578 h 260984"/>
                <a:gd name="connsiteX1" fmla="*/ 110490 w 277177"/>
                <a:gd name="connsiteY1" fmla="*/ 38100 h 260984"/>
                <a:gd name="connsiteX2" fmla="*/ 101918 w 277177"/>
                <a:gd name="connsiteY2" fmla="*/ 17145 h 260984"/>
                <a:gd name="connsiteX3" fmla="*/ 86678 w 277177"/>
                <a:gd name="connsiteY3" fmla="*/ 0 h 260984"/>
                <a:gd name="connsiteX4" fmla="*/ 64770 w 277177"/>
                <a:gd name="connsiteY4" fmla="*/ 1905 h 260984"/>
                <a:gd name="connsiteX5" fmla="*/ 58103 w 277177"/>
                <a:gd name="connsiteY5" fmla="*/ 26670 h 260984"/>
                <a:gd name="connsiteX6" fmla="*/ 40005 w 277177"/>
                <a:gd name="connsiteY6" fmla="*/ 48578 h 260984"/>
                <a:gd name="connsiteX7" fmla="*/ 13335 w 277177"/>
                <a:gd name="connsiteY7" fmla="*/ 75247 h 260984"/>
                <a:gd name="connsiteX8" fmla="*/ 0 w 277177"/>
                <a:gd name="connsiteY8" fmla="*/ 97155 h 260984"/>
                <a:gd name="connsiteX9" fmla="*/ 13335 w 277177"/>
                <a:gd name="connsiteY9" fmla="*/ 119063 h 260984"/>
                <a:gd name="connsiteX10" fmla="*/ 27622 w 277177"/>
                <a:gd name="connsiteY10" fmla="*/ 133350 h 260984"/>
                <a:gd name="connsiteX11" fmla="*/ 46672 w 277177"/>
                <a:gd name="connsiteY11" fmla="*/ 117157 h 260984"/>
                <a:gd name="connsiteX12" fmla="*/ 60007 w 277177"/>
                <a:gd name="connsiteY12" fmla="*/ 135255 h 260984"/>
                <a:gd name="connsiteX13" fmla="*/ 75247 w 277177"/>
                <a:gd name="connsiteY13" fmla="*/ 152400 h 260984"/>
                <a:gd name="connsiteX14" fmla="*/ 96203 w 277177"/>
                <a:gd name="connsiteY14" fmla="*/ 155257 h 260984"/>
                <a:gd name="connsiteX15" fmla="*/ 111443 w 277177"/>
                <a:gd name="connsiteY15" fmla="*/ 170497 h 260984"/>
                <a:gd name="connsiteX16" fmla="*/ 122872 w 277177"/>
                <a:gd name="connsiteY16" fmla="*/ 199072 h 260984"/>
                <a:gd name="connsiteX17" fmla="*/ 120015 w 277177"/>
                <a:gd name="connsiteY17" fmla="*/ 221932 h 260984"/>
                <a:gd name="connsiteX18" fmla="*/ 110490 w 277177"/>
                <a:gd name="connsiteY18" fmla="*/ 260032 h 260984"/>
                <a:gd name="connsiteX19" fmla="*/ 125730 w 277177"/>
                <a:gd name="connsiteY19" fmla="*/ 260985 h 260984"/>
                <a:gd name="connsiteX20" fmla="*/ 136208 w 277177"/>
                <a:gd name="connsiteY20" fmla="*/ 245745 h 260984"/>
                <a:gd name="connsiteX21" fmla="*/ 156210 w 277177"/>
                <a:gd name="connsiteY21" fmla="*/ 239078 h 260984"/>
                <a:gd name="connsiteX22" fmla="*/ 168593 w 277177"/>
                <a:gd name="connsiteY22" fmla="*/ 248603 h 260984"/>
                <a:gd name="connsiteX23" fmla="*/ 185737 w 277177"/>
                <a:gd name="connsiteY23" fmla="*/ 248603 h 260984"/>
                <a:gd name="connsiteX24" fmla="*/ 200978 w 277177"/>
                <a:gd name="connsiteY24" fmla="*/ 233363 h 260984"/>
                <a:gd name="connsiteX25" fmla="*/ 216218 w 277177"/>
                <a:gd name="connsiteY25" fmla="*/ 233363 h 260984"/>
                <a:gd name="connsiteX26" fmla="*/ 220028 w 277177"/>
                <a:gd name="connsiteY26" fmla="*/ 220028 h 260984"/>
                <a:gd name="connsiteX27" fmla="*/ 215265 w 277177"/>
                <a:gd name="connsiteY27" fmla="*/ 207645 h 260984"/>
                <a:gd name="connsiteX28" fmla="*/ 228600 w 277177"/>
                <a:gd name="connsiteY28" fmla="*/ 202882 h 260984"/>
                <a:gd name="connsiteX29" fmla="*/ 244793 w 277177"/>
                <a:gd name="connsiteY29" fmla="*/ 202882 h 260984"/>
                <a:gd name="connsiteX30" fmla="*/ 256222 w 277177"/>
                <a:gd name="connsiteY30" fmla="*/ 214313 h 260984"/>
                <a:gd name="connsiteX31" fmla="*/ 263843 w 277177"/>
                <a:gd name="connsiteY31" fmla="*/ 206693 h 260984"/>
                <a:gd name="connsiteX32" fmla="*/ 268605 w 277177"/>
                <a:gd name="connsiteY32" fmla="*/ 188595 h 260984"/>
                <a:gd name="connsiteX33" fmla="*/ 277178 w 277177"/>
                <a:gd name="connsiteY33" fmla="*/ 180022 h 260984"/>
                <a:gd name="connsiteX34" fmla="*/ 274320 w 277177"/>
                <a:gd name="connsiteY34" fmla="*/ 160020 h 260984"/>
                <a:gd name="connsiteX35" fmla="*/ 260033 w 277177"/>
                <a:gd name="connsiteY35" fmla="*/ 145732 h 260984"/>
                <a:gd name="connsiteX36" fmla="*/ 260033 w 277177"/>
                <a:gd name="connsiteY36" fmla="*/ 129540 h 260984"/>
                <a:gd name="connsiteX37" fmla="*/ 271462 w 277177"/>
                <a:gd name="connsiteY37" fmla="*/ 118110 h 260984"/>
                <a:gd name="connsiteX38" fmla="*/ 271462 w 277177"/>
                <a:gd name="connsiteY38" fmla="*/ 97155 h 260984"/>
                <a:gd name="connsiteX39" fmla="*/ 277178 w 277177"/>
                <a:gd name="connsiteY39" fmla="*/ 76200 h 260984"/>
                <a:gd name="connsiteX40" fmla="*/ 265747 w 277177"/>
                <a:gd name="connsiteY40" fmla="*/ 65722 h 260984"/>
                <a:gd name="connsiteX41" fmla="*/ 266700 w 277177"/>
                <a:gd name="connsiteY41" fmla="*/ 51435 h 260984"/>
                <a:gd name="connsiteX42" fmla="*/ 253365 w 277177"/>
                <a:gd name="connsiteY42" fmla="*/ 30480 h 260984"/>
                <a:gd name="connsiteX43" fmla="*/ 232410 w 277177"/>
                <a:gd name="connsiteY43" fmla="*/ 40957 h 260984"/>
                <a:gd name="connsiteX44" fmla="*/ 214312 w 277177"/>
                <a:gd name="connsiteY44" fmla="*/ 40005 h 260984"/>
                <a:gd name="connsiteX45" fmla="*/ 200025 w 277177"/>
                <a:gd name="connsiteY45" fmla="*/ 62865 h 260984"/>
                <a:gd name="connsiteX46" fmla="*/ 186690 w 277177"/>
                <a:gd name="connsiteY46" fmla="*/ 75247 h 260984"/>
                <a:gd name="connsiteX47" fmla="*/ 186690 w 277177"/>
                <a:gd name="connsiteY47" fmla="*/ 51435 h 260984"/>
                <a:gd name="connsiteX48" fmla="*/ 165735 w 277177"/>
                <a:gd name="connsiteY48" fmla="*/ 40005 h 260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77177" h="260984">
                  <a:moveTo>
                    <a:pt x="139065" y="48578"/>
                  </a:moveTo>
                  <a:lnTo>
                    <a:pt x="110490" y="38100"/>
                  </a:lnTo>
                  <a:lnTo>
                    <a:pt x="101918" y="17145"/>
                  </a:lnTo>
                  <a:lnTo>
                    <a:pt x="86678" y="0"/>
                  </a:lnTo>
                  <a:lnTo>
                    <a:pt x="64770" y="1905"/>
                  </a:lnTo>
                  <a:lnTo>
                    <a:pt x="58103" y="26670"/>
                  </a:lnTo>
                  <a:lnTo>
                    <a:pt x="40005" y="48578"/>
                  </a:lnTo>
                  <a:lnTo>
                    <a:pt x="13335" y="75247"/>
                  </a:lnTo>
                  <a:lnTo>
                    <a:pt x="0" y="97155"/>
                  </a:lnTo>
                  <a:lnTo>
                    <a:pt x="13335" y="119063"/>
                  </a:lnTo>
                  <a:lnTo>
                    <a:pt x="27622" y="133350"/>
                  </a:lnTo>
                  <a:lnTo>
                    <a:pt x="46672" y="117157"/>
                  </a:lnTo>
                  <a:lnTo>
                    <a:pt x="60007" y="135255"/>
                  </a:lnTo>
                  <a:lnTo>
                    <a:pt x="75247" y="152400"/>
                  </a:lnTo>
                  <a:lnTo>
                    <a:pt x="96203" y="155257"/>
                  </a:lnTo>
                  <a:lnTo>
                    <a:pt x="111443" y="170497"/>
                  </a:lnTo>
                  <a:lnTo>
                    <a:pt x="122872" y="199072"/>
                  </a:lnTo>
                  <a:lnTo>
                    <a:pt x="120015" y="221932"/>
                  </a:lnTo>
                  <a:lnTo>
                    <a:pt x="110490" y="260032"/>
                  </a:lnTo>
                  <a:lnTo>
                    <a:pt x="125730" y="260985"/>
                  </a:lnTo>
                  <a:lnTo>
                    <a:pt x="136208" y="245745"/>
                  </a:lnTo>
                  <a:lnTo>
                    <a:pt x="156210" y="239078"/>
                  </a:lnTo>
                  <a:lnTo>
                    <a:pt x="168593" y="248603"/>
                  </a:lnTo>
                  <a:lnTo>
                    <a:pt x="185737" y="248603"/>
                  </a:lnTo>
                  <a:lnTo>
                    <a:pt x="200978" y="233363"/>
                  </a:lnTo>
                  <a:lnTo>
                    <a:pt x="216218" y="233363"/>
                  </a:lnTo>
                  <a:lnTo>
                    <a:pt x="220028" y="220028"/>
                  </a:lnTo>
                  <a:lnTo>
                    <a:pt x="215265" y="207645"/>
                  </a:lnTo>
                  <a:lnTo>
                    <a:pt x="228600" y="202882"/>
                  </a:lnTo>
                  <a:lnTo>
                    <a:pt x="244793" y="202882"/>
                  </a:lnTo>
                  <a:lnTo>
                    <a:pt x="256222" y="214313"/>
                  </a:lnTo>
                  <a:lnTo>
                    <a:pt x="263843" y="206693"/>
                  </a:lnTo>
                  <a:lnTo>
                    <a:pt x="268605" y="188595"/>
                  </a:lnTo>
                  <a:lnTo>
                    <a:pt x="277178" y="180022"/>
                  </a:lnTo>
                  <a:lnTo>
                    <a:pt x="274320" y="160020"/>
                  </a:lnTo>
                  <a:lnTo>
                    <a:pt x="260033" y="145732"/>
                  </a:lnTo>
                  <a:lnTo>
                    <a:pt x="260033" y="129540"/>
                  </a:lnTo>
                  <a:lnTo>
                    <a:pt x="271462" y="118110"/>
                  </a:lnTo>
                  <a:lnTo>
                    <a:pt x="271462" y="97155"/>
                  </a:lnTo>
                  <a:lnTo>
                    <a:pt x="277178" y="76200"/>
                  </a:lnTo>
                  <a:lnTo>
                    <a:pt x="265747" y="65722"/>
                  </a:lnTo>
                  <a:lnTo>
                    <a:pt x="266700" y="51435"/>
                  </a:lnTo>
                  <a:lnTo>
                    <a:pt x="253365" y="30480"/>
                  </a:lnTo>
                  <a:lnTo>
                    <a:pt x="232410" y="40957"/>
                  </a:lnTo>
                  <a:lnTo>
                    <a:pt x="214312" y="40005"/>
                  </a:lnTo>
                  <a:lnTo>
                    <a:pt x="200025" y="62865"/>
                  </a:lnTo>
                  <a:lnTo>
                    <a:pt x="186690" y="75247"/>
                  </a:lnTo>
                  <a:lnTo>
                    <a:pt x="186690" y="51435"/>
                  </a:lnTo>
                  <a:lnTo>
                    <a:pt x="165735" y="4000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2" name="Полилиния: фигура 9">
              <a:extLst>
                <a:ext uri="{FF2B5EF4-FFF2-40B4-BE49-F238E27FC236}">
                  <a16:creationId xmlns:a16="http://schemas.microsoft.com/office/drawing/2014/main" id="{513BB313-B73F-410D-9D20-ABD29D4398DD}"/>
                </a:ext>
              </a:extLst>
            </p:cNvPr>
            <p:cNvSpPr/>
            <p:nvPr/>
          </p:nvSpPr>
          <p:spPr>
            <a:xfrm>
              <a:off x="3515695" y="4893648"/>
              <a:ext cx="184247" cy="156004"/>
            </a:xfrm>
            <a:custGeom>
              <a:avLst/>
              <a:gdLst>
                <a:gd name="connsiteX0" fmla="*/ 31432 w 285750"/>
                <a:gd name="connsiteY0" fmla="*/ 146685 h 278129"/>
                <a:gd name="connsiteX1" fmla="*/ 31432 w 285750"/>
                <a:gd name="connsiteY1" fmla="*/ 117157 h 278129"/>
                <a:gd name="connsiteX2" fmla="*/ 15240 w 285750"/>
                <a:gd name="connsiteY2" fmla="*/ 88582 h 278129"/>
                <a:gd name="connsiteX3" fmla="*/ 0 w 285750"/>
                <a:gd name="connsiteY3" fmla="*/ 64770 h 278129"/>
                <a:gd name="connsiteX4" fmla="*/ 14288 w 285750"/>
                <a:gd name="connsiteY4" fmla="*/ 53340 h 278129"/>
                <a:gd name="connsiteX5" fmla="*/ 22860 w 285750"/>
                <a:gd name="connsiteY5" fmla="*/ 32385 h 278129"/>
                <a:gd name="connsiteX6" fmla="*/ 40005 w 285750"/>
                <a:gd name="connsiteY6" fmla="*/ 32385 h 278129"/>
                <a:gd name="connsiteX7" fmla="*/ 52388 w 285750"/>
                <a:gd name="connsiteY7" fmla="*/ 20955 h 278129"/>
                <a:gd name="connsiteX8" fmla="*/ 67627 w 285750"/>
                <a:gd name="connsiteY8" fmla="*/ 21907 h 278129"/>
                <a:gd name="connsiteX9" fmla="*/ 78105 w 285750"/>
                <a:gd name="connsiteY9" fmla="*/ 6667 h 278129"/>
                <a:gd name="connsiteX10" fmla="*/ 98107 w 285750"/>
                <a:gd name="connsiteY10" fmla="*/ 0 h 278129"/>
                <a:gd name="connsiteX11" fmla="*/ 110490 w 285750"/>
                <a:gd name="connsiteY11" fmla="*/ 9525 h 278129"/>
                <a:gd name="connsiteX12" fmla="*/ 127635 w 285750"/>
                <a:gd name="connsiteY12" fmla="*/ 9525 h 278129"/>
                <a:gd name="connsiteX13" fmla="*/ 135255 w 285750"/>
                <a:gd name="connsiteY13" fmla="*/ 21907 h 278129"/>
                <a:gd name="connsiteX14" fmla="*/ 150495 w 285750"/>
                <a:gd name="connsiteY14" fmla="*/ 26670 h 278129"/>
                <a:gd name="connsiteX15" fmla="*/ 160972 w 285750"/>
                <a:gd name="connsiteY15" fmla="*/ 35242 h 278129"/>
                <a:gd name="connsiteX16" fmla="*/ 160972 w 285750"/>
                <a:gd name="connsiteY16" fmla="*/ 59055 h 278129"/>
                <a:gd name="connsiteX17" fmla="*/ 177165 w 285750"/>
                <a:gd name="connsiteY17" fmla="*/ 62865 h 278129"/>
                <a:gd name="connsiteX18" fmla="*/ 180975 w 285750"/>
                <a:gd name="connsiteY18" fmla="*/ 76200 h 278129"/>
                <a:gd name="connsiteX19" fmla="*/ 196215 w 285750"/>
                <a:gd name="connsiteY19" fmla="*/ 83820 h 278129"/>
                <a:gd name="connsiteX20" fmla="*/ 200025 w 285750"/>
                <a:gd name="connsiteY20" fmla="*/ 114300 h 278129"/>
                <a:gd name="connsiteX21" fmla="*/ 216217 w 285750"/>
                <a:gd name="connsiteY21" fmla="*/ 140970 h 278129"/>
                <a:gd name="connsiteX22" fmla="*/ 220980 w 285750"/>
                <a:gd name="connsiteY22" fmla="*/ 173355 h 278129"/>
                <a:gd name="connsiteX23" fmla="*/ 236220 w 285750"/>
                <a:gd name="connsiteY23" fmla="*/ 176213 h 278129"/>
                <a:gd name="connsiteX24" fmla="*/ 247650 w 285750"/>
                <a:gd name="connsiteY24" fmla="*/ 187642 h 278129"/>
                <a:gd name="connsiteX25" fmla="*/ 247650 w 285750"/>
                <a:gd name="connsiteY25" fmla="*/ 211455 h 278129"/>
                <a:gd name="connsiteX26" fmla="*/ 265747 w 285750"/>
                <a:gd name="connsiteY26" fmla="*/ 214313 h 278129"/>
                <a:gd name="connsiteX27" fmla="*/ 285750 w 285750"/>
                <a:gd name="connsiteY27" fmla="*/ 226695 h 278129"/>
                <a:gd name="connsiteX28" fmla="*/ 268605 w 285750"/>
                <a:gd name="connsiteY28" fmla="*/ 243840 h 278129"/>
                <a:gd name="connsiteX29" fmla="*/ 247650 w 285750"/>
                <a:gd name="connsiteY29" fmla="*/ 237172 h 278129"/>
                <a:gd name="connsiteX30" fmla="*/ 233363 w 285750"/>
                <a:gd name="connsiteY30" fmla="*/ 250507 h 278129"/>
                <a:gd name="connsiteX31" fmla="*/ 233363 w 285750"/>
                <a:gd name="connsiteY31" fmla="*/ 271463 h 278129"/>
                <a:gd name="connsiteX32" fmla="*/ 219075 w 285750"/>
                <a:gd name="connsiteY32" fmla="*/ 278130 h 278129"/>
                <a:gd name="connsiteX33" fmla="*/ 212407 w 285750"/>
                <a:gd name="connsiteY33" fmla="*/ 256222 h 278129"/>
                <a:gd name="connsiteX34" fmla="*/ 190500 w 285750"/>
                <a:gd name="connsiteY34" fmla="*/ 235267 h 278129"/>
                <a:gd name="connsiteX35" fmla="*/ 159067 w 285750"/>
                <a:gd name="connsiteY35" fmla="*/ 215265 h 278129"/>
                <a:gd name="connsiteX36" fmla="*/ 139065 w 285750"/>
                <a:gd name="connsiteY36" fmla="*/ 219075 h 278129"/>
                <a:gd name="connsiteX37" fmla="*/ 100013 w 285750"/>
                <a:gd name="connsiteY37" fmla="*/ 210503 h 278129"/>
                <a:gd name="connsiteX38" fmla="*/ 100013 w 285750"/>
                <a:gd name="connsiteY38" fmla="*/ 196215 h 278129"/>
                <a:gd name="connsiteX39" fmla="*/ 80010 w 285750"/>
                <a:gd name="connsiteY39" fmla="*/ 174307 h 278129"/>
                <a:gd name="connsiteX40" fmla="*/ 70485 w 285750"/>
                <a:gd name="connsiteY40" fmla="*/ 183832 h 278129"/>
                <a:gd name="connsiteX41" fmla="*/ 45720 w 285750"/>
                <a:gd name="connsiteY41" fmla="*/ 183832 h 278129"/>
                <a:gd name="connsiteX42" fmla="*/ 17145 w 285750"/>
                <a:gd name="connsiteY42" fmla="*/ 177165 h 278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85750" h="278129">
                  <a:moveTo>
                    <a:pt x="31432" y="146685"/>
                  </a:moveTo>
                  <a:lnTo>
                    <a:pt x="31432" y="117157"/>
                  </a:lnTo>
                  <a:lnTo>
                    <a:pt x="15240" y="88582"/>
                  </a:lnTo>
                  <a:lnTo>
                    <a:pt x="0" y="64770"/>
                  </a:lnTo>
                  <a:lnTo>
                    <a:pt x="14288" y="53340"/>
                  </a:lnTo>
                  <a:lnTo>
                    <a:pt x="22860" y="32385"/>
                  </a:lnTo>
                  <a:lnTo>
                    <a:pt x="40005" y="32385"/>
                  </a:lnTo>
                  <a:lnTo>
                    <a:pt x="52388" y="20955"/>
                  </a:lnTo>
                  <a:lnTo>
                    <a:pt x="67627" y="21907"/>
                  </a:lnTo>
                  <a:lnTo>
                    <a:pt x="78105" y="6667"/>
                  </a:lnTo>
                  <a:lnTo>
                    <a:pt x="98107" y="0"/>
                  </a:lnTo>
                  <a:lnTo>
                    <a:pt x="110490" y="9525"/>
                  </a:lnTo>
                  <a:lnTo>
                    <a:pt x="127635" y="9525"/>
                  </a:lnTo>
                  <a:lnTo>
                    <a:pt x="135255" y="21907"/>
                  </a:lnTo>
                  <a:lnTo>
                    <a:pt x="150495" y="26670"/>
                  </a:lnTo>
                  <a:lnTo>
                    <a:pt x="160972" y="35242"/>
                  </a:lnTo>
                  <a:lnTo>
                    <a:pt x="160972" y="59055"/>
                  </a:lnTo>
                  <a:lnTo>
                    <a:pt x="177165" y="62865"/>
                  </a:lnTo>
                  <a:lnTo>
                    <a:pt x="180975" y="76200"/>
                  </a:lnTo>
                  <a:lnTo>
                    <a:pt x="196215" y="83820"/>
                  </a:lnTo>
                  <a:lnTo>
                    <a:pt x="200025" y="114300"/>
                  </a:lnTo>
                  <a:lnTo>
                    <a:pt x="216217" y="140970"/>
                  </a:lnTo>
                  <a:lnTo>
                    <a:pt x="220980" y="173355"/>
                  </a:lnTo>
                  <a:lnTo>
                    <a:pt x="236220" y="176213"/>
                  </a:lnTo>
                  <a:lnTo>
                    <a:pt x="247650" y="187642"/>
                  </a:lnTo>
                  <a:lnTo>
                    <a:pt x="247650" y="211455"/>
                  </a:lnTo>
                  <a:lnTo>
                    <a:pt x="265747" y="214313"/>
                  </a:lnTo>
                  <a:lnTo>
                    <a:pt x="285750" y="226695"/>
                  </a:lnTo>
                  <a:lnTo>
                    <a:pt x="268605" y="243840"/>
                  </a:lnTo>
                  <a:lnTo>
                    <a:pt x="247650" y="237172"/>
                  </a:lnTo>
                  <a:lnTo>
                    <a:pt x="233363" y="250507"/>
                  </a:lnTo>
                  <a:lnTo>
                    <a:pt x="233363" y="271463"/>
                  </a:lnTo>
                  <a:lnTo>
                    <a:pt x="219075" y="278130"/>
                  </a:lnTo>
                  <a:lnTo>
                    <a:pt x="212407" y="256222"/>
                  </a:lnTo>
                  <a:lnTo>
                    <a:pt x="190500" y="235267"/>
                  </a:lnTo>
                  <a:lnTo>
                    <a:pt x="159067" y="215265"/>
                  </a:lnTo>
                  <a:lnTo>
                    <a:pt x="139065" y="219075"/>
                  </a:lnTo>
                  <a:lnTo>
                    <a:pt x="100013" y="210503"/>
                  </a:lnTo>
                  <a:lnTo>
                    <a:pt x="100013" y="196215"/>
                  </a:lnTo>
                  <a:lnTo>
                    <a:pt x="80010" y="174307"/>
                  </a:lnTo>
                  <a:lnTo>
                    <a:pt x="70485" y="183832"/>
                  </a:lnTo>
                  <a:lnTo>
                    <a:pt x="45720" y="183832"/>
                  </a:lnTo>
                  <a:lnTo>
                    <a:pt x="17145" y="17716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3" name="Полилиния: фигура 10">
              <a:extLst>
                <a:ext uri="{FF2B5EF4-FFF2-40B4-BE49-F238E27FC236}">
                  <a16:creationId xmlns:a16="http://schemas.microsoft.com/office/drawing/2014/main" id="{2A974DE8-F7E6-4C79-891C-5F96A23C1C4D}"/>
                </a:ext>
              </a:extLst>
            </p:cNvPr>
            <p:cNvSpPr/>
            <p:nvPr/>
          </p:nvSpPr>
          <p:spPr>
            <a:xfrm>
              <a:off x="3515081" y="4991418"/>
              <a:ext cx="148626" cy="160279"/>
            </a:xfrm>
            <a:custGeom>
              <a:avLst/>
              <a:gdLst>
                <a:gd name="connsiteX0" fmla="*/ 147638 w 230505"/>
                <a:gd name="connsiteY0" fmla="*/ 280988 h 285750"/>
                <a:gd name="connsiteX1" fmla="*/ 139065 w 230505"/>
                <a:gd name="connsiteY1" fmla="*/ 248603 h 285750"/>
                <a:gd name="connsiteX2" fmla="*/ 118110 w 230505"/>
                <a:gd name="connsiteY2" fmla="*/ 236220 h 285750"/>
                <a:gd name="connsiteX3" fmla="*/ 95250 w 230505"/>
                <a:gd name="connsiteY3" fmla="*/ 210503 h 285750"/>
                <a:gd name="connsiteX4" fmla="*/ 103823 w 230505"/>
                <a:gd name="connsiteY4" fmla="*/ 180975 h 285750"/>
                <a:gd name="connsiteX5" fmla="*/ 95250 w 230505"/>
                <a:gd name="connsiteY5" fmla="*/ 137160 h 285750"/>
                <a:gd name="connsiteX6" fmla="*/ 68580 w 230505"/>
                <a:gd name="connsiteY6" fmla="*/ 117158 h 285750"/>
                <a:gd name="connsiteX7" fmla="*/ 38100 w 230505"/>
                <a:gd name="connsiteY7" fmla="*/ 93345 h 285750"/>
                <a:gd name="connsiteX8" fmla="*/ 27623 w 230505"/>
                <a:gd name="connsiteY8" fmla="*/ 60960 h 285750"/>
                <a:gd name="connsiteX9" fmla="*/ 6668 w 230505"/>
                <a:gd name="connsiteY9" fmla="*/ 43815 h 285750"/>
                <a:gd name="connsiteX10" fmla="*/ 0 w 230505"/>
                <a:gd name="connsiteY10" fmla="*/ 24765 h 285750"/>
                <a:gd name="connsiteX11" fmla="*/ 18098 w 230505"/>
                <a:gd name="connsiteY11" fmla="*/ 2858 h 285750"/>
                <a:gd name="connsiteX12" fmla="*/ 46673 w 230505"/>
                <a:gd name="connsiteY12" fmla="*/ 9525 h 285750"/>
                <a:gd name="connsiteX13" fmla="*/ 71438 w 230505"/>
                <a:gd name="connsiteY13" fmla="*/ 9525 h 285750"/>
                <a:gd name="connsiteX14" fmla="*/ 80963 w 230505"/>
                <a:gd name="connsiteY14" fmla="*/ 0 h 285750"/>
                <a:gd name="connsiteX15" fmla="*/ 100965 w 230505"/>
                <a:gd name="connsiteY15" fmla="*/ 21908 h 285750"/>
                <a:gd name="connsiteX16" fmla="*/ 100965 w 230505"/>
                <a:gd name="connsiteY16" fmla="*/ 36195 h 285750"/>
                <a:gd name="connsiteX17" fmla="*/ 140018 w 230505"/>
                <a:gd name="connsiteY17" fmla="*/ 44768 h 285750"/>
                <a:gd name="connsiteX18" fmla="*/ 160020 w 230505"/>
                <a:gd name="connsiteY18" fmla="*/ 40958 h 285750"/>
                <a:gd name="connsiteX19" fmla="*/ 191453 w 230505"/>
                <a:gd name="connsiteY19" fmla="*/ 60960 h 285750"/>
                <a:gd name="connsiteX20" fmla="*/ 213360 w 230505"/>
                <a:gd name="connsiteY20" fmla="*/ 81915 h 285750"/>
                <a:gd name="connsiteX21" fmla="*/ 220028 w 230505"/>
                <a:gd name="connsiteY21" fmla="*/ 103822 h 285750"/>
                <a:gd name="connsiteX22" fmla="*/ 225743 w 230505"/>
                <a:gd name="connsiteY22" fmla="*/ 122872 h 285750"/>
                <a:gd name="connsiteX23" fmla="*/ 213360 w 230505"/>
                <a:gd name="connsiteY23" fmla="*/ 132397 h 285750"/>
                <a:gd name="connsiteX24" fmla="*/ 230505 w 230505"/>
                <a:gd name="connsiteY24" fmla="*/ 149543 h 285750"/>
                <a:gd name="connsiteX25" fmla="*/ 220028 w 230505"/>
                <a:gd name="connsiteY25" fmla="*/ 170497 h 285750"/>
                <a:gd name="connsiteX26" fmla="*/ 204788 w 230505"/>
                <a:gd name="connsiteY26" fmla="*/ 170497 h 285750"/>
                <a:gd name="connsiteX27" fmla="*/ 204788 w 230505"/>
                <a:gd name="connsiteY27" fmla="*/ 198120 h 285750"/>
                <a:gd name="connsiteX28" fmla="*/ 209550 w 230505"/>
                <a:gd name="connsiteY28" fmla="*/ 219075 h 285750"/>
                <a:gd name="connsiteX29" fmla="*/ 188595 w 230505"/>
                <a:gd name="connsiteY29" fmla="*/ 229553 h 285750"/>
                <a:gd name="connsiteX30" fmla="*/ 188595 w 230505"/>
                <a:gd name="connsiteY30" fmla="*/ 254318 h 285750"/>
                <a:gd name="connsiteX31" fmla="*/ 171450 w 230505"/>
                <a:gd name="connsiteY31" fmla="*/ 255270 h 285750"/>
                <a:gd name="connsiteX32" fmla="*/ 176213 w 230505"/>
                <a:gd name="connsiteY32" fmla="*/ 273368 h 285750"/>
                <a:gd name="connsiteX33" fmla="*/ 151448 w 230505"/>
                <a:gd name="connsiteY33" fmla="*/ 28575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30505" h="285750">
                  <a:moveTo>
                    <a:pt x="147638" y="280988"/>
                  </a:moveTo>
                  <a:lnTo>
                    <a:pt x="139065" y="248603"/>
                  </a:lnTo>
                  <a:lnTo>
                    <a:pt x="118110" y="236220"/>
                  </a:lnTo>
                  <a:lnTo>
                    <a:pt x="95250" y="210503"/>
                  </a:lnTo>
                  <a:lnTo>
                    <a:pt x="103823" y="180975"/>
                  </a:lnTo>
                  <a:lnTo>
                    <a:pt x="95250" y="137160"/>
                  </a:lnTo>
                  <a:lnTo>
                    <a:pt x="68580" y="117158"/>
                  </a:lnTo>
                  <a:lnTo>
                    <a:pt x="38100" y="93345"/>
                  </a:lnTo>
                  <a:lnTo>
                    <a:pt x="27623" y="60960"/>
                  </a:lnTo>
                  <a:lnTo>
                    <a:pt x="6668" y="43815"/>
                  </a:lnTo>
                  <a:lnTo>
                    <a:pt x="0" y="24765"/>
                  </a:lnTo>
                  <a:lnTo>
                    <a:pt x="18098" y="2858"/>
                  </a:lnTo>
                  <a:lnTo>
                    <a:pt x="46673" y="9525"/>
                  </a:lnTo>
                  <a:lnTo>
                    <a:pt x="71438" y="9525"/>
                  </a:lnTo>
                  <a:lnTo>
                    <a:pt x="80963" y="0"/>
                  </a:lnTo>
                  <a:lnTo>
                    <a:pt x="100965" y="21908"/>
                  </a:lnTo>
                  <a:lnTo>
                    <a:pt x="100965" y="36195"/>
                  </a:lnTo>
                  <a:lnTo>
                    <a:pt x="140018" y="44768"/>
                  </a:lnTo>
                  <a:lnTo>
                    <a:pt x="160020" y="40958"/>
                  </a:lnTo>
                  <a:lnTo>
                    <a:pt x="191453" y="60960"/>
                  </a:lnTo>
                  <a:lnTo>
                    <a:pt x="213360" y="81915"/>
                  </a:lnTo>
                  <a:lnTo>
                    <a:pt x="220028" y="103822"/>
                  </a:lnTo>
                  <a:lnTo>
                    <a:pt x="225743" y="122872"/>
                  </a:lnTo>
                  <a:lnTo>
                    <a:pt x="213360" y="132397"/>
                  </a:lnTo>
                  <a:lnTo>
                    <a:pt x="230505" y="149543"/>
                  </a:lnTo>
                  <a:lnTo>
                    <a:pt x="220028" y="170497"/>
                  </a:lnTo>
                  <a:lnTo>
                    <a:pt x="204788" y="170497"/>
                  </a:lnTo>
                  <a:lnTo>
                    <a:pt x="204788" y="198120"/>
                  </a:lnTo>
                  <a:lnTo>
                    <a:pt x="209550" y="219075"/>
                  </a:lnTo>
                  <a:lnTo>
                    <a:pt x="188595" y="229553"/>
                  </a:lnTo>
                  <a:lnTo>
                    <a:pt x="188595" y="254318"/>
                  </a:lnTo>
                  <a:lnTo>
                    <a:pt x="171450" y="255270"/>
                  </a:lnTo>
                  <a:lnTo>
                    <a:pt x="176213" y="273368"/>
                  </a:lnTo>
                  <a:lnTo>
                    <a:pt x="151448" y="28575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4" name="Полилиния: фигура 11">
              <a:extLst>
                <a:ext uri="{FF2B5EF4-FFF2-40B4-BE49-F238E27FC236}">
                  <a16:creationId xmlns:a16="http://schemas.microsoft.com/office/drawing/2014/main" id="{5188CC70-9572-4606-B26B-2A56FB71A8A3}"/>
                </a:ext>
              </a:extLst>
            </p:cNvPr>
            <p:cNvSpPr/>
            <p:nvPr/>
          </p:nvSpPr>
          <p:spPr>
            <a:xfrm>
              <a:off x="3612732" y="5020803"/>
              <a:ext cx="222938" cy="189129"/>
            </a:xfrm>
            <a:custGeom>
              <a:avLst/>
              <a:gdLst>
                <a:gd name="connsiteX0" fmla="*/ 0 w 345757"/>
                <a:gd name="connsiteY0" fmla="*/ 233363 h 337184"/>
                <a:gd name="connsiteX1" fmla="*/ 24765 w 345757"/>
                <a:gd name="connsiteY1" fmla="*/ 220980 h 337184"/>
                <a:gd name="connsiteX2" fmla="*/ 20002 w 345757"/>
                <a:gd name="connsiteY2" fmla="*/ 202883 h 337184"/>
                <a:gd name="connsiteX3" fmla="*/ 37148 w 345757"/>
                <a:gd name="connsiteY3" fmla="*/ 201930 h 337184"/>
                <a:gd name="connsiteX4" fmla="*/ 37148 w 345757"/>
                <a:gd name="connsiteY4" fmla="*/ 177165 h 337184"/>
                <a:gd name="connsiteX5" fmla="*/ 58102 w 345757"/>
                <a:gd name="connsiteY5" fmla="*/ 166688 h 337184"/>
                <a:gd name="connsiteX6" fmla="*/ 53340 w 345757"/>
                <a:gd name="connsiteY6" fmla="*/ 145733 h 337184"/>
                <a:gd name="connsiteX7" fmla="*/ 53340 w 345757"/>
                <a:gd name="connsiteY7" fmla="*/ 118110 h 337184"/>
                <a:gd name="connsiteX8" fmla="*/ 68580 w 345757"/>
                <a:gd name="connsiteY8" fmla="*/ 118110 h 337184"/>
                <a:gd name="connsiteX9" fmla="*/ 79058 w 345757"/>
                <a:gd name="connsiteY9" fmla="*/ 97155 h 337184"/>
                <a:gd name="connsiteX10" fmla="*/ 68580 w 345757"/>
                <a:gd name="connsiteY10" fmla="*/ 87630 h 337184"/>
                <a:gd name="connsiteX11" fmla="*/ 61913 w 345757"/>
                <a:gd name="connsiteY11" fmla="*/ 80010 h 337184"/>
                <a:gd name="connsiteX12" fmla="*/ 74295 w 345757"/>
                <a:gd name="connsiteY12" fmla="*/ 70485 h 337184"/>
                <a:gd name="connsiteX13" fmla="*/ 68580 w 345757"/>
                <a:gd name="connsiteY13" fmla="*/ 51435 h 337184"/>
                <a:gd name="connsiteX14" fmla="*/ 82868 w 345757"/>
                <a:gd name="connsiteY14" fmla="*/ 44768 h 337184"/>
                <a:gd name="connsiteX15" fmla="*/ 82868 w 345757"/>
                <a:gd name="connsiteY15" fmla="*/ 23813 h 337184"/>
                <a:gd name="connsiteX16" fmla="*/ 97155 w 345757"/>
                <a:gd name="connsiteY16" fmla="*/ 10478 h 337184"/>
                <a:gd name="connsiteX17" fmla="*/ 118110 w 345757"/>
                <a:gd name="connsiteY17" fmla="*/ 17145 h 337184"/>
                <a:gd name="connsiteX18" fmla="*/ 135255 w 345757"/>
                <a:gd name="connsiteY18" fmla="*/ 0 h 337184"/>
                <a:gd name="connsiteX19" fmla="*/ 160020 w 345757"/>
                <a:gd name="connsiteY19" fmla="*/ 3810 h 337184"/>
                <a:gd name="connsiteX20" fmla="*/ 170498 w 345757"/>
                <a:gd name="connsiteY20" fmla="*/ 25718 h 337184"/>
                <a:gd name="connsiteX21" fmla="*/ 196215 w 345757"/>
                <a:gd name="connsiteY21" fmla="*/ 34290 h 337184"/>
                <a:gd name="connsiteX22" fmla="*/ 190500 w 345757"/>
                <a:gd name="connsiteY22" fmla="*/ 60008 h 337184"/>
                <a:gd name="connsiteX23" fmla="*/ 207645 w 345757"/>
                <a:gd name="connsiteY23" fmla="*/ 77153 h 337184"/>
                <a:gd name="connsiteX24" fmla="*/ 229552 w 345757"/>
                <a:gd name="connsiteY24" fmla="*/ 79058 h 337184"/>
                <a:gd name="connsiteX25" fmla="*/ 249555 w 345757"/>
                <a:gd name="connsiteY25" fmla="*/ 106680 h 337184"/>
                <a:gd name="connsiteX26" fmla="*/ 263843 w 345757"/>
                <a:gd name="connsiteY26" fmla="*/ 120968 h 337184"/>
                <a:gd name="connsiteX27" fmla="*/ 257175 w 345757"/>
                <a:gd name="connsiteY27" fmla="*/ 142875 h 337184"/>
                <a:gd name="connsiteX28" fmla="*/ 274320 w 345757"/>
                <a:gd name="connsiteY28" fmla="*/ 160020 h 337184"/>
                <a:gd name="connsiteX29" fmla="*/ 300038 w 345757"/>
                <a:gd name="connsiteY29" fmla="*/ 170497 h 337184"/>
                <a:gd name="connsiteX30" fmla="*/ 309563 w 345757"/>
                <a:gd name="connsiteY30" fmla="*/ 188595 h 337184"/>
                <a:gd name="connsiteX31" fmla="*/ 325755 w 345757"/>
                <a:gd name="connsiteY31" fmla="*/ 204788 h 337184"/>
                <a:gd name="connsiteX32" fmla="*/ 335280 w 345757"/>
                <a:gd name="connsiteY32" fmla="*/ 232410 h 337184"/>
                <a:gd name="connsiteX33" fmla="*/ 345758 w 345757"/>
                <a:gd name="connsiteY33" fmla="*/ 260985 h 337184"/>
                <a:gd name="connsiteX34" fmla="*/ 336233 w 345757"/>
                <a:gd name="connsiteY34" fmla="*/ 271463 h 337184"/>
                <a:gd name="connsiteX35" fmla="*/ 307658 w 345757"/>
                <a:gd name="connsiteY35" fmla="*/ 271463 h 337184"/>
                <a:gd name="connsiteX36" fmla="*/ 285750 w 345757"/>
                <a:gd name="connsiteY36" fmla="*/ 260033 h 337184"/>
                <a:gd name="connsiteX37" fmla="*/ 280988 w 345757"/>
                <a:gd name="connsiteY37" fmla="*/ 243840 h 337184"/>
                <a:gd name="connsiteX38" fmla="*/ 260033 w 345757"/>
                <a:gd name="connsiteY38" fmla="*/ 240030 h 337184"/>
                <a:gd name="connsiteX39" fmla="*/ 240983 w 345757"/>
                <a:gd name="connsiteY39" fmla="*/ 258128 h 337184"/>
                <a:gd name="connsiteX40" fmla="*/ 200025 w 345757"/>
                <a:gd name="connsiteY40" fmla="*/ 258128 h 337184"/>
                <a:gd name="connsiteX41" fmla="*/ 189548 w 345757"/>
                <a:gd name="connsiteY41" fmla="*/ 291465 h 337184"/>
                <a:gd name="connsiteX42" fmla="*/ 157163 w 345757"/>
                <a:gd name="connsiteY42" fmla="*/ 324803 h 337184"/>
                <a:gd name="connsiteX43" fmla="*/ 120968 w 345757"/>
                <a:gd name="connsiteY43" fmla="*/ 324803 h 337184"/>
                <a:gd name="connsiteX44" fmla="*/ 107633 w 345757"/>
                <a:gd name="connsiteY44" fmla="*/ 337185 h 337184"/>
                <a:gd name="connsiteX45" fmla="*/ 87630 w 345757"/>
                <a:gd name="connsiteY45" fmla="*/ 337185 h 337184"/>
                <a:gd name="connsiteX46" fmla="*/ 78105 w 345757"/>
                <a:gd name="connsiteY46" fmla="*/ 323850 h 337184"/>
                <a:gd name="connsiteX47" fmla="*/ 53340 w 345757"/>
                <a:gd name="connsiteY47" fmla="*/ 323850 h 337184"/>
                <a:gd name="connsiteX48" fmla="*/ 53340 w 345757"/>
                <a:gd name="connsiteY48" fmla="*/ 305753 h 337184"/>
                <a:gd name="connsiteX49" fmla="*/ 42863 w 345757"/>
                <a:gd name="connsiteY49" fmla="*/ 295275 h 337184"/>
                <a:gd name="connsiteX50" fmla="*/ 19050 w 345757"/>
                <a:gd name="connsiteY50" fmla="*/ 283845 h 337184"/>
                <a:gd name="connsiteX51" fmla="*/ 19050 w 345757"/>
                <a:gd name="connsiteY51" fmla="*/ 254318 h 337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45757" h="337184">
                  <a:moveTo>
                    <a:pt x="0" y="233363"/>
                  </a:moveTo>
                  <a:lnTo>
                    <a:pt x="24765" y="220980"/>
                  </a:lnTo>
                  <a:lnTo>
                    <a:pt x="20002" y="202883"/>
                  </a:lnTo>
                  <a:lnTo>
                    <a:pt x="37148" y="201930"/>
                  </a:lnTo>
                  <a:lnTo>
                    <a:pt x="37148" y="177165"/>
                  </a:lnTo>
                  <a:lnTo>
                    <a:pt x="58102" y="166688"/>
                  </a:lnTo>
                  <a:lnTo>
                    <a:pt x="53340" y="145733"/>
                  </a:lnTo>
                  <a:lnTo>
                    <a:pt x="53340" y="118110"/>
                  </a:lnTo>
                  <a:lnTo>
                    <a:pt x="68580" y="118110"/>
                  </a:lnTo>
                  <a:lnTo>
                    <a:pt x="79058" y="97155"/>
                  </a:lnTo>
                  <a:lnTo>
                    <a:pt x="68580" y="87630"/>
                  </a:lnTo>
                  <a:lnTo>
                    <a:pt x="61913" y="80010"/>
                  </a:lnTo>
                  <a:lnTo>
                    <a:pt x="74295" y="70485"/>
                  </a:lnTo>
                  <a:lnTo>
                    <a:pt x="68580" y="51435"/>
                  </a:lnTo>
                  <a:lnTo>
                    <a:pt x="82868" y="44768"/>
                  </a:lnTo>
                  <a:lnTo>
                    <a:pt x="82868" y="23813"/>
                  </a:lnTo>
                  <a:lnTo>
                    <a:pt x="97155" y="10478"/>
                  </a:lnTo>
                  <a:lnTo>
                    <a:pt x="118110" y="17145"/>
                  </a:lnTo>
                  <a:lnTo>
                    <a:pt x="135255" y="0"/>
                  </a:lnTo>
                  <a:lnTo>
                    <a:pt x="160020" y="3810"/>
                  </a:lnTo>
                  <a:lnTo>
                    <a:pt x="170498" y="25718"/>
                  </a:lnTo>
                  <a:lnTo>
                    <a:pt x="196215" y="34290"/>
                  </a:lnTo>
                  <a:lnTo>
                    <a:pt x="190500" y="60008"/>
                  </a:lnTo>
                  <a:lnTo>
                    <a:pt x="207645" y="77153"/>
                  </a:lnTo>
                  <a:lnTo>
                    <a:pt x="229552" y="79058"/>
                  </a:lnTo>
                  <a:lnTo>
                    <a:pt x="249555" y="106680"/>
                  </a:lnTo>
                  <a:lnTo>
                    <a:pt x="263843" y="120968"/>
                  </a:lnTo>
                  <a:lnTo>
                    <a:pt x="257175" y="142875"/>
                  </a:lnTo>
                  <a:lnTo>
                    <a:pt x="274320" y="160020"/>
                  </a:lnTo>
                  <a:lnTo>
                    <a:pt x="300038" y="170497"/>
                  </a:lnTo>
                  <a:lnTo>
                    <a:pt x="309563" y="188595"/>
                  </a:lnTo>
                  <a:lnTo>
                    <a:pt x="325755" y="204788"/>
                  </a:lnTo>
                  <a:lnTo>
                    <a:pt x="335280" y="232410"/>
                  </a:lnTo>
                  <a:lnTo>
                    <a:pt x="345758" y="260985"/>
                  </a:lnTo>
                  <a:lnTo>
                    <a:pt x="336233" y="271463"/>
                  </a:lnTo>
                  <a:lnTo>
                    <a:pt x="307658" y="271463"/>
                  </a:lnTo>
                  <a:lnTo>
                    <a:pt x="285750" y="260033"/>
                  </a:lnTo>
                  <a:lnTo>
                    <a:pt x="280988" y="243840"/>
                  </a:lnTo>
                  <a:lnTo>
                    <a:pt x="260033" y="240030"/>
                  </a:lnTo>
                  <a:lnTo>
                    <a:pt x="240983" y="258128"/>
                  </a:lnTo>
                  <a:lnTo>
                    <a:pt x="200025" y="258128"/>
                  </a:lnTo>
                  <a:lnTo>
                    <a:pt x="189548" y="291465"/>
                  </a:lnTo>
                  <a:lnTo>
                    <a:pt x="157163" y="324803"/>
                  </a:lnTo>
                  <a:lnTo>
                    <a:pt x="120968" y="324803"/>
                  </a:lnTo>
                  <a:lnTo>
                    <a:pt x="107633" y="337185"/>
                  </a:lnTo>
                  <a:lnTo>
                    <a:pt x="87630" y="337185"/>
                  </a:lnTo>
                  <a:lnTo>
                    <a:pt x="78105" y="323850"/>
                  </a:lnTo>
                  <a:lnTo>
                    <a:pt x="53340" y="323850"/>
                  </a:lnTo>
                  <a:lnTo>
                    <a:pt x="53340" y="305753"/>
                  </a:lnTo>
                  <a:lnTo>
                    <a:pt x="42863" y="295275"/>
                  </a:lnTo>
                  <a:lnTo>
                    <a:pt x="19050" y="283845"/>
                  </a:lnTo>
                  <a:lnTo>
                    <a:pt x="19050" y="254318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5" name="Полилиния: фигура 12">
              <a:extLst>
                <a:ext uri="{FF2B5EF4-FFF2-40B4-BE49-F238E27FC236}">
                  <a16:creationId xmlns:a16="http://schemas.microsoft.com/office/drawing/2014/main" id="{5CCB88E2-AD00-4B92-A6FA-EC612BC9FA66}"/>
                </a:ext>
              </a:extLst>
            </p:cNvPr>
            <p:cNvSpPr/>
            <p:nvPr/>
          </p:nvSpPr>
          <p:spPr>
            <a:xfrm>
              <a:off x="3352944" y="5504846"/>
              <a:ext cx="114847" cy="89756"/>
            </a:xfrm>
            <a:custGeom>
              <a:avLst/>
              <a:gdLst>
                <a:gd name="connsiteX0" fmla="*/ 90488 w 178117"/>
                <a:gd name="connsiteY0" fmla="*/ 160020 h 160019"/>
                <a:gd name="connsiteX1" fmla="*/ 68580 w 178117"/>
                <a:gd name="connsiteY1" fmla="*/ 150495 h 160019"/>
                <a:gd name="connsiteX2" fmla="*/ 38100 w 178117"/>
                <a:gd name="connsiteY2" fmla="*/ 129540 h 160019"/>
                <a:gd name="connsiteX3" fmla="*/ 27623 w 178117"/>
                <a:gd name="connsiteY3" fmla="*/ 95250 h 160019"/>
                <a:gd name="connsiteX4" fmla="*/ 6668 w 178117"/>
                <a:gd name="connsiteY4" fmla="*/ 62865 h 160019"/>
                <a:gd name="connsiteX5" fmla="*/ 0 w 178117"/>
                <a:gd name="connsiteY5" fmla="*/ 35243 h 160019"/>
                <a:gd name="connsiteX6" fmla="*/ 17145 w 178117"/>
                <a:gd name="connsiteY6" fmla="*/ 18097 h 160019"/>
                <a:gd name="connsiteX7" fmla="*/ 37148 w 178117"/>
                <a:gd name="connsiteY7" fmla="*/ 14288 h 160019"/>
                <a:gd name="connsiteX8" fmla="*/ 51435 w 178117"/>
                <a:gd name="connsiteY8" fmla="*/ 0 h 160019"/>
                <a:gd name="connsiteX9" fmla="*/ 64770 w 178117"/>
                <a:gd name="connsiteY9" fmla="*/ 0 h 160019"/>
                <a:gd name="connsiteX10" fmla="*/ 73343 w 178117"/>
                <a:gd name="connsiteY10" fmla="*/ 18097 h 160019"/>
                <a:gd name="connsiteX11" fmla="*/ 84773 w 178117"/>
                <a:gd name="connsiteY11" fmla="*/ 35243 h 160019"/>
                <a:gd name="connsiteX12" fmla="*/ 112395 w 178117"/>
                <a:gd name="connsiteY12" fmla="*/ 35243 h 160019"/>
                <a:gd name="connsiteX13" fmla="*/ 134303 w 178117"/>
                <a:gd name="connsiteY13" fmla="*/ 9525 h 160019"/>
                <a:gd name="connsiteX14" fmla="*/ 150495 w 178117"/>
                <a:gd name="connsiteY14" fmla="*/ 14288 h 160019"/>
                <a:gd name="connsiteX15" fmla="*/ 150495 w 178117"/>
                <a:gd name="connsiteY15" fmla="*/ 37147 h 160019"/>
                <a:gd name="connsiteX16" fmla="*/ 166688 w 178117"/>
                <a:gd name="connsiteY16" fmla="*/ 47625 h 160019"/>
                <a:gd name="connsiteX17" fmla="*/ 169545 w 178117"/>
                <a:gd name="connsiteY17" fmla="*/ 64770 h 160019"/>
                <a:gd name="connsiteX18" fmla="*/ 178118 w 178117"/>
                <a:gd name="connsiteY18" fmla="*/ 76200 h 160019"/>
                <a:gd name="connsiteX19" fmla="*/ 153353 w 178117"/>
                <a:gd name="connsiteY19" fmla="*/ 76200 h 160019"/>
                <a:gd name="connsiteX20" fmla="*/ 145733 w 178117"/>
                <a:gd name="connsiteY20" fmla="*/ 89535 h 160019"/>
                <a:gd name="connsiteX21" fmla="*/ 157163 w 178117"/>
                <a:gd name="connsiteY21" fmla="*/ 100013 h 160019"/>
                <a:gd name="connsiteX22" fmla="*/ 164783 w 178117"/>
                <a:gd name="connsiteY22" fmla="*/ 113347 h 160019"/>
                <a:gd name="connsiteX23" fmla="*/ 157163 w 178117"/>
                <a:gd name="connsiteY23" fmla="*/ 130493 h 160019"/>
                <a:gd name="connsiteX24" fmla="*/ 137160 w 178117"/>
                <a:gd name="connsiteY24" fmla="*/ 138113 h 160019"/>
                <a:gd name="connsiteX25" fmla="*/ 122873 w 178117"/>
                <a:gd name="connsiteY25" fmla="*/ 137160 h 160019"/>
                <a:gd name="connsiteX26" fmla="*/ 106680 w 178117"/>
                <a:gd name="connsiteY26" fmla="*/ 153353 h 16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78117" h="160019">
                  <a:moveTo>
                    <a:pt x="90488" y="160020"/>
                  </a:moveTo>
                  <a:lnTo>
                    <a:pt x="68580" y="150495"/>
                  </a:lnTo>
                  <a:lnTo>
                    <a:pt x="38100" y="129540"/>
                  </a:lnTo>
                  <a:lnTo>
                    <a:pt x="27623" y="95250"/>
                  </a:lnTo>
                  <a:lnTo>
                    <a:pt x="6668" y="62865"/>
                  </a:lnTo>
                  <a:lnTo>
                    <a:pt x="0" y="35243"/>
                  </a:lnTo>
                  <a:lnTo>
                    <a:pt x="17145" y="18097"/>
                  </a:lnTo>
                  <a:lnTo>
                    <a:pt x="37148" y="14288"/>
                  </a:lnTo>
                  <a:lnTo>
                    <a:pt x="51435" y="0"/>
                  </a:lnTo>
                  <a:lnTo>
                    <a:pt x="64770" y="0"/>
                  </a:lnTo>
                  <a:lnTo>
                    <a:pt x="73343" y="18097"/>
                  </a:lnTo>
                  <a:lnTo>
                    <a:pt x="84773" y="35243"/>
                  </a:lnTo>
                  <a:lnTo>
                    <a:pt x="112395" y="35243"/>
                  </a:lnTo>
                  <a:lnTo>
                    <a:pt x="134303" y="9525"/>
                  </a:lnTo>
                  <a:lnTo>
                    <a:pt x="150495" y="14288"/>
                  </a:lnTo>
                  <a:lnTo>
                    <a:pt x="150495" y="37147"/>
                  </a:lnTo>
                  <a:lnTo>
                    <a:pt x="166688" y="47625"/>
                  </a:lnTo>
                  <a:lnTo>
                    <a:pt x="169545" y="64770"/>
                  </a:lnTo>
                  <a:lnTo>
                    <a:pt x="178118" y="76200"/>
                  </a:lnTo>
                  <a:lnTo>
                    <a:pt x="153353" y="76200"/>
                  </a:lnTo>
                  <a:lnTo>
                    <a:pt x="145733" y="89535"/>
                  </a:lnTo>
                  <a:lnTo>
                    <a:pt x="157163" y="100013"/>
                  </a:lnTo>
                  <a:lnTo>
                    <a:pt x="164783" y="113347"/>
                  </a:lnTo>
                  <a:lnTo>
                    <a:pt x="157163" y="130493"/>
                  </a:lnTo>
                  <a:lnTo>
                    <a:pt x="137160" y="138113"/>
                  </a:lnTo>
                  <a:lnTo>
                    <a:pt x="122873" y="137160"/>
                  </a:lnTo>
                  <a:lnTo>
                    <a:pt x="106680" y="153353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6" name="Полилиния: фигура 13">
              <a:extLst>
                <a:ext uri="{FF2B5EF4-FFF2-40B4-BE49-F238E27FC236}">
                  <a16:creationId xmlns:a16="http://schemas.microsoft.com/office/drawing/2014/main" id="{8116A92E-6258-4F3E-A0E1-E84C9BBECF97}"/>
                </a:ext>
              </a:extLst>
            </p:cNvPr>
            <p:cNvSpPr/>
            <p:nvPr/>
          </p:nvSpPr>
          <p:spPr>
            <a:xfrm>
              <a:off x="3443839" y="5624521"/>
              <a:ext cx="105635" cy="82811"/>
            </a:xfrm>
            <a:custGeom>
              <a:avLst/>
              <a:gdLst>
                <a:gd name="connsiteX0" fmla="*/ 0 w 163830"/>
                <a:gd name="connsiteY0" fmla="*/ 45720 h 147637"/>
                <a:gd name="connsiteX1" fmla="*/ 5715 w 163830"/>
                <a:gd name="connsiteY1" fmla="*/ 91440 h 147637"/>
                <a:gd name="connsiteX2" fmla="*/ 25718 w 163830"/>
                <a:gd name="connsiteY2" fmla="*/ 110490 h 147637"/>
                <a:gd name="connsiteX3" fmla="*/ 56198 w 163830"/>
                <a:gd name="connsiteY3" fmla="*/ 115253 h 147637"/>
                <a:gd name="connsiteX4" fmla="*/ 74295 w 163830"/>
                <a:gd name="connsiteY4" fmla="*/ 132397 h 147637"/>
                <a:gd name="connsiteX5" fmla="*/ 79058 w 163830"/>
                <a:gd name="connsiteY5" fmla="*/ 147638 h 147637"/>
                <a:gd name="connsiteX6" fmla="*/ 92393 w 163830"/>
                <a:gd name="connsiteY6" fmla="*/ 124778 h 147637"/>
                <a:gd name="connsiteX7" fmla="*/ 114300 w 163830"/>
                <a:gd name="connsiteY7" fmla="*/ 124778 h 147637"/>
                <a:gd name="connsiteX8" fmla="*/ 116205 w 163830"/>
                <a:gd name="connsiteY8" fmla="*/ 109538 h 147637"/>
                <a:gd name="connsiteX9" fmla="*/ 109538 w 163830"/>
                <a:gd name="connsiteY9" fmla="*/ 87630 h 147637"/>
                <a:gd name="connsiteX10" fmla="*/ 116205 w 163830"/>
                <a:gd name="connsiteY10" fmla="*/ 54293 h 147637"/>
                <a:gd name="connsiteX11" fmla="*/ 135255 w 163830"/>
                <a:gd name="connsiteY11" fmla="*/ 47625 h 147637"/>
                <a:gd name="connsiteX12" fmla="*/ 163830 w 163830"/>
                <a:gd name="connsiteY12" fmla="*/ 47625 h 147637"/>
                <a:gd name="connsiteX13" fmla="*/ 158115 w 163830"/>
                <a:gd name="connsiteY13" fmla="*/ 23813 h 147637"/>
                <a:gd name="connsiteX14" fmla="*/ 131445 w 163830"/>
                <a:gd name="connsiteY14" fmla="*/ 0 h 147637"/>
                <a:gd name="connsiteX15" fmla="*/ 120015 w 163830"/>
                <a:gd name="connsiteY15" fmla="*/ 8572 h 147637"/>
                <a:gd name="connsiteX16" fmla="*/ 120015 w 163830"/>
                <a:gd name="connsiteY16" fmla="*/ 25718 h 147637"/>
                <a:gd name="connsiteX17" fmla="*/ 109538 w 163830"/>
                <a:gd name="connsiteY17" fmla="*/ 36195 h 147637"/>
                <a:gd name="connsiteX18" fmla="*/ 84773 w 163830"/>
                <a:gd name="connsiteY18" fmla="*/ 38100 h 147637"/>
                <a:gd name="connsiteX19" fmla="*/ 75248 w 163830"/>
                <a:gd name="connsiteY19" fmla="*/ 46672 h 147637"/>
                <a:gd name="connsiteX20" fmla="*/ 61913 w 163830"/>
                <a:gd name="connsiteY20" fmla="*/ 34290 h 147637"/>
                <a:gd name="connsiteX21" fmla="*/ 43815 w 163830"/>
                <a:gd name="connsiteY21" fmla="*/ 34290 h 147637"/>
                <a:gd name="connsiteX22" fmla="*/ 31433 w 163830"/>
                <a:gd name="connsiteY22" fmla="*/ 41910 h 147637"/>
                <a:gd name="connsiteX23" fmla="*/ 19050 w 163830"/>
                <a:gd name="connsiteY23" fmla="*/ 40005 h 147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63830" h="147637">
                  <a:moveTo>
                    <a:pt x="0" y="45720"/>
                  </a:moveTo>
                  <a:lnTo>
                    <a:pt x="5715" y="91440"/>
                  </a:lnTo>
                  <a:lnTo>
                    <a:pt x="25718" y="110490"/>
                  </a:lnTo>
                  <a:lnTo>
                    <a:pt x="56198" y="115253"/>
                  </a:lnTo>
                  <a:lnTo>
                    <a:pt x="74295" y="132397"/>
                  </a:lnTo>
                  <a:lnTo>
                    <a:pt x="79058" y="147638"/>
                  </a:lnTo>
                  <a:lnTo>
                    <a:pt x="92393" y="124778"/>
                  </a:lnTo>
                  <a:lnTo>
                    <a:pt x="114300" y="124778"/>
                  </a:lnTo>
                  <a:lnTo>
                    <a:pt x="116205" y="109538"/>
                  </a:lnTo>
                  <a:lnTo>
                    <a:pt x="109538" y="87630"/>
                  </a:lnTo>
                  <a:lnTo>
                    <a:pt x="116205" y="54293"/>
                  </a:lnTo>
                  <a:lnTo>
                    <a:pt x="135255" y="47625"/>
                  </a:lnTo>
                  <a:lnTo>
                    <a:pt x="163830" y="47625"/>
                  </a:lnTo>
                  <a:lnTo>
                    <a:pt x="158115" y="23813"/>
                  </a:lnTo>
                  <a:lnTo>
                    <a:pt x="131445" y="0"/>
                  </a:lnTo>
                  <a:lnTo>
                    <a:pt x="120015" y="8572"/>
                  </a:lnTo>
                  <a:lnTo>
                    <a:pt x="120015" y="25718"/>
                  </a:lnTo>
                  <a:lnTo>
                    <a:pt x="109538" y="36195"/>
                  </a:lnTo>
                  <a:lnTo>
                    <a:pt x="84773" y="38100"/>
                  </a:lnTo>
                  <a:lnTo>
                    <a:pt x="75248" y="46672"/>
                  </a:lnTo>
                  <a:lnTo>
                    <a:pt x="61913" y="34290"/>
                  </a:lnTo>
                  <a:lnTo>
                    <a:pt x="43815" y="34290"/>
                  </a:lnTo>
                  <a:lnTo>
                    <a:pt x="31433" y="41910"/>
                  </a:lnTo>
                  <a:lnTo>
                    <a:pt x="19050" y="4000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7" name="Полилиния: фигура 14">
              <a:extLst>
                <a:ext uri="{FF2B5EF4-FFF2-40B4-BE49-F238E27FC236}">
                  <a16:creationId xmlns:a16="http://schemas.microsoft.com/office/drawing/2014/main" id="{8243B950-7A53-4EDD-BD00-1CB9F65DD2A7}"/>
                </a:ext>
              </a:extLst>
            </p:cNvPr>
            <p:cNvSpPr/>
            <p:nvPr/>
          </p:nvSpPr>
          <p:spPr>
            <a:xfrm>
              <a:off x="3494814" y="5651234"/>
              <a:ext cx="56502" cy="71591"/>
            </a:xfrm>
            <a:custGeom>
              <a:avLst/>
              <a:gdLst>
                <a:gd name="connsiteX0" fmla="*/ 82867 w 87629"/>
                <a:gd name="connsiteY0" fmla="*/ 57150 h 127634"/>
                <a:gd name="connsiteX1" fmla="*/ 69532 w 87629"/>
                <a:gd name="connsiteY1" fmla="*/ 85725 h 127634"/>
                <a:gd name="connsiteX2" fmla="*/ 52388 w 87629"/>
                <a:gd name="connsiteY2" fmla="*/ 113347 h 127634"/>
                <a:gd name="connsiteX3" fmla="*/ 31432 w 87629"/>
                <a:gd name="connsiteY3" fmla="*/ 127635 h 127634"/>
                <a:gd name="connsiteX4" fmla="*/ 23813 w 87629"/>
                <a:gd name="connsiteY4" fmla="*/ 102870 h 127634"/>
                <a:gd name="connsiteX5" fmla="*/ 0 w 87629"/>
                <a:gd name="connsiteY5" fmla="*/ 100013 h 127634"/>
                <a:gd name="connsiteX6" fmla="*/ 13335 w 87629"/>
                <a:gd name="connsiteY6" fmla="*/ 77153 h 127634"/>
                <a:gd name="connsiteX7" fmla="*/ 35242 w 87629"/>
                <a:gd name="connsiteY7" fmla="*/ 77153 h 127634"/>
                <a:gd name="connsiteX8" fmla="*/ 37148 w 87629"/>
                <a:gd name="connsiteY8" fmla="*/ 61913 h 127634"/>
                <a:gd name="connsiteX9" fmla="*/ 30480 w 87629"/>
                <a:gd name="connsiteY9" fmla="*/ 40005 h 127634"/>
                <a:gd name="connsiteX10" fmla="*/ 37148 w 87629"/>
                <a:gd name="connsiteY10" fmla="*/ 6668 h 127634"/>
                <a:gd name="connsiteX11" fmla="*/ 56198 w 87629"/>
                <a:gd name="connsiteY11" fmla="*/ 0 h 127634"/>
                <a:gd name="connsiteX12" fmla="*/ 65723 w 87629"/>
                <a:gd name="connsiteY12" fmla="*/ 18097 h 127634"/>
                <a:gd name="connsiteX13" fmla="*/ 87630 w 87629"/>
                <a:gd name="connsiteY13" fmla="*/ 35243 h 127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629" h="127634">
                  <a:moveTo>
                    <a:pt x="82867" y="57150"/>
                  </a:moveTo>
                  <a:lnTo>
                    <a:pt x="69532" y="85725"/>
                  </a:lnTo>
                  <a:lnTo>
                    <a:pt x="52388" y="113347"/>
                  </a:lnTo>
                  <a:lnTo>
                    <a:pt x="31432" y="127635"/>
                  </a:lnTo>
                  <a:lnTo>
                    <a:pt x="23813" y="102870"/>
                  </a:lnTo>
                  <a:lnTo>
                    <a:pt x="0" y="100013"/>
                  </a:lnTo>
                  <a:lnTo>
                    <a:pt x="13335" y="77153"/>
                  </a:lnTo>
                  <a:lnTo>
                    <a:pt x="35242" y="77153"/>
                  </a:lnTo>
                  <a:lnTo>
                    <a:pt x="37148" y="61913"/>
                  </a:lnTo>
                  <a:lnTo>
                    <a:pt x="30480" y="40005"/>
                  </a:lnTo>
                  <a:lnTo>
                    <a:pt x="37148" y="6668"/>
                  </a:lnTo>
                  <a:lnTo>
                    <a:pt x="56198" y="0"/>
                  </a:lnTo>
                  <a:lnTo>
                    <a:pt x="65723" y="18097"/>
                  </a:lnTo>
                  <a:lnTo>
                    <a:pt x="87630" y="35243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8" name="Полилиния: фигура 15">
              <a:extLst>
                <a:ext uri="{FF2B5EF4-FFF2-40B4-BE49-F238E27FC236}">
                  <a16:creationId xmlns:a16="http://schemas.microsoft.com/office/drawing/2014/main" id="{FB30E43E-5131-4486-96B7-80C0822C1BB8}"/>
                </a:ext>
              </a:extLst>
            </p:cNvPr>
            <p:cNvSpPr/>
            <p:nvPr/>
          </p:nvSpPr>
          <p:spPr>
            <a:xfrm>
              <a:off x="3515081" y="5603685"/>
              <a:ext cx="170735" cy="271405"/>
            </a:xfrm>
            <a:custGeom>
              <a:avLst/>
              <a:gdLst>
                <a:gd name="connsiteX0" fmla="*/ 256223 w 264795"/>
                <a:gd name="connsiteY0" fmla="*/ 77153 h 483869"/>
                <a:gd name="connsiteX1" fmla="*/ 241935 w 264795"/>
                <a:gd name="connsiteY1" fmla="*/ 91440 h 483869"/>
                <a:gd name="connsiteX2" fmla="*/ 241935 w 264795"/>
                <a:gd name="connsiteY2" fmla="*/ 114300 h 483869"/>
                <a:gd name="connsiteX3" fmla="*/ 256223 w 264795"/>
                <a:gd name="connsiteY3" fmla="*/ 129540 h 483869"/>
                <a:gd name="connsiteX4" fmla="*/ 264795 w 264795"/>
                <a:gd name="connsiteY4" fmla="*/ 156210 h 483869"/>
                <a:gd name="connsiteX5" fmla="*/ 258128 w 264795"/>
                <a:gd name="connsiteY5" fmla="*/ 182880 h 483869"/>
                <a:gd name="connsiteX6" fmla="*/ 251460 w 264795"/>
                <a:gd name="connsiteY6" fmla="*/ 207645 h 483869"/>
                <a:gd name="connsiteX7" fmla="*/ 235268 w 264795"/>
                <a:gd name="connsiteY7" fmla="*/ 223838 h 483869"/>
                <a:gd name="connsiteX8" fmla="*/ 235268 w 264795"/>
                <a:gd name="connsiteY8" fmla="*/ 234315 h 483869"/>
                <a:gd name="connsiteX9" fmla="*/ 220980 w 264795"/>
                <a:gd name="connsiteY9" fmla="*/ 246697 h 483869"/>
                <a:gd name="connsiteX10" fmla="*/ 190500 w 264795"/>
                <a:gd name="connsiteY10" fmla="*/ 297180 h 483869"/>
                <a:gd name="connsiteX11" fmla="*/ 190500 w 264795"/>
                <a:gd name="connsiteY11" fmla="*/ 337185 h 483869"/>
                <a:gd name="connsiteX12" fmla="*/ 199073 w 264795"/>
                <a:gd name="connsiteY12" fmla="*/ 384810 h 483869"/>
                <a:gd name="connsiteX13" fmla="*/ 193358 w 264795"/>
                <a:gd name="connsiteY13" fmla="*/ 421957 h 483869"/>
                <a:gd name="connsiteX14" fmla="*/ 196215 w 264795"/>
                <a:gd name="connsiteY14" fmla="*/ 466725 h 483869"/>
                <a:gd name="connsiteX15" fmla="*/ 161925 w 264795"/>
                <a:gd name="connsiteY15" fmla="*/ 481965 h 483869"/>
                <a:gd name="connsiteX16" fmla="*/ 139065 w 264795"/>
                <a:gd name="connsiteY16" fmla="*/ 472440 h 483869"/>
                <a:gd name="connsiteX17" fmla="*/ 106680 w 264795"/>
                <a:gd name="connsiteY17" fmla="*/ 483870 h 483869"/>
                <a:gd name="connsiteX18" fmla="*/ 76200 w 264795"/>
                <a:gd name="connsiteY18" fmla="*/ 476250 h 483869"/>
                <a:gd name="connsiteX19" fmla="*/ 71438 w 264795"/>
                <a:gd name="connsiteY19" fmla="*/ 449580 h 483869"/>
                <a:gd name="connsiteX20" fmla="*/ 56198 w 264795"/>
                <a:gd name="connsiteY20" fmla="*/ 402907 h 483869"/>
                <a:gd name="connsiteX21" fmla="*/ 53340 w 264795"/>
                <a:gd name="connsiteY21" fmla="*/ 369570 h 483869"/>
                <a:gd name="connsiteX22" fmla="*/ 30480 w 264795"/>
                <a:gd name="connsiteY22" fmla="*/ 354330 h 483869"/>
                <a:gd name="connsiteX23" fmla="*/ 30480 w 264795"/>
                <a:gd name="connsiteY23" fmla="*/ 335280 h 483869"/>
                <a:gd name="connsiteX24" fmla="*/ 19050 w 264795"/>
                <a:gd name="connsiteY24" fmla="*/ 305753 h 483869"/>
                <a:gd name="connsiteX25" fmla="*/ 0 w 264795"/>
                <a:gd name="connsiteY25" fmla="*/ 280988 h 483869"/>
                <a:gd name="connsiteX26" fmla="*/ 12383 w 264795"/>
                <a:gd name="connsiteY26" fmla="*/ 259080 h 483869"/>
                <a:gd name="connsiteX27" fmla="*/ 36195 w 264795"/>
                <a:gd name="connsiteY27" fmla="*/ 256222 h 483869"/>
                <a:gd name="connsiteX28" fmla="*/ 52388 w 264795"/>
                <a:gd name="connsiteY28" fmla="*/ 244793 h 483869"/>
                <a:gd name="connsiteX29" fmla="*/ 75248 w 264795"/>
                <a:gd name="connsiteY29" fmla="*/ 246697 h 483869"/>
                <a:gd name="connsiteX30" fmla="*/ 90488 w 264795"/>
                <a:gd name="connsiteY30" fmla="*/ 235268 h 483869"/>
                <a:gd name="connsiteX31" fmla="*/ 113348 w 264795"/>
                <a:gd name="connsiteY31" fmla="*/ 248603 h 483869"/>
                <a:gd name="connsiteX32" fmla="*/ 122873 w 264795"/>
                <a:gd name="connsiteY32" fmla="*/ 215265 h 483869"/>
                <a:gd name="connsiteX33" fmla="*/ 146685 w 264795"/>
                <a:gd name="connsiteY33" fmla="*/ 185738 h 483869"/>
                <a:gd name="connsiteX34" fmla="*/ 172403 w 264795"/>
                <a:gd name="connsiteY34" fmla="*/ 171450 h 483869"/>
                <a:gd name="connsiteX35" fmla="*/ 187643 w 264795"/>
                <a:gd name="connsiteY35" fmla="*/ 166688 h 483869"/>
                <a:gd name="connsiteX36" fmla="*/ 184785 w 264795"/>
                <a:gd name="connsiteY36" fmla="*/ 134303 h 483869"/>
                <a:gd name="connsiteX37" fmla="*/ 156210 w 264795"/>
                <a:gd name="connsiteY37" fmla="*/ 131445 h 483869"/>
                <a:gd name="connsiteX38" fmla="*/ 140018 w 264795"/>
                <a:gd name="connsiteY38" fmla="*/ 110490 h 483869"/>
                <a:gd name="connsiteX39" fmla="*/ 120015 w 264795"/>
                <a:gd name="connsiteY39" fmla="*/ 88582 h 483869"/>
                <a:gd name="connsiteX40" fmla="*/ 127635 w 264795"/>
                <a:gd name="connsiteY40" fmla="*/ 65722 h 483869"/>
                <a:gd name="connsiteX41" fmla="*/ 113348 w 264795"/>
                <a:gd name="connsiteY41" fmla="*/ 59055 h 483869"/>
                <a:gd name="connsiteX42" fmla="*/ 113348 w 264795"/>
                <a:gd name="connsiteY42" fmla="*/ 46672 h 483869"/>
                <a:gd name="connsiteX43" fmla="*/ 130493 w 264795"/>
                <a:gd name="connsiteY43" fmla="*/ 46672 h 483869"/>
                <a:gd name="connsiteX44" fmla="*/ 140970 w 264795"/>
                <a:gd name="connsiteY44" fmla="*/ 38100 h 483869"/>
                <a:gd name="connsiteX45" fmla="*/ 134303 w 264795"/>
                <a:gd name="connsiteY45" fmla="*/ 25718 h 483869"/>
                <a:gd name="connsiteX46" fmla="*/ 144780 w 264795"/>
                <a:gd name="connsiteY46" fmla="*/ 15240 h 483869"/>
                <a:gd name="connsiteX47" fmla="*/ 162878 w 264795"/>
                <a:gd name="connsiteY47" fmla="*/ 21907 h 483869"/>
                <a:gd name="connsiteX48" fmla="*/ 184785 w 264795"/>
                <a:gd name="connsiteY48" fmla="*/ 14288 h 483869"/>
                <a:gd name="connsiteX49" fmla="*/ 206693 w 264795"/>
                <a:gd name="connsiteY49" fmla="*/ 0 h 483869"/>
                <a:gd name="connsiteX50" fmla="*/ 225743 w 264795"/>
                <a:gd name="connsiteY50" fmla="*/ 14288 h 483869"/>
                <a:gd name="connsiteX51" fmla="*/ 236220 w 264795"/>
                <a:gd name="connsiteY51" fmla="*/ 28575 h 483869"/>
                <a:gd name="connsiteX52" fmla="*/ 251460 w 264795"/>
                <a:gd name="connsiteY52" fmla="*/ 34290 h 483869"/>
                <a:gd name="connsiteX53" fmla="*/ 258128 w 264795"/>
                <a:gd name="connsiteY53" fmla="*/ 52388 h 483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64795" h="483869">
                  <a:moveTo>
                    <a:pt x="256223" y="77153"/>
                  </a:moveTo>
                  <a:lnTo>
                    <a:pt x="241935" y="91440"/>
                  </a:lnTo>
                  <a:lnTo>
                    <a:pt x="241935" y="114300"/>
                  </a:lnTo>
                  <a:lnTo>
                    <a:pt x="256223" y="129540"/>
                  </a:lnTo>
                  <a:lnTo>
                    <a:pt x="264795" y="156210"/>
                  </a:lnTo>
                  <a:lnTo>
                    <a:pt x="258128" y="182880"/>
                  </a:lnTo>
                  <a:lnTo>
                    <a:pt x="251460" y="207645"/>
                  </a:lnTo>
                  <a:lnTo>
                    <a:pt x="235268" y="223838"/>
                  </a:lnTo>
                  <a:lnTo>
                    <a:pt x="235268" y="234315"/>
                  </a:lnTo>
                  <a:lnTo>
                    <a:pt x="220980" y="246697"/>
                  </a:lnTo>
                  <a:lnTo>
                    <a:pt x="190500" y="297180"/>
                  </a:lnTo>
                  <a:lnTo>
                    <a:pt x="190500" y="337185"/>
                  </a:lnTo>
                  <a:lnTo>
                    <a:pt x="199073" y="384810"/>
                  </a:lnTo>
                  <a:lnTo>
                    <a:pt x="193358" y="421957"/>
                  </a:lnTo>
                  <a:lnTo>
                    <a:pt x="196215" y="466725"/>
                  </a:lnTo>
                  <a:lnTo>
                    <a:pt x="161925" y="481965"/>
                  </a:lnTo>
                  <a:lnTo>
                    <a:pt x="139065" y="472440"/>
                  </a:lnTo>
                  <a:lnTo>
                    <a:pt x="106680" y="483870"/>
                  </a:lnTo>
                  <a:lnTo>
                    <a:pt x="76200" y="476250"/>
                  </a:lnTo>
                  <a:lnTo>
                    <a:pt x="71438" y="449580"/>
                  </a:lnTo>
                  <a:lnTo>
                    <a:pt x="56198" y="402907"/>
                  </a:lnTo>
                  <a:lnTo>
                    <a:pt x="53340" y="369570"/>
                  </a:lnTo>
                  <a:lnTo>
                    <a:pt x="30480" y="354330"/>
                  </a:lnTo>
                  <a:lnTo>
                    <a:pt x="30480" y="335280"/>
                  </a:lnTo>
                  <a:lnTo>
                    <a:pt x="19050" y="305753"/>
                  </a:lnTo>
                  <a:lnTo>
                    <a:pt x="0" y="280988"/>
                  </a:lnTo>
                  <a:lnTo>
                    <a:pt x="12383" y="259080"/>
                  </a:lnTo>
                  <a:lnTo>
                    <a:pt x="36195" y="256222"/>
                  </a:lnTo>
                  <a:lnTo>
                    <a:pt x="52388" y="244793"/>
                  </a:lnTo>
                  <a:lnTo>
                    <a:pt x="75248" y="246697"/>
                  </a:lnTo>
                  <a:lnTo>
                    <a:pt x="90488" y="235268"/>
                  </a:lnTo>
                  <a:lnTo>
                    <a:pt x="113348" y="248603"/>
                  </a:lnTo>
                  <a:lnTo>
                    <a:pt x="122873" y="215265"/>
                  </a:lnTo>
                  <a:lnTo>
                    <a:pt x="146685" y="185738"/>
                  </a:lnTo>
                  <a:lnTo>
                    <a:pt x="172403" y="171450"/>
                  </a:lnTo>
                  <a:lnTo>
                    <a:pt x="187643" y="166688"/>
                  </a:lnTo>
                  <a:lnTo>
                    <a:pt x="184785" y="134303"/>
                  </a:lnTo>
                  <a:lnTo>
                    <a:pt x="156210" y="131445"/>
                  </a:lnTo>
                  <a:lnTo>
                    <a:pt x="140018" y="110490"/>
                  </a:lnTo>
                  <a:lnTo>
                    <a:pt x="120015" y="88582"/>
                  </a:lnTo>
                  <a:lnTo>
                    <a:pt x="127635" y="65722"/>
                  </a:lnTo>
                  <a:lnTo>
                    <a:pt x="113348" y="59055"/>
                  </a:lnTo>
                  <a:lnTo>
                    <a:pt x="113348" y="46672"/>
                  </a:lnTo>
                  <a:lnTo>
                    <a:pt x="130493" y="46672"/>
                  </a:lnTo>
                  <a:lnTo>
                    <a:pt x="140970" y="38100"/>
                  </a:lnTo>
                  <a:lnTo>
                    <a:pt x="134303" y="25718"/>
                  </a:lnTo>
                  <a:lnTo>
                    <a:pt x="144780" y="15240"/>
                  </a:lnTo>
                  <a:lnTo>
                    <a:pt x="162878" y="21907"/>
                  </a:lnTo>
                  <a:lnTo>
                    <a:pt x="184785" y="14288"/>
                  </a:lnTo>
                  <a:lnTo>
                    <a:pt x="206693" y="0"/>
                  </a:lnTo>
                  <a:lnTo>
                    <a:pt x="225743" y="14288"/>
                  </a:lnTo>
                  <a:lnTo>
                    <a:pt x="236220" y="28575"/>
                  </a:lnTo>
                  <a:lnTo>
                    <a:pt x="251460" y="34290"/>
                  </a:lnTo>
                  <a:lnTo>
                    <a:pt x="258128" y="52388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9" name="Полилиния: фигура 16">
              <a:extLst>
                <a:ext uri="{FF2B5EF4-FFF2-40B4-BE49-F238E27FC236}">
                  <a16:creationId xmlns:a16="http://schemas.microsoft.com/office/drawing/2014/main" id="{F5DF7A4C-49EE-4156-A0D0-E7B3BA9600D4}"/>
                </a:ext>
              </a:extLst>
            </p:cNvPr>
            <p:cNvSpPr/>
            <p:nvPr/>
          </p:nvSpPr>
          <p:spPr>
            <a:xfrm>
              <a:off x="3515081" y="5385705"/>
              <a:ext cx="298480" cy="263925"/>
            </a:xfrm>
            <a:custGeom>
              <a:avLst/>
              <a:gdLst>
                <a:gd name="connsiteX0" fmla="*/ 273368 w 462915"/>
                <a:gd name="connsiteY0" fmla="*/ 470535 h 470534"/>
                <a:gd name="connsiteX1" fmla="*/ 302895 w 462915"/>
                <a:gd name="connsiteY1" fmla="*/ 461963 h 470534"/>
                <a:gd name="connsiteX2" fmla="*/ 329565 w 462915"/>
                <a:gd name="connsiteY2" fmla="*/ 461963 h 470534"/>
                <a:gd name="connsiteX3" fmla="*/ 353378 w 462915"/>
                <a:gd name="connsiteY3" fmla="*/ 433388 h 470534"/>
                <a:gd name="connsiteX4" fmla="*/ 373380 w 462915"/>
                <a:gd name="connsiteY4" fmla="*/ 424815 h 470534"/>
                <a:gd name="connsiteX5" fmla="*/ 373380 w 462915"/>
                <a:gd name="connsiteY5" fmla="*/ 404813 h 470534"/>
                <a:gd name="connsiteX6" fmla="*/ 358140 w 462915"/>
                <a:gd name="connsiteY6" fmla="*/ 394335 h 470534"/>
                <a:gd name="connsiteX7" fmla="*/ 339090 w 462915"/>
                <a:gd name="connsiteY7" fmla="*/ 394335 h 470534"/>
                <a:gd name="connsiteX8" fmla="*/ 335280 w 462915"/>
                <a:gd name="connsiteY8" fmla="*/ 382905 h 470534"/>
                <a:gd name="connsiteX9" fmla="*/ 381000 w 462915"/>
                <a:gd name="connsiteY9" fmla="*/ 350520 h 470534"/>
                <a:gd name="connsiteX10" fmla="*/ 381000 w 462915"/>
                <a:gd name="connsiteY10" fmla="*/ 337185 h 470534"/>
                <a:gd name="connsiteX11" fmla="*/ 372428 w 462915"/>
                <a:gd name="connsiteY11" fmla="*/ 328613 h 470534"/>
                <a:gd name="connsiteX12" fmla="*/ 372428 w 462915"/>
                <a:gd name="connsiteY12" fmla="*/ 311467 h 470534"/>
                <a:gd name="connsiteX13" fmla="*/ 361950 w 462915"/>
                <a:gd name="connsiteY13" fmla="*/ 298132 h 470534"/>
                <a:gd name="connsiteX14" fmla="*/ 373380 w 462915"/>
                <a:gd name="connsiteY14" fmla="*/ 286702 h 470534"/>
                <a:gd name="connsiteX15" fmla="*/ 388620 w 462915"/>
                <a:gd name="connsiteY15" fmla="*/ 293370 h 470534"/>
                <a:gd name="connsiteX16" fmla="*/ 391478 w 462915"/>
                <a:gd name="connsiteY16" fmla="*/ 303847 h 470534"/>
                <a:gd name="connsiteX17" fmla="*/ 401955 w 462915"/>
                <a:gd name="connsiteY17" fmla="*/ 303847 h 470534"/>
                <a:gd name="connsiteX18" fmla="*/ 403860 w 462915"/>
                <a:gd name="connsiteY18" fmla="*/ 285750 h 470534"/>
                <a:gd name="connsiteX19" fmla="*/ 434340 w 462915"/>
                <a:gd name="connsiteY19" fmla="*/ 288607 h 470534"/>
                <a:gd name="connsiteX20" fmla="*/ 442913 w 462915"/>
                <a:gd name="connsiteY20" fmla="*/ 265747 h 470534"/>
                <a:gd name="connsiteX21" fmla="*/ 428625 w 462915"/>
                <a:gd name="connsiteY21" fmla="*/ 252413 h 470534"/>
                <a:gd name="connsiteX22" fmla="*/ 439103 w 462915"/>
                <a:gd name="connsiteY22" fmla="*/ 216217 h 470534"/>
                <a:gd name="connsiteX23" fmla="*/ 455295 w 462915"/>
                <a:gd name="connsiteY23" fmla="*/ 207645 h 470534"/>
                <a:gd name="connsiteX24" fmla="*/ 459105 w 462915"/>
                <a:gd name="connsiteY24" fmla="*/ 190500 h 470534"/>
                <a:gd name="connsiteX25" fmla="*/ 462915 w 462915"/>
                <a:gd name="connsiteY25" fmla="*/ 173355 h 470534"/>
                <a:gd name="connsiteX26" fmla="*/ 431483 w 462915"/>
                <a:gd name="connsiteY26" fmla="*/ 171450 h 470534"/>
                <a:gd name="connsiteX27" fmla="*/ 417195 w 462915"/>
                <a:gd name="connsiteY27" fmla="*/ 154305 h 470534"/>
                <a:gd name="connsiteX28" fmla="*/ 415290 w 462915"/>
                <a:gd name="connsiteY28" fmla="*/ 126682 h 470534"/>
                <a:gd name="connsiteX29" fmla="*/ 420053 w 462915"/>
                <a:gd name="connsiteY29" fmla="*/ 104775 h 470534"/>
                <a:gd name="connsiteX30" fmla="*/ 422910 w 462915"/>
                <a:gd name="connsiteY30" fmla="*/ 81915 h 470534"/>
                <a:gd name="connsiteX31" fmla="*/ 406718 w 462915"/>
                <a:gd name="connsiteY31" fmla="*/ 70485 h 470534"/>
                <a:gd name="connsiteX32" fmla="*/ 399098 w 462915"/>
                <a:gd name="connsiteY32" fmla="*/ 42863 h 470534"/>
                <a:gd name="connsiteX33" fmla="*/ 373380 w 462915"/>
                <a:gd name="connsiteY33" fmla="*/ 37147 h 470534"/>
                <a:gd name="connsiteX34" fmla="*/ 358140 w 462915"/>
                <a:gd name="connsiteY34" fmla="*/ 21907 h 470534"/>
                <a:gd name="connsiteX35" fmla="*/ 358140 w 462915"/>
                <a:gd name="connsiteY35" fmla="*/ 4763 h 470534"/>
                <a:gd name="connsiteX36" fmla="*/ 344805 w 462915"/>
                <a:gd name="connsiteY36" fmla="*/ 0 h 470534"/>
                <a:gd name="connsiteX37" fmla="*/ 335280 w 462915"/>
                <a:gd name="connsiteY37" fmla="*/ 27622 h 470534"/>
                <a:gd name="connsiteX38" fmla="*/ 320040 w 462915"/>
                <a:gd name="connsiteY38" fmla="*/ 33338 h 470534"/>
                <a:gd name="connsiteX39" fmla="*/ 305753 w 462915"/>
                <a:gd name="connsiteY39" fmla="*/ 19050 h 470534"/>
                <a:gd name="connsiteX40" fmla="*/ 288608 w 462915"/>
                <a:gd name="connsiteY40" fmla="*/ 25717 h 470534"/>
                <a:gd name="connsiteX41" fmla="*/ 273368 w 462915"/>
                <a:gd name="connsiteY41" fmla="*/ 10477 h 470534"/>
                <a:gd name="connsiteX42" fmla="*/ 248603 w 462915"/>
                <a:gd name="connsiteY42" fmla="*/ 33338 h 470534"/>
                <a:gd name="connsiteX43" fmla="*/ 248603 w 462915"/>
                <a:gd name="connsiteY43" fmla="*/ 63817 h 470534"/>
                <a:gd name="connsiteX44" fmla="*/ 265748 w 462915"/>
                <a:gd name="connsiteY44" fmla="*/ 64770 h 470534"/>
                <a:gd name="connsiteX45" fmla="*/ 286703 w 462915"/>
                <a:gd name="connsiteY45" fmla="*/ 54292 h 470534"/>
                <a:gd name="connsiteX46" fmla="*/ 286703 w 462915"/>
                <a:gd name="connsiteY46" fmla="*/ 74295 h 470534"/>
                <a:gd name="connsiteX47" fmla="*/ 273368 w 462915"/>
                <a:gd name="connsiteY47" fmla="*/ 102870 h 470534"/>
                <a:gd name="connsiteX48" fmla="*/ 243840 w 462915"/>
                <a:gd name="connsiteY48" fmla="*/ 123825 h 470534"/>
                <a:gd name="connsiteX49" fmla="*/ 211455 w 462915"/>
                <a:gd name="connsiteY49" fmla="*/ 123825 h 470534"/>
                <a:gd name="connsiteX50" fmla="*/ 181928 w 462915"/>
                <a:gd name="connsiteY50" fmla="*/ 155257 h 470534"/>
                <a:gd name="connsiteX51" fmla="*/ 164783 w 462915"/>
                <a:gd name="connsiteY51" fmla="*/ 150495 h 470534"/>
                <a:gd name="connsiteX52" fmla="*/ 158115 w 462915"/>
                <a:gd name="connsiteY52" fmla="*/ 157163 h 470534"/>
                <a:gd name="connsiteX53" fmla="*/ 142875 w 462915"/>
                <a:gd name="connsiteY53" fmla="*/ 151447 h 470534"/>
                <a:gd name="connsiteX54" fmla="*/ 132398 w 462915"/>
                <a:gd name="connsiteY54" fmla="*/ 140970 h 470534"/>
                <a:gd name="connsiteX55" fmla="*/ 121920 w 462915"/>
                <a:gd name="connsiteY55" fmla="*/ 99060 h 470534"/>
                <a:gd name="connsiteX56" fmla="*/ 104775 w 462915"/>
                <a:gd name="connsiteY56" fmla="*/ 94297 h 470534"/>
                <a:gd name="connsiteX57" fmla="*/ 91440 w 462915"/>
                <a:gd name="connsiteY57" fmla="*/ 80963 h 470534"/>
                <a:gd name="connsiteX58" fmla="*/ 91440 w 462915"/>
                <a:gd name="connsiteY58" fmla="*/ 61913 h 470534"/>
                <a:gd name="connsiteX59" fmla="*/ 83820 w 462915"/>
                <a:gd name="connsiteY59" fmla="*/ 41910 h 470534"/>
                <a:gd name="connsiteX60" fmla="*/ 67628 w 462915"/>
                <a:gd name="connsiteY60" fmla="*/ 41910 h 470534"/>
                <a:gd name="connsiteX61" fmla="*/ 67628 w 462915"/>
                <a:gd name="connsiteY61" fmla="*/ 56197 h 470534"/>
                <a:gd name="connsiteX62" fmla="*/ 58103 w 462915"/>
                <a:gd name="connsiteY62" fmla="*/ 65722 h 470534"/>
                <a:gd name="connsiteX63" fmla="*/ 31433 w 462915"/>
                <a:gd name="connsiteY63" fmla="*/ 65722 h 470534"/>
                <a:gd name="connsiteX64" fmla="*/ 18098 w 462915"/>
                <a:gd name="connsiteY64" fmla="*/ 56197 h 470534"/>
                <a:gd name="connsiteX65" fmla="*/ 0 w 462915"/>
                <a:gd name="connsiteY65" fmla="*/ 70485 h 470534"/>
                <a:gd name="connsiteX66" fmla="*/ 16193 w 462915"/>
                <a:gd name="connsiteY66" fmla="*/ 79057 h 470534"/>
                <a:gd name="connsiteX67" fmla="*/ 21908 w 462915"/>
                <a:gd name="connsiteY67" fmla="*/ 97155 h 470534"/>
                <a:gd name="connsiteX68" fmla="*/ 36195 w 462915"/>
                <a:gd name="connsiteY68" fmla="*/ 97155 h 470534"/>
                <a:gd name="connsiteX69" fmla="*/ 48578 w 462915"/>
                <a:gd name="connsiteY69" fmla="*/ 93345 h 470534"/>
                <a:gd name="connsiteX70" fmla="*/ 54293 w 462915"/>
                <a:gd name="connsiteY70" fmla="*/ 111442 h 470534"/>
                <a:gd name="connsiteX71" fmla="*/ 65723 w 462915"/>
                <a:gd name="connsiteY71" fmla="*/ 122872 h 470534"/>
                <a:gd name="connsiteX72" fmla="*/ 91440 w 462915"/>
                <a:gd name="connsiteY72" fmla="*/ 118110 h 470534"/>
                <a:gd name="connsiteX73" fmla="*/ 106680 w 462915"/>
                <a:gd name="connsiteY73" fmla="*/ 124777 h 470534"/>
                <a:gd name="connsiteX74" fmla="*/ 109538 w 462915"/>
                <a:gd name="connsiteY74" fmla="*/ 145732 h 470534"/>
                <a:gd name="connsiteX75" fmla="*/ 122873 w 462915"/>
                <a:gd name="connsiteY75" fmla="*/ 160972 h 470534"/>
                <a:gd name="connsiteX76" fmla="*/ 127635 w 462915"/>
                <a:gd name="connsiteY76" fmla="*/ 179070 h 470534"/>
                <a:gd name="connsiteX77" fmla="*/ 140970 w 462915"/>
                <a:gd name="connsiteY77" fmla="*/ 192405 h 470534"/>
                <a:gd name="connsiteX78" fmla="*/ 149543 w 462915"/>
                <a:gd name="connsiteY78" fmla="*/ 217170 h 470534"/>
                <a:gd name="connsiteX79" fmla="*/ 140018 w 462915"/>
                <a:gd name="connsiteY79" fmla="*/ 236220 h 470534"/>
                <a:gd name="connsiteX80" fmla="*/ 150495 w 462915"/>
                <a:gd name="connsiteY80" fmla="*/ 256222 h 470534"/>
                <a:gd name="connsiteX81" fmla="*/ 164783 w 462915"/>
                <a:gd name="connsiteY81" fmla="*/ 270510 h 470534"/>
                <a:gd name="connsiteX82" fmla="*/ 176213 w 462915"/>
                <a:gd name="connsiteY82" fmla="*/ 285750 h 470534"/>
                <a:gd name="connsiteX83" fmla="*/ 176213 w 462915"/>
                <a:gd name="connsiteY83" fmla="*/ 301942 h 470534"/>
                <a:gd name="connsiteX84" fmla="*/ 191453 w 462915"/>
                <a:gd name="connsiteY84" fmla="*/ 317182 h 470534"/>
                <a:gd name="connsiteX85" fmla="*/ 195263 w 462915"/>
                <a:gd name="connsiteY85" fmla="*/ 339090 h 470534"/>
                <a:gd name="connsiteX86" fmla="*/ 206693 w 462915"/>
                <a:gd name="connsiteY86" fmla="*/ 356235 h 470534"/>
                <a:gd name="connsiteX87" fmla="*/ 206693 w 462915"/>
                <a:gd name="connsiteY87" fmla="*/ 388620 h 470534"/>
                <a:gd name="connsiteX88" fmla="*/ 225743 w 462915"/>
                <a:gd name="connsiteY88" fmla="*/ 402907 h 470534"/>
                <a:gd name="connsiteX89" fmla="*/ 236220 w 462915"/>
                <a:gd name="connsiteY89" fmla="*/ 417195 h 470534"/>
                <a:gd name="connsiteX90" fmla="*/ 251460 w 462915"/>
                <a:gd name="connsiteY90" fmla="*/ 422910 h 470534"/>
                <a:gd name="connsiteX91" fmla="*/ 258128 w 462915"/>
                <a:gd name="connsiteY91" fmla="*/ 441007 h 470534"/>
                <a:gd name="connsiteX92" fmla="*/ 256223 w 462915"/>
                <a:gd name="connsiteY92" fmla="*/ 465772 h 470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462915" h="470534">
                  <a:moveTo>
                    <a:pt x="273368" y="470535"/>
                  </a:moveTo>
                  <a:lnTo>
                    <a:pt x="302895" y="461963"/>
                  </a:lnTo>
                  <a:lnTo>
                    <a:pt x="329565" y="461963"/>
                  </a:lnTo>
                  <a:lnTo>
                    <a:pt x="353378" y="433388"/>
                  </a:lnTo>
                  <a:lnTo>
                    <a:pt x="373380" y="424815"/>
                  </a:lnTo>
                  <a:lnTo>
                    <a:pt x="373380" y="404813"/>
                  </a:lnTo>
                  <a:lnTo>
                    <a:pt x="358140" y="394335"/>
                  </a:lnTo>
                  <a:lnTo>
                    <a:pt x="339090" y="394335"/>
                  </a:lnTo>
                  <a:lnTo>
                    <a:pt x="335280" y="382905"/>
                  </a:lnTo>
                  <a:lnTo>
                    <a:pt x="381000" y="350520"/>
                  </a:lnTo>
                  <a:lnTo>
                    <a:pt x="381000" y="337185"/>
                  </a:lnTo>
                  <a:lnTo>
                    <a:pt x="372428" y="328613"/>
                  </a:lnTo>
                  <a:lnTo>
                    <a:pt x="372428" y="311467"/>
                  </a:lnTo>
                  <a:lnTo>
                    <a:pt x="361950" y="298132"/>
                  </a:lnTo>
                  <a:lnTo>
                    <a:pt x="373380" y="286702"/>
                  </a:lnTo>
                  <a:lnTo>
                    <a:pt x="388620" y="293370"/>
                  </a:lnTo>
                  <a:lnTo>
                    <a:pt x="391478" y="303847"/>
                  </a:lnTo>
                  <a:lnTo>
                    <a:pt x="401955" y="303847"/>
                  </a:lnTo>
                  <a:lnTo>
                    <a:pt x="403860" y="285750"/>
                  </a:lnTo>
                  <a:lnTo>
                    <a:pt x="434340" y="288607"/>
                  </a:lnTo>
                  <a:lnTo>
                    <a:pt x="442913" y="265747"/>
                  </a:lnTo>
                  <a:lnTo>
                    <a:pt x="428625" y="252413"/>
                  </a:lnTo>
                  <a:lnTo>
                    <a:pt x="439103" y="216217"/>
                  </a:lnTo>
                  <a:lnTo>
                    <a:pt x="455295" y="207645"/>
                  </a:lnTo>
                  <a:lnTo>
                    <a:pt x="459105" y="190500"/>
                  </a:lnTo>
                  <a:lnTo>
                    <a:pt x="462915" y="173355"/>
                  </a:lnTo>
                  <a:lnTo>
                    <a:pt x="431483" y="171450"/>
                  </a:lnTo>
                  <a:lnTo>
                    <a:pt x="417195" y="154305"/>
                  </a:lnTo>
                  <a:lnTo>
                    <a:pt x="415290" y="126682"/>
                  </a:lnTo>
                  <a:lnTo>
                    <a:pt x="420053" y="104775"/>
                  </a:lnTo>
                  <a:lnTo>
                    <a:pt x="422910" y="81915"/>
                  </a:lnTo>
                  <a:lnTo>
                    <a:pt x="406718" y="70485"/>
                  </a:lnTo>
                  <a:lnTo>
                    <a:pt x="399098" y="42863"/>
                  </a:lnTo>
                  <a:lnTo>
                    <a:pt x="373380" y="37147"/>
                  </a:lnTo>
                  <a:lnTo>
                    <a:pt x="358140" y="21907"/>
                  </a:lnTo>
                  <a:lnTo>
                    <a:pt x="358140" y="4763"/>
                  </a:lnTo>
                  <a:lnTo>
                    <a:pt x="344805" y="0"/>
                  </a:lnTo>
                  <a:lnTo>
                    <a:pt x="335280" y="27622"/>
                  </a:lnTo>
                  <a:lnTo>
                    <a:pt x="320040" y="33338"/>
                  </a:lnTo>
                  <a:lnTo>
                    <a:pt x="305753" y="19050"/>
                  </a:lnTo>
                  <a:lnTo>
                    <a:pt x="288608" y="25717"/>
                  </a:lnTo>
                  <a:lnTo>
                    <a:pt x="273368" y="10477"/>
                  </a:lnTo>
                  <a:lnTo>
                    <a:pt x="248603" y="33338"/>
                  </a:lnTo>
                  <a:lnTo>
                    <a:pt x="248603" y="63817"/>
                  </a:lnTo>
                  <a:lnTo>
                    <a:pt x="265748" y="64770"/>
                  </a:lnTo>
                  <a:lnTo>
                    <a:pt x="286703" y="54292"/>
                  </a:lnTo>
                  <a:lnTo>
                    <a:pt x="286703" y="74295"/>
                  </a:lnTo>
                  <a:lnTo>
                    <a:pt x="273368" y="102870"/>
                  </a:lnTo>
                  <a:lnTo>
                    <a:pt x="243840" y="123825"/>
                  </a:lnTo>
                  <a:lnTo>
                    <a:pt x="211455" y="123825"/>
                  </a:lnTo>
                  <a:lnTo>
                    <a:pt x="181928" y="155257"/>
                  </a:lnTo>
                  <a:lnTo>
                    <a:pt x="164783" y="150495"/>
                  </a:lnTo>
                  <a:lnTo>
                    <a:pt x="158115" y="157163"/>
                  </a:lnTo>
                  <a:lnTo>
                    <a:pt x="142875" y="151447"/>
                  </a:lnTo>
                  <a:lnTo>
                    <a:pt x="132398" y="140970"/>
                  </a:lnTo>
                  <a:lnTo>
                    <a:pt x="121920" y="99060"/>
                  </a:lnTo>
                  <a:lnTo>
                    <a:pt x="104775" y="94297"/>
                  </a:lnTo>
                  <a:lnTo>
                    <a:pt x="91440" y="80963"/>
                  </a:lnTo>
                  <a:lnTo>
                    <a:pt x="91440" y="61913"/>
                  </a:lnTo>
                  <a:lnTo>
                    <a:pt x="83820" y="41910"/>
                  </a:lnTo>
                  <a:lnTo>
                    <a:pt x="67628" y="41910"/>
                  </a:lnTo>
                  <a:lnTo>
                    <a:pt x="67628" y="56197"/>
                  </a:lnTo>
                  <a:lnTo>
                    <a:pt x="58103" y="65722"/>
                  </a:lnTo>
                  <a:lnTo>
                    <a:pt x="31433" y="65722"/>
                  </a:lnTo>
                  <a:lnTo>
                    <a:pt x="18098" y="56197"/>
                  </a:lnTo>
                  <a:lnTo>
                    <a:pt x="0" y="70485"/>
                  </a:lnTo>
                  <a:lnTo>
                    <a:pt x="16193" y="79057"/>
                  </a:lnTo>
                  <a:lnTo>
                    <a:pt x="21908" y="97155"/>
                  </a:lnTo>
                  <a:lnTo>
                    <a:pt x="36195" y="97155"/>
                  </a:lnTo>
                  <a:lnTo>
                    <a:pt x="48578" y="93345"/>
                  </a:lnTo>
                  <a:lnTo>
                    <a:pt x="54293" y="111442"/>
                  </a:lnTo>
                  <a:lnTo>
                    <a:pt x="65723" y="122872"/>
                  </a:lnTo>
                  <a:lnTo>
                    <a:pt x="91440" y="118110"/>
                  </a:lnTo>
                  <a:lnTo>
                    <a:pt x="106680" y="124777"/>
                  </a:lnTo>
                  <a:lnTo>
                    <a:pt x="109538" y="145732"/>
                  </a:lnTo>
                  <a:lnTo>
                    <a:pt x="122873" y="160972"/>
                  </a:lnTo>
                  <a:lnTo>
                    <a:pt x="127635" y="179070"/>
                  </a:lnTo>
                  <a:lnTo>
                    <a:pt x="140970" y="192405"/>
                  </a:lnTo>
                  <a:lnTo>
                    <a:pt x="149543" y="217170"/>
                  </a:lnTo>
                  <a:lnTo>
                    <a:pt x="140018" y="236220"/>
                  </a:lnTo>
                  <a:lnTo>
                    <a:pt x="150495" y="256222"/>
                  </a:lnTo>
                  <a:lnTo>
                    <a:pt x="164783" y="270510"/>
                  </a:lnTo>
                  <a:lnTo>
                    <a:pt x="176213" y="285750"/>
                  </a:lnTo>
                  <a:lnTo>
                    <a:pt x="176213" y="301942"/>
                  </a:lnTo>
                  <a:lnTo>
                    <a:pt x="191453" y="317182"/>
                  </a:lnTo>
                  <a:lnTo>
                    <a:pt x="195263" y="339090"/>
                  </a:lnTo>
                  <a:lnTo>
                    <a:pt x="206693" y="356235"/>
                  </a:lnTo>
                  <a:lnTo>
                    <a:pt x="206693" y="388620"/>
                  </a:lnTo>
                  <a:lnTo>
                    <a:pt x="225743" y="402907"/>
                  </a:lnTo>
                  <a:lnTo>
                    <a:pt x="236220" y="417195"/>
                  </a:lnTo>
                  <a:lnTo>
                    <a:pt x="251460" y="422910"/>
                  </a:lnTo>
                  <a:lnTo>
                    <a:pt x="258128" y="441007"/>
                  </a:lnTo>
                  <a:lnTo>
                    <a:pt x="256223" y="465772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0" name="Полилиния: фигура 17">
              <a:extLst>
                <a:ext uri="{FF2B5EF4-FFF2-40B4-BE49-F238E27FC236}">
                  <a16:creationId xmlns:a16="http://schemas.microsoft.com/office/drawing/2014/main" id="{31808179-068A-4364-B8D1-0266A725489B}"/>
                </a:ext>
              </a:extLst>
            </p:cNvPr>
            <p:cNvSpPr/>
            <p:nvPr/>
          </p:nvSpPr>
          <p:spPr>
            <a:xfrm>
              <a:off x="4177142" y="5230769"/>
              <a:ext cx="449562" cy="381998"/>
            </a:xfrm>
            <a:custGeom>
              <a:avLst/>
              <a:gdLst>
                <a:gd name="connsiteX0" fmla="*/ 629603 w 697229"/>
                <a:gd name="connsiteY0" fmla="*/ 536257 h 681037"/>
                <a:gd name="connsiteX1" fmla="*/ 639128 w 697229"/>
                <a:gd name="connsiteY1" fmla="*/ 556260 h 681037"/>
                <a:gd name="connsiteX2" fmla="*/ 658178 w 697229"/>
                <a:gd name="connsiteY2" fmla="*/ 576263 h 681037"/>
                <a:gd name="connsiteX3" fmla="*/ 672465 w 697229"/>
                <a:gd name="connsiteY3" fmla="*/ 589597 h 681037"/>
                <a:gd name="connsiteX4" fmla="*/ 677228 w 697229"/>
                <a:gd name="connsiteY4" fmla="*/ 613410 h 681037"/>
                <a:gd name="connsiteX5" fmla="*/ 697230 w 697229"/>
                <a:gd name="connsiteY5" fmla="*/ 633413 h 681037"/>
                <a:gd name="connsiteX6" fmla="*/ 677228 w 697229"/>
                <a:gd name="connsiteY6" fmla="*/ 660082 h 681037"/>
                <a:gd name="connsiteX7" fmla="*/ 659130 w 697229"/>
                <a:gd name="connsiteY7" fmla="*/ 678180 h 681037"/>
                <a:gd name="connsiteX8" fmla="*/ 628650 w 697229"/>
                <a:gd name="connsiteY8" fmla="*/ 678180 h 681037"/>
                <a:gd name="connsiteX9" fmla="*/ 596265 w 697229"/>
                <a:gd name="connsiteY9" fmla="*/ 681038 h 681037"/>
                <a:gd name="connsiteX10" fmla="*/ 580072 w 697229"/>
                <a:gd name="connsiteY10" fmla="*/ 664845 h 681037"/>
                <a:gd name="connsiteX11" fmla="*/ 568643 w 697229"/>
                <a:gd name="connsiteY11" fmla="*/ 641985 h 681037"/>
                <a:gd name="connsiteX12" fmla="*/ 554355 w 697229"/>
                <a:gd name="connsiteY12" fmla="*/ 641985 h 681037"/>
                <a:gd name="connsiteX13" fmla="*/ 539115 w 697229"/>
                <a:gd name="connsiteY13" fmla="*/ 657225 h 681037"/>
                <a:gd name="connsiteX14" fmla="*/ 514350 w 697229"/>
                <a:gd name="connsiteY14" fmla="*/ 657225 h 681037"/>
                <a:gd name="connsiteX15" fmla="*/ 486728 w 697229"/>
                <a:gd name="connsiteY15" fmla="*/ 629602 h 681037"/>
                <a:gd name="connsiteX16" fmla="*/ 481965 w 697229"/>
                <a:gd name="connsiteY16" fmla="*/ 613410 h 681037"/>
                <a:gd name="connsiteX17" fmla="*/ 461010 w 697229"/>
                <a:gd name="connsiteY17" fmla="*/ 592455 h 681037"/>
                <a:gd name="connsiteX18" fmla="*/ 461010 w 697229"/>
                <a:gd name="connsiteY18" fmla="*/ 556260 h 681037"/>
                <a:gd name="connsiteX19" fmla="*/ 443865 w 697229"/>
                <a:gd name="connsiteY19" fmla="*/ 539115 h 681037"/>
                <a:gd name="connsiteX20" fmla="*/ 410528 w 697229"/>
                <a:gd name="connsiteY20" fmla="*/ 539115 h 681037"/>
                <a:gd name="connsiteX21" fmla="*/ 383858 w 697229"/>
                <a:gd name="connsiteY21" fmla="*/ 548640 h 681037"/>
                <a:gd name="connsiteX22" fmla="*/ 374333 w 697229"/>
                <a:gd name="connsiteY22" fmla="*/ 527685 h 681037"/>
                <a:gd name="connsiteX23" fmla="*/ 347663 w 697229"/>
                <a:gd name="connsiteY23" fmla="*/ 506730 h 681037"/>
                <a:gd name="connsiteX24" fmla="*/ 323850 w 697229"/>
                <a:gd name="connsiteY24" fmla="*/ 493395 h 681037"/>
                <a:gd name="connsiteX25" fmla="*/ 290513 w 697229"/>
                <a:gd name="connsiteY25" fmla="*/ 509588 h 681037"/>
                <a:gd name="connsiteX26" fmla="*/ 260985 w 697229"/>
                <a:gd name="connsiteY26" fmla="*/ 513397 h 681037"/>
                <a:gd name="connsiteX27" fmla="*/ 237172 w 697229"/>
                <a:gd name="connsiteY27" fmla="*/ 506730 h 681037"/>
                <a:gd name="connsiteX28" fmla="*/ 220028 w 697229"/>
                <a:gd name="connsiteY28" fmla="*/ 474345 h 681037"/>
                <a:gd name="connsiteX29" fmla="*/ 196215 w 697229"/>
                <a:gd name="connsiteY29" fmla="*/ 452438 h 681037"/>
                <a:gd name="connsiteX30" fmla="*/ 179070 w 697229"/>
                <a:gd name="connsiteY30" fmla="*/ 481013 h 681037"/>
                <a:gd name="connsiteX31" fmla="*/ 160972 w 697229"/>
                <a:gd name="connsiteY31" fmla="*/ 481013 h 681037"/>
                <a:gd name="connsiteX32" fmla="*/ 160972 w 697229"/>
                <a:gd name="connsiteY32" fmla="*/ 458152 h 681037"/>
                <a:gd name="connsiteX33" fmla="*/ 178117 w 697229"/>
                <a:gd name="connsiteY33" fmla="*/ 441960 h 681037"/>
                <a:gd name="connsiteX34" fmla="*/ 166688 w 697229"/>
                <a:gd name="connsiteY34" fmla="*/ 417195 h 681037"/>
                <a:gd name="connsiteX35" fmla="*/ 152400 w 697229"/>
                <a:gd name="connsiteY35" fmla="*/ 381000 h 681037"/>
                <a:gd name="connsiteX36" fmla="*/ 146685 w 697229"/>
                <a:gd name="connsiteY36" fmla="*/ 342900 h 681037"/>
                <a:gd name="connsiteX37" fmla="*/ 125730 w 697229"/>
                <a:gd name="connsiteY37" fmla="*/ 317182 h 681037"/>
                <a:gd name="connsiteX38" fmla="*/ 92392 w 697229"/>
                <a:gd name="connsiteY38" fmla="*/ 304800 h 681037"/>
                <a:gd name="connsiteX39" fmla="*/ 81915 w 697229"/>
                <a:gd name="connsiteY39" fmla="*/ 280988 h 681037"/>
                <a:gd name="connsiteX40" fmla="*/ 63817 w 697229"/>
                <a:gd name="connsiteY40" fmla="*/ 261938 h 681037"/>
                <a:gd name="connsiteX41" fmla="*/ 29528 w 697229"/>
                <a:gd name="connsiteY41" fmla="*/ 267652 h 681037"/>
                <a:gd name="connsiteX42" fmla="*/ 10478 w 697229"/>
                <a:gd name="connsiteY42" fmla="*/ 267652 h 681037"/>
                <a:gd name="connsiteX43" fmla="*/ 10478 w 697229"/>
                <a:gd name="connsiteY43" fmla="*/ 240982 h 681037"/>
                <a:gd name="connsiteX44" fmla="*/ 0 w 697229"/>
                <a:gd name="connsiteY44" fmla="*/ 213360 h 681037"/>
                <a:gd name="connsiteX45" fmla="*/ 953 w 697229"/>
                <a:gd name="connsiteY45" fmla="*/ 197167 h 681037"/>
                <a:gd name="connsiteX46" fmla="*/ 51435 w 697229"/>
                <a:gd name="connsiteY46" fmla="*/ 197167 h 681037"/>
                <a:gd name="connsiteX47" fmla="*/ 65722 w 697229"/>
                <a:gd name="connsiteY47" fmla="*/ 167640 h 681037"/>
                <a:gd name="connsiteX48" fmla="*/ 93345 w 697229"/>
                <a:gd name="connsiteY48" fmla="*/ 148590 h 681037"/>
                <a:gd name="connsiteX49" fmla="*/ 108585 w 697229"/>
                <a:gd name="connsiteY49" fmla="*/ 152400 h 681037"/>
                <a:gd name="connsiteX50" fmla="*/ 117158 w 697229"/>
                <a:gd name="connsiteY50" fmla="*/ 134302 h 681037"/>
                <a:gd name="connsiteX51" fmla="*/ 156210 w 697229"/>
                <a:gd name="connsiteY51" fmla="*/ 126682 h 681037"/>
                <a:gd name="connsiteX52" fmla="*/ 175260 w 697229"/>
                <a:gd name="connsiteY52" fmla="*/ 81915 h 681037"/>
                <a:gd name="connsiteX53" fmla="*/ 207645 w 697229"/>
                <a:gd name="connsiteY53" fmla="*/ 63817 h 681037"/>
                <a:gd name="connsiteX54" fmla="*/ 231458 w 697229"/>
                <a:gd name="connsiteY54" fmla="*/ 39052 h 681037"/>
                <a:gd name="connsiteX55" fmla="*/ 240983 w 697229"/>
                <a:gd name="connsiteY55" fmla="*/ 0 h 681037"/>
                <a:gd name="connsiteX56" fmla="*/ 263842 w 697229"/>
                <a:gd name="connsiteY56" fmla="*/ 0 h 681037"/>
                <a:gd name="connsiteX57" fmla="*/ 287655 w 697229"/>
                <a:gd name="connsiteY57" fmla="*/ 23813 h 681037"/>
                <a:gd name="connsiteX58" fmla="*/ 271463 w 697229"/>
                <a:gd name="connsiteY58" fmla="*/ 40005 h 681037"/>
                <a:gd name="connsiteX59" fmla="*/ 285750 w 697229"/>
                <a:gd name="connsiteY59" fmla="*/ 53340 h 681037"/>
                <a:gd name="connsiteX60" fmla="*/ 294322 w 697229"/>
                <a:gd name="connsiteY60" fmla="*/ 69532 h 681037"/>
                <a:gd name="connsiteX61" fmla="*/ 293370 w 697229"/>
                <a:gd name="connsiteY61" fmla="*/ 105727 h 681037"/>
                <a:gd name="connsiteX62" fmla="*/ 303847 w 697229"/>
                <a:gd name="connsiteY62" fmla="*/ 116205 h 681037"/>
                <a:gd name="connsiteX63" fmla="*/ 296228 w 697229"/>
                <a:gd name="connsiteY63" fmla="*/ 155257 h 681037"/>
                <a:gd name="connsiteX64" fmla="*/ 311467 w 697229"/>
                <a:gd name="connsiteY64" fmla="*/ 165735 h 681037"/>
                <a:gd name="connsiteX65" fmla="*/ 330517 w 697229"/>
                <a:gd name="connsiteY65" fmla="*/ 183832 h 681037"/>
                <a:gd name="connsiteX66" fmla="*/ 342900 w 697229"/>
                <a:gd name="connsiteY66" fmla="*/ 215265 h 681037"/>
                <a:gd name="connsiteX67" fmla="*/ 342900 w 697229"/>
                <a:gd name="connsiteY67" fmla="*/ 245745 h 681037"/>
                <a:gd name="connsiteX68" fmla="*/ 352425 w 697229"/>
                <a:gd name="connsiteY68" fmla="*/ 265747 h 681037"/>
                <a:gd name="connsiteX69" fmla="*/ 343853 w 697229"/>
                <a:gd name="connsiteY69" fmla="*/ 284797 h 681037"/>
                <a:gd name="connsiteX70" fmla="*/ 343853 w 697229"/>
                <a:gd name="connsiteY70" fmla="*/ 312420 h 681037"/>
                <a:gd name="connsiteX71" fmla="*/ 338138 w 697229"/>
                <a:gd name="connsiteY71" fmla="*/ 325755 h 681037"/>
                <a:gd name="connsiteX72" fmla="*/ 355283 w 697229"/>
                <a:gd name="connsiteY72" fmla="*/ 335280 h 681037"/>
                <a:gd name="connsiteX73" fmla="*/ 369570 w 697229"/>
                <a:gd name="connsiteY73" fmla="*/ 320040 h 681037"/>
                <a:gd name="connsiteX74" fmla="*/ 393383 w 697229"/>
                <a:gd name="connsiteY74" fmla="*/ 320040 h 681037"/>
                <a:gd name="connsiteX75" fmla="*/ 401955 w 697229"/>
                <a:gd name="connsiteY75" fmla="*/ 335280 h 681037"/>
                <a:gd name="connsiteX76" fmla="*/ 393383 w 697229"/>
                <a:gd name="connsiteY76" fmla="*/ 357188 h 681037"/>
                <a:gd name="connsiteX77" fmla="*/ 370522 w 697229"/>
                <a:gd name="connsiteY77" fmla="*/ 366713 h 681037"/>
                <a:gd name="connsiteX78" fmla="*/ 375285 w 697229"/>
                <a:gd name="connsiteY78" fmla="*/ 377190 h 681037"/>
                <a:gd name="connsiteX79" fmla="*/ 390525 w 697229"/>
                <a:gd name="connsiteY79" fmla="*/ 381000 h 681037"/>
                <a:gd name="connsiteX80" fmla="*/ 386715 w 697229"/>
                <a:gd name="connsiteY80" fmla="*/ 408622 h 681037"/>
                <a:gd name="connsiteX81" fmla="*/ 377190 w 697229"/>
                <a:gd name="connsiteY81" fmla="*/ 417195 h 681037"/>
                <a:gd name="connsiteX82" fmla="*/ 381953 w 697229"/>
                <a:gd name="connsiteY82" fmla="*/ 439102 h 681037"/>
                <a:gd name="connsiteX83" fmla="*/ 395288 w 697229"/>
                <a:gd name="connsiteY83" fmla="*/ 439102 h 681037"/>
                <a:gd name="connsiteX84" fmla="*/ 398145 w 697229"/>
                <a:gd name="connsiteY84" fmla="*/ 451485 h 681037"/>
                <a:gd name="connsiteX85" fmla="*/ 415290 w 697229"/>
                <a:gd name="connsiteY85" fmla="*/ 468630 h 681037"/>
                <a:gd name="connsiteX86" fmla="*/ 432435 w 697229"/>
                <a:gd name="connsiteY86" fmla="*/ 460057 h 681037"/>
                <a:gd name="connsiteX87" fmla="*/ 444817 w 697229"/>
                <a:gd name="connsiteY87" fmla="*/ 447675 h 681037"/>
                <a:gd name="connsiteX88" fmla="*/ 459105 w 697229"/>
                <a:gd name="connsiteY88" fmla="*/ 455295 h 681037"/>
                <a:gd name="connsiteX89" fmla="*/ 464820 w 697229"/>
                <a:gd name="connsiteY89" fmla="*/ 469582 h 681037"/>
                <a:gd name="connsiteX90" fmla="*/ 480060 w 697229"/>
                <a:gd name="connsiteY90" fmla="*/ 480060 h 681037"/>
                <a:gd name="connsiteX91" fmla="*/ 498158 w 697229"/>
                <a:gd name="connsiteY91" fmla="*/ 484822 h 681037"/>
                <a:gd name="connsiteX92" fmla="*/ 516255 w 697229"/>
                <a:gd name="connsiteY92" fmla="*/ 471488 h 681037"/>
                <a:gd name="connsiteX93" fmla="*/ 527685 w 697229"/>
                <a:gd name="connsiteY93" fmla="*/ 443865 h 681037"/>
                <a:gd name="connsiteX94" fmla="*/ 550545 w 697229"/>
                <a:gd name="connsiteY94" fmla="*/ 443865 h 681037"/>
                <a:gd name="connsiteX95" fmla="*/ 578168 w 697229"/>
                <a:gd name="connsiteY95" fmla="*/ 443865 h 681037"/>
                <a:gd name="connsiteX96" fmla="*/ 594360 w 697229"/>
                <a:gd name="connsiteY96" fmla="*/ 437197 h 681037"/>
                <a:gd name="connsiteX97" fmla="*/ 617220 w 697229"/>
                <a:gd name="connsiteY97" fmla="*/ 447675 h 681037"/>
                <a:gd name="connsiteX98" fmla="*/ 631508 w 697229"/>
                <a:gd name="connsiteY98" fmla="*/ 447675 h 681037"/>
                <a:gd name="connsiteX99" fmla="*/ 641985 w 697229"/>
                <a:gd name="connsiteY99" fmla="*/ 464820 h 681037"/>
                <a:gd name="connsiteX100" fmla="*/ 634365 w 697229"/>
                <a:gd name="connsiteY100" fmla="*/ 482917 h 681037"/>
                <a:gd name="connsiteX101" fmla="*/ 608647 w 697229"/>
                <a:gd name="connsiteY101" fmla="*/ 496252 h 681037"/>
                <a:gd name="connsiteX102" fmla="*/ 610553 w 697229"/>
                <a:gd name="connsiteY102" fmla="*/ 514350 h 681037"/>
                <a:gd name="connsiteX103" fmla="*/ 625793 w 697229"/>
                <a:gd name="connsiteY103" fmla="*/ 514350 h 681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697229" h="681037">
                  <a:moveTo>
                    <a:pt x="629603" y="536257"/>
                  </a:moveTo>
                  <a:lnTo>
                    <a:pt x="639128" y="556260"/>
                  </a:lnTo>
                  <a:lnTo>
                    <a:pt x="658178" y="576263"/>
                  </a:lnTo>
                  <a:lnTo>
                    <a:pt x="672465" y="589597"/>
                  </a:lnTo>
                  <a:lnTo>
                    <a:pt x="677228" y="613410"/>
                  </a:lnTo>
                  <a:lnTo>
                    <a:pt x="697230" y="633413"/>
                  </a:lnTo>
                  <a:lnTo>
                    <a:pt x="677228" y="660082"/>
                  </a:lnTo>
                  <a:lnTo>
                    <a:pt x="659130" y="678180"/>
                  </a:lnTo>
                  <a:lnTo>
                    <a:pt x="628650" y="678180"/>
                  </a:lnTo>
                  <a:lnTo>
                    <a:pt x="596265" y="681038"/>
                  </a:lnTo>
                  <a:lnTo>
                    <a:pt x="580072" y="664845"/>
                  </a:lnTo>
                  <a:lnTo>
                    <a:pt x="568643" y="641985"/>
                  </a:lnTo>
                  <a:lnTo>
                    <a:pt x="554355" y="641985"/>
                  </a:lnTo>
                  <a:lnTo>
                    <a:pt x="539115" y="657225"/>
                  </a:lnTo>
                  <a:lnTo>
                    <a:pt x="514350" y="657225"/>
                  </a:lnTo>
                  <a:lnTo>
                    <a:pt x="486728" y="629602"/>
                  </a:lnTo>
                  <a:lnTo>
                    <a:pt x="481965" y="613410"/>
                  </a:lnTo>
                  <a:lnTo>
                    <a:pt x="461010" y="592455"/>
                  </a:lnTo>
                  <a:lnTo>
                    <a:pt x="461010" y="556260"/>
                  </a:lnTo>
                  <a:lnTo>
                    <a:pt x="443865" y="539115"/>
                  </a:lnTo>
                  <a:lnTo>
                    <a:pt x="410528" y="539115"/>
                  </a:lnTo>
                  <a:lnTo>
                    <a:pt x="383858" y="548640"/>
                  </a:lnTo>
                  <a:lnTo>
                    <a:pt x="374333" y="527685"/>
                  </a:lnTo>
                  <a:lnTo>
                    <a:pt x="347663" y="506730"/>
                  </a:lnTo>
                  <a:lnTo>
                    <a:pt x="323850" y="493395"/>
                  </a:lnTo>
                  <a:lnTo>
                    <a:pt x="290513" y="509588"/>
                  </a:lnTo>
                  <a:lnTo>
                    <a:pt x="260985" y="513397"/>
                  </a:lnTo>
                  <a:lnTo>
                    <a:pt x="237172" y="506730"/>
                  </a:lnTo>
                  <a:lnTo>
                    <a:pt x="220028" y="474345"/>
                  </a:lnTo>
                  <a:lnTo>
                    <a:pt x="196215" y="452438"/>
                  </a:lnTo>
                  <a:lnTo>
                    <a:pt x="179070" y="481013"/>
                  </a:lnTo>
                  <a:lnTo>
                    <a:pt x="160972" y="481013"/>
                  </a:lnTo>
                  <a:lnTo>
                    <a:pt x="160972" y="458152"/>
                  </a:lnTo>
                  <a:lnTo>
                    <a:pt x="178117" y="441960"/>
                  </a:lnTo>
                  <a:lnTo>
                    <a:pt x="166688" y="417195"/>
                  </a:lnTo>
                  <a:lnTo>
                    <a:pt x="152400" y="381000"/>
                  </a:lnTo>
                  <a:lnTo>
                    <a:pt x="146685" y="342900"/>
                  </a:lnTo>
                  <a:lnTo>
                    <a:pt x="125730" y="317182"/>
                  </a:lnTo>
                  <a:lnTo>
                    <a:pt x="92392" y="304800"/>
                  </a:lnTo>
                  <a:lnTo>
                    <a:pt x="81915" y="280988"/>
                  </a:lnTo>
                  <a:lnTo>
                    <a:pt x="63817" y="261938"/>
                  </a:lnTo>
                  <a:lnTo>
                    <a:pt x="29528" y="267652"/>
                  </a:lnTo>
                  <a:lnTo>
                    <a:pt x="10478" y="267652"/>
                  </a:lnTo>
                  <a:lnTo>
                    <a:pt x="10478" y="240982"/>
                  </a:lnTo>
                  <a:lnTo>
                    <a:pt x="0" y="213360"/>
                  </a:lnTo>
                  <a:lnTo>
                    <a:pt x="953" y="197167"/>
                  </a:lnTo>
                  <a:lnTo>
                    <a:pt x="51435" y="197167"/>
                  </a:lnTo>
                  <a:lnTo>
                    <a:pt x="65722" y="167640"/>
                  </a:lnTo>
                  <a:lnTo>
                    <a:pt x="93345" y="148590"/>
                  </a:lnTo>
                  <a:lnTo>
                    <a:pt x="108585" y="152400"/>
                  </a:lnTo>
                  <a:lnTo>
                    <a:pt x="117158" y="134302"/>
                  </a:lnTo>
                  <a:lnTo>
                    <a:pt x="156210" y="126682"/>
                  </a:lnTo>
                  <a:lnTo>
                    <a:pt x="175260" y="81915"/>
                  </a:lnTo>
                  <a:lnTo>
                    <a:pt x="207645" y="63817"/>
                  </a:lnTo>
                  <a:lnTo>
                    <a:pt x="231458" y="39052"/>
                  </a:lnTo>
                  <a:lnTo>
                    <a:pt x="240983" y="0"/>
                  </a:lnTo>
                  <a:lnTo>
                    <a:pt x="263842" y="0"/>
                  </a:lnTo>
                  <a:lnTo>
                    <a:pt x="287655" y="23813"/>
                  </a:lnTo>
                  <a:lnTo>
                    <a:pt x="271463" y="40005"/>
                  </a:lnTo>
                  <a:lnTo>
                    <a:pt x="285750" y="53340"/>
                  </a:lnTo>
                  <a:lnTo>
                    <a:pt x="294322" y="69532"/>
                  </a:lnTo>
                  <a:lnTo>
                    <a:pt x="293370" y="105727"/>
                  </a:lnTo>
                  <a:lnTo>
                    <a:pt x="303847" y="116205"/>
                  </a:lnTo>
                  <a:lnTo>
                    <a:pt x="296228" y="155257"/>
                  </a:lnTo>
                  <a:lnTo>
                    <a:pt x="311467" y="165735"/>
                  </a:lnTo>
                  <a:lnTo>
                    <a:pt x="330517" y="183832"/>
                  </a:lnTo>
                  <a:lnTo>
                    <a:pt x="342900" y="215265"/>
                  </a:lnTo>
                  <a:lnTo>
                    <a:pt x="342900" y="245745"/>
                  </a:lnTo>
                  <a:lnTo>
                    <a:pt x="352425" y="265747"/>
                  </a:lnTo>
                  <a:lnTo>
                    <a:pt x="343853" y="284797"/>
                  </a:lnTo>
                  <a:lnTo>
                    <a:pt x="343853" y="312420"/>
                  </a:lnTo>
                  <a:lnTo>
                    <a:pt x="338138" y="325755"/>
                  </a:lnTo>
                  <a:lnTo>
                    <a:pt x="355283" y="335280"/>
                  </a:lnTo>
                  <a:lnTo>
                    <a:pt x="369570" y="320040"/>
                  </a:lnTo>
                  <a:lnTo>
                    <a:pt x="393383" y="320040"/>
                  </a:lnTo>
                  <a:lnTo>
                    <a:pt x="401955" y="335280"/>
                  </a:lnTo>
                  <a:lnTo>
                    <a:pt x="393383" y="357188"/>
                  </a:lnTo>
                  <a:lnTo>
                    <a:pt x="370522" y="366713"/>
                  </a:lnTo>
                  <a:lnTo>
                    <a:pt x="375285" y="377190"/>
                  </a:lnTo>
                  <a:lnTo>
                    <a:pt x="390525" y="381000"/>
                  </a:lnTo>
                  <a:lnTo>
                    <a:pt x="386715" y="408622"/>
                  </a:lnTo>
                  <a:lnTo>
                    <a:pt x="377190" y="417195"/>
                  </a:lnTo>
                  <a:lnTo>
                    <a:pt x="381953" y="439102"/>
                  </a:lnTo>
                  <a:lnTo>
                    <a:pt x="395288" y="439102"/>
                  </a:lnTo>
                  <a:lnTo>
                    <a:pt x="398145" y="451485"/>
                  </a:lnTo>
                  <a:lnTo>
                    <a:pt x="415290" y="468630"/>
                  </a:lnTo>
                  <a:lnTo>
                    <a:pt x="432435" y="460057"/>
                  </a:lnTo>
                  <a:lnTo>
                    <a:pt x="444817" y="447675"/>
                  </a:lnTo>
                  <a:lnTo>
                    <a:pt x="459105" y="455295"/>
                  </a:lnTo>
                  <a:lnTo>
                    <a:pt x="464820" y="469582"/>
                  </a:lnTo>
                  <a:lnTo>
                    <a:pt x="480060" y="480060"/>
                  </a:lnTo>
                  <a:lnTo>
                    <a:pt x="498158" y="484822"/>
                  </a:lnTo>
                  <a:lnTo>
                    <a:pt x="516255" y="471488"/>
                  </a:lnTo>
                  <a:lnTo>
                    <a:pt x="527685" y="443865"/>
                  </a:lnTo>
                  <a:lnTo>
                    <a:pt x="550545" y="443865"/>
                  </a:lnTo>
                  <a:lnTo>
                    <a:pt x="578168" y="443865"/>
                  </a:lnTo>
                  <a:lnTo>
                    <a:pt x="594360" y="437197"/>
                  </a:lnTo>
                  <a:lnTo>
                    <a:pt x="617220" y="447675"/>
                  </a:lnTo>
                  <a:lnTo>
                    <a:pt x="631508" y="447675"/>
                  </a:lnTo>
                  <a:lnTo>
                    <a:pt x="641985" y="464820"/>
                  </a:lnTo>
                  <a:lnTo>
                    <a:pt x="634365" y="482917"/>
                  </a:lnTo>
                  <a:lnTo>
                    <a:pt x="608647" y="496252"/>
                  </a:lnTo>
                  <a:lnTo>
                    <a:pt x="610553" y="514350"/>
                  </a:lnTo>
                  <a:lnTo>
                    <a:pt x="625793" y="51435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1" name="Полилиния: фигура 18">
              <a:extLst>
                <a:ext uri="{FF2B5EF4-FFF2-40B4-BE49-F238E27FC236}">
                  <a16:creationId xmlns:a16="http://schemas.microsoft.com/office/drawing/2014/main" id="{4BA49DAF-0A56-4851-A40A-BFDB32A577A4}"/>
                </a:ext>
              </a:extLst>
            </p:cNvPr>
            <p:cNvSpPr/>
            <p:nvPr/>
          </p:nvSpPr>
          <p:spPr>
            <a:xfrm>
              <a:off x="4517384" y="5233974"/>
              <a:ext cx="280055" cy="297584"/>
            </a:xfrm>
            <a:custGeom>
              <a:avLst/>
              <a:gdLst>
                <a:gd name="connsiteX0" fmla="*/ 402908 w 434340"/>
                <a:gd name="connsiteY0" fmla="*/ 355283 h 530542"/>
                <a:gd name="connsiteX1" fmla="*/ 367665 w 434340"/>
                <a:gd name="connsiteY1" fmla="*/ 348615 h 530542"/>
                <a:gd name="connsiteX2" fmla="*/ 341947 w 434340"/>
                <a:gd name="connsiteY2" fmla="*/ 355283 h 530542"/>
                <a:gd name="connsiteX3" fmla="*/ 319088 w 434340"/>
                <a:gd name="connsiteY3" fmla="*/ 335280 h 530542"/>
                <a:gd name="connsiteX4" fmla="*/ 286703 w 434340"/>
                <a:gd name="connsiteY4" fmla="*/ 319088 h 530542"/>
                <a:gd name="connsiteX5" fmla="*/ 257175 w 434340"/>
                <a:gd name="connsiteY5" fmla="*/ 319088 h 530542"/>
                <a:gd name="connsiteX6" fmla="*/ 247650 w 434340"/>
                <a:gd name="connsiteY6" fmla="*/ 349568 h 530542"/>
                <a:gd name="connsiteX7" fmla="*/ 257175 w 434340"/>
                <a:gd name="connsiteY7" fmla="*/ 370523 h 530542"/>
                <a:gd name="connsiteX8" fmla="*/ 237172 w 434340"/>
                <a:gd name="connsiteY8" fmla="*/ 390525 h 530542"/>
                <a:gd name="connsiteX9" fmla="*/ 253365 w 434340"/>
                <a:gd name="connsiteY9" fmla="*/ 401003 h 530542"/>
                <a:gd name="connsiteX10" fmla="*/ 268605 w 434340"/>
                <a:gd name="connsiteY10" fmla="*/ 416243 h 530542"/>
                <a:gd name="connsiteX11" fmla="*/ 287655 w 434340"/>
                <a:gd name="connsiteY11" fmla="*/ 435293 h 530542"/>
                <a:gd name="connsiteX12" fmla="*/ 269558 w 434340"/>
                <a:gd name="connsiteY12" fmla="*/ 452438 h 530542"/>
                <a:gd name="connsiteX13" fmla="*/ 250508 w 434340"/>
                <a:gd name="connsiteY13" fmla="*/ 452438 h 530542"/>
                <a:gd name="connsiteX14" fmla="*/ 225743 w 434340"/>
                <a:gd name="connsiteY14" fmla="*/ 428625 h 530542"/>
                <a:gd name="connsiteX15" fmla="*/ 189548 w 434340"/>
                <a:gd name="connsiteY15" fmla="*/ 430530 h 530542"/>
                <a:gd name="connsiteX16" fmla="*/ 165735 w 434340"/>
                <a:gd name="connsiteY16" fmla="*/ 440055 h 530542"/>
                <a:gd name="connsiteX17" fmla="*/ 175260 w 434340"/>
                <a:gd name="connsiteY17" fmla="*/ 475298 h 530542"/>
                <a:gd name="connsiteX18" fmla="*/ 165735 w 434340"/>
                <a:gd name="connsiteY18" fmla="*/ 501015 h 530542"/>
                <a:gd name="connsiteX19" fmla="*/ 141923 w 434340"/>
                <a:gd name="connsiteY19" fmla="*/ 507683 h 530542"/>
                <a:gd name="connsiteX20" fmla="*/ 113348 w 434340"/>
                <a:gd name="connsiteY20" fmla="*/ 501015 h 530542"/>
                <a:gd name="connsiteX21" fmla="*/ 101918 w 434340"/>
                <a:gd name="connsiteY21" fmla="*/ 530543 h 530542"/>
                <a:gd name="connsiteX22" fmla="*/ 98108 w 434340"/>
                <a:gd name="connsiteY22" fmla="*/ 508635 h 530542"/>
                <a:gd name="connsiteX23" fmla="*/ 82868 w 434340"/>
                <a:gd name="connsiteY23" fmla="*/ 508635 h 530542"/>
                <a:gd name="connsiteX24" fmla="*/ 80963 w 434340"/>
                <a:gd name="connsiteY24" fmla="*/ 490538 h 530542"/>
                <a:gd name="connsiteX25" fmla="*/ 106680 w 434340"/>
                <a:gd name="connsiteY25" fmla="*/ 477203 h 530542"/>
                <a:gd name="connsiteX26" fmla="*/ 114300 w 434340"/>
                <a:gd name="connsiteY26" fmla="*/ 459105 h 530542"/>
                <a:gd name="connsiteX27" fmla="*/ 103823 w 434340"/>
                <a:gd name="connsiteY27" fmla="*/ 441960 h 530542"/>
                <a:gd name="connsiteX28" fmla="*/ 89535 w 434340"/>
                <a:gd name="connsiteY28" fmla="*/ 441960 h 530542"/>
                <a:gd name="connsiteX29" fmla="*/ 66675 w 434340"/>
                <a:gd name="connsiteY29" fmla="*/ 431483 h 530542"/>
                <a:gd name="connsiteX30" fmla="*/ 50483 w 434340"/>
                <a:gd name="connsiteY30" fmla="*/ 438150 h 530542"/>
                <a:gd name="connsiteX31" fmla="*/ 0 w 434340"/>
                <a:gd name="connsiteY31" fmla="*/ 438150 h 530542"/>
                <a:gd name="connsiteX32" fmla="*/ 8573 w 434340"/>
                <a:gd name="connsiteY32" fmla="*/ 422910 h 530542"/>
                <a:gd name="connsiteX33" fmla="*/ 31433 w 434340"/>
                <a:gd name="connsiteY33" fmla="*/ 413385 h 530542"/>
                <a:gd name="connsiteX34" fmla="*/ 35243 w 434340"/>
                <a:gd name="connsiteY34" fmla="*/ 392430 h 530542"/>
                <a:gd name="connsiteX35" fmla="*/ 54293 w 434340"/>
                <a:gd name="connsiteY35" fmla="*/ 357188 h 530542"/>
                <a:gd name="connsiteX36" fmla="*/ 69533 w 434340"/>
                <a:gd name="connsiteY36" fmla="*/ 357188 h 530542"/>
                <a:gd name="connsiteX37" fmla="*/ 69533 w 434340"/>
                <a:gd name="connsiteY37" fmla="*/ 332423 h 530542"/>
                <a:gd name="connsiteX38" fmla="*/ 87630 w 434340"/>
                <a:gd name="connsiteY38" fmla="*/ 307658 h 530542"/>
                <a:gd name="connsiteX39" fmla="*/ 87630 w 434340"/>
                <a:gd name="connsiteY39" fmla="*/ 292418 h 530542"/>
                <a:gd name="connsiteX40" fmla="*/ 117158 w 434340"/>
                <a:gd name="connsiteY40" fmla="*/ 262890 h 530542"/>
                <a:gd name="connsiteX41" fmla="*/ 138113 w 434340"/>
                <a:gd name="connsiteY41" fmla="*/ 255270 h 530542"/>
                <a:gd name="connsiteX42" fmla="*/ 138113 w 434340"/>
                <a:gd name="connsiteY42" fmla="*/ 245745 h 530542"/>
                <a:gd name="connsiteX43" fmla="*/ 161925 w 434340"/>
                <a:gd name="connsiteY43" fmla="*/ 243840 h 530542"/>
                <a:gd name="connsiteX44" fmla="*/ 172403 w 434340"/>
                <a:gd name="connsiteY44" fmla="*/ 257175 h 530542"/>
                <a:gd name="connsiteX45" fmla="*/ 188595 w 434340"/>
                <a:gd name="connsiteY45" fmla="*/ 257175 h 530542"/>
                <a:gd name="connsiteX46" fmla="*/ 188595 w 434340"/>
                <a:gd name="connsiteY46" fmla="*/ 229553 h 530542"/>
                <a:gd name="connsiteX47" fmla="*/ 179070 w 434340"/>
                <a:gd name="connsiteY47" fmla="*/ 199073 h 530542"/>
                <a:gd name="connsiteX48" fmla="*/ 143828 w 434340"/>
                <a:gd name="connsiteY48" fmla="*/ 188595 h 530542"/>
                <a:gd name="connsiteX49" fmla="*/ 129540 w 434340"/>
                <a:gd name="connsiteY49" fmla="*/ 198120 h 530542"/>
                <a:gd name="connsiteX50" fmla="*/ 94298 w 434340"/>
                <a:gd name="connsiteY50" fmla="*/ 194310 h 530542"/>
                <a:gd name="connsiteX51" fmla="*/ 76200 w 434340"/>
                <a:gd name="connsiteY51" fmla="*/ 165735 h 530542"/>
                <a:gd name="connsiteX52" fmla="*/ 72390 w 434340"/>
                <a:gd name="connsiteY52" fmla="*/ 128588 h 530542"/>
                <a:gd name="connsiteX53" fmla="*/ 58103 w 434340"/>
                <a:gd name="connsiteY53" fmla="*/ 114300 h 530542"/>
                <a:gd name="connsiteX54" fmla="*/ 52388 w 434340"/>
                <a:gd name="connsiteY54" fmla="*/ 87630 h 530542"/>
                <a:gd name="connsiteX55" fmla="*/ 83820 w 434340"/>
                <a:gd name="connsiteY55" fmla="*/ 64770 h 530542"/>
                <a:gd name="connsiteX56" fmla="*/ 104775 w 434340"/>
                <a:gd name="connsiteY56" fmla="*/ 70485 h 530542"/>
                <a:gd name="connsiteX57" fmla="*/ 127635 w 434340"/>
                <a:gd name="connsiteY57" fmla="*/ 81915 h 530542"/>
                <a:gd name="connsiteX58" fmla="*/ 143828 w 434340"/>
                <a:gd name="connsiteY58" fmla="*/ 98108 h 530542"/>
                <a:gd name="connsiteX59" fmla="*/ 143828 w 434340"/>
                <a:gd name="connsiteY59" fmla="*/ 117158 h 530542"/>
                <a:gd name="connsiteX60" fmla="*/ 173355 w 434340"/>
                <a:gd name="connsiteY60" fmla="*/ 128588 h 530542"/>
                <a:gd name="connsiteX61" fmla="*/ 191453 w 434340"/>
                <a:gd name="connsiteY61" fmla="*/ 109538 h 530542"/>
                <a:gd name="connsiteX62" fmla="*/ 223838 w 434340"/>
                <a:gd name="connsiteY62" fmla="*/ 101918 h 530542"/>
                <a:gd name="connsiteX63" fmla="*/ 223838 w 434340"/>
                <a:gd name="connsiteY63" fmla="*/ 84773 h 530542"/>
                <a:gd name="connsiteX64" fmla="*/ 240983 w 434340"/>
                <a:gd name="connsiteY64" fmla="*/ 53340 h 530542"/>
                <a:gd name="connsiteX65" fmla="*/ 247650 w 434340"/>
                <a:gd name="connsiteY65" fmla="*/ 31433 h 530542"/>
                <a:gd name="connsiteX66" fmla="*/ 241935 w 434340"/>
                <a:gd name="connsiteY66" fmla="*/ 7620 h 530542"/>
                <a:gd name="connsiteX67" fmla="*/ 260985 w 434340"/>
                <a:gd name="connsiteY67" fmla="*/ 0 h 530542"/>
                <a:gd name="connsiteX68" fmla="*/ 284797 w 434340"/>
                <a:gd name="connsiteY68" fmla="*/ 16193 h 530542"/>
                <a:gd name="connsiteX69" fmla="*/ 292418 w 434340"/>
                <a:gd name="connsiteY69" fmla="*/ 30480 h 530542"/>
                <a:gd name="connsiteX70" fmla="*/ 318135 w 434340"/>
                <a:gd name="connsiteY70" fmla="*/ 39053 h 530542"/>
                <a:gd name="connsiteX71" fmla="*/ 322897 w 434340"/>
                <a:gd name="connsiteY71" fmla="*/ 49530 h 530542"/>
                <a:gd name="connsiteX72" fmla="*/ 341947 w 434340"/>
                <a:gd name="connsiteY72" fmla="*/ 51435 h 530542"/>
                <a:gd name="connsiteX73" fmla="*/ 360997 w 434340"/>
                <a:gd name="connsiteY73" fmla="*/ 70485 h 530542"/>
                <a:gd name="connsiteX74" fmla="*/ 379095 w 434340"/>
                <a:gd name="connsiteY74" fmla="*/ 53340 h 530542"/>
                <a:gd name="connsiteX75" fmla="*/ 399097 w 434340"/>
                <a:gd name="connsiteY75" fmla="*/ 64770 h 530542"/>
                <a:gd name="connsiteX76" fmla="*/ 414338 w 434340"/>
                <a:gd name="connsiteY76" fmla="*/ 80010 h 530542"/>
                <a:gd name="connsiteX77" fmla="*/ 429578 w 434340"/>
                <a:gd name="connsiteY77" fmla="*/ 94298 h 530542"/>
                <a:gd name="connsiteX78" fmla="*/ 429578 w 434340"/>
                <a:gd name="connsiteY78" fmla="*/ 125730 h 530542"/>
                <a:gd name="connsiteX79" fmla="*/ 434340 w 434340"/>
                <a:gd name="connsiteY79" fmla="*/ 161925 h 530542"/>
                <a:gd name="connsiteX80" fmla="*/ 421005 w 434340"/>
                <a:gd name="connsiteY80" fmla="*/ 182880 h 530542"/>
                <a:gd name="connsiteX81" fmla="*/ 396240 w 434340"/>
                <a:gd name="connsiteY81" fmla="*/ 182880 h 530542"/>
                <a:gd name="connsiteX82" fmla="*/ 381953 w 434340"/>
                <a:gd name="connsiteY82" fmla="*/ 196215 h 530542"/>
                <a:gd name="connsiteX83" fmla="*/ 390525 w 434340"/>
                <a:gd name="connsiteY83" fmla="*/ 222885 h 530542"/>
                <a:gd name="connsiteX84" fmla="*/ 377190 w 434340"/>
                <a:gd name="connsiteY84" fmla="*/ 237173 h 530542"/>
                <a:gd name="connsiteX85" fmla="*/ 358140 w 434340"/>
                <a:gd name="connsiteY85" fmla="*/ 237173 h 530542"/>
                <a:gd name="connsiteX86" fmla="*/ 353378 w 434340"/>
                <a:gd name="connsiteY86" fmla="*/ 256223 h 530542"/>
                <a:gd name="connsiteX87" fmla="*/ 369570 w 434340"/>
                <a:gd name="connsiteY87" fmla="*/ 272415 h 530542"/>
                <a:gd name="connsiteX88" fmla="*/ 387668 w 434340"/>
                <a:gd name="connsiteY88" fmla="*/ 273368 h 530542"/>
                <a:gd name="connsiteX89" fmla="*/ 391478 w 434340"/>
                <a:gd name="connsiteY89" fmla="*/ 286703 h 530542"/>
                <a:gd name="connsiteX90" fmla="*/ 419100 w 434340"/>
                <a:gd name="connsiteY90" fmla="*/ 286703 h 530542"/>
                <a:gd name="connsiteX91" fmla="*/ 430530 w 434340"/>
                <a:gd name="connsiteY91" fmla="*/ 314325 h 530542"/>
                <a:gd name="connsiteX92" fmla="*/ 409575 w 434340"/>
                <a:gd name="connsiteY92" fmla="*/ 335280 h 530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434340" h="530542">
                  <a:moveTo>
                    <a:pt x="402908" y="355283"/>
                  </a:moveTo>
                  <a:lnTo>
                    <a:pt x="367665" y="348615"/>
                  </a:lnTo>
                  <a:lnTo>
                    <a:pt x="341947" y="355283"/>
                  </a:lnTo>
                  <a:lnTo>
                    <a:pt x="319088" y="335280"/>
                  </a:lnTo>
                  <a:lnTo>
                    <a:pt x="286703" y="319088"/>
                  </a:lnTo>
                  <a:lnTo>
                    <a:pt x="257175" y="319088"/>
                  </a:lnTo>
                  <a:lnTo>
                    <a:pt x="247650" y="349568"/>
                  </a:lnTo>
                  <a:lnTo>
                    <a:pt x="257175" y="370523"/>
                  </a:lnTo>
                  <a:lnTo>
                    <a:pt x="237172" y="390525"/>
                  </a:lnTo>
                  <a:lnTo>
                    <a:pt x="253365" y="401003"/>
                  </a:lnTo>
                  <a:lnTo>
                    <a:pt x="268605" y="416243"/>
                  </a:lnTo>
                  <a:lnTo>
                    <a:pt x="287655" y="435293"/>
                  </a:lnTo>
                  <a:lnTo>
                    <a:pt x="269558" y="452438"/>
                  </a:lnTo>
                  <a:lnTo>
                    <a:pt x="250508" y="452438"/>
                  </a:lnTo>
                  <a:lnTo>
                    <a:pt x="225743" y="428625"/>
                  </a:lnTo>
                  <a:lnTo>
                    <a:pt x="189548" y="430530"/>
                  </a:lnTo>
                  <a:lnTo>
                    <a:pt x="165735" y="440055"/>
                  </a:lnTo>
                  <a:lnTo>
                    <a:pt x="175260" y="475298"/>
                  </a:lnTo>
                  <a:lnTo>
                    <a:pt x="165735" y="501015"/>
                  </a:lnTo>
                  <a:lnTo>
                    <a:pt x="141923" y="507683"/>
                  </a:lnTo>
                  <a:lnTo>
                    <a:pt x="113348" y="501015"/>
                  </a:lnTo>
                  <a:lnTo>
                    <a:pt x="101918" y="530543"/>
                  </a:lnTo>
                  <a:lnTo>
                    <a:pt x="98108" y="508635"/>
                  </a:lnTo>
                  <a:lnTo>
                    <a:pt x="82868" y="508635"/>
                  </a:lnTo>
                  <a:lnTo>
                    <a:pt x="80963" y="490538"/>
                  </a:lnTo>
                  <a:lnTo>
                    <a:pt x="106680" y="477203"/>
                  </a:lnTo>
                  <a:lnTo>
                    <a:pt x="114300" y="459105"/>
                  </a:lnTo>
                  <a:lnTo>
                    <a:pt x="103823" y="441960"/>
                  </a:lnTo>
                  <a:lnTo>
                    <a:pt x="89535" y="441960"/>
                  </a:lnTo>
                  <a:lnTo>
                    <a:pt x="66675" y="431483"/>
                  </a:lnTo>
                  <a:lnTo>
                    <a:pt x="50483" y="438150"/>
                  </a:lnTo>
                  <a:lnTo>
                    <a:pt x="0" y="438150"/>
                  </a:lnTo>
                  <a:lnTo>
                    <a:pt x="8573" y="422910"/>
                  </a:lnTo>
                  <a:lnTo>
                    <a:pt x="31433" y="413385"/>
                  </a:lnTo>
                  <a:lnTo>
                    <a:pt x="35243" y="392430"/>
                  </a:lnTo>
                  <a:lnTo>
                    <a:pt x="54293" y="357188"/>
                  </a:lnTo>
                  <a:lnTo>
                    <a:pt x="69533" y="357188"/>
                  </a:lnTo>
                  <a:lnTo>
                    <a:pt x="69533" y="332423"/>
                  </a:lnTo>
                  <a:lnTo>
                    <a:pt x="87630" y="307658"/>
                  </a:lnTo>
                  <a:lnTo>
                    <a:pt x="87630" y="292418"/>
                  </a:lnTo>
                  <a:lnTo>
                    <a:pt x="117158" y="262890"/>
                  </a:lnTo>
                  <a:lnTo>
                    <a:pt x="138113" y="255270"/>
                  </a:lnTo>
                  <a:lnTo>
                    <a:pt x="138113" y="245745"/>
                  </a:lnTo>
                  <a:lnTo>
                    <a:pt x="161925" y="243840"/>
                  </a:lnTo>
                  <a:lnTo>
                    <a:pt x="172403" y="257175"/>
                  </a:lnTo>
                  <a:lnTo>
                    <a:pt x="188595" y="257175"/>
                  </a:lnTo>
                  <a:lnTo>
                    <a:pt x="188595" y="229553"/>
                  </a:lnTo>
                  <a:lnTo>
                    <a:pt x="179070" y="199073"/>
                  </a:lnTo>
                  <a:lnTo>
                    <a:pt x="143828" y="188595"/>
                  </a:lnTo>
                  <a:lnTo>
                    <a:pt x="129540" y="198120"/>
                  </a:lnTo>
                  <a:lnTo>
                    <a:pt x="94298" y="194310"/>
                  </a:lnTo>
                  <a:lnTo>
                    <a:pt x="76200" y="165735"/>
                  </a:lnTo>
                  <a:lnTo>
                    <a:pt x="72390" y="128588"/>
                  </a:lnTo>
                  <a:lnTo>
                    <a:pt x="58103" y="114300"/>
                  </a:lnTo>
                  <a:lnTo>
                    <a:pt x="52388" y="87630"/>
                  </a:lnTo>
                  <a:lnTo>
                    <a:pt x="83820" y="64770"/>
                  </a:lnTo>
                  <a:lnTo>
                    <a:pt x="104775" y="70485"/>
                  </a:lnTo>
                  <a:lnTo>
                    <a:pt x="127635" y="81915"/>
                  </a:lnTo>
                  <a:lnTo>
                    <a:pt x="143828" y="98108"/>
                  </a:lnTo>
                  <a:lnTo>
                    <a:pt x="143828" y="117158"/>
                  </a:lnTo>
                  <a:lnTo>
                    <a:pt x="173355" y="128588"/>
                  </a:lnTo>
                  <a:lnTo>
                    <a:pt x="191453" y="109538"/>
                  </a:lnTo>
                  <a:lnTo>
                    <a:pt x="223838" y="101918"/>
                  </a:lnTo>
                  <a:lnTo>
                    <a:pt x="223838" y="84773"/>
                  </a:lnTo>
                  <a:lnTo>
                    <a:pt x="240983" y="53340"/>
                  </a:lnTo>
                  <a:lnTo>
                    <a:pt x="247650" y="31433"/>
                  </a:lnTo>
                  <a:lnTo>
                    <a:pt x="241935" y="7620"/>
                  </a:lnTo>
                  <a:lnTo>
                    <a:pt x="260985" y="0"/>
                  </a:lnTo>
                  <a:lnTo>
                    <a:pt x="284797" y="16193"/>
                  </a:lnTo>
                  <a:lnTo>
                    <a:pt x="292418" y="30480"/>
                  </a:lnTo>
                  <a:lnTo>
                    <a:pt x="318135" y="39053"/>
                  </a:lnTo>
                  <a:lnTo>
                    <a:pt x="322897" y="49530"/>
                  </a:lnTo>
                  <a:lnTo>
                    <a:pt x="341947" y="51435"/>
                  </a:lnTo>
                  <a:lnTo>
                    <a:pt x="360997" y="70485"/>
                  </a:lnTo>
                  <a:lnTo>
                    <a:pt x="379095" y="53340"/>
                  </a:lnTo>
                  <a:lnTo>
                    <a:pt x="399097" y="64770"/>
                  </a:lnTo>
                  <a:lnTo>
                    <a:pt x="414338" y="80010"/>
                  </a:lnTo>
                  <a:lnTo>
                    <a:pt x="429578" y="94298"/>
                  </a:lnTo>
                  <a:lnTo>
                    <a:pt x="429578" y="125730"/>
                  </a:lnTo>
                  <a:lnTo>
                    <a:pt x="434340" y="161925"/>
                  </a:lnTo>
                  <a:lnTo>
                    <a:pt x="421005" y="182880"/>
                  </a:lnTo>
                  <a:lnTo>
                    <a:pt x="396240" y="182880"/>
                  </a:lnTo>
                  <a:lnTo>
                    <a:pt x="381953" y="196215"/>
                  </a:lnTo>
                  <a:lnTo>
                    <a:pt x="390525" y="222885"/>
                  </a:lnTo>
                  <a:lnTo>
                    <a:pt x="377190" y="237173"/>
                  </a:lnTo>
                  <a:lnTo>
                    <a:pt x="358140" y="237173"/>
                  </a:lnTo>
                  <a:lnTo>
                    <a:pt x="353378" y="256223"/>
                  </a:lnTo>
                  <a:lnTo>
                    <a:pt x="369570" y="272415"/>
                  </a:lnTo>
                  <a:lnTo>
                    <a:pt x="387668" y="273368"/>
                  </a:lnTo>
                  <a:lnTo>
                    <a:pt x="391478" y="286703"/>
                  </a:lnTo>
                  <a:lnTo>
                    <a:pt x="419100" y="286703"/>
                  </a:lnTo>
                  <a:lnTo>
                    <a:pt x="430530" y="314325"/>
                  </a:lnTo>
                  <a:lnTo>
                    <a:pt x="409575" y="33528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2" name="Полилиния: фигура 19">
              <a:extLst>
                <a:ext uri="{FF2B5EF4-FFF2-40B4-BE49-F238E27FC236}">
                  <a16:creationId xmlns:a16="http://schemas.microsoft.com/office/drawing/2014/main" id="{11784CF7-8AFB-424A-9E03-B99293D96D67}"/>
                </a:ext>
              </a:extLst>
            </p:cNvPr>
            <p:cNvSpPr/>
            <p:nvPr/>
          </p:nvSpPr>
          <p:spPr>
            <a:xfrm>
              <a:off x="5123556" y="5246797"/>
              <a:ext cx="273299" cy="360627"/>
            </a:xfrm>
            <a:custGeom>
              <a:avLst/>
              <a:gdLst>
                <a:gd name="connsiteX0" fmla="*/ 306705 w 423862"/>
                <a:gd name="connsiteY0" fmla="*/ 590550 h 642937"/>
                <a:gd name="connsiteX1" fmla="*/ 283845 w 423862"/>
                <a:gd name="connsiteY1" fmla="*/ 613410 h 642937"/>
                <a:gd name="connsiteX2" fmla="*/ 244792 w 423862"/>
                <a:gd name="connsiteY2" fmla="*/ 624840 h 642937"/>
                <a:gd name="connsiteX3" fmla="*/ 210503 w 423862"/>
                <a:gd name="connsiteY3" fmla="*/ 642938 h 642937"/>
                <a:gd name="connsiteX4" fmla="*/ 195263 w 423862"/>
                <a:gd name="connsiteY4" fmla="*/ 620077 h 642937"/>
                <a:gd name="connsiteX5" fmla="*/ 165735 w 423862"/>
                <a:gd name="connsiteY5" fmla="*/ 634365 h 642937"/>
                <a:gd name="connsiteX6" fmla="*/ 140970 w 423862"/>
                <a:gd name="connsiteY6" fmla="*/ 634365 h 642937"/>
                <a:gd name="connsiteX7" fmla="*/ 149542 w 423862"/>
                <a:gd name="connsiteY7" fmla="*/ 596265 h 642937"/>
                <a:gd name="connsiteX8" fmla="*/ 183832 w 423862"/>
                <a:gd name="connsiteY8" fmla="*/ 581025 h 642937"/>
                <a:gd name="connsiteX9" fmla="*/ 183832 w 423862"/>
                <a:gd name="connsiteY9" fmla="*/ 561022 h 642937"/>
                <a:gd name="connsiteX10" fmla="*/ 155257 w 423862"/>
                <a:gd name="connsiteY10" fmla="*/ 561022 h 642937"/>
                <a:gd name="connsiteX11" fmla="*/ 130492 w 423862"/>
                <a:gd name="connsiteY11" fmla="*/ 545782 h 642937"/>
                <a:gd name="connsiteX12" fmla="*/ 114300 w 423862"/>
                <a:gd name="connsiteY12" fmla="*/ 561022 h 642937"/>
                <a:gd name="connsiteX13" fmla="*/ 86678 w 423862"/>
                <a:gd name="connsiteY13" fmla="*/ 552450 h 642937"/>
                <a:gd name="connsiteX14" fmla="*/ 95250 w 423862"/>
                <a:gd name="connsiteY14" fmla="*/ 519113 h 642937"/>
                <a:gd name="connsiteX15" fmla="*/ 75247 w 423862"/>
                <a:gd name="connsiteY15" fmla="*/ 499110 h 642937"/>
                <a:gd name="connsiteX16" fmla="*/ 46672 w 423862"/>
                <a:gd name="connsiteY16" fmla="*/ 516255 h 642937"/>
                <a:gd name="connsiteX17" fmla="*/ 16192 w 423862"/>
                <a:gd name="connsiteY17" fmla="*/ 507682 h 642937"/>
                <a:gd name="connsiteX18" fmla="*/ 7620 w 423862"/>
                <a:gd name="connsiteY18" fmla="*/ 482917 h 642937"/>
                <a:gd name="connsiteX19" fmla="*/ 25717 w 423862"/>
                <a:gd name="connsiteY19" fmla="*/ 464820 h 642937"/>
                <a:gd name="connsiteX20" fmla="*/ 25717 w 423862"/>
                <a:gd name="connsiteY20" fmla="*/ 438150 h 642937"/>
                <a:gd name="connsiteX21" fmla="*/ 32385 w 423862"/>
                <a:gd name="connsiteY21" fmla="*/ 419100 h 642937"/>
                <a:gd name="connsiteX22" fmla="*/ 20955 w 423862"/>
                <a:gd name="connsiteY22" fmla="*/ 382905 h 642937"/>
                <a:gd name="connsiteX23" fmla="*/ 0 w 423862"/>
                <a:gd name="connsiteY23" fmla="*/ 373380 h 642937"/>
                <a:gd name="connsiteX24" fmla="*/ 0 w 423862"/>
                <a:gd name="connsiteY24" fmla="*/ 356235 h 642937"/>
                <a:gd name="connsiteX25" fmla="*/ 8572 w 423862"/>
                <a:gd name="connsiteY25" fmla="*/ 340042 h 642937"/>
                <a:gd name="connsiteX26" fmla="*/ 22860 w 423862"/>
                <a:gd name="connsiteY26" fmla="*/ 325755 h 642937"/>
                <a:gd name="connsiteX27" fmla="*/ 22860 w 423862"/>
                <a:gd name="connsiteY27" fmla="*/ 306705 h 642937"/>
                <a:gd name="connsiteX28" fmla="*/ 34290 w 423862"/>
                <a:gd name="connsiteY28" fmla="*/ 304800 h 642937"/>
                <a:gd name="connsiteX29" fmla="*/ 48578 w 423862"/>
                <a:gd name="connsiteY29" fmla="*/ 289560 h 642937"/>
                <a:gd name="connsiteX30" fmla="*/ 54292 w 423862"/>
                <a:gd name="connsiteY30" fmla="*/ 275272 h 642937"/>
                <a:gd name="connsiteX31" fmla="*/ 54292 w 423862"/>
                <a:gd name="connsiteY31" fmla="*/ 250507 h 642937"/>
                <a:gd name="connsiteX32" fmla="*/ 90488 w 423862"/>
                <a:gd name="connsiteY32" fmla="*/ 214313 h 642937"/>
                <a:gd name="connsiteX33" fmla="*/ 117157 w 423862"/>
                <a:gd name="connsiteY33" fmla="*/ 209550 h 642937"/>
                <a:gd name="connsiteX34" fmla="*/ 127635 w 423862"/>
                <a:gd name="connsiteY34" fmla="*/ 200025 h 642937"/>
                <a:gd name="connsiteX35" fmla="*/ 127635 w 423862"/>
                <a:gd name="connsiteY35" fmla="*/ 180975 h 642937"/>
                <a:gd name="connsiteX36" fmla="*/ 105728 w 423862"/>
                <a:gd name="connsiteY36" fmla="*/ 169545 h 642937"/>
                <a:gd name="connsiteX37" fmla="*/ 99060 w 423862"/>
                <a:gd name="connsiteY37" fmla="*/ 152400 h 642937"/>
                <a:gd name="connsiteX38" fmla="*/ 85725 w 423862"/>
                <a:gd name="connsiteY38" fmla="*/ 139065 h 642937"/>
                <a:gd name="connsiteX39" fmla="*/ 66675 w 423862"/>
                <a:gd name="connsiteY39" fmla="*/ 129540 h 642937"/>
                <a:gd name="connsiteX40" fmla="*/ 66675 w 423862"/>
                <a:gd name="connsiteY40" fmla="*/ 114300 h 642937"/>
                <a:gd name="connsiteX41" fmla="*/ 89535 w 423862"/>
                <a:gd name="connsiteY41" fmla="*/ 103822 h 642937"/>
                <a:gd name="connsiteX42" fmla="*/ 80010 w 423862"/>
                <a:gd name="connsiteY42" fmla="*/ 75247 h 642937"/>
                <a:gd name="connsiteX43" fmla="*/ 81915 w 423862"/>
                <a:gd name="connsiteY43" fmla="*/ 52388 h 642937"/>
                <a:gd name="connsiteX44" fmla="*/ 101917 w 423862"/>
                <a:gd name="connsiteY44" fmla="*/ 31432 h 642937"/>
                <a:gd name="connsiteX45" fmla="*/ 111442 w 423862"/>
                <a:gd name="connsiteY45" fmla="*/ 14288 h 642937"/>
                <a:gd name="connsiteX46" fmla="*/ 132397 w 423862"/>
                <a:gd name="connsiteY46" fmla="*/ 0 h 642937"/>
                <a:gd name="connsiteX47" fmla="*/ 154305 w 423862"/>
                <a:gd name="connsiteY47" fmla="*/ 21907 h 642937"/>
                <a:gd name="connsiteX48" fmla="*/ 140970 w 423862"/>
                <a:gd name="connsiteY48" fmla="*/ 36195 h 642937"/>
                <a:gd name="connsiteX49" fmla="*/ 140970 w 423862"/>
                <a:gd name="connsiteY49" fmla="*/ 52388 h 642937"/>
                <a:gd name="connsiteX50" fmla="*/ 160020 w 423862"/>
                <a:gd name="connsiteY50" fmla="*/ 59055 h 642937"/>
                <a:gd name="connsiteX51" fmla="*/ 184785 w 423862"/>
                <a:gd name="connsiteY51" fmla="*/ 66675 h 642937"/>
                <a:gd name="connsiteX52" fmla="*/ 200025 w 423862"/>
                <a:gd name="connsiteY52" fmla="*/ 74295 h 642937"/>
                <a:gd name="connsiteX53" fmla="*/ 218122 w 423862"/>
                <a:gd name="connsiteY53" fmla="*/ 85725 h 642937"/>
                <a:gd name="connsiteX54" fmla="*/ 246697 w 423862"/>
                <a:gd name="connsiteY54" fmla="*/ 85725 h 642937"/>
                <a:gd name="connsiteX55" fmla="*/ 256222 w 423862"/>
                <a:gd name="connsiteY55" fmla="*/ 71438 h 642937"/>
                <a:gd name="connsiteX56" fmla="*/ 280988 w 423862"/>
                <a:gd name="connsiteY56" fmla="*/ 84772 h 642937"/>
                <a:gd name="connsiteX57" fmla="*/ 301942 w 423862"/>
                <a:gd name="connsiteY57" fmla="*/ 90488 h 642937"/>
                <a:gd name="connsiteX58" fmla="*/ 335280 w 423862"/>
                <a:gd name="connsiteY58" fmla="*/ 90488 h 642937"/>
                <a:gd name="connsiteX59" fmla="*/ 363855 w 423862"/>
                <a:gd name="connsiteY59" fmla="*/ 77152 h 642937"/>
                <a:gd name="connsiteX60" fmla="*/ 386715 w 423862"/>
                <a:gd name="connsiteY60" fmla="*/ 55245 h 642937"/>
                <a:gd name="connsiteX61" fmla="*/ 399097 w 423862"/>
                <a:gd name="connsiteY61" fmla="*/ 37147 h 642937"/>
                <a:gd name="connsiteX62" fmla="*/ 403860 w 423862"/>
                <a:gd name="connsiteY62" fmla="*/ 50482 h 642937"/>
                <a:gd name="connsiteX63" fmla="*/ 396240 w 423862"/>
                <a:gd name="connsiteY63" fmla="*/ 68580 h 642937"/>
                <a:gd name="connsiteX64" fmla="*/ 387667 w 423862"/>
                <a:gd name="connsiteY64" fmla="*/ 87630 h 642937"/>
                <a:gd name="connsiteX65" fmla="*/ 387667 w 423862"/>
                <a:gd name="connsiteY65" fmla="*/ 116205 h 642937"/>
                <a:gd name="connsiteX66" fmla="*/ 403860 w 423862"/>
                <a:gd name="connsiteY66" fmla="*/ 132397 h 642937"/>
                <a:gd name="connsiteX67" fmla="*/ 399097 w 423862"/>
                <a:gd name="connsiteY67" fmla="*/ 167640 h 642937"/>
                <a:gd name="connsiteX68" fmla="*/ 415290 w 423862"/>
                <a:gd name="connsiteY68" fmla="*/ 200025 h 642937"/>
                <a:gd name="connsiteX69" fmla="*/ 423863 w 423862"/>
                <a:gd name="connsiteY69" fmla="*/ 223838 h 642937"/>
                <a:gd name="connsiteX70" fmla="*/ 423863 w 423862"/>
                <a:gd name="connsiteY70" fmla="*/ 260032 h 642937"/>
                <a:gd name="connsiteX71" fmla="*/ 423863 w 423862"/>
                <a:gd name="connsiteY71" fmla="*/ 292417 h 642937"/>
                <a:gd name="connsiteX72" fmla="*/ 401003 w 423862"/>
                <a:gd name="connsiteY72" fmla="*/ 314325 h 642937"/>
                <a:gd name="connsiteX73" fmla="*/ 405765 w 423862"/>
                <a:gd name="connsiteY73" fmla="*/ 330517 h 642937"/>
                <a:gd name="connsiteX74" fmla="*/ 405765 w 423862"/>
                <a:gd name="connsiteY74" fmla="*/ 351472 h 642937"/>
                <a:gd name="connsiteX75" fmla="*/ 395288 w 423862"/>
                <a:gd name="connsiteY75" fmla="*/ 361950 h 642937"/>
                <a:gd name="connsiteX76" fmla="*/ 375285 w 423862"/>
                <a:gd name="connsiteY76" fmla="*/ 354330 h 642937"/>
                <a:gd name="connsiteX77" fmla="*/ 357188 w 423862"/>
                <a:gd name="connsiteY77" fmla="*/ 361950 h 642937"/>
                <a:gd name="connsiteX78" fmla="*/ 330517 w 423862"/>
                <a:gd name="connsiteY78" fmla="*/ 392430 h 642937"/>
                <a:gd name="connsiteX79" fmla="*/ 314325 w 423862"/>
                <a:gd name="connsiteY79" fmla="*/ 431482 h 642937"/>
                <a:gd name="connsiteX80" fmla="*/ 320992 w 423862"/>
                <a:gd name="connsiteY80" fmla="*/ 481013 h 642937"/>
                <a:gd name="connsiteX81" fmla="*/ 320992 w 423862"/>
                <a:gd name="connsiteY81" fmla="*/ 509588 h 642937"/>
                <a:gd name="connsiteX82" fmla="*/ 335280 w 423862"/>
                <a:gd name="connsiteY82" fmla="*/ 523875 h 642937"/>
                <a:gd name="connsiteX83" fmla="*/ 335280 w 423862"/>
                <a:gd name="connsiteY83" fmla="*/ 541020 h 642937"/>
                <a:gd name="connsiteX84" fmla="*/ 320040 w 423862"/>
                <a:gd name="connsiteY84" fmla="*/ 556260 h 642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423862" h="642937">
                  <a:moveTo>
                    <a:pt x="306705" y="590550"/>
                  </a:moveTo>
                  <a:lnTo>
                    <a:pt x="283845" y="613410"/>
                  </a:lnTo>
                  <a:lnTo>
                    <a:pt x="244792" y="624840"/>
                  </a:lnTo>
                  <a:lnTo>
                    <a:pt x="210503" y="642938"/>
                  </a:lnTo>
                  <a:lnTo>
                    <a:pt x="195263" y="620077"/>
                  </a:lnTo>
                  <a:lnTo>
                    <a:pt x="165735" y="634365"/>
                  </a:lnTo>
                  <a:lnTo>
                    <a:pt x="140970" y="634365"/>
                  </a:lnTo>
                  <a:lnTo>
                    <a:pt x="149542" y="596265"/>
                  </a:lnTo>
                  <a:lnTo>
                    <a:pt x="183832" y="581025"/>
                  </a:lnTo>
                  <a:lnTo>
                    <a:pt x="183832" y="561022"/>
                  </a:lnTo>
                  <a:lnTo>
                    <a:pt x="155257" y="561022"/>
                  </a:lnTo>
                  <a:lnTo>
                    <a:pt x="130492" y="545782"/>
                  </a:lnTo>
                  <a:lnTo>
                    <a:pt x="114300" y="561022"/>
                  </a:lnTo>
                  <a:lnTo>
                    <a:pt x="86678" y="552450"/>
                  </a:lnTo>
                  <a:lnTo>
                    <a:pt x="95250" y="519113"/>
                  </a:lnTo>
                  <a:lnTo>
                    <a:pt x="75247" y="499110"/>
                  </a:lnTo>
                  <a:lnTo>
                    <a:pt x="46672" y="516255"/>
                  </a:lnTo>
                  <a:lnTo>
                    <a:pt x="16192" y="507682"/>
                  </a:lnTo>
                  <a:lnTo>
                    <a:pt x="7620" y="482917"/>
                  </a:lnTo>
                  <a:lnTo>
                    <a:pt x="25717" y="464820"/>
                  </a:lnTo>
                  <a:lnTo>
                    <a:pt x="25717" y="438150"/>
                  </a:lnTo>
                  <a:lnTo>
                    <a:pt x="32385" y="419100"/>
                  </a:lnTo>
                  <a:lnTo>
                    <a:pt x="20955" y="382905"/>
                  </a:lnTo>
                  <a:lnTo>
                    <a:pt x="0" y="373380"/>
                  </a:lnTo>
                  <a:lnTo>
                    <a:pt x="0" y="356235"/>
                  </a:lnTo>
                  <a:lnTo>
                    <a:pt x="8572" y="340042"/>
                  </a:lnTo>
                  <a:lnTo>
                    <a:pt x="22860" y="325755"/>
                  </a:lnTo>
                  <a:lnTo>
                    <a:pt x="22860" y="306705"/>
                  </a:lnTo>
                  <a:lnTo>
                    <a:pt x="34290" y="304800"/>
                  </a:lnTo>
                  <a:lnTo>
                    <a:pt x="48578" y="289560"/>
                  </a:lnTo>
                  <a:lnTo>
                    <a:pt x="54292" y="275272"/>
                  </a:lnTo>
                  <a:lnTo>
                    <a:pt x="54292" y="250507"/>
                  </a:lnTo>
                  <a:lnTo>
                    <a:pt x="90488" y="214313"/>
                  </a:lnTo>
                  <a:lnTo>
                    <a:pt x="117157" y="209550"/>
                  </a:lnTo>
                  <a:lnTo>
                    <a:pt x="127635" y="200025"/>
                  </a:lnTo>
                  <a:lnTo>
                    <a:pt x="127635" y="180975"/>
                  </a:lnTo>
                  <a:lnTo>
                    <a:pt x="105728" y="169545"/>
                  </a:lnTo>
                  <a:lnTo>
                    <a:pt x="99060" y="152400"/>
                  </a:lnTo>
                  <a:lnTo>
                    <a:pt x="85725" y="139065"/>
                  </a:lnTo>
                  <a:lnTo>
                    <a:pt x="66675" y="129540"/>
                  </a:lnTo>
                  <a:lnTo>
                    <a:pt x="66675" y="114300"/>
                  </a:lnTo>
                  <a:lnTo>
                    <a:pt x="89535" y="103822"/>
                  </a:lnTo>
                  <a:lnTo>
                    <a:pt x="80010" y="75247"/>
                  </a:lnTo>
                  <a:lnTo>
                    <a:pt x="81915" y="52388"/>
                  </a:lnTo>
                  <a:lnTo>
                    <a:pt x="101917" y="31432"/>
                  </a:lnTo>
                  <a:lnTo>
                    <a:pt x="111442" y="14288"/>
                  </a:lnTo>
                  <a:lnTo>
                    <a:pt x="132397" y="0"/>
                  </a:lnTo>
                  <a:lnTo>
                    <a:pt x="154305" y="21907"/>
                  </a:lnTo>
                  <a:lnTo>
                    <a:pt x="140970" y="36195"/>
                  </a:lnTo>
                  <a:lnTo>
                    <a:pt x="140970" y="52388"/>
                  </a:lnTo>
                  <a:lnTo>
                    <a:pt x="160020" y="59055"/>
                  </a:lnTo>
                  <a:lnTo>
                    <a:pt x="184785" y="66675"/>
                  </a:lnTo>
                  <a:lnTo>
                    <a:pt x="200025" y="74295"/>
                  </a:lnTo>
                  <a:lnTo>
                    <a:pt x="218122" y="85725"/>
                  </a:lnTo>
                  <a:lnTo>
                    <a:pt x="246697" y="85725"/>
                  </a:lnTo>
                  <a:lnTo>
                    <a:pt x="256222" y="71438"/>
                  </a:lnTo>
                  <a:lnTo>
                    <a:pt x="280988" y="84772"/>
                  </a:lnTo>
                  <a:lnTo>
                    <a:pt x="301942" y="90488"/>
                  </a:lnTo>
                  <a:lnTo>
                    <a:pt x="335280" y="90488"/>
                  </a:lnTo>
                  <a:lnTo>
                    <a:pt x="363855" y="77152"/>
                  </a:lnTo>
                  <a:lnTo>
                    <a:pt x="386715" y="55245"/>
                  </a:lnTo>
                  <a:lnTo>
                    <a:pt x="399097" y="37147"/>
                  </a:lnTo>
                  <a:lnTo>
                    <a:pt x="403860" y="50482"/>
                  </a:lnTo>
                  <a:lnTo>
                    <a:pt x="396240" y="68580"/>
                  </a:lnTo>
                  <a:lnTo>
                    <a:pt x="387667" y="87630"/>
                  </a:lnTo>
                  <a:lnTo>
                    <a:pt x="387667" y="116205"/>
                  </a:lnTo>
                  <a:lnTo>
                    <a:pt x="403860" y="132397"/>
                  </a:lnTo>
                  <a:lnTo>
                    <a:pt x="399097" y="167640"/>
                  </a:lnTo>
                  <a:lnTo>
                    <a:pt x="415290" y="200025"/>
                  </a:lnTo>
                  <a:lnTo>
                    <a:pt x="423863" y="223838"/>
                  </a:lnTo>
                  <a:lnTo>
                    <a:pt x="423863" y="260032"/>
                  </a:lnTo>
                  <a:lnTo>
                    <a:pt x="423863" y="292417"/>
                  </a:lnTo>
                  <a:lnTo>
                    <a:pt x="401003" y="314325"/>
                  </a:lnTo>
                  <a:lnTo>
                    <a:pt x="405765" y="330517"/>
                  </a:lnTo>
                  <a:lnTo>
                    <a:pt x="405765" y="351472"/>
                  </a:lnTo>
                  <a:lnTo>
                    <a:pt x="395288" y="361950"/>
                  </a:lnTo>
                  <a:lnTo>
                    <a:pt x="375285" y="354330"/>
                  </a:lnTo>
                  <a:lnTo>
                    <a:pt x="357188" y="361950"/>
                  </a:lnTo>
                  <a:lnTo>
                    <a:pt x="330517" y="392430"/>
                  </a:lnTo>
                  <a:lnTo>
                    <a:pt x="314325" y="431482"/>
                  </a:lnTo>
                  <a:lnTo>
                    <a:pt x="320992" y="481013"/>
                  </a:lnTo>
                  <a:lnTo>
                    <a:pt x="320992" y="509588"/>
                  </a:lnTo>
                  <a:lnTo>
                    <a:pt x="335280" y="523875"/>
                  </a:lnTo>
                  <a:lnTo>
                    <a:pt x="335280" y="541020"/>
                  </a:lnTo>
                  <a:lnTo>
                    <a:pt x="320040" y="55626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3" name="Полилиния: фигура 20">
              <a:extLst>
                <a:ext uri="{FF2B5EF4-FFF2-40B4-BE49-F238E27FC236}">
                  <a16:creationId xmlns:a16="http://schemas.microsoft.com/office/drawing/2014/main" id="{0C8A8D68-E9E5-48D8-8222-D8E19326D6A7}"/>
                </a:ext>
              </a:extLst>
            </p:cNvPr>
            <p:cNvSpPr/>
            <p:nvPr/>
          </p:nvSpPr>
          <p:spPr>
            <a:xfrm>
              <a:off x="5321314" y="5372348"/>
              <a:ext cx="444649" cy="291707"/>
            </a:xfrm>
            <a:custGeom>
              <a:avLst/>
              <a:gdLst>
                <a:gd name="connsiteX0" fmla="*/ 141923 w 689610"/>
                <a:gd name="connsiteY0" fmla="*/ 488632 h 520064"/>
                <a:gd name="connsiteX1" fmla="*/ 126683 w 689610"/>
                <a:gd name="connsiteY1" fmla="*/ 472440 h 520064"/>
                <a:gd name="connsiteX2" fmla="*/ 110490 w 689610"/>
                <a:gd name="connsiteY2" fmla="*/ 438150 h 520064"/>
                <a:gd name="connsiteX3" fmla="*/ 93345 w 689610"/>
                <a:gd name="connsiteY3" fmla="*/ 421005 h 520064"/>
                <a:gd name="connsiteX4" fmla="*/ 68580 w 689610"/>
                <a:gd name="connsiteY4" fmla="*/ 410527 h 520064"/>
                <a:gd name="connsiteX5" fmla="*/ 68580 w 689610"/>
                <a:gd name="connsiteY5" fmla="*/ 385763 h 520064"/>
                <a:gd name="connsiteX6" fmla="*/ 88583 w 689610"/>
                <a:gd name="connsiteY6" fmla="*/ 385763 h 520064"/>
                <a:gd name="connsiteX7" fmla="*/ 105728 w 689610"/>
                <a:gd name="connsiteY7" fmla="*/ 362902 h 520064"/>
                <a:gd name="connsiteX8" fmla="*/ 98108 w 689610"/>
                <a:gd name="connsiteY8" fmla="*/ 342900 h 520064"/>
                <a:gd name="connsiteX9" fmla="*/ 73343 w 689610"/>
                <a:gd name="connsiteY9" fmla="*/ 342900 h 520064"/>
                <a:gd name="connsiteX10" fmla="*/ 52388 w 689610"/>
                <a:gd name="connsiteY10" fmla="*/ 363855 h 520064"/>
                <a:gd name="connsiteX11" fmla="*/ 21908 w 689610"/>
                <a:gd name="connsiteY11" fmla="*/ 365760 h 520064"/>
                <a:gd name="connsiteX12" fmla="*/ 0 w 689610"/>
                <a:gd name="connsiteY12" fmla="*/ 366713 h 520064"/>
                <a:gd name="connsiteX13" fmla="*/ 13335 w 689610"/>
                <a:gd name="connsiteY13" fmla="*/ 332422 h 520064"/>
                <a:gd name="connsiteX14" fmla="*/ 28575 w 689610"/>
                <a:gd name="connsiteY14" fmla="*/ 317182 h 520064"/>
                <a:gd name="connsiteX15" fmla="*/ 28575 w 689610"/>
                <a:gd name="connsiteY15" fmla="*/ 300038 h 520064"/>
                <a:gd name="connsiteX16" fmla="*/ 14288 w 689610"/>
                <a:gd name="connsiteY16" fmla="*/ 285750 h 520064"/>
                <a:gd name="connsiteX17" fmla="*/ 14288 w 689610"/>
                <a:gd name="connsiteY17" fmla="*/ 257175 h 520064"/>
                <a:gd name="connsiteX18" fmla="*/ 7620 w 689610"/>
                <a:gd name="connsiteY18" fmla="*/ 207645 h 520064"/>
                <a:gd name="connsiteX19" fmla="*/ 23813 w 689610"/>
                <a:gd name="connsiteY19" fmla="*/ 168592 h 520064"/>
                <a:gd name="connsiteX20" fmla="*/ 50483 w 689610"/>
                <a:gd name="connsiteY20" fmla="*/ 138113 h 520064"/>
                <a:gd name="connsiteX21" fmla="*/ 68580 w 689610"/>
                <a:gd name="connsiteY21" fmla="*/ 130492 h 520064"/>
                <a:gd name="connsiteX22" fmla="*/ 88583 w 689610"/>
                <a:gd name="connsiteY22" fmla="*/ 138113 h 520064"/>
                <a:gd name="connsiteX23" fmla="*/ 99060 w 689610"/>
                <a:gd name="connsiteY23" fmla="*/ 127635 h 520064"/>
                <a:gd name="connsiteX24" fmla="*/ 99060 w 689610"/>
                <a:gd name="connsiteY24" fmla="*/ 106680 h 520064"/>
                <a:gd name="connsiteX25" fmla="*/ 94298 w 689610"/>
                <a:gd name="connsiteY25" fmla="*/ 90488 h 520064"/>
                <a:gd name="connsiteX26" fmla="*/ 117158 w 689610"/>
                <a:gd name="connsiteY26" fmla="*/ 68580 h 520064"/>
                <a:gd name="connsiteX27" fmla="*/ 117158 w 689610"/>
                <a:gd name="connsiteY27" fmla="*/ 0 h 520064"/>
                <a:gd name="connsiteX28" fmla="*/ 147638 w 689610"/>
                <a:gd name="connsiteY28" fmla="*/ 7620 h 520064"/>
                <a:gd name="connsiteX29" fmla="*/ 164783 w 689610"/>
                <a:gd name="connsiteY29" fmla="*/ 24765 h 520064"/>
                <a:gd name="connsiteX30" fmla="*/ 199073 w 689610"/>
                <a:gd name="connsiteY30" fmla="*/ 24765 h 520064"/>
                <a:gd name="connsiteX31" fmla="*/ 237173 w 689610"/>
                <a:gd name="connsiteY31" fmla="*/ 30480 h 520064"/>
                <a:gd name="connsiteX32" fmla="*/ 269558 w 689610"/>
                <a:gd name="connsiteY32" fmla="*/ 46672 h 520064"/>
                <a:gd name="connsiteX33" fmla="*/ 307658 w 689610"/>
                <a:gd name="connsiteY33" fmla="*/ 62865 h 520064"/>
                <a:gd name="connsiteX34" fmla="*/ 331470 w 689610"/>
                <a:gd name="connsiteY34" fmla="*/ 86677 h 520064"/>
                <a:gd name="connsiteX35" fmla="*/ 350520 w 689610"/>
                <a:gd name="connsiteY35" fmla="*/ 105727 h 520064"/>
                <a:gd name="connsiteX36" fmla="*/ 378143 w 689610"/>
                <a:gd name="connsiteY36" fmla="*/ 144780 h 520064"/>
                <a:gd name="connsiteX37" fmla="*/ 440055 w 689610"/>
                <a:gd name="connsiteY37" fmla="*/ 144780 h 520064"/>
                <a:gd name="connsiteX38" fmla="*/ 463868 w 689610"/>
                <a:gd name="connsiteY38" fmla="*/ 178117 h 520064"/>
                <a:gd name="connsiteX39" fmla="*/ 492443 w 689610"/>
                <a:gd name="connsiteY39" fmla="*/ 178117 h 520064"/>
                <a:gd name="connsiteX40" fmla="*/ 526733 w 689610"/>
                <a:gd name="connsiteY40" fmla="*/ 169545 h 520064"/>
                <a:gd name="connsiteX41" fmla="*/ 546735 w 689610"/>
                <a:gd name="connsiteY41" fmla="*/ 149542 h 520064"/>
                <a:gd name="connsiteX42" fmla="*/ 564833 w 689610"/>
                <a:gd name="connsiteY42" fmla="*/ 158115 h 520064"/>
                <a:gd name="connsiteX43" fmla="*/ 569595 w 689610"/>
                <a:gd name="connsiteY43" fmla="*/ 194310 h 520064"/>
                <a:gd name="connsiteX44" fmla="*/ 569595 w 689610"/>
                <a:gd name="connsiteY44" fmla="*/ 220980 h 520064"/>
                <a:gd name="connsiteX45" fmla="*/ 581025 w 689610"/>
                <a:gd name="connsiteY45" fmla="*/ 231457 h 520064"/>
                <a:gd name="connsiteX46" fmla="*/ 567690 w 689610"/>
                <a:gd name="connsiteY46" fmla="*/ 244792 h 520064"/>
                <a:gd name="connsiteX47" fmla="*/ 582930 w 689610"/>
                <a:gd name="connsiteY47" fmla="*/ 260032 h 520064"/>
                <a:gd name="connsiteX48" fmla="*/ 601028 w 689610"/>
                <a:gd name="connsiteY48" fmla="*/ 241935 h 520064"/>
                <a:gd name="connsiteX49" fmla="*/ 620078 w 689610"/>
                <a:gd name="connsiteY49" fmla="*/ 221932 h 520064"/>
                <a:gd name="connsiteX50" fmla="*/ 655320 w 689610"/>
                <a:gd name="connsiteY50" fmla="*/ 223838 h 520064"/>
                <a:gd name="connsiteX51" fmla="*/ 660083 w 689610"/>
                <a:gd name="connsiteY51" fmla="*/ 270510 h 520064"/>
                <a:gd name="connsiteX52" fmla="*/ 669608 w 689610"/>
                <a:gd name="connsiteY52" fmla="*/ 290513 h 520064"/>
                <a:gd name="connsiteX53" fmla="*/ 677228 w 689610"/>
                <a:gd name="connsiteY53" fmla="*/ 332422 h 520064"/>
                <a:gd name="connsiteX54" fmla="*/ 671513 w 689610"/>
                <a:gd name="connsiteY54" fmla="*/ 393382 h 520064"/>
                <a:gd name="connsiteX55" fmla="*/ 689610 w 689610"/>
                <a:gd name="connsiteY55" fmla="*/ 419100 h 520064"/>
                <a:gd name="connsiteX56" fmla="*/ 642938 w 689610"/>
                <a:gd name="connsiteY56" fmla="*/ 445770 h 520064"/>
                <a:gd name="connsiteX57" fmla="*/ 615315 w 689610"/>
                <a:gd name="connsiteY57" fmla="*/ 445770 h 520064"/>
                <a:gd name="connsiteX58" fmla="*/ 596265 w 689610"/>
                <a:gd name="connsiteY58" fmla="*/ 461010 h 520064"/>
                <a:gd name="connsiteX59" fmla="*/ 577215 w 689610"/>
                <a:gd name="connsiteY59" fmla="*/ 450532 h 520064"/>
                <a:gd name="connsiteX60" fmla="*/ 558165 w 689610"/>
                <a:gd name="connsiteY60" fmla="*/ 469582 h 520064"/>
                <a:gd name="connsiteX61" fmla="*/ 541020 w 689610"/>
                <a:gd name="connsiteY61" fmla="*/ 452438 h 520064"/>
                <a:gd name="connsiteX62" fmla="*/ 514350 w 689610"/>
                <a:gd name="connsiteY62" fmla="*/ 479107 h 520064"/>
                <a:gd name="connsiteX63" fmla="*/ 501968 w 689610"/>
                <a:gd name="connsiteY63" fmla="*/ 511492 h 520064"/>
                <a:gd name="connsiteX64" fmla="*/ 482918 w 689610"/>
                <a:gd name="connsiteY64" fmla="*/ 520065 h 520064"/>
                <a:gd name="connsiteX65" fmla="*/ 463868 w 689610"/>
                <a:gd name="connsiteY65" fmla="*/ 492442 h 520064"/>
                <a:gd name="connsiteX66" fmla="*/ 448628 w 689610"/>
                <a:gd name="connsiteY66" fmla="*/ 492442 h 520064"/>
                <a:gd name="connsiteX67" fmla="*/ 435293 w 689610"/>
                <a:gd name="connsiteY67" fmla="*/ 473392 h 520064"/>
                <a:gd name="connsiteX68" fmla="*/ 435293 w 689610"/>
                <a:gd name="connsiteY68" fmla="*/ 453390 h 520064"/>
                <a:gd name="connsiteX69" fmla="*/ 410528 w 689610"/>
                <a:gd name="connsiteY69" fmla="*/ 427672 h 520064"/>
                <a:gd name="connsiteX70" fmla="*/ 397193 w 689610"/>
                <a:gd name="connsiteY70" fmla="*/ 414338 h 520064"/>
                <a:gd name="connsiteX71" fmla="*/ 367665 w 689610"/>
                <a:gd name="connsiteY71" fmla="*/ 416242 h 520064"/>
                <a:gd name="connsiteX72" fmla="*/ 326708 w 689610"/>
                <a:gd name="connsiteY72" fmla="*/ 430530 h 520064"/>
                <a:gd name="connsiteX73" fmla="*/ 284798 w 689610"/>
                <a:gd name="connsiteY73" fmla="*/ 461010 h 520064"/>
                <a:gd name="connsiteX74" fmla="*/ 239078 w 689610"/>
                <a:gd name="connsiteY74" fmla="*/ 461010 h 520064"/>
                <a:gd name="connsiteX75" fmla="*/ 211455 w 689610"/>
                <a:gd name="connsiteY75" fmla="*/ 472440 h 520064"/>
                <a:gd name="connsiteX76" fmla="*/ 189548 w 689610"/>
                <a:gd name="connsiteY76" fmla="*/ 480060 h 520064"/>
                <a:gd name="connsiteX77" fmla="*/ 174308 w 689610"/>
                <a:gd name="connsiteY77" fmla="*/ 463867 h 520064"/>
                <a:gd name="connsiteX78" fmla="*/ 164783 w 689610"/>
                <a:gd name="connsiteY78" fmla="*/ 478155 h 52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89610" h="520064">
                  <a:moveTo>
                    <a:pt x="141923" y="488632"/>
                  </a:moveTo>
                  <a:lnTo>
                    <a:pt x="126683" y="472440"/>
                  </a:lnTo>
                  <a:lnTo>
                    <a:pt x="110490" y="438150"/>
                  </a:lnTo>
                  <a:lnTo>
                    <a:pt x="93345" y="421005"/>
                  </a:lnTo>
                  <a:lnTo>
                    <a:pt x="68580" y="410527"/>
                  </a:lnTo>
                  <a:lnTo>
                    <a:pt x="68580" y="385763"/>
                  </a:lnTo>
                  <a:lnTo>
                    <a:pt x="88583" y="385763"/>
                  </a:lnTo>
                  <a:lnTo>
                    <a:pt x="105728" y="362902"/>
                  </a:lnTo>
                  <a:lnTo>
                    <a:pt x="98108" y="342900"/>
                  </a:lnTo>
                  <a:lnTo>
                    <a:pt x="73343" y="342900"/>
                  </a:lnTo>
                  <a:lnTo>
                    <a:pt x="52388" y="363855"/>
                  </a:lnTo>
                  <a:lnTo>
                    <a:pt x="21908" y="365760"/>
                  </a:lnTo>
                  <a:lnTo>
                    <a:pt x="0" y="366713"/>
                  </a:lnTo>
                  <a:lnTo>
                    <a:pt x="13335" y="332422"/>
                  </a:lnTo>
                  <a:lnTo>
                    <a:pt x="28575" y="317182"/>
                  </a:lnTo>
                  <a:lnTo>
                    <a:pt x="28575" y="300038"/>
                  </a:lnTo>
                  <a:lnTo>
                    <a:pt x="14288" y="285750"/>
                  </a:lnTo>
                  <a:lnTo>
                    <a:pt x="14288" y="257175"/>
                  </a:lnTo>
                  <a:lnTo>
                    <a:pt x="7620" y="207645"/>
                  </a:lnTo>
                  <a:lnTo>
                    <a:pt x="23813" y="168592"/>
                  </a:lnTo>
                  <a:lnTo>
                    <a:pt x="50483" y="138113"/>
                  </a:lnTo>
                  <a:lnTo>
                    <a:pt x="68580" y="130492"/>
                  </a:lnTo>
                  <a:lnTo>
                    <a:pt x="88583" y="138113"/>
                  </a:lnTo>
                  <a:lnTo>
                    <a:pt x="99060" y="127635"/>
                  </a:lnTo>
                  <a:lnTo>
                    <a:pt x="99060" y="106680"/>
                  </a:lnTo>
                  <a:lnTo>
                    <a:pt x="94298" y="90488"/>
                  </a:lnTo>
                  <a:lnTo>
                    <a:pt x="117158" y="68580"/>
                  </a:lnTo>
                  <a:lnTo>
                    <a:pt x="117158" y="0"/>
                  </a:lnTo>
                  <a:lnTo>
                    <a:pt x="147638" y="7620"/>
                  </a:lnTo>
                  <a:lnTo>
                    <a:pt x="164783" y="24765"/>
                  </a:lnTo>
                  <a:lnTo>
                    <a:pt x="199073" y="24765"/>
                  </a:lnTo>
                  <a:lnTo>
                    <a:pt x="237173" y="30480"/>
                  </a:lnTo>
                  <a:lnTo>
                    <a:pt x="269558" y="46672"/>
                  </a:lnTo>
                  <a:lnTo>
                    <a:pt x="307658" y="62865"/>
                  </a:lnTo>
                  <a:lnTo>
                    <a:pt x="331470" y="86677"/>
                  </a:lnTo>
                  <a:lnTo>
                    <a:pt x="350520" y="105727"/>
                  </a:lnTo>
                  <a:lnTo>
                    <a:pt x="378143" y="144780"/>
                  </a:lnTo>
                  <a:lnTo>
                    <a:pt x="440055" y="144780"/>
                  </a:lnTo>
                  <a:lnTo>
                    <a:pt x="463868" y="178117"/>
                  </a:lnTo>
                  <a:lnTo>
                    <a:pt x="492443" y="178117"/>
                  </a:lnTo>
                  <a:lnTo>
                    <a:pt x="526733" y="169545"/>
                  </a:lnTo>
                  <a:lnTo>
                    <a:pt x="546735" y="149542"/>
                  </a:lnTo>
                  <a:lnTo>
                    <a:pt x="564833" y="158115"/>
                  </a:lnTo>
                  <a:lnTo>
                    <a:pt x="569595" y="194310"/>
                  </a:lnTo>
                  <a:lnTo>
                    <a:pt x="569595" y="220980"/>
                  </a:lnTo>
                  <a:lnTo>
                    <a:pt x="581025" y="231457"/>
                  </a:lnTo>
                  <a:lnTo>
                    <a:pt x="567690" y="244792"/>
                  </a:lnTo>
                  <a:lnTo>
                    <a:pt x="582930" y="260032"/>
                  </a:lnTo>
                  <a:lnTo>
                    <a:pt x="601028" y="241935"/>
                  </a:lnTo>
                  <a:lnTo>
                    <a:pt x="620078" y="221932"/>
                  </a:lnTo>
                  <a:lnTo>
                    <a:pt x="655320" y="223838"/>
                  </a:lnTo>
                  <a:lnTo>
                    <a:pt x="660083" y="270510"/>
                  </a:lnTo>
                  <a:lnTo>
                    <a:pt x="669608" y="290513"/>
                  </a:lnTo>
                  <a:lnTo>
                    <a:pt x="677228" y="332422"/>
                  </a:lnTo>
                  <a:lnTo>
                    <a:pt x="671513" y="393382"/>
                  </a:lnTo>
                  <a:lnTo>
                    <a:pt x="689610" y="419100"/>
                  </a:lnTo>
                  <a:lnTo>
                    <a:pt x="642938" y="445770"/>
                  </a:lnTo>
                  <a:lnTo>
                    <a:pt x="615315" y="445770"/>
                  </a:lnTo>
                  <a:lnTo>
                    <a:pt x="596265" y="461010"/>
                  </a:lnTo>
                  <a:lnTo>
                    <a:pt x="577215" y="450532"/>
                  </a:lnTo>
                  <a:lnTo>
                    <a:pt x="558165" y="469582"/>
                  </a:lnTo>
                  <a:lnTo>
                    <a:pt x="541020" y="452438"/>
                  </a:lnTo>
                  <a:lnTo>
                    <a:pt x="514350" y="479107"/>
                  </a:lnTo>
                  <a:lnTo>
                    <a:pt x="501968" y="511492"/>
                  </a:lnTo>
                  <a:lnTo>
                    <a:pt x="482918" y="520065"/>
                  </a:lnTo>
                  <a:lnTo>
                    <a:pt x="463868" y="492442"/>
                  </a:lnTo>
                  <a:lnTo>
                    <a:pt x="448628" y="492442"/>
                  </a:lnTo>
                  <a:lnTo>
                    <a:pt x="435293" y="473392"/>
                  </a:lnTo>
                  <a:lnTo>
                    <a:pt x="435293" y="453390"/>
                  </a:lnTo>
                  <a:lnTo>
                    <a:pt x="410528" y="427672"/>
                  </a:lnTo>
                  <a:lnTo>
                    <a:pt x="397193" y="414338"/>
                  </a:lnTo>
                  <a:lnTo>
                    <a:pt x="367665" y="416242"/>
                  </a:lnTo>
                  <a:lnTo>
                    <a:pt x="326708" y="430530"/>
                  </a:lnTo>
                  <a:lnTo>
                    <a:pt x="284798" y="461010"/>
                  </a:lnTo>
                  <a:lnTo>
                    <a:pt x="239078" y="461010"/>
                  </a:lnTo>
                  <a:lnTo>
                    <a:pt x="211455" y="472440"/>
                  </a:lnTo>
                  <a:lnTo>
                    <a:pt x="189548" y="480060"/>
                  </a:lnTo>
                  <a:lnTo>
                    <a:pt x="174308" y="463867"/>
                  </a:lnTo>
                  <a:lnTo>
                    <a:pt x="164783" y="47815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4" name="Полилиния: фигура 21">
              <a:extLst>
                <a:ext uri="{FF2B5EF4-FFF2-40B4-BE49-F238E27FC236}">
                  <a16:creationId xmlns:a16="http://schemas.microsoft.com/office/drawing/2014/main" id="{AD338E5D-B233-4490-8EB3-8191F01EAC14}"/>
                </a:ext>
              </a:extLst>
            </p:cNvPr>
            <p:cNvSpPr/>
            <p:nvPr/>
          </p:nvSpPr>
          <p:spPr>
            <a:xfrm>
              <a:off x="5412824" y="5604753"/>
              <a:ext cx="435436" cy="260186"/>
            </a:xfrm>
            <a:custGeom>
              <a:avLst/>
              <a:gdLst>
                <a:gd name="connsiteX0" fmla="*/ 438150 w 675322"/>
                <a:gd name="connsiteY0" fmla="*/ 463868 h 463867"/>
                <a:gd name="connsiteX1" fmla="*/ 418147 w 675322"/>
                <a:gd name="connsiteY1" fmla="*/ 444818 h 463867"/>
                <a:gd name="connsiteX2" fmla="*/ 391477 w 675322"/>
                <a:gd name="connsiteY2" fmla="*/ 433388 h 463867"/>
                <a:gd name="connsiteX3" fmla="*/ 374332 w 675322"/>
                <a:gd name="connsiteY3" fmla="*/ 416242 h 463867"/>
                <a:gd name="connsiteX4" fmla="*/ 338138 w 675322"/>
                <a:gd name="connsiteY4" fmla="*/ 416242 h 463867"/>
                <a:gd name="connsiteX5" fmla="*/ 320992 w 675322"/>
                <a:gd name="connsiteY5" fmla="*/ 434340 h 463867"/>
                <a:gd name="connsiteX6" fmla="*/ 285750 w 675322"/>
                <a:gd name="connsiteY6" fmla="*/ 439102 h 463867"/>
                <a:gd name="connsiteX7" fmla="*/ 271463 w 675322"/>
                <a:gd name="connsiteY7" fmla="*/ 425767 h 463867"/>
                <a:gd name="connsiteX8" fmla="*/ 240030 w 675322"/>
                <a:gd name="connsiteY8" fmla="*/ 431482 h 463867"/>
                <a:gd name="connsiteX9" fmla="*/ 222885 w 675322"/>
                <a:gd name="connsiteY9" fmla="*/ 414338 h 463867"/>
                <a:gd name="connsiteX10" fmla="*/ 207645 w 675322"/>
                <a:gd name="connsiteY10" fmla="*/ 398145 h 463867"/>
                <a:gd name="connsiteX11" fmla="*/ 207645 w 675322"/>
                <a:gd name="connsiteY11" fmla="*/ 377190 h 463867"/>
                <a:gd name="connsiteX12" fmla="*/ 192405 w 675322"/>
                <a:gd name="connsiteY12" fmla="*/ 359092 h 463867"/>
                <a:gd name="connsiteX13" fmla="*/ 169545 w 675322"/>
                <a:gd name="connsiteY13" fmla="*/ 365760 h 463867"/>
                <a:gd name="connsiteX14" fmla="*/ 154305 w 675322"/>
                <a:gd name="connsiteY14" fmla="*/ 398145 h 463867"/>
                <a:gd name="connsiteX15" fmla="*/ 122872 w 675322"/>
                <a:gd name="connsiteY15" fmla="*/ 403860 h 463867"/>
                <a:gd name="connsiteX16" fmla="*/ 104775 w 675322"/>
                <a:gd name="connsiteY16" fmla="*/ 367665 h 463867"/>
                <a:gd name="connsiteX17" fmla="*/ 95250 w 675322"/>
                <a:gd name="connsiteY17" fmla="*/ 335280 h 463867"/>
                <a:gd name="connsiteX18" fmla="*/ 87630 w 675322"/>
                <a:gd name="connsiteY18" fmla="*/ 298132 h 463867"/>
                <a:gd name="connsiteX19" fmla="*/ 63817 w 675322"/>
                <a:gd name="connsiteY19" fmla="*/ 256222 h 463867"/>
                <a:gd name="connsiteX20" fmla="*/ 63817 w 675322"/>
                <a:gd name="connsiteY20" fmla="*/ 221932 h 463867"/>
                <a:gd name="connsiteX21" fmla="*/ 40957 w 675322"/>
                <a:gd name="connsiteY21" fmla="*/ 200977 h 463867"/>
                <a:gd name="connsiteX22" fmla="*/ 40957 w 675322"/>
                <a:gd name="connsiteY22" fmla="*/ 154305 h 463867"/>
                <a:gd name="connsiteX23" fmla="*/ 24765 w 675322"/>
                <a:gd name="connsiteY23" fmla="*/ 98107 h 463867"/>
                <a:gd name="connsiteX24" fmla="*/ 0 w 675322"/>
                <a:gd name="connsiteY24" fmla="*/ 74295 h 463867"/>
                <a:gd name="connsiteX25" fmla="*/ 17145 w 675322"/>
                <a:gd name="connsiteY25" fmla="*/ 65722 h 463867"/>
                <a:gd name="connsiteX26" fmla="*/ 32385 w 675322"/>
                <a:gd name="connsiteY26" fmla="*/ 49530 h 463867"/>
                <a:gd name="connsiteX27" fmla="*/ 47625 w 675322"/>
                <a:gd name="connsiteY27" fmla="*/ 65722 h 463867"/>
                <a:gd name="connsiteX28" fmla="*/ 97155 w 675322"/>
                <a:gd name="connsiteY28" fmla="*/ 46672 h 463867"/>
                <a:gd name="connsiteX29" fmla="*/ 142875 w 675322"/>
                <a:gd name="connsiteY29" fmla="*/ 46672 h 463867"/>
                <a:gd name="connsiteX30" fmla="*/ 184785 w 675322"/>
                <a:gd name="connsiteY30" fmla="*/ 16192 h 463867"/>
                <a:gd name="connsiteX31" fmla="*/ 225742 w 675322"/>
                <a:gd name="connsiteY31" fmla="*/ 1905 h 463867"/>
                <a:gd name="connsiteX32" fmla="*/ 255270 w 675322"/>
                <a:gd name="connsiteY32" fmla="*/ 0 h 463867"/>
                <a:gd name="connsiteX33" fmla="*/ 293370 w 675322"/>
                <a:gd name="connsiteY33" fmla="*/ 39052 h 463867"/>
                <a:gd name="connsiteX34" fmla="*/ 293370 w 675322"/>
                <a:gd name="connsiteY34" fmla="*/ 59055 h 463867"/>
                <a:gd name="connsiteX35" fmla="*/ 306705 w 675322"/>
                <a:gd name="connsiteY35" fmla="*/ 78105 h 463867"/>
                <a:gd name="connsiteX36" fmla="*/ 321945 w 675322"/>
                <a:gd name="connsiteY36" fmla="*/ 78105 h 463867"/>
                <a:gd name="connsiteX37" fmla="*/ 340995 w 675322"/>
                <a:gd name="connsiteY37" fmla="*/ 105727 h 463867"/>
                <a:gd name="connsiteX38" fmla="*/ 360045 w 675322"/>
                <a:gd name="connsiteY38" fmla="*/ 97155 h 463867"/>
                <a:gd name="connsiteX39" fmla="*/ 372427 w 675322"/>
                <a:gd name="connsiteY39" fmla="*/ 64770 h 463867"/>
                <a:gd name="connsiteX40" fmla="*/ 399097 w 675322"/>
                <a:gd name="connsiteY40" fmla="*/ 38100 h 463867"/>
                <a:gd name="connsiteX41" fmla="*/ 416242 w 675322"/>
                <a:gd name="connsiteY41" fmla="*/ 55245 h 463867"/>
                <a:gd name="connsiteX42" fmla="*/ 435292 w 675322"/>
                <a:gd name="connsiteY42" fmla="*/ 36195 h 463867"/>
                <a:gd name="connsiteX43" fmla="*/ 454342 w 675322"/>
                <a:gd name="connsiteY43" fmla="*/ 46672 h 463867"/>
                <a:gd name="connsiteX44" fmla="*/ 473392 w 675322"/>
                <a:gd name="connsiteY44" fmla="*/ 31432 h 463867"/>
                <a:gd name="connsiteX45" fmla="*/ 501015 w 675322"/>
                <a:gd name="connsiteY45" fmla="*/ 31432 h 463867"/>
                <a:gd name="connsiteX46" fmla="*/ 547688 w 675322"/>
                <a:gd name="connsiteY46" fmla="*/ 4763 h 463867"/>
                <a:gd name="connsiteX47" fmla="*/ 564832 w 675322"/>
                <a:gd name="connsiteY47" fmla="*/ 38100 h 463867"/>
                <a:gd name="connsiteX48" fmla="*/ 589597 w 675322"/>
                <a:gd name="connsiteY48" fmla="*/ 38100 h 463867"/>
                <a:gd name="connsiteX49" fmla="*/ 607695 w 675322"/>
                <a:gd name="connsiteY49" fmla="*/ 73342 h 463867"/>
                <a:gd name="connsiteX50" fmla="*/ 623888 w 675322"/>
                <a:gd name="connsiteY50" fmla="*/ 88582 h 463867"/>
                <a:gd name="connsiteX51" fmla="*/ 628650 w 675322"/>
                <a:gd name="connsiteY51" fmla="*/ 115252 h 463867"/>
                <a:gd name="connsiteX52" fmla="*/ 651510 w 675322"/>
                <a:gd name="connsiteY52" fmla="*/ 128588 h 463867"/>
                <a:gd name="connsiteX53" fmla="*/ 672465 w 675322"/>
                <a:gd name="connsiteY53" fmla="*/ 128588 h 463867"/>
                <a:gd name="connsiteX54" fmla="*/ 673417 w 675322"/>
                <a:gd name="connsiteY54" fmla="*/ 147638 h 463867"/>
                <a:gd name="connsiteX55" fmla="*/ 652463 w 675322"/>
                <a:gd name="connsiteY55" fmla="*/ 157163 h 463867"/>
                <a:gd name="connsiteX56" fmla="*/ 666750 w 675322"/>
                <a:gd name="connsiteY56" fmla="*/ 183832 h 463867"/>
                <a:gd name="connsiteX57" fmla="*/ 666750 w 675322"/>
                <a:gd name="connsiteY57" fmla="*/ 206692 h 463867"/>
                <a:gd name="connsiteX58" fmla="*/ 675322 w 675322"/>
                <a:gd name="connsiteY58" fmla="*/ 229552 h 463867"/>
                <a:gd name="connsiteX59" fmla="*/ 653415 w 675322"/>
                <a:gd name="connsiteY59" fmla="*/ 240030 h 463867"/>
                <a:gd name="connsiteX60" fmla="*/ 641032 w 675322"/>
                <a:gd name="connsiteY60" fmla="*/ 261938 h 463867"/>
                <a:gd name="connsiteX61" fmla="*/ 656272 w 675322"/>
                <a:gd name="connsiteY61" fmla="*/ 278130 h 463867"/>
                <a:gd name="connsiteX62" fmla="*/ 644842 w 675322"/>
                <a:gd name="connsiteY62" fmla="*/ 294322 h 463867"/>
                <a:gd name="connsiteX63" fmla="*/ 630555 w 675322"/>
                <a:gd name="connsiteY63" fmla="*/ 294322 h 463867"/>
                <a:gd name="connsiteX64" fmla="*/ 616267 w 675322"/>
                <a:gd name="connsiteY64" fmla="*/ 312420 h 463867"/>
                <a:gd name="connsiteX65" fmla="*/ 589597 w 675322"/>
                <a:gd name="connsiteY65" fmla="*/ 295275 h 463867"/>
                <a:gd name="connsiteX66" fmla="*/ 573405 w 675322"/>
                <a:gd name="connsiteY66" fmla="*/ 312420 h 463867"/>
                <a:gd name="connsiteX67" fmla="*/ 573405 w 675322"/>
                <a:gd name="connsiteY67" fmla="*/ 333375 h 463867"/>
                <a:gd name="connsiteX68" fmla="*/ 557213 w 675322"/>
                <a:gd name="connsiteY68" fmla="*/ 349567 h 463867"/>
                <a:gd name="connsiteX69" fmla="*/ 539115 w 675322"/>
                <a:gd name="connsiteY69" fmla="*/ 368617 h 463867"/>
                <a:gd name="connsiteX70" fmla="*/ 514350 w 675322"/>
                <a:gd name="connsiteY70" fmla="*/ 368617 h 463867"/>
                <a:gd name="connsiteX71" fmla="*/ 478155 w 675322"/>
                <a:gd name="connsiteY71" fmla="*/ 381952 h 463867"/>
                <a:gd name="connsiteX72" fmla="*/ 447675 w 675322"/>
                <a:gd name="connsiteY72" fmla="*/ 391477 h 463867"/>
                <a:gd name="connsiteX73" fmla="*/ 434340 w 675322"/>
                <a:gd name="connsiteY73" fmla="*/ 405765 h 463867"/>
                <a:gd name="connsiteX74" fmla="*/ 453390 w 675322"/>
                <a:gd name="connsiteY74" fmla="*/ 424815 h 463867"/>
                <a:gd name="connsiteX75" fmla="*/ 465772 w 675322"/>
                <a:gd name="connsiteY75" fmla="*/ 436245 h 463867"/>
                <a:gd name="connsiteX76" fmla="*/ 465772 w 675322"/>
                <a:gd name="connsiteY76" fmla="*/ 461010 h 463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675322" h="463867">
                  <a:moveTo>
                    <a:pt x="438150" y="463868"/>
                  </a:moveTo>
                  <a:lnTo>
                    <a:pt x="418147" y="444818"/>
                  </a:lnTo>
                  <a:lnTo>
                    <a:pt x="391477" y="433388"/>
                  </a:lnTo>
                  <a:lnTo>
                    <a:pt x="374332" y="416242"/>
                  </a:lnTo>
                  <a:lnTo>
                    <a:pt x="338138" y="416242"/>
                  </a:lnTo>
                  <a:lnTo>
                    <a:pt x="320992" y="434340"/>
                  </a:lnTo>
                  <a:lnTo>
                    <a:pt x="285750" y="439102"/>
                  </a:lnTo>
                  <a:lnTo>
                    <a:pt x="271463" y="425767"/>
                  </a:lnTo>
                  <a:lnTo>
                    <a:pt x="240030" y="431482"/>
                  </a:lnTo>
                  <a:lnTo>
                    <a:pt x="222885" y="414338"/>
                  </a:lnTo>
                  <a:lnTo>
                    <a:pt x="207645" y="398145"/>
                  </a:lnTo>
                  <a:lnTo>
                    <a:pt x="207645" y="377190"/>
                  </a:lnTo>
                  <a:lnTo>
                    <a:pt x="192405" y="359092"/>
                  </a:lnTo>
                  <a:lnTo>
                    <a:pt x="169545" y="365760"/>
                  </a:lnTo>
                  <a:lnTo>
                    <a:pt x="154305" y="398145"/>
                  </a:lnTo>
                  <a:lnTo>
                    <a:pt x="122872" y="403860"/>
                  </a:lnTo>
                  <a:lnTo>
                    <a:pt x="104775" y="367665"/>
                  </a:lnTo>
                  <a:lnTo>
                    <a:pt x="95250" y="335280"/>
                  </a:lnTo>
                  <a:lnTo>
                    <a:pt x="87630" y="298132"/>
                  </a:lnTo>
                  <a:lnTo>
                    <a:pt x="63817" y="256222"/>
                  </a:lnTo>
                  <a:lnTo>
                    <a:pt x="63817" y="221932"/>
                  </a:lnTo>
                  <a:lnTo>
                    <a:pt x="40957" y="200977"/>
                  </a:lnTo>
                  <a:lnTo>
                    <a:pt x="40957" y="154305"/>
                  </a:lnTo>
                  <a:lnTo>
                    <a:pt x="24765" y="98107"/>
                  </a:lnTo>
                  <a:lnTo>
                    <a:pt x="0" y="74295"/>
                  </a:lnTo>
                  <a:lnTo>
                    <a:pt x="17145" y="65722"/>
                  </a:lnTo>
                  <a:lnTo>
                    <a:pt x="32385" y="49530"/>
                  </a:lnTo>
                  <a:lnTo>
                    <a:pt x="47625" y="65722"/>
                  </a:lnTo>
                  <a:lnTo>
                    <a:pt x="97155" y="46672"/>
                  </a:lnTo>
                  <a:lnTo>
                    <a:pt x="142875" y="46672"/>
                  </a:lnTo>
                  <a:lnTo>
                    <a:pt x="184785" y="16192"/>
                  </a:lnTo>
                  <a:lnTo>
                    <a:pt x="225742" y="1905"/>
                  </a:lnTo>
                  <a:lnTo>
                    <a:pt x="255270" y="0"/>
                  </a:lnTo>
                  <a:lnTo>
                    <a:pt x="293370" y="39052"/>
                  </a:lnTo>
                  <a:lnTo>
                    <a:pt x="293370" y="59055"/>
                  </a:lnTo>
                  <a:lnTo>
                    <a:pt x="306705" y="78105"/>
                  </a:lnTo>
                  <a:lnTo>
                    <a:pt x="321945" y="78105"/>
                  </a:lnTo>
                  <a:lnTo>
                    <a:pt x="340995" y="105727"/>
                  </a:lnTo>
                  <a:lnTo>
                    <a:pt x="360045" y="97155"/>
                  </a:lnTo>
                  <a:lnTo>
                    <a:pt x="372427" y="64770"/>
                  </a:lnTo>
                  <a:lnTo>
                    <a:pt x="399097" y="38100"/>
                  </a:lnTo>
                  <a:lnTo>
                    <a:pt x="416242" y="55245"/>
                  </a:lnTo>
                  <a:lnTo>
                    <a:pt x="435292" y="36195"/>
                  </a:lnTo>
                  <a:lnTo>
                    <a:pt x="454342" y="46672"/>
                  </a:lnTo>
                  <a:lnTo>
                    <a:pt x="473392" y="31432"/>
                  </a:lnTo>
                  <a:lnTo>
                    <a:pt x="501015" y="31432"/>
                  </a:lnTo>
                  <a:lnTo>
                    <a:pt x="547688" y="4763"/>
                  </a:lnTo>
                  <a:lnTo>
                    <a:pt x="564832" y="38100"/>
                  </a:lnTo>
                  <a:lnTo>
                    <a:pt x="589597" y="38100"/>
                  </a:lnTo>
                  <a:lnTo>
                    <a:pt x="607695" y="73342"/>
                  </a:lnTo>
                  <a:lnTo>
                    <a:pt x="623888" y="88582"/>
                  </a:lnTo>
                  <a:lnTo>
                    <a:pt x="628650" y="115252"/>
                  </a:lnTo>
                  <a:lnTo>
                    <a:pt x="651510" y="128588"/>
                  </a:lnTo>
                  <a:lnTo>
                    <a:pt x="672465" y="128588"/>
                  </a:lnTo>
                  <a:lnTo>
                    <a:pt x="673417" y="147638"/>
                  </a:lnTo>
                  <a:lnTo>
                    <a:pt x="652463" y="157163"/>
                  </a:lnTo>
                  <a:lnTo>
                    <a:pt x="666750" y="183832"/>
                  </a:lnTo>
                  <a:lnTo>
                    <a:pt x="666750" y="206692"/>
                  </a:lnTo>
                  <a:lnTo>
                    <a:pt x="675322" y="229552"/>
                  </a:lnTo>
                  <a:lnTo>
                    <a:pt x="653415" y="240030"/>
                  </a:lnTo>
                  <a:lnTo>
                    <a:pt x="641032" y="261938"/>
                  </a:lnTo>
                  <a:lnTo>
                    <a:pt x="656272" y="278130"/>
                  </a:lnTo>
                  <a:lnTo>
                    <a:pt x="644842" y="294322"/>
                  </a:lnTo>
                  <a:lnTo>
                    <a:pt x="630555" y="294322"/>
                  </a:lnTo>
                  <a:lnTo>
                    <a:pt x="616267" y="312420"/>
                  </a:lnTo>
                  <a:lnTo>
                    <a:pt x="589597" y="295275"/>
                  </a:lnTo>
                  <a:lnTo>
                    <a:pt x="573405" y="312420"/>
                  </a:lnTo>
                  <a:lnTo>
                    <a:pt x="573405" y="333375"/>
                  </a:lnTo>
                  <a:lnTo>
                    <a:pt x="557213" y="349567"/>
                  </a:lnTo>
                  <a:lnTo>
                    <a:pt x="539115" y="368617"/>
                  </a:lnTo>
                  <a:lnTo>
                    <a:pt x="514350" y="368617"/>
                  </a:lnTo>
                  <a:lnTo>
                    <a:pt x="478155" y="381952"/>
                  </a:lnTo>
                  <a:lnTo>
                    <a:pt x="447675" y="391477"/>
                  </a:lnTo>
                  <a:lnTo>
                    <a:pt x="434340" y="405765"/>
                  </a:lnTo>
                  <a:lnTo>
                    <a:pt x="453390" y="424815"/>
                  </a:lnTo>
                  <a:lnTo>
                    <a:pt x="465772" y="436245"/>
                  </a:lnTo>
                  <a:lnTo>
                    <a:pt x="465772" y="46101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5" name="Полилиния: фигура 22">
              <a:extLst>
                <a:ext uri="{FF2B5EF4-FFF2-40B4-BE49-F238E27FC236}">
                  <a16:creationId xmlns:a16="http://schemas.microsoft.com/office/drawing/2014/main" id="{9DA1F35D-87E4-4975-888B-F757F6F49DF5}"/>
                </a:ext>
              </a:extLst>
            </p:cNvPr>
            <p:cNvSpPr/>
            <p:nvPr/>
          </p:nvSpPr>
          <p:spPr>
            <a:xfrm>
              <a:off x="5692878" y="5733510"/>
              <a:ext cx="285582" cy="242021"/>
            </a:xfrm>
            <a:custGeom>
              <a:avLst/>
              <a:gdLst>
                <a:gd name="connsiteX0" fmla="*/ 434340 w 442912"/>
                <a:gd name="connsiteY0" fmla="*/ 363855 h 431482"/>
                <a:gd name="connsiteX1" fmla="*/ 401003 w 442912"/>
                <a:gd name="connsiteY1" fmla="*/ 371475 h 431482"/>
                <a:gd name="connsiteX2" fmla="*/ 377190 w 442912"/>
                <a:gd name="connsiteY2" fmla="*/ 395288 h 431482"/>
                <a:gd name="connsiteX3" fmla="*/ 335280 w 442912"/>
                <a:gd name="connsiteY3" fmla="*/ 393382 h 431482"/>
                <a:gd name="connsiteX4" fmla="*/ 300038 w 442912"/>
                <a:gd name="connsiteY4" fmla="*/ 413385 h 431482"/>
                <a:gd name="connsiteX5" fmla="*/ 281940 w 442912"/>
                <a:gd name="connsiteY5" fmla="*/ 431482 h 431482"/>
                <a:gd name="connsiteX6" fmla="*/ 240983 w 442912"/>
                <a:gd name="connsiteY6" fmla="*/ 424815 h 431482"/>
                <a:gd name="connsiteX7" fmla="*/ 227648 w 442912"/>
                <a:gd name="connsiteY7" fmla="*/ 402907 h 431482"/>
                <a:gd name="connsiteX8" fmla="*/ 212408 w 442912"/>
                <a:gd name="connsiteY8" fmla="*/ 375285 h 431482"/>
                <a:gd name="connsiteX9" fmla="*/ 204788 w 442912"/>
                <a:gd name="connsiteY9" fmla="*/ 345757 h 431482"/>
                <a:gd name="connsiteX10" fmla="*/ 182880 w 442912"/>
                <a:gd name="connsiteY10" fmla="*/ 367665 h 431482"/>
                <a:gd name="connsiteX11" fmla="*/ 145733 w 442912"/>
                <a:gd name="connsiteY11" fmla="*/ 381953 h 431482"/>
                <a:gd name="connsiteX12" fmla="*/ 112395 w 442912"/>
                <a:gd name="connsiteY12" fmla="*/ 370523 h 431482"/>
                <a:gd name="connsiteX13" fmla="*/ 74295 w 442912"/>
                <a:gd name="connsiteY13" fmla="*/ 360998 h 431482"/>
                <a:gd name="connsiteX14" fmla="*/ 74295 w 442912"/>
                <a:gd name="connsiteY14" fmla="*/ 326707 h 431482"/>
                <a:gd name="connsiteX15" fmla="*/ 44768 w 442912"/>
                <a:gd name="connsiteY15" fmla="*/ 308610 h 431482"/>
                <a:gd name="connsiteX16" fmla="*/ 33338 w 442912"/>
                <a:gd name="connsiteY16" fmla="*/ 282893 h 431482"/>
                <a:gd name="connsiteX17" fmla="*/ 9525 w 442912"/>
                <a:gd name="connsiteY17" fmla="*/ 267653 h 431482"/>
                <a:gd name="connsiteX18" fmla="*/ 3810 w 442912"/>
                <a:gd name="connsiteY18" fmla="*/ 234315 h 431482"/>
                <a:gd name="connsiteX19" fmla="*/ 31433 w 442912"/>
                <a:gd name="connsiteY19" fmla="*/ 231457 h 431482"/>
                <a:gd name="connsiteX20" fmla="*/ 31433 w 442912"/>
                <a:gd name="connsiteY20" fmla="*/ 206693 h 431482"/>
                <a:gd name="connsiteX21" fmla="*/ 19050 w 442912"/>
                <a:gd name="connsiteY21" fmla="*/ 195263 h 431482"/>
                <a:gd name="connsiteX22" fmla="*/ 0 w 442912"/>
                <a:gd name="connsiteY22" fmla="*/ 176213 h 431482"/>
                <a:gd name="connsiteX23" fmla="*/ 13335 w 442912"/>
                <a:gd name="connsiteY23" fmla="*/ 161925 h 431482"/>
                <a:gd name="connsiteX24" fmla="*/ 43815 w 442912"/>
                <a:gd name="connsiteY24" fmla="*/ 152400 h 431482"/>
                <a:gd name="connsiteX25" fmla="*/ 80010 w 442912"/>
                <a:gd name="connsiteY25" fmla="*/ 139065 h 431482"/>
                <a:gd name="connsiteX26" fmla="*/ 104775 w 442912"/>
                <a:gd name="connsiteY26" fmla="*/ 139065 h 431482"/>
                <a:gd name="connsiteX27" fmla="*/ 139065 w 442912"/>
                <a:gd name="connsiteY27" fmla="*/ 103823 h 431482"/>
                <a:gd name="connsiteX28" fmla="*/ 139065 w 442912"/>
                <a:gd name="connsiteY28" fmla="*/ 82868 h 431482"/>
                <a:gd name="connsiteX29" fmla="*/ 155258 w 442912"/>
                <a:gd name="connsiteY29" fmla="*/ 65723 h 431482"/>
                <a:gd name="connsiteX30" fmla="*/ 181928 w 442912"/>
                <a:gd name="connsiteY30" fmla="*/ 82868 h 431482"/>
                <a:gd name="connsiteX31" fmla="*/ 196215 w 442912"/>
                <a:gd name="connsiteY31" fmla="*/ 64770 h 431482"/>
                <a:gd name="connsiteX32" fmla="*/ 210503 w 442912"/>
                <a:gd name="connsiteY32" fmla="*/ 64770 h 431482"/>
                <a:gd name="connsiteX33" fmla="*/ 221933 w 442912"/>
                <a:gd name="connsiteY33" fmla="*/ 48578 h 431482"/>
                <a:gd name="connsiteX34" fmla="*/ 206693 w 442912"/>
                <a:gd name="connsiteY34" fmla="*/ 32385 h 431482"/>
                <a:gd name="connsiteX35" fmla="*/ 219075 w 442912"/>
                <a:gd name="connsiteY35" fmla="*/ 10478 h 431482"/>
                <a:gd name="connsiteX36" fmla="*/ 240983 w 442912"/>
                <a:gd name="connsiteY36" fmla="*/ 0 h 431482"/>
                <a:gd name="connsiteX37" fmla="*/ 268605 w 442912"/>
                <a:gd name="connsiteY37" fmla="*/ 24765 h 431482"/>
                <a:gd name="connsiteX38" fmla="*/ 296228 w 442912"/>
                <a:gd name="connsiteY38" fmla="*/ 24765 h 431482"/>
                <a:gd name="connsiteX39" fmla="*/ 320993 w 442912"/>
                <a:gd name="connsiteY39" fmla="*/ 37148 h 431482"/>
                <a:gd name="connsiteX40" fmla="*/ 334328 w 442912"/>
                <a:gd name="connsiteY40" fmla="*/ 37148 h 431482"/>
                <a:gd name="connsiteX41" fmla="*/ 335280 w 442912"/>
                <a:gd name="connsiteY41" fmla="*/ 62865 h 431482"/>
                <a:gd name="connsiteX42" fmla="*/ 318135 w 442912"/>
                <a:gd name="connsiteY42" fmla="*/ 80010 h 431482"/>
                <a:gd name="connsiteX43" fmla="*/ 297180 w 442912"/>
                <a:gd name="connsiteY43" fmla="*/ 100965 h 431482"/>
                <a:gd name="connsiteX44" fmla="*/ 303848 w 442912"/>
                <a:gd name="connsiteY44" fmla="*/ 128588 h 431482"/>
                <a:gd name="connsiteX45" fmla="*/ 290513 w 442912"/>
                <a:gd name="connsiteY45" fmla="*/ 141923 h 431482"/>
                <a:gd name="connsiteX46" fmla="*/ 319088 w 442912"/>
                <a:gd name="connsiteY46" fmla="*/ 171450 h 431482"/>
                <a:gd name="connsiteX47" fmla="*/ 341948 w 442912"/>
                <a:gd name="connsiteY47" fmla="*/ 171450 h 431482"/>
                <a:gd name="connsiteX48" fmla="*/ 355283 w 442912"/>
                <a:gd name="connsiteY48" fmla="*/ 142875 h 431482"/>
                <a:gd name="connsiteX49" fmla="*/ 370523 w 442912"/>
                <a:gd name="connsiteY49" fmla="*/ 142875 h 431482"/>
                <a:gd name="connsiteX50" fmla="*/ 374333 w 442912"/>
                <a:gd name="connsiteY50" fmla="*/ 176213 h 431482"/>
                <a:gd name="connsiteX51" fmla="*/ 383858 w 442912"/>
                <a:gd name="connsiteY51" fmla="*/ 206693 h 431482"/>
                <a:gd name="connsiteX52" fmla="*/ 416243 w 442912"/>
                <a:gd name="connsiteY52" fmla="*/ 239078 h 431482"/>
                <a:gd name="connsiteX53" fmla="*/ 442913 w 442912"/>
                <a:gd name="connsiteY53" fmla="*/ 263843 h 431482"/>
                <a:gd name="connsiteX54" fmla="*/ 436245 w 442912"/>
                <a:gd name="connsiteY54" fmla="*/ 283845 h 431482"/>
                <a:gd name="connsiteX55" fmla="*/ 412433 w 442912"/>
                <a:gd name="connsiteY55" fmla="*/ 288607 h 431482"/>
                <a:gd name="connsiteX56" fmla="*/ 401955 w 442912"/>
                <a:gd name="connsiteY56" fmla="*/ 300038 h 431482"/>
                <a:gd name="connsiteX57" fmla="*/ 423863 w 442912"/>
                <a:gd name="connsiteY57" fmla="*/ 320993 h 431482"/>
                <a:gd name="connsiteX58" fmla="*/ 423863 w 442912"/>
                <a:gd name="connsiteY58" fmla="*/ 343853 h 431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42912" h="431482">
                  <a:moveTo>
                    <a:pt x="434340" y="363855"/>
                  </a:moveTo>
                  <a:lnTo>
                    <a:pt x="401003" y="371475"/>
                  </a:lnTo>
                  <a:lnTo>
                    <a:pt x="377190" y="395288"/>
                  </a:lnTo>
                  <a:lnTo>
                    <a:pt x="335280" y="393382"/>
                  </a:lnTo>
                  <a:lnTo>
                    <a:pt x="300038" y="413385"/>
                  </a:lnTo>
                  <a:lnTo>
                    <a:pt x="281940" y="431482"/>
                  </a:lnTo>
                  <a:lnTo>
                    <a:pt x="240983" y="424815"/>
                  </a:lnTo>
                  <a:lnTo>
                    <a:pt x="227648" y="402907"/>
                  </a:lnTo>
                  <a:lnTo>
                    <a:pt x="212408" y="375285"/>
                  </a:lnTo>
                  <a:lnTo>
                    <a:pt x="204788" y="345757"/>
                  </a:lnTo>
                  <a:lnTo>
                    <a:pt x="182880" y="367665"/>
                  </a:lnTo>
                  <a:lnTo>
                    <a:pt x="145733" y="381953"/>
                  </a:lnTo>
                  <a:lnTo>
                    <a:pt x="112395" y="370523"/>
                  </a:lnTo>
                  <a:lnTo>
                    <a:pt x="74295" y="360998"/>
                  </a:lnTo>
                  <a:lnTo>
                    <a:pt x="74295" y="326707"/>
                  </a:lnTo>
                  <a:lnTo>
                    <a:pt x="44768" y="308610"/>
                  </a:lnTo>
                  <a:lnTo>
                    <a:pt x="33338" y="282893"/>
                  </a:lnTo>
                  <a:lnTo>
                    <a:pt x="9525" y="267653"/>
                  </a:lnTo>
                  <a:lnTo>
                    <a:pt x="3810" y="234315"/>
                  </a:lnTo>
                  <a:lnTo>
                    <a:pt x="31433" y="231457"/>
                  </a:lnTo>
                  <a:lnTo>
                    <a:pt x="31433" y="206693"/>
                  </a:lnTo>
                  <a:lnTo>
                    <a:pt x="19050" y="195263"/>
                  </a:lnTo>
                  <a:lnTo>
                    <a:pt x="0" y="176213"/>
                  </a:lnTo>
                  <a:lnTo>
                    <a:pt x="13335" y="161925"/>
                  </a:lnTo>
                  <a:lnTo>
                    <a:pt x="43815" y="152400"/>
                  </a:lnTo>
                  <a:lnTo>
                    <a:pt x="80010" y="139065"/>
                  </a:lnTo>
                  <a:lnTo>
                    <a:pt x="104775" y="139065"/>
                  </a:lnTo>
                  <a:lnTo>
                    <a:pt x="139065" y="103823"/>
                  </a:lnTo>
                  <a:lnTo>
                    <a:pt x="139065" y="82868"/>
                  </a:lnTo>
                  <a:lnTo>
                    <a:pt x="155258" y="65723"/>
                  </a:lnTo>
                  <a:lnTo>
                    <a:pt x="181928" y="82868"/>
                  </a:lnTo>
                  <a:lnTo>
                    <a:pt x="196215" y="64770"/>
                  </a:lnTo>
                  <a:lnTo>
                    <a:pt x="210503" y="64770"/>
                  </a:lnTo>
                  <a:lnTo>
                    <a:pt x="221933" y="48578"/>
                  </a:lnTo>
                  <a:lnTo>
                    <a:pt x="206693" y="32385"/>
                  </a:lnTo>
                  <a:lnTo>
                    <a:pt x="219075" y="10478"/>
                  </a:lnTo>
                  <a:lnTo>
                    <a:pt x="240983" y="0"/>
                  </a:lnTo>
                  <a:lnTo>
                    <a:pt x="268605" y="24765"/>
                  </a:lnTo>
                  <a:lnTo>
                    <a:pt x="296228" y="24765"/>
                  </a:lnTo>
                  <a:lnTo>
                    <a:pt x="320993" y="37148"/>
                  </a:lnTo>
                  <a:lnTo>
                    <a:pt x="334328" y="37148"/>
                  </a:lnTo>
                  <a:lnTo>
                    <a:pt x="335280" y="62865"/>
                  </a:lnTo>
                  <a:lnTo>
                    <a:pt x="318135" y="80010"/>
                  </a:lnTo>
                  <a:lnTo>
                    <a:pt x="297180" y="100965"/>
                  </a:lnTo>
                  <a:lnTo>
                    <a:pt x="303848" y="128588"/>
                  </a:lnTo>
                  <a:lnTo>
                    <a:pt x="290513" y="141923"/>
                  </a:lnTo>
                  <a:lnTo>
                    <a:pt x="319088" y="171450"/>
                  </a:lnTo>
                  <a:lnTo>
                    <a:pt x="341948" y="171450"/>
                  </a:lnTo>
                  <a:lnTo>
                    <a:pt x="355283" y="142875"/>
                  </a:lnTo>
                  <a:lnTo>
                    <a:pt x="370523" y="142875"/>
                  </a:lnTo>
                  <a:lnTo>
                    <a:pt x="374333" y="176213"/>
                  </a:lnTo>
                  <a:lnTo>
                    <a:pt x="383858" y="206693"/>
                  </a:lnTo>
                  <a:lnTo>
                    <a:pt x="416243" y="239078"/>
                  </a:lnTo>
                  <a:lnTo>
                    <a:pt x="442913" y="263843"/>
                  </a:lnTo>
                  <a:lnTo>
                    <a:pt x="436245" y="283845"/>
                  </a:lnTo>
                  <a:lnTo>
                    <a:pt x="412433" y="288607"/>
                  </a:lnTo>
                  <a:lnTo>
                    <a:pt x="401955" y="300038"/>
                  </a:lnTo>
                  <a:lnTo>
                    <a:pt x="423863" y="320993"/>
                  </a:lnTo>
                  <a:lnTo>
                    <a:pt x="423863" y="343853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6" name="Полилиния: фигура 23">
              <a:extLst>
                <a:ext uri="{FF2B5EF4-FFF2-40B4-BE49-F238E27FC236}">
                  <a16:creationId xmlns:a16="http://schemas.microsoft.com/office/drawing/2014/main" id="{29845FFD-BEAE-426D-85EC-0D4C8E2B04FA}"/>
                </a:ext>
              </a:extLst>
            </p:cNvPr>
            <p:cNvSpPr/>
            <p:nvPr/>
          </p:nvSpPr>
          <p:spPr>
            <a:xfrm>
              <a:off x="5931785" y="5655508"/>
              <a:ext cx="490710" cy="282090"/>
            </a:xfrm>
            <a:custGeom>
              <a:avLst/>
              <a:gdLst>
                <a:gd name="connsiteX0" fmla="*/ 749618 w 761047"/>
                <a:gd name="connsiteY0" fmla="*/ 188595 h 502919"/>
                <a:gd name="connsiteX1" fmla="*/ 728663 w 761047"/>
                <a:gd name="connsiteY1" fmla="*/ 210502 h 502919"/>
                <a:gd name="connsiteX2" fmla="*/ 710565 w 761047"/>
                <a:gd name="connsiteY2" fmla="*/ 246697 h 502919"/>
                <a:gd name="connsiteX3" fmla="*/ 691515 w 761047"/>
                <a:gd name="connsiteY3" fmla="*/ 265747 h 502919"/>
                <a:gd name="connsiteX4" fmla="*/ 685800 w 761047"/>
                <a:gd name="connsiteY4" fmla="*/ 302895 h 502919"/>
                <a:gd name="connsiteX5" fmla="*/ 703897 w 761047"/>
                <a:gd name="connsiteY5" fmla="*/ 323850 h 502919"/>
                <a:gd name="connsiteX6" fmla="*/ 703897 w 761047"/>
                <a:gd name="connsiteY6" fmla="*/ 355282 h 502919"/>
                <a:gd name="connsiteX7" fmla="*/ 728663 w 761047"/>
                <a:gd name="connsiteY7" fmla="*/ 380047 h 502919"/>
                <a:gd name="connsiteX8" fmla="*/ 728663 w 761047"/>
                <a:gd name="connsiteY8" fmla="*/ 414338 h 502919"/>
                <a:gd name="connsiteX9" fmla="*/ 695325 w 761047"/>
                <a:gd name="connsiteY9" fmla="*/ 436245 h 502919"/>
                <a:gd name="connsiteX10" fmla="*/ 662940 w 761047"/>
                <a:gd name="connsiteY10" fmla="*/ 467677 h 502919"/>
                <a:gd name="connsiteX11" fmla="*/ 636270 w 761047"/>
                <a:gd name="connsiteY11" fmla="*/ 467677 h 502919"/>
                <a:gd name="connsiteX12" fmla="*/ 595313 w 761047"/>
                <a:gd name="connsiteY12" fmla="*/ 467677 h 502919"/>
                <a:gd name="connsiteX13" fmla="*/ 557213 w 761047"/>
                <a:gd name="connsiteY13" fmla="*/ 458152 h 502919"/>
                <a:gd name="connsiteX14" fmla="*/ 518160 w 761047"/>
                <a:gd name="connsiteY14" fmla="*/ 464820 h 502919"/>
                <a:gd name="connsiteX15" fmla="*/ 489585 w 761047"/>
                <a:gd name="connsiteY15" fmla="*/ 456247 h 502919"/>
                <a:gd name="connsiteX16" fmla="*/ 448627 w 761047"/>
                <a:gd name="connsiteY16" fmla="*/ 441960 h 502919"/>
                <a:gd name="connsiteX17" fmla="*/ 425767 w 761047"/>
                <a:gd name="connsiteY17" fmla="*/ 420052 h 502919"/>
                <a:gd name="connsiteX18" fmla="*/ 399097 w 761047"/>
                <a:gd name="connsiteY18" fmla="*/ 392430 h 502919"/>
                <a:gd name="connsiteX19" fmla="*/ 366713 w 761047"/>
                <a:gd name="connsiteY19" fmla="*/ 382905 h 502919"/>
                <a:gd name="connsiteX20" fmla="*/ 328613 w 761047"/>
                <a:gd name="connsiteY20" fmla="*/ 398145 h 502919"/>
                <a:gd name="connsiteX21" fmla="*/ 304800 w 761047"/>
                <a:gd name="connsiteY21" fmla="*/ 374332 h 502919"/>
                <a:gd name="connsiteX22" fmla="*/ 274320 w 761047"/>
                <a:gd name="connsiteY22" fmla="*/ 360997 h 502919"/>
                <a:gd name="connsiteX23" fmla="*/ 249555 w 761047"/>
                <a:gd name="connsiteY23" fmla="*/ 385763 h 502919"/>
                <a:gd name="connsiteX24" fmla="*/ 219075 w 761047"/>
                <a:gd name="connsiteY24" fmla="*/ 385763 h 502919"/>
                <a:gd name="connsiteX25" fmla="*/ 208597 w 761047"/>
                <a:gd name="connsiteY25" fmla="*/ 415290 h 502919"/>
                <a:gd name="connsiteX26" fmla="*/ 172402 w 761047"/>
                <a:gd name="connsiteY26" fmla="*/ 415290 h 502919"/>
                <a:gd name="connsiteX27" fmla="*/ 125730 w 761047"/>
                <a:gd name="connsiteY27" fmla="*/ 444818 h 502919"/>
                <a:gd name="connsiteX28" fmla="*/ 97155 w 761047"/>
                <a:gd name="connsiteY28" fmla="*/ 473393 h 502919"/>
                <a:gd name="connsiteX29" fmla="*/ 69532 w 761047"/>
                <a:gd name="connsiteY29" fmla="*/ 473393 h 502919"/>
                <a:gd name="connsiteX30" fmla="*/ 63817 w 761047"/>
                <a:gd name="connsiteY30" fmla="*/ 502920 h 502919"/>
                <a:gd name="connsiteX31" fmla="*/ 53340 w 761047"/>
                <a:gd name="connsiteY31" fmla="*/ 482918 h 502919"/>
                <a:gd name="connsiteX32" fmla="*/ 53340 w 761047"/>
                <a:gd name="connsiteY32" fmla="*/ 460057 h 502919"/>
                <a:gd name="connsiteX33" fmla="*/ 31432 w 761047"/>
                <a:gd name="connsiteY33" fmla="*/ 439102 h 502919"/>
                <a:gd name="connsiteX34" fmla="*/ 41910 w 761047"/>
                <a:gd name="connsiteY34" fmla="*/ 427672 h 502919"/>
                <a:gd name="connsiteX35" fmla="*/ 65722 w 761047"/>
                <a:gd name="connsiteY35" fmla="*/ 422910 h 502919"/>
                <a:gd name="connsiteX36" fmla="*/ 72390 w 761047"/>
                <a:gd name="connsiteY36" fmla="*/ 402907 h 502919"/>
                <a:gd name="connsiteX37" fmla="*/ 45720 w 761047"/>
                <a:gd name="connsiteY37" fmla="*/ 378143 h 502919"/>
                <a:gd name="connsiteX38" fmla="*/ 13335 w 761047"/>
                <a:gd name="connsiteY38" fmla="*/ 345757 h 502919"/>
                <a:gd name="connsiteX39" fmla="*/ 3810 w 761047"/>
                <a:gd name="connsiteY39" fmla="*/ 315277 h 502919"/>
                <a:gd name="connsiteX40" fmla="*/ 0 w 761047"/>
                <a:gd name="connsiteY40" fmla="*/ 281940 h 502919"/>
                <a:gd name="connsiteX41" fmla="*/ 12382 w 761047"/>
                <a:gd name="connsiteY41" fmla="*/ 269557 h 502919"/>
                <a:gd name="connsiteX42" fmla="*/ 37147 w 761047"/>
                <a:gd name="connsiteY42" fmla="*/ 275272 h 502919"/>
                <a:gd name="connsiteX43" fmla="*/ 64770 w 761047"/>
                <a:gd name="connsiteY43" fmla="*/ 278130 h 502919"/>
                <a:gd name="connsiteX44" fmla="*/ 91440 w 761047"/>
                <a:gd name="connsiteY44" fmla="*/ 250507 h 502919"/>
                <a:gd name="connsiteX45" fmla="*/ 91440 w 761047"/>
                <a:gd name="connsiteY45" fmla="*/ 219075 h 502919"/>
                <a:gd name="connsiteX46" fmla="*/ 121920 w 761047"/>
                <a:gd name="connsiteY46" fmla="*/ 203835 h 502919"/>
                <a:gd name="connsiteX47" fmla="*/ 145732 w 761047"/>
                <a:gd name="connsiteY47" fmla="*/ 227647 h 502919"/>
                <a:gd name="connsiteX48" fmla="*/ 179070 w 761047"/>
                <a:gd name="connsiteY48" fmla="*/ 240030 h 502919"/>
                <a:gd name="connsiteX49" fmla="*/ 210502 w 761047"/>
                <a:gd name="connsiteY49" fmla="*/ 240030 h 502919"/>
                <a:gd name="connsiteX50" fmla="*/ 239077 w 761047"/>
                <a:gd name="connsiteY50" fmla="*/ 254317 h 502919"/>
                <a:gd name="connsiteX51" fmla="*/ 260985 w 761047"/>
                <a:gd name="connsiteY51" fmla="*/ 254317 h 502919"/>
                <a:gd name="connsiteX52" fmla="*/ 291465 w 761047"/>
                <a:gd name="connsiteY52" fmla="*/ 241935 h 502919"/>
                <a:gd name="connsiteX53" fmla="*/ 332422 w 761047"/>
                <a:gd name="connsiteY53" fmla="*/ 205740 h 502919"/>
                <a:gd name="connsiteX54" fmla="*/ 361950 w 761047"/>
                <a:gd name="connsiteY54" fmla="*/ 197167 h 502919"/>
                <a:gd name="connsiteX55" fmla="*/ 361950 w 761047"/>
                <a:gd name="connsiteY55" fmla="*/ 160972 h 502919"/>
                <a:gd name="connsiteX56" fmla="*/ 382905 w 761047"/>
                <a:gd name="connsiteY56" fmla="*/ 140017 h 502919"/>
                <a:gd name="connsiteX57" fmla="*/ 382905 w 761047"/>
                <a:gd name="connsiteY57" fmla="*/ 117157 h 502919"/>
                <a:gd name="connsiteX58" fmla="*/ 416242 w 761047"/>
                <a:gd name="connsiteY58" fmla="*/ 108585 h 502919"/>
                <a:gd name="connsiteX59" fmla="*/ 424815 w 761047"/>
                <a:gd name="connsiteY59" fmla="*/ 57150 h 502919"/>
                <a:gd name="connsiteX60" fmla="*/ 438150 w 761047"/>
                <a:gd name="connsiteY60" fmla="*/ 43815 h 502919"/>
                <a:gd name="connsiteX61" fmla="*/ 475297 w 761047"/>
                <a:gd name="connsiteY61" fmla="*/ 50482 h 502919"/>
                <a:gd name="connsiteX62" fmla="*/ 501968 w 761047"/>
                <a:gd name="connsiteY62" fmla="*/ 22860 h 502919"/>
                <a:gd name="connsiteX63" fmla="*/ 533400 w 761047"/>
                <a:gd name="connsiteY63" fmla="*/ 24765 h 502919"/>
                <a:gd name="connsiteX64" fmla="*/ 545782 w 761047"/>
                <a:gd name="connsiteY64" fmla="*/ 12382 h 502919"/>
                <a:gd name="connsiteX65" fmla="*/ 561022 w 761047"/>
                <a:gd name="connsiteY65" fmla="*/ 18097 h 502919"/>
                <a:gd name="connsiteX66" fmla="*/ 568643 w 761047"/>
                <a:gd name="connsiteY66" fmla="*/ 0 h 502919"/>
                <a:gd name="connsiteX67" fmla="*/ 593407 w 761047"/>
                <a:gd name="connsiteY67" fmla="*/ 0 h 502919"/>
                <a:gd name="connsiteX68" fmla="*/ 615315 w 761047"/>
                <a:gd name="connsiteY68" fmla="*/ 16192 h 502919"/>
                <a:gd name="connsiteX69" fmla="*/ 646747 w 761047"/>
                <a:gd name="connsiteY69" fmla="*/ 20955 h 502919"/>
                <a:gd name="connsiteX70" fmla="*/ 673418 w 761047"/>
                <a:gd name="connsiteY70" fmla="*/ 45720 h 502919"/>
                <a:gd name="connsiteX71" fmla="*/ 691515 w 761047"/>
                <a:gd name="connsiteY71" fmla="*/ 54292 h 502919"/>
                <a:gd name="connsiteX72" fmla="*/ 721995 w 761047"/>
                <a:gd name="connsiteY72" fmla="*/ 54292 h 502919"/>
                <a:gd name="connsiteX73" fmla="*/ 734377 w 761047"/>
                <a:gd name="connsiteY73" fmla="*/ 41910 h 502919"/>
                <a:gd name="connsiteX74" fmla="*/ 749618 w 761047"/>
                <a:gd name="connsiteY74" fmla="*/ 56197 h 502919"/>
                <a:gd name="connsiteX75" fmla="*/ 761047 w 761047"/>
                <a:gd name="connsiteY75" fmla="*/ 68580 h 502919"/>
                <a:gd name="connsiteX76" fmla="*/ 744855 w 761047"/>
                <a:gd name="connsiteY76" fmla="*/ 84772 h 502919"/>
                <a:gd name="connsiteX77" fmla="*/ 744855 w 761047"/>
                <a:gd name="connsiteY77" fmla="*/ 109538 h 502919"/>
                <a:gd name="connsiteX78" fmla="*/ 729615 w 761047"/>
                <a:gd name="connsiteY78" fmla="*/ 124777 h 502919"/>
                <a:gd name="connsiteX79" fmla="*/ 734377 w 761047"/>
                <a:gd name="connsiteY79" fmla="*/ 148590 h 502919"/>
                <a:gd name="connsiteX80" fmla="*/ 748665 w 761047"/>
                <a:gd name="connsiteY80" fmla="*/ 161925 h 502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761047" h="502919">
                  <a:moveTo>
                    <a:pt x="749618" y="188595"/>
                  </a:moveTo>
                  <a:lnTo>
                    <a:pt x="728663" y="210502"/>
                  </a:lnTo>
                  <a:lnTo>
                    <a:pt x="710565" y="246697"/>
                  </a:lnTo>
                  <a:lnTo>
                    <a:pt x="691515" y="265747"/>
                  </a:lnTo>
                  <a:lnTo>
                    <a:pt x="685800" y="302895"/>
                  </a:lnTo>
                  <a:lnTo>
                    <a:pt x="703897" y="323850"/>
                  </a:lnTo>
                  <a:lnTo>
                    <a:pt x="703897" y="355282"/>
                  </a:lnTo>
                  <a:lnTo>
                    <a:pt x="728663" y="380047"/>
                  </a:lnTo>
                  <a:lnTo>
                    <a:pt x="728663" y="414338"/>
                  </a:lnTo>
                  <a:lnTo>
                    <a:pt x="695325" y="436245"/>
                  </a:lnTo>
                  <a:lnTo>
                    <a:pt x="662940" y="467677"/>
                  </a:lnTo>
                  <a:lnTo>
                    <a:pt x="636270" y="467677"/>
                  </a:lnTo>
                  <a:lnTo>
                    <a:pt x="595313" y="467677"/>
                  </a:lnTo>
                  <a:lnTo>
                    <a:pt x="557213" y="458152"/>
                  </a:lnTo>
                  <a:lnTo>
                    <a:pt x="518160" y="464820"/>
                  </a:lnTo>
                  <a:lnTo>
                    <a:pt x="489585" y="456247"/>
                  </a:lnTo>
                  <a:lnTo>
                    <a:pt x="448627" y="441960"/>
                  </a:lnTo>
                  <a:lnTo>
                    <a:pt x="425767" y="420052"/>
                  </a:lnTo>
                  <a:lnTo>
                    <a:pt x="399097" y="392430"/>
                  </a:lnTo>
                  <a:lnTo>
                    <a:pt x="366713" y="382905"/>
                  </a:lnTo>
                  <a:lnTo>
                    <a:pt x="328613" y="398145"/>
                  </a:lnTo>
                  <a:lnTo>
                    <a:pt x="304800" y="374332"/>
                  </a:lnTo>
                  <a:lnTo>
                    <a:pt x="274320" y="360997"/>
                  </a:lnTo>
                  <a:lnTo>
                    <a:pt x="249555" y="385763"/>
                  </a:lnTo>
                  <a:lnTo>
                    <a:pt x="219075" y="385763"/>
                  </a:lnTo>
                  <a:lnTo>
                    <a:pt x="208597" y="415290"/>
                  </a:lnTo>
                  <a:lnTo>
                    <a:pt x="172402" y="415290"/>
                  </a:lnTo>
                  <a:lnTo>
                    <a:pt x="125730" y="444818"/>
                  </a:lnTo>
                  <a:lnTo>
                    <a:pt x="97155" y="473393"/>
                  </a:lnTo>
                  <a:lnTo>
                    <a:pt x="69532" y="473393"/>
                  </a:lnTo>
                  <a:lnTo>
                    <a:pt x="63817" y="502920"/>
                  </a:lnTo>
                  <a:lnTo>
                    <a:pt x="53340" y="482918"/>
                  </a:lnTo>
                  <a:lnTo>
                    <a:pt x="53340" y="460057"/>
                  </a:lnTo>
                  <a:lnTo>
                    <a:pt x="31432" y="439102"/>
                  </a:lnTo>
                  <a:lnTo>
                    <a:pt x="41910" y="427672"/>
                  </a:lnTo>
                  <a:lnTo>
                    <a:pt x="65722" y="422910"/>
                  </a:lnTo>
                  <a:lnTo>
                    <a:pt x="72390" y="402907"/>
                  </a:lnTo>
                  <a:lnTo>
                    <a:pt x="45720" y="378143"/>
                  </a:lnTo>
                  <a:lnTo>
                    <a:pt x="13335" y="345757"/>
                  </a:lnTo>
                  <a:lnTo>
                    <a:pt x="3810" y="315277"/>
                  </a:lnTo>
                  <a:lnTo>
                    <a:pt x="0" y="281940"/>
                  </a:lnTo>
                  <a:lnTo>
                    <a:pt x="12382" y="269557"/>
                  </a:lnTo>
                  <a:lnTo>
                    <a:pt x="37147" y="275272"/>
                  </a:lnTo>
                  <a:lnTo>
                    <a:pt x="64770" y="278130"/>
                  </a:lnTo>
                  <a:lnTo>
                    <a:pt x="91440" y="250507"/>
                  </a:lnTo>
                  <a:lnTo>
                    <a:pt x="91440" y="219075"/>
                  </a:lnTo>
                  <a:lnTo>
                    <a:pt x="121920" y="203835"/>
                  </a:lnTo>
                  <a:lnTo>
                    <a:pt x="145732" y="227647"/>
                  </a:lnTo>
                  <a:lnTo>
                    <a:pt x="179070" y="240030"/>
                  </a:lnTo>
                  <a:lnTo>
                    <a:pt x="210502" y="240030"/>
                  </a:lnTo>
                  <a:lnTo>
                    <a:pt x="239077" y="254317"/>
                  </a:lnTo>
                  <a:lnTo>
                    <a:pt x="260985" y="254317"/>
                  </a:lnTo>
                  <a:lnTo>
                    <a:pt x="291465" y="241935"/>
                  </a:lnTo>
                  <a:lnTo>
                    <a:pt x="332422" y="205740"/>
                  </a:lnTo>
                  <a:lnTo>
                    <a:pt x="361950" y="197167"/>
                  </a:lnTo>
                  <a:lnTo>
                    <a:pt x="361950" y="160972"/>
                  </a:lnTo>
                  <a:lnTo>
                    <a:pt x="382905" y="140017"/>
                  </a:lnTo>
                  <a:lnTo>
                    <a:pt x="382905" y="117157"/>
                  </a:lnTo>
                  <a:lnTo>
                    <a:pt x="416242" y="108585"/>
                  </a:lnTo>
                  <a:lnTo>
                    <a:pt x="424815" y="57150"/>
                  </a:lnTo>
                  <a:lnTo>
                    <a:pt x="438150" y="43815"/>
                  </a:lnTo>
                  <a:lnTo>
                    <a:pt x="475297" y="50482"/>
                  </a:lnTo>
                  <a:lnTo>
                    <a:pt x="501968" y="22860"/>
                  </a:lnTo>
                  <a:lnTo>
                    <a:pt x="533400" y="24765"/>
                  </a:lnTo>
                  <a:lnTo>
                    <a:pt x="545782" y="12382"/>
                  </a:lnTo>
                  <a:lnTo>
                    <a:pt x="561022" y="18097"/>
                  </a:lnTo>
                  <a:lnTo>
                    <a:pt x="568643" y="0"/>
                  </a:lnTo>
                  <a:lnTo>
                    <a:pt x="593407" y="0"/>
                  </a:lnTo>
                  <a:lnTo>
                    <a:pt x="615315" y="16192"/>
                  </a:lnTo>
                  <a:lnTo>
                    <a:pt x="646747" y="20955"/>
                  </a:lnTo>
                  <a:lnTo>
                    <a:pt x="673418" y="45720"/>
                  </a:lnTo>
                  <a:lnTo>
                    <a:pt x="691515" y="54292"/>
                  </a:lnTo>
                  <a:lnTo>
                    <a:pt x="721995" y="54292"/>
                  </a:lnTo>
                  <a:lnTo>
                    <a:pt x="734377" y="41910"/>
                  </a:lnTo>
                  <a:lnTo>
                    <a:pt x="749618" y="56197"/>
                  </a:lnTo>
                  <a:lnTo>
                    <a:pt x="761047" y="68580"/>
                  </a:lnTo>
                  <a:lnTo>
                    <a:pt x="744855" y="84772"/>
                  </a:lnTo>
                  <a:lnTo>
                    <a:pt x="744855" y="109538"/>
                  </a:lnTo>
                  <a:lnTo>
                    <a:pt x="729615" y="124777"/>
                  </a:lnTo>
                  <a:lnTo>
                    <a:pt x="734377" y="148590"/>
                  </a:lnTo>
                  <a:lnTo>
                    <a:pt x="748665" y="16192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87" name="Рисунок 3">
              <a:extLst>
                <a:ext uri="{FF2B5EF4-FFF2-40B4-BE49-F238E27FC236}">
                  <a16:creationId xmlns:a16="http://schemas.microsoft.com/office/drawing/2014/main" id="{DC8D225A-CED9-4B4B-A430-056D633C3093}"/>
                </a:ext>
              </a:extLst>
            </p:cNvPr>
            <p:cNvGrpSpPr/>
            <p:nvPr/>
          </p:nvGrpSpPr>
          <p:grpSpPr>
            <a:xfrm>
              <a:off x="4165472" y="3561731"/>
              <a:ext cx="1473360" cy="1213311"/>
              <a:chOff x="3229927" y="1674495"/>
              <a:chExt cx="2285047" cy="2163127"/>
            </a:xfrm>
            <a:grpFill/>
          </p:grpSpPr>
          <p:sp>
            <p:nvSpPr>
              <p:cNvPr id="399" name="Полилиния: фигура 25">
                <a:extLst>
                  <a:ext uri="{FF2B5EF4-FFF2-40B4-BE49-F238E27FC236}">
                    <a16:creationId xmlns:a16="http://schemas.microsoft.com/office/drawing/2014/main" id="{F920F74F-B69A-4F63-9D79-EF2983CBF437}"/>
                  </a:ext>
                </a:extLst>
              </p:cNvPr>
              <p:cNvSpPr/>
              <p:nvPr/>
            </p:nvSpPr>
            <p:spPr>
              <a:xfrm>
                <a:off x="5485447" y="1741170"/>
                <a:ext cx="23812" cy="25717"/>
              </a:xfrm>
              <a:custGeom>
                <a:avLst/>
                <a:gdLst>
                  <a:gd name="connsiteX0" fmla="*/ 8572 w 23812"/>
                  <a:gd name="connsiteY0" fmla="*/ 25717 h 25717"/>
                  <a:gd name="connsiteX1" fmla="*/ 23813 w 23812"/>
                  <a:gd name="connsiteY1" fmla="*/ 25717 h 25717"/>
                  <a:gd name="connsiteX2" fmla="*/ 23813 w 23812"/>
                  <a:gd name="connsiteY2" fmla="*/ 5715 h 25717"/>
                  <a:gd name="connsiteX3" fmla="*/ 10478 w 23812"/>
                  <a:gd name="connsiteY3" fmla="*/ 0 h 25717"/>
                  <a:gd name="connsiteX4" fmla="*/ 0 w 23812"/>
                  <a:gd name="connsiteY4" fmla="*/ 2857 h 25717"/>
                  <a:gd name="connsiteX5" fmla="*/ 8572 w 23812"/>
                  <a:gd name="connsiteY5" fmla="*/ 15240 h 25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812" h="25717">
                    <a:moveTo>
                      <a:pt x="8572" y="25717"/>
                    </a:moveTo>
                    <a:lnTo>
                      <a:pt x="23813" y="25717"/>
                    </a:lnTo>
                    <a:lnTo>
                      <a:pt x="23813" y="5715"/>
                    </a:lnTo>
                    <a:lnTo>
                      <a:pt x="10478" y="0"/>
                    </a:lnTo>
                    <a:lnTo>
                      <a:pt x="0" y="2857"/>
                    </a:lnTo>
                    <a:lnTo>
                      <a:pt x="8572" y="1524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0" name="Полилиния: фигура 26">
                <a:extLst>
                  <a:ext uri="{FF2B5EF4-FFF2-40B4-BE49-F238E27FC236}">
                    <a16:creationId xmlns:a16="http://schemas.microsoft.com/office/drawing/2014/main" id="{AACCF877-F546-40D6-8C5C-251459D02A9A}"/>
                  </a:ext>
                </a:extLst>
              </p:cNvPr>
              <p:cNvSpPr/>
              <p:nvPr/>
            </p:nvSpPr>
            <p:spPr>
              <a:xfrm>
                <a:off x="5439727" y="1828800"/>
                <a:ext cx="75247" cy="53339"/>
              </a:xfrm>
              <a:custGeom>
                <a:avLst/>
                <a:gdLst>
                  <a:gd name="connsiteX0" fmla="*/ 70485 w 75247"/>
                  <a:gd name="connsiteY0" fmla="*/ 0 h 53339"/>
                  <a:gd name="connsiteX1" fmla="*/ 53340 w 75247"/>
                  <a:gd name="connsiteY1" fmla="*/ 1905 h 53339"/>
                  <a:gd name="connsiteX2" fmla="*/ 45720 w 75247"/>
                  <a:gd name="connsiteY2" fmla="*/ 14288 h 53339"/>
                  <a:gd name="connsiteX3" fmla="*/ 18097 w 75247"/>
                  <a:gd name="connsiteY3" fmla="*/ 19050 h 53339"/>
                  <a:gd name="connsiteX4" fmla="*/ 0 w 75247"/>
                  <a:gd name="connsiteY4" fmla="*/ 28575 h 53339"/>
                  <a:gd name="connsiteX5" fmla="*/ 14288 w 75247"/>
                  <a:gd name="connsiteY5" fmla="*/ 35242 h 53339"/>
                  <a:gd name="connsiteX6" fmla="*/ 7620 w 75247"/>
                  <a:gd name="connsiteY6" fmla="*/ 50483 h 53339"/>
                  <a:gd name="connsiteX7" fmla="*/ 19050 w 75247"/>
                  <a:gd name="connsiteY7" fmla="*/ 53340 h 53339"/>
                  <a:gd name="connsiteX8" fmla="*/ 42863 w 75247"/>
                  <a:gd name="connsiteY8" fmla="*/ 53340 h 53339"/>
                  <a:gd name="connsiteX9" fmla="*/ 60960 w 75247"/>
                  <a:gd name="connsiteY9" fmla="*/ 34290 h 53339"/>
                  <a:gd name="connsiteX10" fmla="*/ 75247 w 75247"/>
                  <a:gd name="connsiteY10" fmla="*/ 20955 h 53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5247" h="53339">
                    <a:moveTo>
                      <a:pt x="70485" y="0"/>
                    </a:moveTo>
                    <a:lnTo>
                      <a:pt x="53340" y="1905"/>
                    </a:lnTo>
                    <a:lnTo>
                      <a:pt x="45720" y="14288"/>
                    </a:lnTo>
                    <a:lnTo>
                      <a:pt x="18097" y="19050"/>
                    </a:lnTo>
                    <a:lnTo>
                      <a:pt x="0" y="28575"/>
                    </a:lnTo>
                    <a:lnTo>
                      <a:pt x="14288" y="35242"/>
                    </a:lnTo>
                    <a:lnTo>
                      <a:pt x="7620" y="50483"/>
                    </a:lnTo>
                    <a:lnTo>
                      <a:pt x="19050" y="53340"/>
                    </a:lnTo>
                    <a:lnTo>
                      <a:pt x="42863" y="53340"/>
                    </a:lnTo>
                    <a:lnTo>
                      <a:pt x="60960" y="34290"/>
                    </a:lnTo>
                    <a:lnTo>
                      <a:pt x="75247" y="2095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1" name="Полилиния: фигура 27">
                <a:extLst>
                  <a:ext uri="{FF2B5EF4-FFF2-40B4-BE49-F238E27FC236}">
                    <a16:creationId xmlns:a16="http://schemas.microsoft.com/office/drawing/2014/main" id="{35CE15A8-35AF-4E39-B604-9D81F327BC83}"/>
                  </a:ext>
                </a:extLst>
              </p:cNvPr>
              <p:cNvSpPr/>
              <p:nvPr/>
            </p:nvSpPr>
            <p:spPr>
              <a:xfrm>
                <a:off x="5399722" y="1804987"/>
                <a:ext cx="30480" cy="23812"/>
              </a:xfrm>
              <a:custGeom>
                <a:avLst/>
                <a:gdLst>
                  <a:gd name="connsiteX0" fmla="*/ 5715 w 30480"/>
                  <a:gd name="connsiteY0" fmla="*/ 6667 h 23812"/>
                  <a:gd name="connsiteX1" fmla="*/ 0 w 30480"/>
                  <a:gd name="connsiteY1" fmla="*/ 13335 h 23812"/>
                  <a:gd name="connsiteX2" fmla="*/ 10478 w 30480"/>
                  <a:gd name="connsiteY2" fmla="*/ 23813 h 23812"/>
                  <a:gd name="connsiteX3" fmla="*/ 30480 w 30480"/>
                  <a:gd name="connsiteY3" fmla="*/ 16192 h 23812"/>
                  <a:gd name="connsiteX4" fmla="*/ 30480 w 30480"/>
                  <a:gd name="connsiteY4" fmla="*/ 0 h 23812"/>
                  <a:gd name="connsiteX5" fmla="*/ 19050 w 30480"/>
                  <a:gd name="connsiteY5" fmla="*/ 0 h 23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480" h="23812">
                    <a:moveTo>
                      <a:pt x="5715" y="6667"/>
                    </a:moveTo>
                    <a:lnTo>
                      <a:pt x="0" y="13335"/>
                    </a:lnTo>
                    <a:lnTo>
                      <a:pt x="10478" y="23813"/>
                    </a:lnTo>
                    <a:lnTo>
                      <a:pt x="30480" y="16192"/>
                    </a:lnTo>
                    <a:lnTo>
                      <a:pt x="30480" y="0"/>
                    </a:lnTo>
                    <a:lnTo>
                      <a:pt x="19050" y="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2" name="Полилиния: фигура 28">
                <a:extLst>
                  <a:ext uri="{FF2B5EF4-FFF2-40B4-BE49-F238E27FC236}">
                    <a16:creationId xmlns:a16="http://schemas.microsoft.com/office/drawing/2014/main" id="{723FACA6-D086-44E3-821F-F1B00B2C3B84}"/>
                  </a:ext>
                </a:extLst>
              </p:cNvPr>
              <p:cNvSpPr/>
              <p:nvPr/>
            </p:nvSpPr>
            <p:spPr>
              <a:xfrm>
                <a:off x="5354002" y="1827847"/>
                <a:ext cx="75247" cy="65722"/>
              </a:xfrm>
              <a:custGeom>
                <a:avLst/>
                <a:gdLst>
                  <a:gd name="connsiteX0" fmla="*/ 36195 w 75247"/>
                  <a:gd name="connsiteY0" fmla="*/ 17145 h 65722"/>
                  <a:gd name="connsiteX1" fmla="*/ 20003 w 75247"/>
                  <a:gd name="connsiteY1" fmla="*/ 0 h 65722"/>
                  <a:gd name="connsiteX2" fmla="*/ 8572 w 75247"/>
                  <a:gd name="connsiteY2" fmla="*/ 11430 h 65722"/>
                  <a:gd name="connsiteX3" fmla="*/ 0 w 75247"/>
                  <a:gd name="connsiteY3" fmla="*/ 28575 h 65722"/>
                  <a:gd name="connsiteX4" fmla="*/ 0 w 75247"/>
                  <a:gd name="connsiteY4" fmla="*/ 49530 h 65722"/>
                  <a:gd name="connsiteX5" fmla="*/ 18097 w 75247"/>
                  <a:gd name="connsiteY5" fmla="*/ 53340 h 65722"/>
                  <a:gd name="connsiteX6" fmla="*/ 22860 w 75247"/>
                  <a:gd name="connsiteY6" fmla="*/ 65723 h 65722"/>
                  <a:gd name="connsiteX7" fmla="*/ 44767 w 75247"/>
                  <a:gd name="connsiteY7" fmla="*/ 60960 h 65722"/>
                  <a:gd name="connsiteX8" fmla="*/ 59055 w 75247"/>
                  <a:gd name="connsiteY8" fmla="*/ 45720 h 65722"/>
                  <a:gd name="connsiteX9" fmla="*/ 69532 w 75247"/>
                  <a:gd name="connsiteY9" fmla="*/ 35242 h 65722"/>
                  <a:gd name="connsiteX10" fmla="*/ 75247 w 75247"/>
                  <a:gd name="connsiteY10" fmla="*/ 18098 h 65722"/>
                  <a:gd name="connsiteX11" fmla="*/ 60007 w 75247"/>
                  <a:gd name="connsiteY11" fmla="*/ 18098 h 65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5247" h="65722">
                    <a:moveTo>
                      <a:pt x="36195" y="17145"/>
                    </a:moveTo>
                    <a:lnTo>
                      <a:pt x="20003" y="0"/>
                    </a:lnTo>
                    <a:lnTo>
                      <a:pt x="8572" y="11430"/>
                    </a:lnTo>
                    <a:lnTo>
                      <a:pt x="0" y="28575"/>
                    </a:lnTo>
                    <a:lnTo>
                      <a:pt x="0" y="49530"/>
                    </a:lnTo>
                    <a:lnTo>
                      <a:pt x="18097" y="53340"/>
                    </a:lnTo>
                    <a:lnTo>
                      <a:pt x="22860" y="65723"/>
                    </a:lnTo>
                    <a:lnTo>
                      <a:pt x="44767" y="60960"/>
                    </a:lnTo>
                    <a:lnTo>
                      <a:pt x="59055" y="45720"/>
                    </a:lnTo>
                    <a:lnTo>
                      <a:pt x="69532" y="35242"/>
                    </a:lnTo>
                    <a:lnTo>
                      <a:pt x="75247" y="18098"/>
                    </a:lnTo>
                    <a:lnTo>
                      <a:pt x="60007" y="18098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3" name="Полилиния: фигура 29">
                <a:extLst>
                  <a:ext uri="{FF2B5EF4-FFF2-40B4-BE49-F238E27FC236}">
                    <a16:creationId xmlns:a16="http://schemas.microsoft.com/office/drawing/2014/main" id="{AC94364F-B99B-4702-9986-A0BA6FD10365}"/>
                  </a:ext>
                </a:extLst>
              </p:cNvPr>
              <p:cNvSpPr/>
              <p:nvPr/>
            </p:nvSpPr>
            <p:spPr>
              <a:xfrm>
                <a:off x="5319712" y="1919287"/>
                <a:ext cx="20002" cy="20002"/>
              </a:xfrm>
              <a:custGeom>
                <a:avLst/>
                <a:gdLst>
                  <a:gd name="connsiteX0" fmla="*/ 0 w 20002"/>
                  <a:gd name="connsiteY0" fmla="*/ 20002 h 20002"/>
                  <a:gd name="connsiteX1" fmla="*/ 14288 w 20002"/>
                  <a:gd name="connsiteY1" fmla="*/ 20002 h 20002"/>
                  <a:gd name="connsiteX2" fmla="*/ 20003 w 20002"/>
                  <a:gd name="connsiteY2" fmla="*/ 2858 h 20002"/>
                  <a:gd name="connsiteX3" fmla="*/ 6668 w 20002"/>
                  <a:gd name="connsiteY3" fmla="*/ 0 h 20002"/>
                  <a:gd name="connsiteX4" fmla="*/ 0 w 20002"/>
                  <a:gd name="connsiteY4" fmla="*/ 6667 h 20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002" h="20002">
                    <a:moveTo>
                      <a:pt x="0" y="20002"/>
                    </a:moveTo>
                    <a:lnTo>
                      <a:pt x="14288" y="20002"/>
                    </a:lnTo>
                    <a:lnTo>
                      <a:pt x="20003" y="2858"/>
                    </a:lnTo>
                    <a:lnTo>
                      <a:pt x="6668" y="0"/>
                    </a:lnTo>
                    <a:lnTo>
                      <a:pt x="0" y="6667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4" name="Полилиния: фигура 30">
                <a:extLst>
                  <a:ext uri="{FF2B5EF4-FFF2-40B4-BE49-F238E27FC236}">
                    <a16:creationId xmlns:a16="http://schemas.microsoft.com/office/drawing/2014/main" id="{0933D309-28C5-40C0-8F28-5ADF7718E193}"/>
                  </a:ext>
                </a:extLst>
              </p:cNvPr>
              <p:cNvSpPr/>
              <p:nvPr/>
            </p:nvSpPr>
            <p:spPr>
              <a:xfrm>
                <a:off x="5253990" y="1849754"/>
                <a:ext cx="86677" cy="48577"/>
              </a:xfrm>
              <a:custGeom>
                <a:avLst/>
                <a:gdLst>
                  <a:gd name="connsiteX0" fmla="*/ 32385 w 86677"/>
                  <a:gd name="connsiteY0" fmla="*/ 39053 h 48577"/>
                  <a:gd name="connsiteX1" fmla="*/ 41910 w 86677"/>
                  <a:gd name="connsiteY1" fmla="*/ 48578 h 48577"/>
                  <a:gd name="connsiteX2" fmla="*/ 64770 w 86677"/>
                  <a:gd name="connsiteY2" fmla="*/ 42863 h 48577"/>
                  <a:gd name="connsiteX3" fmla="*/ 70485 w 86677"/>
                  <a:gd name="connsiteY3" fmla="*/ 27623 h 48577"/>
                  <a:gd name="connsiteX4" fmla="*/ 86678 w 86677"/>
                  <a:gd name="connsiteY4" fmla="*/ 33338 h 48577"/>
                  <a:gd name="connsiteX5" fmla="*/ 78105 w 86677"/>
                  <a:gd name="connsiteY5" fmla="*/ 14288 h 48577"/>
                  <a:gd name="connsiteX6" fmla="*/ 63817 w 86677"/>
                  <a:gd name="connsiteY6" fmla="*/ 0 h 48577"/>
                  <a:gd name="connsiteX7" fmla="*/ 42863 w 86677"/>
                  <a:gd name="connsiteY7" fmla="*/ 15240 h 48577"/>
                  <a:gd name="connsiteX8" fmla="*/ 36195 w 86677"/>
                  <a:gd name="connsiteY8" fmla="*/ 7620 h 48577"/>
                  <a:gd name="connsiteX9" fmla="*/ 12382 w 86677"/>
                  <a:gd name="connsiteY9" fmla="*/ 7620 h 48577"/>
                  <a:gd name="connsiteX10" fmla="*/ 12382 w 86677"/>
                  <a:gd name="connsiteY10" fmla="*/ 23813 h 48577"/>
                  <a:gd name="connsiteX11" fmla="*/ 0 w 86677"/>
                  <a:gd name="connsiteY11" fmla="*/ 36195 h 48577"/>
                  <a:gd name="connsiteX12" fmla="*/ 7620 w 86677"/>
                  <a:gd name="connsiteY12" fmla="*/ 43815 h 48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6677" h="48577">
                    <a:moveTo>
                      <a:pt x="32385" y="39053"/>
                    </a:moveTo>
                    <a:lnTo>
                      <a:pt x="41910" y="48578"/>
                    </a:lnTo>
                    <a:lnTo>
                      <a:pt x="64770" y="42863"/>
                    </a:lnTo>
                    <a:lnTo>
                      <a:pt x="70485" y="27623"/>
                    </a:lnTo>
                    <a:lnTo>
                      <a:pt x="86678" y="33338"/>
                    </a:lnTo>
                    <a:lnTo>
                      <a:pt x="78105" y="14288"/>
                    </a:lnTo>
                    <a:lnTo>
                      <a:pt x="63817" y="0"/>
                    </a:lnTo>
                    <a:lnTo>
                      <a:pt x="42863" y="15240"/>
                    </a:lnTo>
                    <a:lnTo>
                      <a:pt x="36195" y="7620"/>
                    </a:lnTo>
                    <a:lnTo>
                      <a:pt x="12382" y="7620"/>
                    </a:lnTo>
                    <a:lnTo>
                      <a:pt x="12382" y="23813"/>
                    </a:lnTo>
                    <a:lnTo>
                      <a:pt x="0" y="36195"/>
                    </a:lnTo>
                    <a:lnTo>
                      <a:pt x="7620" y="4381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5" name="Полилиния: фигура 31">
                <a:extLst>
                  <a:ext uri="{FF2B5EF4-FFF2-40B4-BE49-F238E27FC236}">
                    <a16:creationId xmlns:a16="http://schemas.microsoft.com/office/drawing/2014/main" id="{9E5405CB-C52F-4294-A972-A82DA015DF2F}"/>
                  </a:ext>
                </a:extLst>
              </p:cNvPr>
              <p:cNvSpPr/>
              <p:nvPr/>
            </p:nvSpPr>
            <p:spPr>
              <a:xfrm>
                <a:off x="5408294" y="1687829"/>
                <a:ext cx="21907" cy="23812"/>
              </a:xfrm>
              <a:custGeom>
                <a:avLst/>
                <a:gdLst>
                  <a:gd name="connsiteX0" fmla="*/ 21908 w 21907"/>
                  <a:gd name="connsiteY0" fmla="*/ 13335 h 23812"/>
                  <a:gd name="connsiteX1" fmla="*/ 6668 w 21907"/>
                  <a:gd name="connsiteY1" fmla="*/ 0 h 23812"/>
                  <a:gd name="connsiteX2" fmla="*/ 0 w 21907"/>
                  <a:gd name="connsiteY2" fmla="*/ 13335 h 23812"/>
                  <a:gd name="connsiteX3" fmla="*/ 11430 w 21907"/>
                  <a:gd name="connsiteY3" fmla="*/ 23813 h 23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907" h="23812">
                    <a:moveTo>
                      <a:pt x="21908" y="13335"/>
                    </a:moveTo>
                    <a:lnTo>
                      <a:pt x="6668" y="0"/>
                    </a:lnTo>
                    <a:lnTo>
                      <a:pt x="0" y="13335"/>
                    </a:lnTo>
                    <a:lnTo>
                      <a:pt x="11430" y="23813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6" name="Полилиния: фигура 32">
                <a:extLst>
                  <a:ext uri="{FF2B5EF4-FFF2-40B4-BE49-F238E27FC236}">
                    <a16:creationId xmlns:a16="http://schemas.microsoft.com/office/drawing/2014/main" id="{C8DC2EC7-9DDE-406C-B785-CF2D3F4AA45A}"/>
                  </a:ext>
                </a:extLst>
              </p:cNvPr>
              <p:cNvSpPr/>
              <p:nvPr/>
            </p:nvSpPr>
            <p:spPr>
              <a:xfrm>
                <a:off x="5374005" y="1718310"/>
                <a:ext cx="34289" cy="51435"/>
              </a:xfrm>
              <a:custGeom>
                <a:avLst/>
                <a:gdLst>
                  <a:gd name="connsiteX0" fmla="*/ 18097 w 34289"/>
                  <a:gd name="connsiteY0" fmla="*/ 51435 h 51435"/>
                  <a:gd name="connsiteX1" fmla="*/ 34290 w 34289"/>
                  <a:gd name="connsiteY1" fmla="*/ 43815 h 51435"/>
                  <a:gd name="connsiteX2" fmla="*/ 24765 w 34289"/>
                  <a:gd name="connsiteY2" fmla="*/ 23813 h 51435"/>
                  <a:gd name="connsiteX3" fmla="*/ 17145 w 34289"/>
                  <a:gd name="connsiteY3" fmla="*/ 0 h 51435"/>
                  <a:gd name="connsiteX4" fmla="*/ 0 w 34289"/>
                  <a:gd name="connsiteY4" fmla="*/ 0 h 51435"/>
                  <a:gd name="connsiteX5" fmla="*/ 0 w 34289"/>
                  <a:gd name="connsiteY5" fmla="*/ 19050 h 51435"/>
                  <a:gd name="connsiteX6" fmla="*/ 18097 w 34289"/>
                  <a:gd name="connsiteY6" fmla="*/ 36195 h 51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289" h="51435">
                    <a:moveTo>
                      <a:pt x="18097" y="51435"/>
                    </a:moveTo>
                    <a:lnTo>
                      <a:pt x="34290" y="43815"/>
                    </a:lnTo>
                    <a:lnTo>
                      <a:pt x="24765" y="23813"/>
                    </a:lnTo>
                    <a:lnTo>
                      <a:pt x="17145" y="0"/>
                    </a:lnTo>
                    <a:lnTo>
                      <a:pt x="0" y="0"/>
                    </a:lnTo>
                    <a:lnTo>
                      <a:pt x="0" y="19050"/>
                    </a:lnTo>
                    <a:lnTo>
                      <a:pt x="18097" y="3619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7" name="Полилиния: фигура 33">
                <a:extLst>
                  <a:ext uri="{FF2B5EF4-FFF2-40B4-BE49-F238E27FC236}">
                    <a16:creationId xmlns:a16="http://schemas.microsoft.com/office/drawing/2014/main" id="{66CD440D-0B7C-41E7-A28A-98A4C8593169}"/>
                  </a:ext>
                </a:extLst>
              </p:cNvPr>
              <p:cNvSpPr/>
              <p:nvPr/>
            </p:nvSpPr>
            <p:spPr>
              <a:xfrm>
                <a:off x="5267325" y="1772602"/>
                <a:ext cx="18097" cy="15239"/>
              </a:xfrm>
              <a:custGeom>
                <a:avLst/>
                <a:gdLst>
                  <a:gd name="connsiteX0" fmla="*/ 18097 w 18097"/>
                  <a:gd name="connsiteY0" fmla="*/ 0 h 15239"/>
                  <a:gd name="connsiteX1" fmla="*/ 3810 w 18097"/>
                  <a:gd name="connsiteY1" fmla="*/ 0 h 15239"/>
                  <a:gd name="connsiteX2" fmla="*/ 0 w 18097"/>
                  <a:gd name="connsiteY2" fmla="*/ 3810 h 15239"/>
                  <a:gd name="connsiteX3" fmla="*/ 12382 w 18097"/>
                  <a:gd name="connsiteY3" fmla="*/ 15240 h 1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97" h="15239">
                    <a:moveTo>
                      <a:pt x="18097" y="0"/>
                    </a:moveTo>
                    <a:lnTo>
                      <a:pt x="3810" y="0"/>
                    </a:lnTo>
                    <a:lnTo>
                      <a:pt x="0" y="3810"/>
                    </a:lnTo>
                    <a:lnTo>
                      <a:pt x="12382" y="1524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8" name="Полилиния: фигура 34">
                <a:extLst>
                  <a:ext uri="{FF2B5EF4-FFF2-40B4-BE49-F238E27FC236}">
                    <a16:creationId xmlns:a16="http://schemas.microsoft.com/office/drawing/2014/main" id="{7E28A041-8B53-453B-A54D-3BCC291B663A}"/>
                  </a:ext>
                </a:extLst>
              </p:cNvPr>
              <p:cNvSpPr/>
              <p:nvPr/>
            </p:nvSpPr>
            <p:spPr>
              <a:xfrm>
                <a:off x="5288280" y="1797367"/>
                <a:ext cx="21907" cy="20955"/>
              </a:xfrm>
              <a:custGeom>
                <a:avLst/>
                <a:gdLst>
                  <a:gd name="connsiteX0" fmla="*/ 21907 w 21907"/>
                  <a:gd name="connsiteY0" fmla="*/ 20003 h 20955"/>
                  <a:gd name="connsiteX1" fmla="*/ 9525 w 21907"/>
                  <a:gd name="connsiteY1" fmla="*/ 0 h 20955"/>
                  <a:gd name="connsiteX2" fmla="*/ 0 w 21907"/>
                  <a:gd name="connsiteY2" fmla="*/ 9525 h 20955"/>
                  <a:gd name="connsiteX3" fmla="*/ 9525 w 21907"/>
                  <a:gd name="connsiteY3" fmla="*/ 20955 h 2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907" h="20955">
                    <a:moveTo>
                      <a:pt x="21907" y="20003"/>
                    </a:moveTo>
                    <a:lnTo>
                      <a:pt x="9525" y="0"/>
                    </a:lnTo>
                    <a:lnTo>
                      <a:pt x="0" y="9525"/>
                    </a:lnTo>
                    <a:lnTo>
                      <a:pt x="9525" y="2095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9" name="Полилиния: фигура 35">
                <a:extLst>
                  <a:ext uri="{FF2B5EF4-FFF2-40B4-BE49-F238E27FC236}">
                    <a16:creationId xmlns:a16="http://schemas.microsoft.com/office/drawing/2014/main" id="{748B1E83-428D-4F32-94F0-A33693DAF77C}"/>
                  </a:ext>
                </a:extLst>
              </p:cNvPr>
              <p:cNvSpPr/>
              <p:nvPr/>
            </p:nvSpPr>
            <p:spPr>
              <a:xfrm>
                <a:off x="5307330" y="1748789"/>
                <a:ext cx="15239" cy="15239"/>
              </a:xfrm>
              <a:custGeom>
                <a:avLst/>
                <a:gdLst>
                  <a:gd name="connsiteX0" fmla="*/ 12382 w 15239"/>
                  <a:gd name="connsiteY0" fmla="*/ 0 h 15239"/>
                  <a:gd name="connsiteX1" fmla="*/ 0 w 15239"/>
                  <a:gd name="connsiteY1" fmla="*/ 1905 h 15239"/>
                  <a:gd name="connsiteX2" fmla="*/ 0 w 15239"/>
                  <a:gd name="connsiteY2" fmla="*/ 15240 h 15239"/>
                  <a:gd name="connsiteX3" fmla="*/ 15240 w 15239"/>
                  <a:gd name="connsiteY3" fmla="*/ 15240 h 1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39" h="15239">
                    <a:moveTo>
                      <a:pt x="12382" y="0"/>
                    </a:moveTo>
                    <a:lnTo>
                      <a:pt x="0" y="1905"/>
                    </a:lnTo>
                    <a:lnTo>
                      <a:pt x="0" y="15240"/>
                    </a:lnTo>
                    <a:lnTo>
                      <a:pt x="15240" y="1524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0" name="Полилиния: фигура 36">
                <a:extLst>
                  <a:ext uri="{FF2B5EF4-FFF2-40B4-BE49-F238E27FC236}">
                    <a16:creationId xmlns:a16="http://schemas.microsoft.com/office/drawing/2014/main" id="{DB489895-C1A7-43CE-A1EE-897FF0744397}"/>
                  </a:ext>
                </a:extLst>
              </p:cNvPr>
              <p:cNvSpPr/>
              <p:nvPr/>
            </p:nvSpPr>
            <p:spPr>
              <a:xfrm>
                <a:off x="5328284" y="1784985"/>
                <a:ext cx="12382" cy="12382"/>
              </a:xfrm>
              <a:custGeom>
                <a:avLst/>
                <a:gdLst>
                  <a:gd name="connsiteX0" fmla="*/ 2858 w 12382"/>
                  <a:gd name="connsiteY0" fmla="*/ 2857 h 12382"/>
                  <a:gd name="connsiteX1" fmla="*/ 0 w 12382"/>
                  <a:gd name="connsiteY1" fmla="*/ 0 h 12382"/>
                  <a:gd name="connsiteX2" fmla="*/ 0 w 12382"/>
                  <a:gd name="connsiteY2" fmla="*/ 12382 h 12382"/>
                  <a:gd name="connsiteX3" fmla="*/ 12383 w 12382"/>
                  <a:gd name="connsiteY3" fmla="*/ 12382 h 12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2" h="12382">
                    <a:moveTo>
                      <a:pt x="2858" y="2857"/>
                    </a:moveTo>
                    <a:lnTo>
                      <a:pt x="0" y="0"/>
                    </a:lnTo>
                    <a:lnTo>
                      <a:pt x="0" y="12382"/>
                    </a:lnTo>
                    <a:lnTo>
                      <a:pt x="12383" y="12382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1" name="Полилиния: фигура 37">
                <a:extLst>
                  <a:ext uri="{FF2B5EF4-FFF2-40B4-BE49-F238E27FC236}">
                    <a16:creationId xmlns:a16="http://schemas.microsoft.com/office/drawing/2014/main" id="{80A49019-5F15-4665-AF76-B21A573734FA}"/>
                  </a:ext>
                </a:extLst>
              </p:cNvPr>
              <p:cNvSpPr/>
              <p:nvPr/>
            </p:nvSpPr>
            <p:spPr>
              <a:xfrm>
                <a:off x="5340667" y="1808797"/>
                <a:ext cx="14287" cy="9525"/>
              </a:xfrm>
              <a:custGeom>
                <a:avLst/>
                <a:gdLst>
                  <a:gd name="connsiteX0" fmla="*/ 4763 w 14287"/>
                  <a:gd name="connsiteY0" fmla="*/ 9525 h 9525"/>
                  <a:gd name="connsiteX1" fmla="*/ 14288 w 14287"/>
                  <a:gd name="connsiteY1" fmla="*/ 0 h 9525"/>
                  <a:gd name="connsiteX2" fmla="*/ 0 w 14287"/>
                  <a:gd name="connsiteY2" fmla="*/ 4763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87" h="9525">
                    <a:moveTo>
                      <a:pt x="4763" y="9525"/>
                    </a:moveTo>
                    <a:lnTo>
                      <a:pt x="14288" y="0"/>
                    </a:lnTo>
                    <a:lnTo>
                      <a:pt x="0" y="4763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2" name="Полилиния: фигура 38">
                <a:extLst>
                  <a:ext uri="{FF2B5EF4-FFF2-40B4-BE49-F238E27FC236}">
                    <a16:creationId xmlns:a16="http://schemas.microsoft.com/office/drawing/2014/main" id="{01B5FABC-C905-4F4A-9D02-836B7AF55604}"/>
                  </a:ext>
                </a:extLst>
              </p:cNvPr>
              <p:cNvSpPr/>
              <p:nvPr/>
            </p:nvSpPr>
            <p:spPr>
              <a:xfrm>
                <a:off x="5354955" y="1757362"/>
                <a:ext cx="13334" cy="15239"/>
              </a:xfrm>
              <a:custGeom>
                <a:avLst/>
                <a:gdLst>
                  <a:gd name="connsiteX0" fmla="*/ 13335 w 13334"/>
                  <a:gd name="connsiteY0" fmla="*/ 0 h 15239"/>
                  <a:gd name="connsiteX1" fmla="*/ 0 w 13334"/>
                  <a:gd name="connsiteY1" fmla="*/ 0 h 15239"/>
                  <a:gd name="connsiteX2" fmla="*/ 0 w 13334"/>
                  <a:gd name="connsiteY2" fmla="*/ 14288 h 15239"/>
                  <a:gd name="connsiteX3" fmla="*/ 13335 w 13334"/>
                  <a:gd name="connsiteY3" fmla="*/ 15240 h 1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4" h="15239">
                    <a:moveTo>
                      <a:pt x="13335" y="0"/>
                    </a:moveTo>
                    <a:lnTo>
                      <a:pt x="0" y="0"/>
                    </a:lnTo>
                    <a:lnTo>
                      <a:pt x="0" y="14288"/>
                    </a:lnTo>
                    <a:lnTo>
                      <a:pt x="13335" y="1524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3" name="Полилиния: фигура 39">
                <a:extLst>
                  <a:ext uri="{FF2B5EF4-FFF2-40B4-BE49-F238E27FC236}">
                    <a16:creationId xmlns:a16="http://schemas.microsoft.com/office/drawing/2014/main" id="{7FF3749C-3E05-48E3-B3F8-FE4F1E320EEA}"/>
                  </a:ext>
                </a:extLst>
              </p:cNvPr>
              <p:cNvSpPr/>
              <p:nvPr/>
            </p:nvSpPr>
            <p:spPr>
              <a:xfrm>
                <a:off x="5335905" y="1727835"/>
                <a:ext cx="14287" cy="13335"/>
              </a:xfrm>
              <a:custGeom>
                <a:avLst/>
                <a:gdLst>
                  <a:gd name="connsiteX0" fmla="*/ 14288 w 14287"/>
                  <a:gd name="connsiteY0" fmla="*/ 6667 h 13335"/>
                  <a:gd name="connsiteX1" fmla="*/ 7620 w 14287"/>
                  <a:gd name="connsiteY1" fmla="*/ 0 h 13335"/>
                  <a:gd name="connsiteX2" fmla="*/ 0 w 14287"/>
                  <a:gd name="connsiteY2" fmla="*/ 0 h 13335"/>
                  <a:gd name="connsiteX3" fmla="*/ 7620 w 14287"/>
                  <a:gd name="connsiteY3" fmla="*/ 13335 h 13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" h="13335">
                    <a:moveTo>
                      <a:pt x="14288" y="6667"/>
                    </a:moveTo>
                    <a:lnTo>
                      <a:pt x="7620" y="0"/>
                    </a:lnTo>
                    <a:lnTo>
                      <a:pt x="0" y="0"/>
                    </a:lnTo>
                    <a:lnTo>
                      <a:pt x="7620" y="1333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4" name="Полилиния: фигура 40">
                <a:extLst>
                  <a:ext uri="{FF2B5EF4-FFF2-40B4-BE49-F238E27FC236}">
                    <a16:creationId xmlns:a16="http://schemas.microsoft.com/office/drawing/2014/main" id="{1EF44428-1BE7-40FB-A890-6A15810DB427}"/>
                  </a:ext>
                </a:extLst>
              </p:cNvPr>
              <p:cNvSpPr/>
              <p:nvPr/>
            </p:nvSpPr>
            <p:spPr>
              <a:xfrm>
                <a:off x="5192077" y="1799272"/>
                <a:ext cx="28575" cy="39052"/>
              </a:xfrm>
              <a:custGeom>
                <a:avLst/>
                <a:gdLst>
                  <a:gd name="connsiteX0" fmla="*/ 7620 w 28575"/>
                  <a:gd name="connsiteY0" fmla="*/ 17145 h 39052"/>
                  <a:gd name="connsiteX1" fmla="*/ 0 w 28575"/>
                  <a:gd name="connsiteY1" fmla="*/ 24765 h 39052"/>
                  <a:gd name="connsiteX2" fmla="*/ 13335 w 28575"/>
                  <a:gd name="connsiteY2" fmla="*/ 39052 h 39052"/>
                  <a:gd name="connsiteX3" fmla="*/ 28575 w 28575"/>
                  <a:gd name="connsiteY3" fmla="*/ 39052 h 39052"/>
                  <a:gd name="connsiteX4" fmla="*/ 28575 w 28575"/>
                  <a:gd name="connsiteY4" fmla="*/ 14288 h 39052"/>
                  <a:gd name="connsiteX5" fmla="*/ 18097 w 28575"/>
                  <a:gd name="connsiteY5" fmla="*/ 0 h 3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575" h="39052">
                    <a:moveTo>
                      <a:pt x="7620" y="17145"/>
                    </a:moveTo>
                    <a:lnTo>
                      <a:pt x="0" y="24765"/>
                    </a:lnTo>
                    <a:lnTo>
                      <a:pt x="13335" y="39052"/>
                    </a:lnTo>
                    <a:lnTo>
                      <a:pt x="28575" y="39052"/>
                    </a:lnTo>
                    <a:lnTo>
                      <a:pt x="28575" y="14288"/>
                    </a:lnTo>
                    <a:lnTo>
                      <a:pt x="18097" y="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5" name="Полилиния: фигура 41">
                <a:extLst>
                  <a:ext uri="{FF2B5EF4-FFF2-40B4-BE49-F238E27FC236}">
                    <a16:creationId xmlns:a16="http://schemas.microsoft.com/office/drawing/2014/main" id="{C98EB2A2-F173-4E29-A649-A0D7A08BCD50}"/>
                  </a:ext>
                </a:extLst>
              </p:cNvPr>
              <p:cNvSpPr/>
              <p:nvPr/>
            </p:nvSpPr>
            <p:spPr>
              <a:xfrm>
                <a:off x="5234940" y="1799272"/>
                <a:ext cx="15240" cy="15239"/>
              </a:xfrm>
              <a:custGeom>
                <a:avLst/>
                <a:gdLst>
                  <a:gd name="connsiteX0" fmla="*/ 4763 w 15240"/>
                  <a:gd name="connsiteY0" fmla="*/ 15240 h 15239"/>
                  <a:gd name="connsiteX1" fmla="*/ 15240 w 15240"/>
                  <a:gd name="connsiteY1" fmla="*/ 15240 h 15239"/>
                  <a:gd name="connsiteX2" fmla="*/ 15240 w 15240"/>
                  <a:gd name="connsiteY2" fmla="*/ 1905 h 15239"/>
                  <a:gd name="connsiteX3" fmla="*/ 0 w 15240"/>
                  <a:gd name="connsiteY3" fmla="*/ 0 h 1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" h="15239">
                    <a:moveTo>
                      <a:pt x="4763" y="15240"/>
                    </a:moveTo>
                    <a:lnTo>
                      <a:pt x="15240" y="15240"/>
                    </a:lnTo>
                    <a:lnTo>
                      <a:pt x="15240" y="190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6" name="Полилиния: фигура 42">
                <a:extLst>
                  <a:ext uri="{FF2B5EF4-FFF2-40B4-BE49-F238E27FC236}">
                    <a16:creationId xmlns:a16="http://schemas.microsoft.com/office/drawing/2014/main" id="{0F3C7EB8-B933-457E-BE13-BB940EFEBB70}"/>
                  </a:ext>
                </a:extLst>
              </p:cNvPr>
              <p:cNvSpPr/>
              <p:nvPr/>
            </p:nvSpPr>
            <p:spPr>
              <a:xfrm>
                <a:off x="5073967" y="1706879"/>
                <a:ext cx="138112" cy="80962"/>
              </a:xfrm>
              <a:custGeom>
                <a:avLst/>
                <a:gdLst>
                  <a:gd name="connsiteX0" fmla="*/ 39052 w 138112"/>
                  <a:gd name="connsiteY0" fmla="*/ 36195 h 80962"/>
                  <a:gd name="connsiteX1" fmla="*/ 39052 w 138112"/>
                  <a:gd name="connsiteY1" fmla="*/ 49530 h 80962"/>
                  <a:gd name="connsiteX2" fmla="*/ 17145 w 138112"/>
                  <a:gd name="connsiteY2" fmla="*/ 33338 h 80962"/>
                  <a:gd name="connsiteX3" fmla="*/ 0 w 138112"/>
                  <a:gd name="connsiteY3" fmla="*/ 40005 h 80962"/>
                  <a:gd name="connsiteX4" fmla="*/ 4763 w 138112"/>
                  <a:gd name="connsiteY4" fmla="*/ 64770 h 80962"/>
                  <a:gd name="connsiteX5" fmla="*/ 20955 w 138112"/>
                  <a:gd name="connsiteY5" fmla="*/ 60008 h 80962"/>
                  <a:gd name="connsiteX6" fmla="*/ 20955 w 138112"/>
                  <a:gd name="connsiteY6" fmla="*/ 76200 h 80962"/>
                  <a:gd name="connsiteX7" fmla="*/ 38100 w 138112"/>
                  <a:gd name="connsiteY7" fmla="*/ 80963 h 80962"/>
                  <a:gd name="connsiteX8" fmla="*/ 53340 w 138112"/>
                  <a:gd name="connsiteY8" fmla="*/ 65723 h 80962"/>
                  <a:gd name="connsiteX9" fmla="*/ 75247 w 138112"/>
                  <a:gd name="connsiteY9" fmla="*/ 56198 h 80962"/>
                  <a:gd name="connsiteX10" fmla="*/ 93345 w 138112"/>
                  <a:gd name="connsiteY10" fmla="*/ 61913 h 80962"/>
                  <a:gd name="connsiteX11" fmla="*/ 119063 w 138112"/>
                  <a:gd name="connsiteY11" fmla="*/ 61913 h 80962"/>
                  <a:gd name="connsiteX12" fmla="*/ 138113 w 138112"/>
                  <a:gd name="connsiteY12" fmla="*/ 42863 h 80962"/>
                  <a:gd name="connsiteX13" fmla="*/ 120967 w 138112"/>
                  <a:gd name="connsiteY13" fmla="*/ 24765 h 80962"/>
                  <a:gd name="connsiteX14" fmla="*/ 132397 w 138112"/>
                  <a:gd name="connsiteY14" fmla="*/ 12383 h 80962"/>
                  <a:gd name="connsiteX15" fmla="*/ 112395 w 138112"/>
                  <a:gd name="connsiteY15" fmla="*/ 0 h 80962"/>
                  <a:gd name="connsiteX16" fmla="*/ 101917 w 138112"/>
                  <a:gd name="connsiteY16" fmla="*/ 7620 h 80962"/>
                  <a:gd name="connsiteX17" fmla="*/ 90488 w 138112"/>
                  <a:gd name="connsiteY17" fmla="*/ 18098 h 80962"/>
                  <a:gd name="connsiteX18" fmla="*/ 90488 w 138112"/>
                  <a:gd name="connsiteY18" fmla="*/ 30480 h 80962"/>
                  <a:gd name="connsiteX19" fmla="*/ 79057 w 138112"/>
                  <a:gd name="connsiteY19" fmla="*/ 41910 h 80962"/>
                  <a:gd name="connsiteX20" fmla="*/ 57150 w 138112"/>
                  <a:gd name="connsiteY20" fmla="*/ 26670 h 80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8112" h="80962">
                    <a:moveTo>
                      <a:pt x="39052" y="36195"/>
                    </a:moveTo>
                    <a:lnTo>
                      <a:pt x="39052" y="49530"/>
                    </a:lnTo>
                    <a:lnTo>
                      <a:pt x="17145" y="33338"/>
                    </a:lnTo>
                    <a:lnTo>
                      <a:pt x="0" y="40005"/>
                    </a:lnTo>
                    <a:lnTo>
                      <a:pt x="4763" y="64770"/>
                    </a:lnTo>
                    <a:lnTo>
                      <a:pt x="20955" y="60008"/>
                    </a:lnTo>
                    <a:lnTo>
                      <a:pt x="20955" y="76200"/>
                    </a:lnTo>
                    <a:lnTo>
                      <a:pt x="38100" y="80963"/>
                    </a:lnTo>
                    <a:lnTo>
                      <a:pt x="53340" y="65723"/>
                    </a:lnTo>
                    <a:lnTo>
                      <a:pt x="75247" y="56198"/>
                    </a:lnTo>
                    <a:lnTo>
                      <a:pt x="93345" y="61913"/>
                    </a:lnTo>
                    <a:lnTo>
                      <a:pt x="119063" y="61913"/>
                    </a:lnTo>
                    <a:lnTo>
                      <a:pt x="138113" y="42863"/>
                    </a:lnTo>
                    <a:lnTo>
                      <a:pt x="120967" y="24765"/>
                    </a:lnTo>
                    <a:lnTo>
                      <a:pt x="132397" y="12383"/>
                    </a:lnTo>
                    <a:lnTo>
                      <a:pt x="112395" y="0"/>
                    </a:lnTo>
                    <a:lnTo>
                      <a:pt x="101917" y="7620"/>
                    </a:lnTo>
                    <a:lnTo>
                      <a:pt x="90488" y="18098"/>
                    </a:lnTo>
                    <a:lnTo>
                      <a:pt x="90488" y="30480"/>
                    </a:lnTo>
                    <a:lnTo>
                      <a:pt x="79057" y="41910"/>
                    </a:lnTo>
                    <a:lnTo>
                      <a:pt x="57150" y="2667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7" name="Полилиния: фигура 43">
                <a:extLst>
                  <a:ext uri="{FF2B5EF4-FFF2-40B4-BE49-F238E27FC236}">
                    <a16:creationId xmlns:a16="http://schemas.microsoft.com/office/drawing/2014/main" id="{D52FA2E1-40DF-4A8C-9174-DDCAFC6757BB}"/>
                  </a:ext>
                </a:extLst>
              </p:cNvPr>
              <p:cNvSpPr/>
              <p:nvPr/>
            </p:nvSpPr>
            <p:spPr>
              <a:xfrm>
                <a:off x="5068252" y="1674495"/>
                <a:ext cx="80009" cy="45719"/>
              </a:xfrm>
              <a:custGeom>
                <a:avLst/>
                <a:gdLst>
                  <a:gd name="connsiteX0" fmla="*/ 17145 w 80009"/>
                  <a:gd name="connsiteY0" fmla="*/ 45720 h 45719"/>
                  <a:gd name="connsiteX1" fmla="*/ 44767 w 80009"/>
                  <a:gd name="connsiteY1" fmla="*/ 36195 h 45719"/>
                  <a:gd name="connsiteX2" fmla="*/ 54292 w 80009"/>
                  <a:gd name="connsiteY2" fmla="*/ 45720 h 45719"/>
                  <a:gd name="connsiteX3" fmla="*/ 72390 w 80009"/>
                  <a:gd name="connsiteY3" fmla="*/ 38100 h 45719"/>
                  <a:gd name="connsiteX4" fmla="*/ 80010 w 80009"/>
                  <a:gd name="connsiteY4" fmla="*/ 45720 h 45719"/>
                  <a:gd name="connsiteX5" fmla="*/ 80010 w 80009"/>
                  <a:gd name="connsiteY5" fmla="*/ 29527 h 45719"/>
                  <a:gd name="connsiteX6" fmla="*/ 67628 w 80009"/>
                  <a:gd name="connsiteY6" fmla="*/ 17145 h 45719"/>
                  <a:gd name="connsiteX7" fmla="*/ 56197 w 80009"/>
                  <a:gd name="connsiteY7" fmla="*/ 17145 h 45719"/>
                  <a:gd name="connsiteX8" fmla="*/ 46672 w 80009"/>
                  <a:gd name="connsiteY8" fmla="*/ 13335 h 45719"/>
                  <a:gd name="connsiteX9" fmla="*/ 23813 w 80009"/>
                  <a:gd name="connsiteY9" fmla="*/ 13335 h 45719"/>
                  <a:gd name="connsiteX10" fmla="*/ 9525 w 80009"/>
                  <a:gd name="connsiteY10" fmla="*/ 0 h 45719"/>
                  <a:gd name="connsiteX11" fmla="*/ 0 w 80009"/>
                  <a:gd name="connsiteY11" fmla="*/ 19050 h 45719"/>
                  <a:gd name="connsiteX12" fmla="*/ 12382 w 80009"/>
                  <a:gd name="connsiteY12" fmla="*/ 31432 h 45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0009" h="45719">
                    <a:moveTo>
                      <a:pt x="17145" y="45720"/>
                    </a:moveTo>
                    <a:lnTo>
                      <a:pt x="44767" y="36195"/>
                    </a:lnTo>
                    <a:lnTo>
                      <a:pt x="54292" y="45720"/>
                    </a:lnTo>
                    <a:lnTo>
                      <a:pt x="72390" y="38100"/>
                    </a:lnTo>
                    <a:lnTo>
                      <a:pt x="80010" y="45720"/>
                    </a:lnTo>
                    <a:lnTo>
                      <a:pt x="80010" y="29527"/>
                    </a:lnTo>
                    <a:lnTo>
                      <a:pt x="67628" y="17145"/>
                    </a:lnTo>
                    <a:lnTo>
                      <a:pt x="56197" y="17145"/>
                    </a:lnTo>
                    <a:lnTo>
                      <a:pt x="46672" y="13335"/>
                    </a:lnTo>
                    <a:lnTo>
                      <a:pt x="23813" y="13335"/>
                    </a:lnTo>
                    <a:lnTo>
                      <a:pt x="9525" y="0"/>
                    </a:lnTo>
                    <a:lnTo>
                      <a:pt x="0" y="19050"/>
                    </a:lnTo>
                    <a:lnTo>
                      <a:pt x="12382" y="31432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8" name="Полилиния: фигура 44">
                <a:extLst>
                  <a:ext uri="{FF2B5EF4-FFF2-40B4-BE49-F238E27FC236}">
                    <a16:creationId xmlns:a16="http://schemas.microsoft.com/office/drawing/2014/main" id="{2BDF8A03-45A2-4984-BCD9-3B61B2BA0F06}"/>
                  </a:ext>
                </a:extLst>
              </p:cNvPr>
              <p:cNvSpPr/>
              <p:nvPr/>
            </p:nvSpPr>
            <p:spPr>
              <a:xfrm>
                <a:off x="5126355" y="1800225"/>
                <a:ext cx="22859" cy="14287"/>
              </a:xfrm>
              <a:custGeom>
                <a:avLst/>
                <a:gdLst>
                  <a:gd name="connsiteX0" fmla="*/ 9525 w 22859"/>
                  <a:gd name="connsiteY0" fmla="*/ 0 h 14287"/>
                  <a:gd name="connsiteX1" fmla="*/ 0 w 22859"/>
                  <a:gd name="connsiteY1" fmla="*/ 0 h 14287"/>
                  <a:gd name="connsiteX2" fmla="*/ 3810 w 22859"/>
                  <a:gd name="connsiteY2" fmla="*/ 13335 h 14287"/>
                  <a:gd name="connsiteX3" fmla="*/ 22860 w 22859"/>
                  <a:gd name="connsiteY3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59" h="14287">
                    <a:moveTo>
                      <a:pt x="9525" y="0"/>
                    </a:moveTo>
                    <a:lnTo>
                      <a:pt x="0" y="0"/>
                    </a:lnTo>
                    <a:lnTo>
                      <a:pt x="3810" y="13335"/>
                    </a:lnTo>
                    <a:lnTo>
                      <a:pt x="22860" y="14288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9" name="Полилиния: фигура 45">
                <a:extLst>
                  <a:ext uri="{FF2B5EF4-FFF2-40B4-BE49-F238E27FC236}">
                    <a16:creationId xmlns:a16="http://schemas.microsoft.com/office/drawing/2014/main" id="{AB2A4036-BF5B-4476-AB85-C6D006097759}"/>
                  </a:ext>
                </a:extLst>
              </p:cNvPr>
              <p:cNvSpPr/>
              <p:nvPr/>
            </p:nvSpPr>
            <p:spPr>
              <a:xfrm>
                <a:off x="5130165" y="1827847"/>
                <a:ext cx="24765" cy="20954"/>
              </a:xfrm>
              <a:custGeom>
                <a:avLst/>
                <a:gdLst>
                  <a:gd name="connsiteX0" fmla="*/ 24765 w 24765"/>
                  <a:gd name="connsiteY0" fmla="*/ 20955 h 20954"/>
                  <a:gd name="connsiteX1" fmla="*/ 13335 w 24765"/>
                  <a:gd name="connsiteY1" fmla="*/ 9525 h 20954"/>
                  <a:gd name="connsiteX2" fmla="*/ 9525 w 24765"/>
                  <a:gd name="connsiteY2" fmla="*/ 0 h 20954"/>
                  <a:gd name="connsiteX3" fmla="*/ 0 w 24765"/>
                  <a:gd name="connsiteY3" fmla="*/ 9525 h 20954"/>
                  <a:gd name="connsiteX4" fmla="*/ 7620 w 24765"/>
                  <a:gd name="connsiteY4" fmla="*/ 17145 h 2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765" h="20954">
                    <a:moveTo>
                      <a:pt x="24765" y="20955"/>
                    </a:moveTo>
                    <a:lnTo>
                      <a:pt x="13335" y="9525"/>
                    </a:lnTo>
                    <a:lnTo>
                      <a:pt x="9525" y="0"/>
                    </a:lnTo>
                    <a:lnTo>
                      <a:pt x="0" y="9525"/>
                    </a:lnTo>
                    <a:lnTo>
                      <a:pt x="7620" y="1714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0" name="Полилиния: фигура 46">
                <a:extLst>
                  <a:ext uri="{FF2B5EF4-FFF2-40B4-BE49-F238E27FC236}">
                    <a16:creationId xmlns:a16="http://schemas.microsoft.com/office/drawing/2014/main" id="{DA4B5F48-8C88-4D28-8035-71E15D1237B2}"/>
                  </a:ext>
                </a:extLst>
              </p:cNvPr>
              <p:cNvSpPr/>
              <p:nvPr/>
            </p:nvSpPr>
            <p:spPr>
              <a:xfrm>
                <a:off x="5216842" y="1691639"/>
                <a:ext cx="20954" cy="13335"/>
              </a:xfrm>
              <a:custGeom>
                <a:avLst/>
                <a:gdLst>
                  <a:gd name="connsiteX0" fmla="*/ 20955 w 20954"/>
                  <a:gd name="connsiteY0" fmla="*/ 2858 h 13335"/>
                  <a:gd name="connsiteX1" fmla="*/ 0 w 20954"/>
                  <a:gd name="connsiteY1" fmla="*/ 0 h 13335"/>
                  <a:gd name="connsiteX2" fmla="*/ 0 w 20954"/>
                  <a:gd name="connsiteY2" fmla="*/ 13335 h 13335"/>
                  <a:gd name="connsiteX3" fmla="*/ 10477 w 20954"/>
                  <a:gd name="connsiteY3" fmla="*/ 13335 h 13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4" h="13335">
                    <a:moveTo>
                      <a:pt x="20955" y="2858"/>
                    </a:moveTo>
                    <a:lnTo>
                      <a:pt x="0" y="0"/>
                    </a:lnTo>
                    <a:lnTo>
                      <a:pt x="0" y="13335"/>
                    </a:lnTo>
                    <a:lnTo>
                      <a:pt x="10477" y="1333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1" name="Полилиния: фигура 47">
                <a:extLst>
                  <a:ext uri="{FF2B5EF4-FFF2-40B4-BE49-F238E27FC236}">
                    <a16:creationId xmlns:a16="http://schemas.microsoft.com/office/drawing/2014/main" id="{FF6DB4AE-24FC-46E0-B1E1-E34D28C4254B}"/>
                  </a:ext>
                </a:extLst>
              </p:cNvPr>
              <p:cNvSpPr/>
              <p:nvPr/>
            </p:nvSpPr>
            <p:spPr>
              <a:xfrm>
                <a:off x="4565332" y="2396490"/>
                <a:ext cx="847725" cy="631507"/>
              </a:xfrm>
              <a:custGeom>
                <a:avLst/>
                <a:gdLst>
                  <a:gd name="connsiteX0" fmla="*/ 799148 w 847725"/>
                  <a:gd name="connsiteY0" fmla="*/ 0 h 631507"/>
                  <a:gd name="connsiteX1" fmla="*/ 765810 w 847725"/>
                  <a:gd name="connsiteY1" fmla="*/ 13335 h 631507"/>
                  <a:gd name="connsiteX2" fmla="*/ 741045 w 847725"/>
                  <a:gd name="connsiteY2" fmla="*/ 26670 h 631507"/>
                  <a:gd name="connsiteX3" fmla="*/ 719138 w 847725"/>
                  <a:gd name="connsiteY3" fmla="*/ 47625 h 631507"/>
                  <a:gd name="connsiteX4" fmla="*/ 687705 w 847725"/>
                  <a:gd name="connsiteY4" fmla="*/ 47625 h 631507"/>
                  <a:gd name="connsiteX5" fmla="*/ 664845 w 847725"/>
                  <a:gd name="connsiteY5" fmla="*/ 54292 h 631507"/>
                  <a:gd name="connsiteX6" fmla="*/ 651510 w 847725"/>
                  <a:gd name="connsiteY6" fmla="*/ 40957 h 631507"/>
                  <a:gd name="connsiteX7" fmla="*/ 624840 w 847725"/>
                  <a:gd name="connsiteY7" fmla="*/ 40957 h 631507"/>
                  <a:gd name="connsiteX8" fmla="*/ 613410 w 847725"/>
                  <a:gd name="connsiteY8" fmla="*/ 24765 h 631507"/>
                  <a:gd name="connsiteX9" fmla="*/ 588645 w 847725"/>
                  <a:gd name="connsiteY9" fmla="*/ 22860 h 631507"/>
                  <a:gd name="connsiteX10" fmla="*/ 566738 w 847725"/>
                  <a:gd name="connsiteY10" fmla="*/ 43815 h 631507"/>
                  <a:gd name="connsiteX11" fmla="*/ 535305 w 847725"/>
                  <a:gd name="connsiteY11" fmla="*/ 43815 h 631507"/>
                  <a:gd name="connsiteX12" fmla="*/ 513398 w 847725"/>
                  <a:gd name="connsiteY12" fmla="*/ 36195 h 631507"/>
                  <a:gd name="connsiteX13" fmla="*/ 482918 w 847725"/>
                  <a:gd name="connsiteY13" fmla="*/ 50482 h 631507"/>
                  <a:gd name="connsiteX14" fmla="*/ 464820 w 847725"/>
                  <a:gd name="connsiteY14" fmla="*/ 50482 h 631507"/>
                  <a:gd name="connsiteX15" fmla="*/ 450533 w 847725"/>
                  <a:gd name="connsiteY15" fmla="*/ 66675 h 631507"/>
                  <a:gd name="connsiteX16" fmla="*/ 436245 w 847725"/>
                  <a:gd name="connsiteY16" fmla="*/ 81915 h 631507"/>
                  <a:gd name="connsiteX17" fmla="*/ 408623 w 847725"/>
                  <a:gd name="connsiteY17" fmla="*/ 72390 h 631507"/>
                  <a:gd name="connsiteX18" fmla="*/ 408623 w 847725"/>
                  <a:gd name="connsiteY18" fmla="*/ 91440 h 631507"/>
                  <a:gd name="connsiteX19" fmla="*/ 388620 w 847725"/>
                  <a:gd name="connsiteY19" fmla="*/ 91440 h 631507"/>
                  <a:gd name="connsiteX20" fmla="*/ 373380 w 847725"/>
                  <a:gd name="connsiteY20" fmla="*/ 76200 h 631507"/>
                  <a:gd name="connsiteX21" fmla="*/ 364808 w 847725"/>
                  <a:gd name="connsiteY21" fmla="*/ 90488 h 631507"/>
                  <a:gd name="connsiteX22" fmla="*/ 379095 w 847725"/>
                  <a:gd name="connsiteY22" fmla="*/ 106680 h 631507"/>
                  <a:gd name="connsiteX23" fmla="*/ 365760 w 847725"/>
                  <a:gd name="connsiteY23" fmla="*/ 119063 h 631507"/>
                  <a:gd name="connsiteX24" fmla="*/ 367665 w 847725"/>
                  <a:gd name="connsiteY24" fmla="*/ 144780 h 631507"/>
                  <a:gd name="connsiteX25" fmla="*/ 357188 w 847725"/>
                  <a:gd name="connsiteY25" fmla="*/ 135255 h 631507"/>
                  <a:gd name="connsiteX26" fmla="*/ 330518 w 847725"/>
                  <a:gd name="connsiteY26" fmla="*/ 136207 h 631507"/>
                  <a:gd name="connsiteX27" fmla="*/ 346710 w 847725"/>
                  <a:gd name="connsiteY27" fmla="*/ 152400 h 631507"/>
                  <a:gd name="connsiteX28" fmla="*/ 316230 w 847725"/>
                  <a:gd name="connsiteY28" fmla="*/ 154305 h 631507"/>
                  <a:gd name="connsiteX29" fmla="*/ 316230 w 847725"/>
                  <a:gd name="connsiteY29" fmla="*/ 169545 h 631507"/>
                  <a:gd name="connsiteX30" fmla="*/ 294323 w 847725"/>
                  <a:gd name="connsiteY30" fmla="*/ 169545 h 631507"/>
                  <a:gd name="connsiteX31" fmla="*/ 277178 w 847725"/>
                  <a:gd name="connsiteY31" fmla="*/ 185738 h 631507"/>
                  <a:gd name="connsiteX32" fmla="*/ 243840 w 847725"/>
                  <a:gd name="connsiteY32" fmla="*/ 195263 h 631507"/>
                  <a:gd name="connsiteX33" fmla="*/ 212408 w 847725"/>
                  <a:gd name="connsiteY33" fmla="*/ 203835 h 631507"/>
                  <a:gd name="connsiteX34" fmla="*/ 212408 w 847725"/>
                  <a:gd name="connsiteY34" fmla="*/ 214313 h 631507"/>
                  <a:gd name="connsiteX35" fmla="*/ 240030 w 847725"/>
                  <a:gd name="connsiteY35" fmla="*/ 223838 h 631507"/>
                  <a:gd name="connsiteX36" fmla="*/ 250508 w 847725"/>
                  <a:gd name="connsiteY36" fmla="*/ 235267 h 631507"/>
                  <a:gd name="connsiteX37" fmla="*/ 219075 w 847725"/>
                  <a:gd name="connsiteY37" fmla="*/ 240982 h 631507"/>
                  <a:gd name="connsiteX38" fmla="*/ 215265 w 847725"/>
                  <a:gd name="connsiteY38" fmla="*/ 254317 h 631507"/>
                  <a:gd name="connsiteX39" fmla="*/ 200978 w 847725"/>
                  <a:gd name="connsiteY39" fmla="*/ 269557 h 631507"/>
                  <a:gd name="connsiteX40" fmla="*/ 186690 w 847725"/>
                  <a:gd name="connsiteY40" fmla="*/ 255270 h 631507"/>
                  <a:gd name="connsiteX41" fmla="*/ 157163 w 847725"/>
                  <a:gd name="connsiteY41" fmla="*/ 255270 h 631507"/>
                  <a:gd name="connsiteX42" fmla="*/ 157163 w 847725"/>
                  <a:gd name="connsiteY42" fmla="*/ 274320 h 631507"/>
                  <a:gd name="connsiteX43" fmla="*/ 150495 w 847725"/>
                  <a:gd name="connsiteY43" fmla="*/ 293370 h 631507"/>
                  <a:gd name="connsiteX44" fmla="*/ 127635 w 847725"/>
                  <a:gd name="connsiteY44" fmla="*/ 284797 h 631507"/>
                  <a:gd name="connsiteX45" fmla="*/ 107633 w 847725"/>
                  <a:gd name="connsiteY45" fmla="*/ 297180 h 631507"/>
                  <a:gd name="connsiteX46" fmla="*/ 122873 w 847725"/>
                  <a:gd name="connsiteY46" fmla="*/ 314325 h 631507"/>
                  <a:gd name="connsiteX47" fmla="*/ 100013 w 847725"/>
                  <a:gd name="connsiteY47" fmla="*/ 338138 h 631507"/>
                  <a:gd name="connsiteX48" fmla="*/ 70485 w 847725"/>
                  <a:gd name="connsiteY48" fmla="*/ 347663 h 631507"/>
                  <a:gd name="connsiteX49" fmla="*/ 66675 w 847725"/>
                  <a:gd name="connsiteY49" fmla="*/ 363855 h 631507"/>
                  <a:gd name="connsiteX50" fmla="*/ 57150 w 847725"/>
                  <a:gd name="connsiteY50" fmla="*/ 360045 h 631507"/>
                  <a:gd name="connsiteX51" fmla="*/ 49530 w 847725"/>
                  <a:gd name="connsiteY51" fmla="*/ 351472 h 631507"/>
                  <a:gd name="connsiteX52" fmla="*/ 25718 w 847725"/>
                  <a:gd name="connsiteY52" fmla="*/ 348615 h 631507"/>
                  <a:gd name="connsiteX53" fmla="*/ 4763 w 847725"/>
                  <a:gd name="connsiteY53" fmla="*/ 377190 h 631507"/>
                  <a:gd name="connsiteX54" fmla="*/ 0 w 847725"/>
                  <a:gd name="connsiteY54" fmla="*/ 404813 h 631507"/>
                  <a:gd name="connsiteX55" fmla="*/ 15240 w 847725"/>
                  <a:gd name="connsiteY55" fmla="*/ 426720 h 631507"/>
                  <a:gd name="connsiteX56" fmla="*/ 34290 w 847725"/>
                  <a:gd name="connsiteY56" fmla="*/ 428625 h 631507"/>
                  <a:gd name="connsiteX57" fmla="*/ 42863 w 847725"/>
                  <a:gd name="connsiteY57" fmla="*/ 451485 h 631507"/>
                  <a:gd name="connsiteX58" fmla="*/ 52388 w 847725"/>
                  <a:gd name="connsiteY58" fmla="*/ 453390 h 631507"/>
                  <a:gd name="connsiteX59" fmla="*/ 50483 w 847725"/>
                  <a:gd name="connsiteY59" fmla="*/ 484822 h 631507"/>
                  <a:gd name="connsiteX60" fmla="*/ 64770 w 847725"/>
                  <a:gd name="connsiteY60" fmla="*/ 496252 h 631507"/>
                  <a:gd name="connsiteX61" fmla="*/ 57150 w 847725"/>
                  <a:gd name="connsiteY61" fmla="*/ 508635 h 631507"/>
                  <a:gd name="connsiteX62" fmla="*/ 37148 w 847725"/>
                  <a:gd name="connsiteY62" fmla="*/ 515302 h 631507"/>
                  <a:gd name="connsiteX63" fmla="*/ 29528 w 847725"/>
                  <a:gd name="connsiteY63" fmla="*/ 538163 h 631507"/>
                  <a:gd name="connsiteX64" fmla="*/ 49530 w 847725"/>
                  <a:gd name="connsiteY64" fmla="*/ 560070 h 631507"/>
                  <a:gd name="connsiteX65" fmla="*/ 76200 w 847725"/>
                  <a:gd name="connsiteY65" fmla="*/ 585788 h 631507"/>
                  <a:gd name="connsiteX66" fmla="*/ 85725 w 847725"/>
                  <a:gd name="connsiteY66" fmla="*/ 581025 h 631507"/>
                  <a:gd name="connsiteX67" fmla="*/ 100965 w 847725"/>
                  <a:gd name="connsiteY67" fmla="*/ 603885 h 631507"/>
                  <a:gd name="connsiteX68" fmla="*/ 115253 w 847725"/>
                  <a:gd name="connsiteY68" fmla="*/ 603885 h 631507"/>
                  <a:gd name="connsiteX69" fmla="*/ 135255 w 847725"/>
                  <a:gd name="connsiteY69" fmla="*/ 615315 h 631507"/>
                  <a:gd name="connsiteX70" fmla="*/ 135255 w 847725"/>
                  <a:gd name="connsiteY70" fmla="*/ 631507 h 631507"/>
                  <a:gd name="connsiteX71" fmla="*/ 157163 w 847725"/>
                  <a:gd name="connsiteY71" fmla="*/ 621982 h 631507"/>
                  <a:gd name="connsiteX72" fmla="*/ 164783 w 847725"/>
                  <a:gd name="connsiteY72" fmla="*/ 614363 h 631507"/>
                  <a:gd name="connsiteX73" fmla="*/ 158115 w 847725"/>
                  <a:gd name="connsiteY73" fmla="*/ 590550 h 631507"/>
                  <a:gd name="connsiteX74" fmla="*/ 144780 w 847725"/>
                  <a:gd name="connsiteY74" fmla="*/ 568643 h 631507"/>
                  <a:gd name="connsiteX75" fmla="*/ 154305 w 847725"/>
                  <a:gd name="connsiteY75" fmla="*/ 535305 h 631507"/>
                  <a:gd name="connsiteX76" fmla="*/ 142875 w 847725"/>
                  <a:gd name="connsiteY76" fmla="*/ 502920 h 631507"/>
                  <a:gd name="connsiteX77" fmla="*/ 152400 w 847725"/>
                  <a:gd name="connsiteY77" fmla="*/ 479107 h 631507"/>
                  <a:gd name="connsiteX78" fmla="*/ 152400 w 847725"/>
                  <a:gd name="connsiteY78" fmla="*/ 447675 h 631507"/>
                  <a:gd name="connsiteX79" fmla="*/ 169545 w 847725"/>
                  <a:gd name="connsiteY79" fmla="*/ 429577 h 631507"/>
                  <a:gd name="connsiteX80" fmla="*/ 178118 w 847725"/>
                  <a:gd name="connsiteY80" fmla="*/ 403860 h 631507"/>
                  <a:gd name="connsiteX81" fmla="*/ 199073 w 847725"/>
                  <a:gd name="connsiteY81" fmla="*/ 395288 h 631507"/>
                  <a:gd name="connsiteX82" fmla="*/ 199073 w 847725"/>
                  <a:gd name="connsiteY82" fmla="*/ 370522 h 631507"/>
                  <a:gd name="connsiteX83" fmla="*/ 220980 w 847725"/>
                  <a:gd name="connsiteY83" fmla="*/ 352425 h 631507"/>
                  <a:gd name="connsiteX84" fmla="*/ 248603 w 847725"/>
                  <a:gd name="connsiteY84" fmla="*/ 352425 h 631507"/>
                  <a:gd name="connsiteX85" fmla="*/ 264795 w 847725"/>
                  <a:gd name="connsiteY85" fmla="*/ 324802 h 631507"/>
                  <a:gd name="connsiteX86" fmla="*/ 277178 w 847725"/>
                  <a:gd name="connsiteY86" fmla="*/ 307657 h 631507"/>
                  <a:gd name="connsiteX87" fmla="*/ 294323 w 847725"/>
                  <a:gd name="connsiteY87" fmla="*/ 307657 h 631507"/>
                  <a:gd name="connsiteX88" fmla="*/ 306705 w 847725"/>
                  <a:gd name="connsiteY88" fmla="*/ 295275 h 631507"/>
                  <a:gd name="connsiteX89" fmla="*/ 320993 w 847725"/>
                  <a:gd name="connsiteY89" fmla="*/ 280988 h 631507"/>
                  <a:gd name="connsiteX90" fmla="*/ 332423 w 847725"/>
                  <a:gd name="connsiteY90" fmla="*/ 292417 h 631507"/>
                  <a:gd name="connsiteX91" fmla="*/ 332423 w 847725"/>
                  <a:gd name="connsiteY91" fmla="*/ 273367 h 631507"/>
                  <a:gd name="connsiteX92" fmla="*/ 332423 w 847725"/>
                  <a:gd name="connsiteY92" fmla="*/ 260985 h 631507"/>
                  <a:gd name="connsiteX93" fmla="*/ 342900 w 847725"/>
                  <a:gd name="connsiteY93" fmla="*/ 272415 h 631507"/>
                  <a:gd name="connsiteX94" fmla="*/ 358140 w 847725"/>
                  <a:gd name="connsiteY94" fmla="*/ 272415 h 631507"/>
                  <a:gd name="connsiteX95" fmla="*/ 354330 w 847725"/>
                  <a:gd name="connsiteY95" fmla="*/ 246697 h 631507"/>
                  <a:gd name="connsiteX96" fmla="*/ 369570 w 847725"/>
                  <a:gd name="connsiteY96" fmla="*/ 232410 h 631507"/>
                  <a:gd name="connsiteX97" fmla="*/ 369570 w 847725"/>
                  <a:gd name="connsiteY97" fmla="*/ 254317 h 631507"/>
                  <a:gd name="connsiteX98" fmla="*/ 388620 w 847725"/>
                  <a:gd name="connsiteY98" fmla="*/ 240030 h 631507"/>
                  <a:gd name="connsiteX99" fmla="*/ 412433 w 847725"/>
                  <a:gd name="connsiteY99" fmla="*/ 222885 h 631507"/>
                  <a:gd name="connsiteX100" fmla="*/ 412433 w 847725"/>
                  <a:gd name="connsiteY100" fmla="*/ 200025 h 631507"/>
                  <a:gd name="connsiteX101" fmla="*/ 435293 w 847725"/>
                  <a:gd name="connsiteY101" fmla="*/ 206692 h 631507"/>
                  <a:gd name="connsiteX102" fmla="*/ 438150 w 847725"/>
                  <a:gd name="connsiteY102" fmla="*/ 192405 h 631507"/>
                  <a:gd name="connsiteX103" fmla="*/ 459105 w 847725"/>
                  <a:gd name="connsiteY103" fmla="*/ 192405 h 631507"/>
                  <a:gd name="connsiteX104" fmla="*/ 483870 w 847725"/>
                  <a:gd name="connsiteY104" fmla="*/ 195263 h 631507"/>
                  <a:gd name="connsiteX105" fmla="*/ 503873 w 847725"/>
                  <a:gd name="connsiteY105" fmla="*/ 187642 h 631507"/>
                  <a:gd name="connsiteX106" fmla="*/ 495300 w 847725"/>
                  <a:gd name="connsiteY106" fmla="*/ 166688 h 631507"/>
                  <a:gd name="connsiteX107" fmla="*/ 524828 w 847725"/>
                  <a:gd name="connsiteY107" fmla="*/ 150495 h 631507"/>
                  <a:gd name="connsiteX108" fmla="*/ 564833 w 847725"/>
                  <a:gd name="connsiteY108" fmla="*/ 150495 h 631507"/>
                  <a:gd name="connsiteX109" fmla="*/ 583883 w 847725"/>
                  <a:gd name="connsiteY109" fmla="*/ 129540 h 631507"/>
                  <a:gd name="connsiteX110" fmla="*/ 635318 w 847725"/>
                  <a:gd name="connsiteY110" fmla="*/ 129540 h 631507"/>
                  <a:gd name="connsiteX111" fmla="*/ 674370 w 847725"/>
                  <a:gd name="connsiteY111" fmla="*/ 131445 h 631507"/>
                  <a:gd name="connsiteX112" fmla="*/ 691515 w 847725"/>
                  <a:gd name="connsiteY112" fmla="*/ 114300 h 631507"/>
                  <a:gd name="connsiteX113" fmla="*/ 725805 w 847725"/>
                  <a:gd name="connsiteY113" fmla="*/ 127635 h 631507"/>
                  <a:gd name="connsiteX114" fmla="*/ 763905 w 847725"/>
                  <a:gd name="connsiteY114" fmla="*/ 109538 h 631507"/>
                  <a:gd name="connsiteX115" fmla="*/ 796290 w 847725"/>
                  <a:gd name="connsiteY115" fmla="*/ 106680 h 631507"/>
                  <a:gd name="connsiteX116" fmla="*/ 821055 w 847725"/>
                  <a:gd name="connsiteY116" fmla="*/ 83820 h 631507"/>
                  <a:gd name="connsiteX117" fmla="*/ 847725 w 847725"/>
                  <a:gd name="connsiteY117" fmla="*/ 59055 h 631507"/>
                  <a:gd name="connsiteX118" fmla="*/ 847725 w 847725"/>
                  <a:gd name="connsiteY118" fmla="*/ 28575 h 631507"/>
                  <a:gd name="connsiteX119" fmla="*/ 829628 w 847725"/>
                  <a:gd name="connsiteY119" fmla="*/ 0 h 631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847725" h="631507">
                    <a:moveTo>
                      <a:pt x="799148" y="0"/>
                    </a:moveTo>
                    <a:lnTo>
                      <a:pt x="765810" y="13335"/>
                    </a:lnTo>
                    <a:lnTo>
                      <a:pt x="741045" y="26670"/>
                    </a:lnTo>
                    <a:lnTo>
                      <a:pt x="719138" y="47625"/>
                    </a:lnTo>
                    <a:lnTo>
                      <a:pt x="687705" y="47625"/>
                    </a:lnTo>
                    <a:lnTo>
                      <a:pt x="664845" y="54292"/>
                    </a:lnTo>
                    <a:lnTo>
                      <a:pt x="651510" y="40957"/>
                    </a:lnTo>
                    <a:lnTo>
                      <a:pt x="624840" y="40957"/>
                    </a:lnTo>
                    <a:lnTo>
                      <a:pt x="613410" y="24765"/>
                    </a:lnTo>
                    <a:lnTo>
                      <a:pt x="588645" y="22860"/>
                    </a:lnTo>
                    <a:lnTo>
                      <a:pt x="566738" y="43815"/>
                    </a:lnTo>
                    <a:lnTo>
                      <a:pt x="535305" y="43815"/>
                    </a:lnTo>
                    <a:lnTo>
                      <a:pt x="513398" y="36195"/>
                    </a:lnTo>
                    <a:lnTo>
                      <a:pt x="482918" y="50482"/>
                    </a:lnTo>
                    <a:lnTo>
                      <a:pt x="464820" y="50482"/>
                    </a:lnTo>
                    <a:lnTo>
                      <a:pt x="450533" y="66675"/>
                    </a:lnTo>
                    <a:lnTo>
                      <a:pt x="436245" y="81915"/>
                    </a:lnTo>
                    <a:lnTo>
                      <a:pt x="408623" y="72390"/>
                    </a:lnTo>
                    <a:lnTo>
                      <a:pt x="408623" y="91440"/>
                    </a:lnTo>
                    <a:lnTo>
                      <a:pt x="388620" y="91440"/>
                    </a:lnTo>
                    <a:lnTo>
                      <a:pt x="373380" y="76200"/>
                    </a:lnTo>
                    <a:lnTo>
                      <a:pt x="364808" y="90488"/>
                    </a:lnTo>
                    <a:lnTo>
                      <a:pt x="379095" y="106680"/>
                    </a:lnTo>
                    <a:lnTo>
                      <a:pt x="365760" y="119063"/>
                    </a:lnTo>
                    <a:lnTo>
                      <a:pt x="367665" y="144780"/>
                    </a:lnTo>
                    <a:lnTo>
                      <a:pt x="357188" y="135255"/>
                    </a:lnTo>
                    <a:lnTo>
                      <a:pt x="330518" y="136207"/>
                    </a:lnTo>
                    <a:lnTo>
                      <a:pt x="346710" y="152400"/>
                    </a:lnTo>
                    <a:lnTo>
                      <a:pt x="316230" y="154305"/>
                    </a:lnTo>
                    <a:lnTo>
                      <a:pt x="316230" y="169545"/>
                    </a:lnTo>
                    <a:lnTo>
                      <a:pt x="294323" y="169545"/>
                    </a:lnTo>
                    <a:lnTo>
                      <a:pt x="277178" y="185738"/>
                    </a:lnTo>
                    <a:lnTo>
                      <a:pt x="243840" y="195263"/>
                    </a:lnTo>
                    <a:lnTo>
                      <a:pt x="212408" y="203835"/>
                    </a:lnTo>
                    <a:lnTo>
                      <a:pt x="212408" y="214313"/>
                    </a:lnTo>
                    <a:lnTo>
                      <a:pt x="240030" y="223838"/>
                    </a:lnTo>
                    <a:lnTo>
                      <a:pt x="250508" y="235267"/>
                    </a:lnTo>
                    <a:lnTo>
                      <a:pt x="219075" y="240982"/>
                    </a:lnTo>
                    <a:lnTo>
                      <a:pt x="215265" y="254317"/>
                    </a:lnTo>
                    <a:lnTo>
                      <a:pt x="200978" y="269557"/>
                    </a:lnTo>
                    <a:lnTo>
                      <a:pt x="186690" y="255270"/>
                    </a:lnTo>
                    <a:lnTo>
                      <a:pt x="157163" y="255270"/>
                    </a:lnTo>
                    <a:lnTo>
                      <a:pt x="157163" y="274320"/>
                    </a:lnTo>
                    <a:lnTo>
                      <a:pt x="150495" y="293370"/>
                    </a:lnTo>
                    <a:lnTo>
                      <a:pt x="127635" y="284797"/>
                    </a:lnTo>
                    <a:lnTo>
                      <a:pt x="107633" y="297180"/>
                    </a:lnTo>
                    <a:lnTo>
                      <a:pt x="122873" y="314325"/>
                    </a:lnTo>
                    <a:lnTo>
                      <a:pt x="100013" y="338138"/>
                    </a:lnTo>
                    <a:lnTo>
                      <a:pt x="70485" y="347663"/>
                    </a:lnTo>
                    <a:lnTo>
                      <a:pt x="66675" y="363855"/>
                    </a:lnTo>
                    <a:lnTo>
                      <a:pt x="57150" y="360045"/>
                    </a:lnTo>
                    <a:lnTo>
                      <a:pt x="49530" y="351472"/>
                    </a:lnTo>
                    <a:lnTo>
                      <a:pt x="25718" y="348615"/>
                    </a:lnTo>
                    <a:lnTo>
                      <a:pt x="4763" y="377190"/>
                    </a:lnTo>
                    <a:lnTo>
                      <a:pt x="0" y="404813"/>
                    </a:lnTo>
                    <a:lnTo>
                      <a:pt x="15240" y="426720"/>
                    </a:lnTo>
                    <a:lnTo>
                      <a:pt x="34290" y="428625"/>
                    </a:lnTo>
                    <a:lnTo>
                      <a:pt x="42863" y="451485"/>
                    </a:lnTo>
                    <a:lnTo>
                      <a:pt x="52388" y="453390"/>
                    </a:lnTo>
                    <a:lnTo>
                      <a:pt x="50483" y="484822"/>
                    </a:lnTo>
                    <a:lnTo>
                      <a:pt x="64770" y="496252"/>
                    </a:lnTo>
                    <a:lnTo>
                      <a:pt x="57150" y="508635"/>
                    </a:lnTo>
                    <a:lnTo>
                      <a:pt x="37148" y="515302"/>
                    </a:lnTo>
                    <a:lnTo>
                      <a:pt x="29528" y="538163"/>
                    </a:lnTo>
                    <a:lnTo>
                      <a:pt x="49530" y="560070"/>
                    </a:lnTo>
                    <a:lnTo>
                      <a:pt x="76200" y="585788"/>
                    </a:lnTo>
                    <a:lnTo>
                      <a:pt x="85725" y="581025"/>
                    </a:lnTo>
                    <a:lnTo>
                      <a:pt x="100965" y="603885"/>
                    </a:lnTo>
                    <a:lnTo>
                      <a:pt x="115253" y="603885"/>
                    </a:lnTo>
                    <a:lnTo>
                      <a:pt x="135255" y="615315"/>
                    </a:lnTo>
                    <a:lnTo>
                      <a:pt x="135255" y="631507"/>
                    </a:lnTo>
                    <a:lnTo>
                      <a:pt x="157163" y="621982"/>
                    </a:lnTo>
                    <a:lnTo>
                      <a:pt x="164783" y="614363"/>
                    </a:lnTo>
                    <a:lnTo>
                      <a:pt x="158115" y="590550"/>
                    </a:lnTo>
                    <a:lnTo>
                      <a:pt x="144780" y="568643"/>
                    </a:lnTo>
                    <a:lnTo>
                      <a:pt x="154305" y="535305"/>
                    </a:lnTo>
                    <a:lnTo>
                      <a:pt x="142875" y="502920"/>
                    </a:lnTo>
                    <a:lnTo>
                      <a:pt x="152400" y="479107"/>
                    </a:lnTo>
                    <a:lnTo>
                      <a:pt x="152400" y="447675"/>
                    </a:lnTo>
                    <a:lnTo>
                      <a:pt x="169545" y="429577"/>
                    </a:lnTo>
                    <a:lnTo>
                      <a:pt x="178118" y="403860"/>
                    </a:lnTo>
                    <a:lnTo>
                      <a:pt x="199073" y="395288"/>
                    </a:lnTo>
                    <a:lnTo>
                      <a:pt x="199073" y="370522"/>
                    </a:lnTo>
                    <a:lnTo>
                      <a:pt x="220980" y="352425"/>
                    </a:lnTo>
                    <a:lnTo>
                      <a:pt x="248603" y="352425"/>
                    </a:lnTo>
                    <a:lnTo>
                      <a:pt x="264795" y="324802"/>
                    </a:lnTo>
                    <a:lnTo>
                      <a:pt x="277178" y="307657"/>
                    </a:lnTo>
                    <a:lnTo>
                      <a:pt x="294323" y="307657"/>
                    </a:lnTo>
                    <a:lnTo>
                      <a:pt x="306705" y="295275"/>
                    </a:lnTo>
                    <a:lnTo>
                      <a:pt x="320993" y="280988"/>
                    </a:lnTo>
                    <a:lnTo>
                      <a:pt x="332423" y="292417"/>
                    </a:lnTo>
                    <a:lnTo>
                      <a:pt x="332423" y="273367"/>
                    </a:lnTo>
                    <a:lnTo>
                      <a:pt x="332423" y="260985"/>
                    </a:lnTo>
                    <a:lnTo>
                      <a:pt x="342900" y="272415"/>
                    </a:lnTo>
                    <a:lnTo>
                      <a:pt x="358140" y="272415"/>
                    </a:lnTo>
                    <a:lnTo>
                      <a:pt x="354330" y="246697"/>
                    </a:lnTo>
                    <a:lnTo>
                      <a:pt x="369570" y="232410"/>
                    </a:lnTo>
                    <a:lnTo>
                      <a:pt x="369570" y="254317"/>
                    </a:lnTo>
                    <a:lnTo>
                      <a:pt x="388620" y="240030"/>
                    </a:lnTo>
                    <a:lnTo>
                      <a:pt x="412433" y="222885"/>
                    </a:lnTo>
                    <a:lnTo>
                      <a:pt x="412433" y="200025"/>
                    </a:lnTo>
                    <a:lnTo>
                      <a:pt x="435293" y="206692"/>
                    </a:lnTo>
                    <a:lnTo>
                      <a:pt x="438150" y="192405"/>
                    </a:lnTo>
                    <a:lnTo>
                      <a:pt x="459105" y="192405"/>
                    </a:lnTo>
                    <a:lnTo>
                      <a:pt x="483870" y="195263"/>
                    </a:lnTo>
                    <a:lnTo>
                      <a:pt x="503873" y="187642"/>
                    </a:lnTo>
                    <a:lnTo>
                      <a:pt x="495300" y="166688"/>
                    </a:lnTo>
                    <a:lnTo>
                      <a:pt x="524828" y="150495"/>
                    </a:lnTo>
                    <a:lnTo>
                      <a:pt x="564833" y="150495"/>
                    </a:lnTo>
                    <a:lnTo>
                      <a:pt x="583883" y="129540"/>
                    </a:lnTo>
                    <a:lnTo>
                      <a:pt x="635318" y="129540"/>
                    </a:lnTo>
                    <a:lnTo>
                      <a:pt x="674370" y="131445"/>
                    </a:lnTo>
                    <a:lnTo>
                      <a:pt x="691515" y="114300"/>
                    </a:lnTo>
                    <a:lnTo>
                      <a:pt x="725805" y="127635"/>
                    </a:lnTo>
                    <a:lnTo>
                      <a:pt x="763905" y="109538"/>
                    </a:lnTo>
                    <a:lnTo>
                      <a:pt x="796290" y="106680"/>
                    </a:lnTo>
                    <a:lnTo>
                      <a:pt x="821055" y="83820"/>
                    </a:lnTo>
                    <a:lnTo>
                      <a:pt x="847725" y="59055"/>
                    </a:lnTo>
                    <a:lnTo>
                      <a:pt x="847725" y="28575"/>
                    </a:lnTo>
                    <a:lnTo>
                      <a:pt x="829628" y="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2" name="Полилиния: фигура 48">
                <a:extLst>
                  <a:ext uri="{FF2B5EF4-FFF2-40B4-BE49-F238E27FC236}">
                    <a16:creationId xmlns:a16="http://schemas.microsoft.com/office/drawing/2014/main" id="{6E2476BB-6D20-40CC-B5C1-EDAB0A340BFB}"/>
                  </a:ext>
                </a:extLst>
              </p:cNvPr>
              <p:cNvSpPr/>
              <p:nvPr/>
            </p:nvSpPr>
            <p:spPr>
              <a:xfrm>
                <a:off x="3481387" y="2982277"/>
                <a:ext cx="20954" cy="19050"/>
              </a:xfrm>
              <a:custGeom>
                <a:avLst/>
                <a:gdLst>
                  <a:gd name="connsiteX0" fmla="*/ 20955 w 20954"/>
                  <a:gd name="connsiteY0" fmla="*/ 7620 h 19050"/>
                  <a:gd name="connsiteX1" fmla="*/ 4763 w 20954"/>
                  <a:gd name="connsiteY1" fmla="*/ 0 h 19050"/>
                  <a:gd name="connsiteX2" fmla="*/ 0 w 20954"/>
                  <a:gd name="connsiteY2" fmla="*/ 7620 h 19050"/>
                  <a:gd name="connsiteX3" fmla="*/ 9525 w 20954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4" h="19050">
                    <a:moveTo>
                      <a:pt x="20955" y="7620"/>
                    </a:moveTo>
                    <a:lnTo>
                      <a:pt x="4763" y="0"/>
                    </a:lnTo>
                    <a:lnTo>
                      <a:pt x="0" y="7620"/>
                    </a:lnTo>
                    <a:lnTo>
                      <a:pt x="9525" y="1905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3" name="Полилиния: фигура 49">
                <a:extLst>
                  <a:ext uri="{FF2B5EF4-FFF2-40B4-BE49-F238E27FC236}">
                    <a16:creationId xmlns:a16="http://schemas.microsoft.com/office/drawing/2014/main" id="{BC7BBB78-42CB-48C7-89CC-7C0476333493}"/>
                  </a:ext>
                </a:extLst>
              </p:cNvPr>
              <p:cNvSpPr/>
              <p:nvPr/>
            </p:nvSpPr>
            <p:spPr>
              <a:xfrm>
                <a:off x="3229927" y="3021329"/>
                <a:ext cx="864869" cy="816292"/>
              </a:xfrm>
              <a:custGeom>
                <a:avLst/>
                <a:gdLst>
                  <a:gd name="connsiteX0" fmla="*/ 825817 w 864869"/>
                  <a:gd name="connsiteY0" fmla="*/ 273367 h 816292"/>
                  <a:gd name="connsiteX1" fmla="*/ 822960 w 864869"/>
                  <a:gd name="connsiteY1" fmla="*/ 281940 h 816292"/>
                  <a:gd name="connsiteX2" fmla="*/ 799147 w 864869"/>
                  <a:gd name="connsiteY2" fmla="*/ 290513 h 816292"/>
                  <a:gd name="connsiteX3" fmla="*/ 785813 w 864869"/>
                  <a:gd name="connsiteY3" fmla="*/ 285750 h 816292"/>
                  <a:gd name="connsiteX4" fmla="*/ 768668 w 864869"/>
                  <a:gd name="connsiteY4" fmla="*/ 265748 h 816292"/>
                  <a:gd name="connsiteX5" fmla="*/ 755332 w 864869"/>
                  <a:gd name="connsiteY5" fmla="*/ 253365 h 816292"/>
                  <a:gd name="connsiteX6" fmla="*/ 750570 w 864869"/>
                  <a:gd name="connsiteY6" fmla="*/ 229553 h 816292"/>
                  <a:gd name="connsiteX7" fmla="*/ 728663 w 864869"/>
                  <a:gd name="connsiteY7" fmla="*/ 207645 h 816292"/>
                  <a:gd name="connsiteX8" fmla="*/ 715327 w 864869"/>
                  <a:gd name="connsiteY8" fmla="*/ 191453 h 816292"/>
                  <a:gd name="connsiteX9" fmla="*/ 707707 w 864869"/>
                  <a:gd name="connsiteY9" fmla="*/ 161925 h 816292"/>
                  <a:gd name="connsiteX10" fmla="*/ 697230 w 864869"/>
                  <a:gd name="connsiteY10" fmla="*/ 138113 h 816292"/>
                  <a:gd name="connsiteX11" fmla="*/ 685800 w 864869"/>
                  <a:gd name="connsiteY11" fmla="*/ 123825 h 816292"/>
                  <a:gd name="connsiteX12" fmla="*/ 661035 w 864869"/>
                  <a:gd name="connsiteY12" fmla="*/ 148590 h 816292"/>
                  <a:gd name="connsiteX13" fmla="*/ 643890 w 864869"/>
                  <a:gd name="connsiteY13" fmla="*/ 170498 h 816292"/>
                  <a:gd name="connsiteX14" fmla="*/ 643890 w 864869"/>
                  <a:gd name="connsiteY14" fmla="*/ 140017 h 816292"/>
                  <a:gd name="connsiteX15" fmla="*/ 662940 w 864869"/>
                  <a:gd name="connsiteY15" fmla="*/ 120015 h 816292"/>
                  <a:gd name="connsiteX16" fmla="*/ 639127 w 864869"/>
                  <a:gd name="connsiteY16" fmla="*/ 82867 h 816292"/>
                  <a:gd name="connsiteX17" fmla="*/ 622935 w 864869"/>
                  <a:gd name="connsiteY17" fmla="*/ 66675 h 816292"/>
                  <a:gd name="connsiteX18" fmla="*/ 597218 w 864869"/>
                  <a:gd name="connsiteY18" fmla="*/ 66675 h 816292"/>
                  <a:gd name="connsiteX19" fmla="*/ 559118 w 864869"/>
                  <a:gd name="connsiteY19" fmla="*/ 79058 h 816292"/>
                  <a:gd name="connsiteX20" fmla="*/ 524827 w 864869"/>
                  <a:gd name="connsiteY20" fmla="*/ 60960 h 816292"/>
                  <a:gd name="connsiteX21" fmla="*/ 483870 w 864869"/>
                  <a:gd name="connsiteY21" fmla="*/ 76200 h 816292"/>
                  <a:gd name="connsiteX22" fmla="*/ 440055 w 864869"/>
                  <a:gd name="connsiteY22" fmla="*/ 69533 h 816292"/>
                  <a:gd name="connsiteX23" fmla="*/ 439102 w 864869"/>
                  <a:gd name="connsiteY23" fmla="*/ 118110 h 816292"/>
                  <a:gd name="connsiteX24" fmla="*/ 415290 w 864869"/>
                  <a:gd name="connsiteY24" fmla="*/ 138113 h 816292"/>
                  <a:gd name="connsiteX25" fmla="*/ 424815 w 864869"/>
                  <a:gd name="connsiteY25" fmla="*/ 161925 h 816292"/>
                  <a:gd name="connsiteX26" fmla="*/ 412432 w 864869"/>
                  <a:gd name="connsiteY26" fmla="*/ 174308 h 816292"/>
                  <a:gd name="connsiteX27" fmla="*/ 372427 w 864869"/>
                  <a:gd name="connsiteY27" fmla="*/ 161925 h 816292"/>
                  <a:gd name="connsiteX28" fmla="*/ 357188 w 864869"/>
                  <a:gd name="connsiteY28" fmla="*/ 129540 h 816292"/>
                  <a:gd name="connsiteX29" fmla="*/ 332422 w 864869"/>
                  <a:gd name="connsiteY29" fmla="*/ 104775 h 816292"/>
                  <a:gd name="connsiteX30" fmla="*/ 324802 w 864869"/>
                  <a:gd name="connsiteY30" fmla="*/ 63817 h 816292"/>
                  <a:gd name="connsiteX31" fmla="*/ 316230 w 864869"/>
                  <a:gd name="connsiteY31" fmla="*/ 0 h 816292"/>
                  <a:gd name="connsiteX32" fmla="*/ 292417 w 864869"/>
                  <a:gd name="connsiteY32" fmla="*/ 0 h 816292"/>
                  <a:gd name="connsiteX33" fmla="*/ 268605 w 864869"/>
                  <a:gd name="connsiteY33" fmla="*/ 25717 h 816292"/>
                  <a:gd name="connsiteX34" fmla="*/ 268605 w 864869"/>
                  <a:gd name="connsiteY34" fmla="*/ 49530 h 816292"/>
                  <a:gd name="connsiteX35" fmla="*/ 265747 w 864869"/>
                  <a:gd name="connsiteY35" fmla="*/ 80010 h 816292"/>
                  <a:gd name="connsiteX36" fmla="*/ 283845 w 864869"/>
                  <a:gd name="connsiteY36" fmla="*/ 99060 h 816292"/>
                  <a:gd name="connsiteX37" fmla="*/ 276225 w 864869"/>
                  <a:gd name="connsiteY37" fmla="*/ 134303 h 816292"/>
                  <a:gd name="connsiteX38" fmla="*/ 240982 w 864869"/>
                  <a:gd name="connsiteY38" fmla="*/ 159067 h 816292"/>
                  <a:gd name="connsiteX39" fmla="*/ 210502 w 864869"/>
                  <a:gd name="connsiteY39" fmla="*/ 128588 h 816292"/>
                  <a:gd name="connsiteX40" fmla="*/ 180975 w 864869"/>
                  <a:gd name="connsiteY40" fmla="*/ 99060 h 816292"/>
                  <a:gd name="connsiteX41" fmla="*/ 173355 w 864869"/>
                  <a:gd name="connsiteY41" fmla="*/ 108585 h 816292"/>
                  <a:gd name="connsiteX42" fmla="*/ 162877 w 864869"/>
                  <a:gd name="connsiteY42" fmla="*/ 124778 h 816292"/>
                  <a:gd name="connsiteX43" fmla="*/ 148590 w 864869"/>
                  <a:gd name="connsiteY43" fmla="*/ 115253 h 816292"/>
                  <a:gd name="connsiteX44" fmla="*/ 141922 w 864869"/>
                  <a:gd name="connsiteY44" fmla="*/ 120967 h 816292"/>
                  <a:gd name="connsiteX45" fmla="*/ 131445 w 864869"/>
                  <a:gd name="connsiteY45" fmla="*/ 107633 h 816292"/>
                  <a:gd name="connsiteX46" fmla="*/ 122872 w 864869"/>
                  <a:gd name="connsiteY46" fmla="*/ 117158 h 816292"/>
                  <a:gd name="connsiteX47" fmla="*/ 123825 w 864869"/>
                  <a:gd name="connsiteY47" fmla="*/ 139065 h 816292"/>
                  <a:gd name="connsiteX48" fmla="*/ 116205 w 864869"/>
                  <a:gd name="connsiteY48" fmla="*/ 159067 h 816292"/>
                  <a:gd name="connsiteX49" fmla="*/ 98107 w 864869"/>
                  <a:gd name="connsiteY49" fmla="*/ 167640 h 816292"/>
                  <a:gd name="connsiteX50" fmla="*/ 91440 w 864869"/>
                  <a:gd name="connsiteY50" fmla="*/ 183833 h 816292"/>
                  <a:gd name="connsiteX51" fmla="*/ 87630 w 864869"/>
                  <a:gd name="connsiteY51" fmla="*/ 219075 h 816292"/>
                  <a:gd name="connsiteX52" fmla="*/ 114300 w 864869"/>
                  <a:gd name="connsiteY52" fmla="*/ 245745 h 816292"/>
                  <a:gd name="connsiteX53" fmla="*/ 103822 w 864869"/>
                  <a:gd name="connsiteY53" fmla="*/ 274320 h 816292"/>
                  <a:gd name="connsiteX54" fmla="*/ 80010 w 864869"/>
                  <a:gd name="connsiteY54" fmla="*/ 281940 h 816292"/>
                  <a:gd name="connsiteX55" fmla="*/ 82867 w 864869"/>
                  <a:gd name="connsiteY55" fmla="*/ 300990 h 816292"/>
                  <a:gd name="connsiteX56" fmla="*/ 78105 w 864869"/>
                  <a:gd name="connsiteY56" fmla="*/ 322898 h 816292"/>
                  <a:gd name="connsiteX57" fmla="*/ 50482 w 864869"/>
                  <a:gd name="connsiteY57" fmla="*/ 351473 h 816292"/>
                  <a:gd name="connsiteX58" fmla="*/ 40005 w 864869"/>
                  <a:gd name="connsiteY58" fmla="*/ 353377 h 816292"/>
                  <a:gd name="connsiteX59" fmla="*/ 29527 w 864869"/>
                  <a:gd name="connsiteY59" fmla="*/ 365760 h 816292"/>
                  <a:gd name="connsiteX60" fmla="*/ 8572 w 864869"/>
                  <a:gd name="connsiteY60" fmla="*/ 408623 h 816292"/>
                  <a:gd name="connsiteX61" fmla="*/ 11430 w 864869"/>
                  <a:gd name="connsiteY61" fmla="*/ 421958 h 816292"/>
                  <a:gd name="connsiteX62" fmla="*/ 0 w 864869"/>
                  <a:gd name="connsiteY62" fmla="*/ 432435 h 816292"/>
                  <a:gd name="connsiteX63" fmla="*/ 7620 w 864869"/>
                  <a:gd name="connsiteY63" fmla="*/ 472440 h 816292"/>
                  <a:gd name="connsiteX64" fmla="*/ 23813 w 864869"/>
                  <a:gd name="connsiteY64" fmla="*/ 481965 h 816292"/>
                  <a:gd name="connsiteX65" fmla="*/ 23813 w 864869"/>
                  <a:gd name="connsiteY65" fmla="*/ 499110 h 816292"/>
                  <a:gd name="connsiteX66" fmla="*/ 45720 w 864869"/>
                  <a:gd name="connsiteY66" fmla="*/ 510540 h 816292"/>
                  <a:gd name="connsiteX67" fmla="*/ 51435 w 864869"/>
                  <a:gd name="connsiteY67" fmla="*/ 524827 h 816292"/>
                  <a:gd name="connsiteX68" fmla="*/ 60960 w 864869"/>
                  <a:gd name="connsiteY68" fmla="*/ 530543 h 816292"/>
                  <a:gd name="connsiteX69" fmla="*/ 73342 w 864869"/>
                  <a:gd name="connsiteY69" fmla="*/ 543877 h 816292"/>
                  <a:gd name="connsiteX70" fmla="*/ 88582 w 864869"/>
                  <a:gd name="connsiteY70" fmla="*/ 543877 h 816292"/>
                  <a:gd name="connsiteX71" fmla="*/ 100013 w 864869"/>
                  <a:gd name="connsiteY71" fmla="*/ 555308 h 816292"/>
                  <a:gd name="connsiteX72" fmla="*/ 104775 w 864869"/>
                  <a:gd name="connsiteY72" fmla="*/ 571500 h 816292"/>
                  <a:gd name="connsiteX73" fmla="*/ 133350 w 864869"/>
                  <a:gd name="connsiteY73" fmla="*/ 572452 h 816292"/>
                  <a:gd name="connsiteX74" fmla="*/ 154305 w 864869"/>
                  <a:gd name="connsiteY74" fmla="*/ 578168 h 816292"/>
                  <a:gd name="connsiteX75" fmla="*/ 163830 w 864869"/>
                  <a:gd name="connsiteY75" fmla="*/ 587693 h 816292"/>
                  <a:gd name="connsiteX76" fmla="*/ 181927 w 864869"/>
                  <a:gd name="connsiteY76" fmla="*/ 592455 h 816292"/>
                  <a:gd name="connsiteX77" fmla="*/ 189547 w 864869"/>
                  <a:gd name="connsiteY77" fmla="*/ 610552 h 816292"/>
                  <a:gd name="connsiteX78" fmla="*/ 205740 w 864869"/>
                  <a:gd name="connsiteY78" fmla="*/ 626745 h 816292"/>
                  <a:gd name="connsiteX79" fmla="*/ 216217 w 864869"/>
                  <a:gd name="connsiteY79" fmla="*/ 635318 h 816292"/>
                  <a:gd name="connsiteX80" fmla="*/ 216217 w 864869"/>
                  <a:gd name="connsiteY80" fmla="*/ 649605 h 816292"/>
                  <a:gd name="connsiteX81" fmla="*/ 228600 w 864869"/>
                  <a:gd name="connsiteY81" fmla="*/ 653415 h 816292"/>
                  <a:gd name="connsiteX82" fmla="*/ 252413 w 864869"/>
                  <a:gd name="connsiteY82" fmla="*/ 653415 h 816292"/>
                  <a:gd name="connsiteX83" fmla="*/ 252413 w 864869"/>
                  <a:gd name="connsiteY83" fmla="*/ 643890 h 816292"/>
                  <a:gd name="connsiteX84" fmla="*/ 263842 w 864869"/>
                  <a:gd name="connsiteY84" fmla="*/ 647700 h 816292"/>
                  <a:gd name="connsiteX85" fmla="*/ 279082 w 864869"/>
                  <a:gd name="connsiteY85" fmla="*/ 647700 h 816292"/>
                  <a:gd name="connsiteX86" fmla="*/ 279082 w 864869"/>
                  <a:gd name="connsiteY86" fmla="*/ 665798 h 816292"/>
                  <a:gd name="connsiteX87" fmla="*/ 288607 w 864869"/>
                  <a:gd name="connsiteY87" fmla="*/ 676275 h 816292"/>
                  <a:gd name="connsiteX88" fmla="*/ 297180 w 864869"/>
                  <a:gd name="connsiteY88" fmla="*/ 676275 h 816292"/>
                  <a:gd name="connsiteX89" fmla="*/ 297180 w 864869"/>
                  <a:gd name="connsiteY89" fmla="*/ 687705 h 816292"/>
                  <a:gd name="connsiteX90" fmla="*/ 314325 w 864869"/>
                  <a:gd name="connsiteY90" fmla="*/ 695325 h 816292"/>
                  <a:gd name="connsiteX91" fmla="*/ 324802 w 864869"/>
                  <a:gd name="connsiteY91" fmla="*/ 706755 h 816292"/>
                  <a:gd name="connsiteX92" fmla="*/ 339090 w 864869"/>
                  <a:gd name="connsiteY92" fmla="*/ 691515 h 816292"/>
                  <a:gd name="connsiteX93" fmla="*/ 343852 w 864869"/>
                  <a:gd name="connsiteY93" fmla="*/ 679133 h 816292"/>
                  <a:gd name="connsiteX94" fmla="*/ 359092 w 864869"/>
                  <a:gd name="connsiteY94" fmla="*/ 685800 h 816292"/>
                  <a:gd name="connsiteX95" fmla="*/ 369570 w 864869"/>
                  <a:gd name="connsiteY95" fmla="*/ 703898 h 816292"/>
                  <a:gd name="connsiteX96" fmla="*/ 358140 w 864869"/>
                  <a:gd name="connsiteY96" fmla="*/ 716280 h 816292"/>
                  <a:gd name="connsiteX97" fmla="*/ 374332 w 864869"/>
                  <a:gd name="connsiteY97" fmla="*/ 725805 h 816292"/>
                  <a:gd name="connsiteX98" fmla="*/ 374332 w 864869"/>
                  <a:gd name="connsiteY98" fmla="*/ 733425 h 816292"/>
                  <a:gd name="connsiteX99" fmla="*/ 385763 w 864869"/>
                  <a:gd name="connsiteY99" fmla="*/ 733425 h 816292"/>
                  <a:gd name="connsiteX100" fmla="*/ 401955 w 864869"/>
                  <a:gd name="connsiteY100" fmla="*/ 740093 h 816292"/>
                  <a:gd name="connsiteX101" fmla="*/ 394335 w 864869"/>
                  <a:gd name="connsiteY101" fmla="*/ 746760 h 816292"/>
                  <a:gd name="connsiteX102" fmla="*/ 403860 w 864869"/>
                  <a:gd name="connsiteY102" fmla="*/ 761048 h 816292"/>
                  <a:gd name="connsiteX103" fmla="*/ 412432 w 864869"/>
                  <a:gd name="connsiteY103" fmla="*/ 769620 h 816292"/>
                  <a:gd name="connsiteX104" fmla="*/ 427672 w 864869"/>
                  <a:gd name="connsiteY104" fmla="*/ 756285 h 816292"/>
                  <a:gd name="connsiteX105" fmla="*/ 438150 w 864869"/>
                  <a:gd name="connsiteY105" fmla="*/ 760095 h 816292"/>
                  <a:gd name="connsiteX106" fmla="*/ 445770 w 864869"/>
                  <a:gd name="connsiteY106" fmla="*/ 772477 h 816292"/>
                  <a:gd name="connsiteX107" fmla="*/ 451485 w 864869"/>
                  <a:gd name="connsiteY107" fmla="*/ 778193 h 816292"/>
                  <a:gd name="connsiteX108" fmla="*/ 464820 w 864869"/>
                  <a:gd name="connsiteY108" fmla="*/ 791527 h 816292"/>
                  <a:gd name="connsiteX109" fmla="*/ 460057 w 864869"/>
                  <a:gd name="connsiteY109" fmla="*/ 806768 h 816292"/>
                  <a:gd name="connsiteX110" fmla="*/ 472440 w 864869"/>
                  <a:gd name="connsiteY110" fmla="*/ 813435 h 816292"/>
                  <a:gd name="connsiteX111" fmla="*/ 490538 w 864869"/>
                  <a:gd name="connsiteY111" fmla="*/ 808673 h 816292"/>
                  <a:gd name="connsiteX112" fmla="*/ 488632 w 864869"/>
                  <a:gd name="connsiteY112" fmla="*/ 799148 h 816292"/>
                  <a:gd name="connsiteX113" fmla="*/ 501015 w 864869"/>
                  <a:gd name="connsiteY113" fmla="*/ 802005 h 816292"/>
                  <a:gd name="connsiteX114" fmla="*/ 523875 w 864869"/>
                  <a:gd name="connsiteY114" fmla="*/ 802005 h 816292"/>
                  <a:gd name="connsiteX115" fmla="*/ 526732 w 864869"/>
                  <a:gd name="connsiteY115" fmla="*/ 813435 h 816292"/>
                  <a:gd name="connsiteX116" fmla="*/ 540068 w 864869"/>
                  <a:gd name="connsiteY116" fmla="*/ 816293 h 816292"/>
                  <a:gd name="connsiteX117" fmla="*/ 552450 w 864869"/>
                  <a:gd name="connsiteY117" fmla="*/ 802005 h 816292"/>
                  <a:gd name="connsiteX118" fmla="*/ 566738 w 864869"/>
                  <a:gd name="connsiteY118" fmla="*/ 791527 h 816292"/>
                  <a:gd name="connsiteX119" fmla="*/ 578168 w 864869"/>
                  <a:gd name="connsiteY119" fmla="*/ 771525 h 816292"/>
                  <a:gd name="connsiteX120" fmla="*/ 562927 w 864869"/>
                  <a:gd name="connsiteY120" fmla="*/ 755333 h 816292"/>
                  <a:gd name="connsiteX121" fmla="*/ 573405 w 864869"/>
                  <a:gd name="connsiteY121" fmla="*/ 744855 h 816292"/>
                  <a:gd name="connsiteX122" fmla="*/ 590550 w 864869"/>
                  <a:gd name="connsiteY122" fmla="*/ 733425 h 816292"/>
                  <a:gd name="connsiteX123" fmla="*/ 592455 w 864869"/>
                  <a:gd name="connsiteY123" fmla="*/ 721043 h 816292"/>
                  <a:gd name="connsiteX124" fmla="*/ 614363 w 864869"/>
                  <a:gd name="connsiteY124" fmla="*/ 707708 h 816292"/>
                  <a:gd name="connsiteX125" fmla="*/ 633413 w 864869"/>
                  <a:gd name="connsiteY125" fmla="*/ 688658 h 816292"/>
                  <a:gd name="connsiteX126" fmla="*/ 645795 w 864869"/>
                  <a:gd name="connsiteY126" fmla="*/ 683895 h 816292"/>
                  <a:gd name="connsiteX127" fmla="*/ 662940 w 864869"/>
                  <a:gd name="connsiteY127" fmla="*/ 665798 h 816292"/>
                  <a:gd name="connsiteX128" fmla="*/ 651510 w 864869"/>
                  <a:gd name="connsiteY128" fmla="*/ 654368 h 816292"/>
                  <a:gd name="connsiteX129" fmla="*/ 649605 w 864869"/>
                  <a:gd name="connsiteY129" fmla="*/ 635318 h 816292"/>
                  <a:gd name="connsiteX130" fmla="*/ 635318 w 864869"/>
                  <a:gd name="connsiteY130" fmla="*/ 641985 h 816292"/>
                  <a:gd name="connsiteX131" fmla="*/ 626745 w 864869"/>
                  <a:gd name="connsiteY131" fmla="*/ 632460 h 816292"/>
                  <a:gd name="connsiteX132" fmla="*/ 614363 w 864869"/>
                  <a:gd name="connsiteY132" fmla="*/ 632460 h 816292"/>
                  <a:gd name="connsiteX133" fmla="*/ 595313 w 864869"/>
                  <a:gd name="connsiteY133" fmla="*/ 636270 h 816292"/>
                  <a:gd name="connsiteX134" fmla="*/ 587693 w 864869"/>
                  <a:gd name="connsiteY134" fmla="*/ 654368 h 816292"/>
                  <a:gd name="connsiteX135" fmla="*/ 578168 w 864869"/>
                  <a:gd name="connsiteY135" fmla="*/ 651510 h 816292"/>
                  <a:gd name="connsiteX136" fmla="*/ 565785 w 864869"/>
                  <a:gd name="connsiteY136" fmla="*/ 669608 h 816292"/>
                  <a:gd name="connsiteX137" fmla="*/ 553402 w 864869"/>
                  <a:gd name="connsiteY137" fmla="*/ 657225 h 816292"/>
                  <a:gd name="connsiteX138" fmla="*/ 540068 w 864869"/>
                  <a:gd name="connsiteY138" fmla="*/ 652463 h 816292"/>
                  <a:gd name="connsiteX139" fmla="*/ 525780 w 864869"/>
                  <a:gd name="connsiteY139" fmla="*/ 646748 h 816292"/>
                  <a:gd name="connsiteX140" fmla="*/ 523875 w 864869"/>
                  <a:gd name="connsiteY140" fmla="*/ 621983 h 816292"/>
                  <a:gd name="connsiteX141" fmla="*/ 540068 w 864869"/>
                  <a:gd name="connsiteY141" fmla="*/ 613410 h 816292"/>
                  <a:gd name="connsiteX142" fmla="*/ 538163 w 864869"/>
                  <a:gd name="connsiteY142" fmla="*/ 597218 h 816292"/>
                  <a:gd name="connsiteX143" fmla="*/ 544830 w 864869"/>
                  <a:gd name="connsiteY143" fmla="*/ 590550 h 816292"/>
                  <a:gd name="connsiteX144" fmla="*/ 549593 w 864869"/>
                  <a:gd name="connsiteY144" fmla="*/ 577215 h 816292"/>
                  <a:gd name="connsiteX145" fmla="*/ 565785 w 864869"/>
                  <a:gd name="connsiteY145" fmla="*/ 572452 h 816292"/>
                  <a:gd name="connsiteX146" fmla="*/ 585788 w 864869"/>
                  <a:gd name="connsiteY146" fmla="*/ 578168 h 816292"/>
                  <a:gd name="connsiteX147" fmla="*/ 589597 w 864869"/>
                  <a:gd name="connsiteY147" fmla="*/ 564833 h 816292"/>
                  <a:gd name="connsiteX148" fmla="*/ 586740 w 864869"/>
                  <a:gd name="connsiteY148" fmla="*/ 542925 h 816292"/>
                  <a:gd name="connsiteX149" fmla="*/ 576263 w 864869"/>
                  <a:gd name="connsiteY149" fmla="*/ 532448 h 816292"/>
                  <a:gd name="connsiteX150" fmla="*/ 581025 w 864869"/>
                  <a:gd name="connsiteY150" fmla="*/ 510540 h 816292"/>
                  <a:gd name="connsiteX151" fmla="*/ 600075 w 864869"/>
                  <a:gd name="connsiteY151" fmla="*/ 499110 h 816292"/>
                  <a:gd name="connsiteX152" fmla="*/ 600075 w 864869"/>
                  <a:gd name="connsiteY152" fmla="*/ 478155 h 816292"/>
                  <a:gd name="connsiteX153" fmla="*/ 605790 w 864869"/>
                  <a:gd name="connsiteY153" fmla="*/ 458152 h 816292"/>
                  <a:gd name="connsiteX154" fmla="*/ 591502 w 864869"/>
                  <a:gd name="connsiteY154" fmla="*/ 443865 h 816292"/>
                  <a:gd name="connsiteX155" fmla="*/ 576263 w 864869"/>
                  <a:gd name="connsiteY155" fmla="*/ 422910 h 816292"/>
                  <a:gd name="connsiteX156" fmla="*/ 576263 w 864869"/>
                  <a:gd name="connsiteY156" fmla="*/ 405765 h 816292"/>
                  <a:gd name="connsiteX157" fmla="*/ 573405 w 864869"/>
                  <a:gd name="connsiteY157" fmla="*/ 386715 h 816292"/>
                  <a:gd name="connsiteX158" fmla="*/ 590550 w 864869"/>
                  <a:gd name="connsiteY158" fmla="*/ 386715 h 816292"/>
                  <a:gd name="connsiteX159" fmla="*/ 610552 w 864869"/>
                  <a:gd name="connsiteY159" fmla="*/ 401002 h 816292"/>
                  <a:gd name="connsiteX160" fmla="*/ 627697 w 864869"/>
                  <a:gd name="connsiteY160" fmla="*/ 406717 h 816292"/>
                  <a:gd name="connsiteX161" fmla="*/ 639127 w 864869"/>
                  <a:gd name="connsiteY161" fmla="*/ 419100 h 816292"/>
                  <a:gd name="connsiteX162" fmla="*/ 662940 w 864869"/>
                  <a:gd name="connsiteY162" fmla="*/ 423863 h 816292"/>
                  <a:gd name="connsiteX163" fmla="*/ 683895 w 864869"/>
                  <a:gd name="connsiteY163" fmla="*/ 436245 h 816292"/>
                  <a:gd name="connsiteX164" fmla="*/ 706755 w 864869"/>
                  <a:gd name="connsiteY164" fmla="*/ 458152 h 816292"/>
                  <a:gd name="connsiteX165" fmla="*/ 710565 w 864869"/>
                  <a:gd name="connsiteY165" fmla="*/ 480060 h 816292"/>
                  <a:gd name="connsiteX166" fmla="*/ 726757 w 864869"/>
                  <a:gd name="connsiteY166" fmla="*/ 472440 h 816292"/>
                  <a:gd name="connsiteX167" fmla="*/ 745807 w 864869"/>
                  <a:gd name="connsiteY167" fmla="*/ 464820 h 816292"/>
                  <a:gd name="connsiteX168" fmla="*/ 761047 w 864869"/>
                  <a:gd name="connsiteY168" fmla="*/ 474345 h 816292"/>
                  <a:gd name="connsiteX169" fmla="*/ 779145 w 864869"/>
                  <a:gd name="connsiteY169" fmla="*/ 478155 h 816292"/>
                  <a:gd name="connsiteX170" fmla="*/ 796290 w 864869"/>
                  <a:gd name="connsiteY170" fmla="*/ 492442 h 816292"/>
                  <a:gd name="connsiteX171" fmla="*/ 809625 w 864869"/>
                  <a:gd name="connsiteY171" fmla="*/ 492442 h 816292"/>
                  <a:gd name="connsiteX172" fmla="*/ 818197 w 864869"/>
                  <a:gd name="connsiteY172" fmla="*/ 501015 h 816292"/>
                  <a:gd name="connsiteX173" fmla="*/ 830580 w 864869"/>
                  <a:gd name="connsiteY173" fmla="*/ 488633 h 816292"/>
                  <a:gd name="connsiteX174" fmla="*/ 842963 w 864869"/>
                  <a:gd name="connsiteY174" fmla="*/ 466725 h 816292"/>
                  <a:gd name="connsiteX175" fmla="*/ 832485 w 864869"/>
                  <a:gd name="connsiteY175" fmla="*/ 456248 h 816292"/>
                  <a:gd name="connsiteX176" fmla="*/ 828675 w 864869"/>
                  <a:gd name="connsiteY176" fmla="*/ 437198 h 816292"/>
                  <a:gd name="connsiteX177" fmla="*/ 837247 w 864869"/>
                  <a:gd name="connsiteY177" fmla="*/ 418148 h 816292"/>
                  <a:gd name="connsiteX178" fmla="*/ 830580 w 864869"/>
                  <a:gd name="connsiteY178" fmla="*/ 404813 h 816292"/>
                  <a:gd name="connsiteX179" fmla="*/ 814388 w 864869"/>
                  <a:gd name="connsiteY179" fmla="*/ 389573 h 816292"/>
                  <a:gd name="connsiteX180" fmla="*/ 808672 w 864869"/>
                  <a:gd name="connsiteY180" fmla="*/ 377190 h 816292"/>
                  <a:gd name="connsiteX181" fmla="*/ 821055 w 864869"/>
                  <a:gd name="connsiteY181" fmla="*/ 364808 h 816292"/>
                  <a:gd name="connsiteX182" fmla="*/ 831532 w 864869"/>
                  <a:gd name="connsiteY182" fmla="*/ 354330 h 816292"/>
                  <a:gd name="connsiteX183" fmla="*/ 831532 w 864869"/>
                  <a:gd name="connsiteY183" fmla="*/ 343852 h 816292"/>
                  <a:gd name="connsiteX184" fmla="*/ 841057 w 864869"/>
                  <a:gd name="connsiteY184" fmla="*/ 334327 h 816292"/>
                  <a:gd name="connsiteX185" fmla="*/ 848678 w 864869"/>
                  <a:gd name="connsiteY185" fmla="*/ 313373 h 816292"/>
                  <a:gd name="connsiteX186" fmla="*/ 864870 w 864869"/>
                  <a:gd name="connsiteY186" fmla="*/ 298133 h 816292"/>
                  <a:gd name="connsiteX187" fmla="*/ 852488 w 864869"/>
                  <a:gd name="connsiteY187" fmla="*/ 285750 h 816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</a:cxnLst>
                <a:rect l="l" t="t" r="r" b="b"/>
                <a:pathLst>
                  <a:path w="864869" h="816292">
                    <a:moveTo>
                      <a:pt x="825817" y="273367"/>
                    </a:moveTo>
                    <a:lnTo>
                      <a:pt x="822960" y="281940"/>
                    </a:lnTo>
                    <a:lnTo>
                      <a:pt x="799147" y="290513"/>
                    </a:lnTo>
                    <a:lnTo>
                      <a:pt x="785813" y="285750"/>
                    </a:lnTo>
                    <a:lnTo>
                      <a:pt x="768668" y="265748"/>
                    </a:lnTo>
                    <a:lnTo>
                      <a:pt x="755332" y="253365"/>
                    </a:lnTo>
                    <a:lnTo>
                      <a:pt x="750570" y="229553"/>
                    </a:lnTo>
                    <a:lnTo>
                      <a:pt x="728663" y="207645"/>
                    </a:lnTo>
                    <a:lnTo>
                      <a:pt x="715327" y="191453"/>
                    </a:lnTo>
                    <a:lnTo>
                      <a:pt x="707707" y="161925"/>
                    </a:lnTo>
                    <a:lnTo>
                      <a:pt x="697230" y="138113"/>
                    </a:lnTo>
                    <a:lnTo>
                      <a:pt x="685800" y="123825"/>
                    </a:lnTo>
                    <a:lnTo>
                      <a:pt x="661035" y="148590"/>
                    </a:lnTo>
                    <a:lnTo>
                      <a:pt x="643890" y="170498"/>
                    </a:lnTo>
                    <a:lnTo>
                      <a:pt x="643890" y="140017"/>
                    </a:lnTo>
                    <a:lnTo>
                      <a:pt x="662940" y="120015"/>
                    </a:lnTo>
                    <a:lnTo>
                      <a:pt x="639127" y="82867"/>
                    </a:lnTo>
                    <a:lnTo>
                      <a:pt x="622935" y="66675"/>
                    </a:lnTo>
                    <a:lnTo>
                      <a:pt x="597218" y="66675"/>
                    </a:lnTo>
                    <a:lnTo>
                      <a:pt x="559118" y="79058"/>
                    </a:lnTo>
                    <a:lnTo>
                      <a:pt x="524827" y="60960"/>
                    </a:lnTo>
                    <a:lnTo>
                      <a:pt x="483870" y="76200"/>
                    </a:lnTo>
                    <a:lnTo>
                      <a:pt x="440055" y="69533"/>
                    </a:lnTo>
                    <a:lnTo>
                      <a:pt x="439102" y="118110"/>
                    </a:lnTo>
                    <a:lnTo>
                      <a:pt x="415290" y="138113"/>
                    </a:lnTo>
                    <a:lnTo>
                      <a:pt x="424815" y="161925"/>
                    </a:lnTo>
                    <a:lnTo>
                      <a:pt x="412432" y="174308"/>
                    </a:lnTo>
                    <a:lnTo>
                      <a:pt x="372427" y="161925"/>
                    </a:lnTo>
                    <a:lnTo>
                      <a:pt x="357188" y="129540"/>
                    </a:lnTo>
                    <a:lnTo>
                      <a:pt x="332422" y="104775"/>
                    </a:lnTo>
                    <a:lnTo>
                      <a:pt x="324802" y="63817"/>
                    </a:lnTo>
                    <a:lnTo>
                      <a:pt x="316230" y="0"/>
                    </a:lnTo>
                    <a:lnTo>
                      <a:pt x="292417" y="0"/>
                    </a:lnTo>
                    <a:lnTo>
                      <a:pt x="268605" y="25717"/>
                    </a:lnTo>
                    <a:lnTo>
                      <a:pt x="268605" y="49530"/>
                    </a:lnTo>
                    <a:lnTo>
                      <a:pt x="265747" y="80010"/>
                    </a:lnTo>
                    <a:lnTo>
                      <a:pt x="283845" y="99060"/>
                    </a:lnTo>
                    <a:lnTo>
                      <a:pt x="276225" y="134303"/>
                    </a:lnTo>
                    <a:lnTo>
                      <a:pt x="240982" y="159067"/>
                    </a:lnTo>
                    <a:lnTo>
                      <a:pt x="210502" y="128588"/>
                    </a:lnTo>
                    <a:lnTo>
                      <a:pt x="180975" y="99060"/>
                    </a:lnTo>
                    <a:lnTo>
                      <a:pt x="173355" y="108585"/>
                    </a:lnTo>
                    <a:lnTo>
                      <a:pt x="162877" y="124778"/>
                    </a:lnTo>
                    <a:lnTo>
                      <a:pt x="148590" y="115253"/>
                    </a:lnTo>
                    <a:lnTo>
                      <a:pt x="141922" y="120967"/>
                    </a:lnTo>
                    <a:lnTo>
                      <a:pt x="131445" y="107633"/>
                    </a:lnTo>
                    <a:lnTo>
                      <a:pt x="122872" y="117158"/>
                    </a:lnTo>
                    <a:lnTo>
                      <a:pt x="123825" y="139065"/>
                    </a:lnTo>
                    <a:lnTo>
                      <a:pt x="116205" y="159067"/>
                    </a:lnTo>
                    <a:lnTo>
                      <a:pt x="98107" y="167640"/>
                    </a:lnTo>
                    <a:lnTo>
                      <a:pt x="91440" y="183833"/>
                    </a:lnTo>
                    <a:lnTo>
                      <a:pt x="87630" y="219075"/>
                    </a:lnTo>
                    <a:lnTo>
                      <a:pt x="114300" y="245745"/>
                    </a:lnTo>
                    <a:lnTo>
                      <a:pt x="103822" y="274320"/>
                    </a:lnTo>
                    <a:lnTo>
                      <a:pt x="80010" y="281940"/>
                    </a:lnTo>
                    <a:lnTo>
                      <a:pt x="82867" y="300990"/>
                    </a:lnTo>
                    <a:lnTo>
                      <a:pt x="78105" y="322898"/>
                    </a:lnTo>
                    <a:lnTo>
                      <a:pt x="50482" y="351473"/>
                    </a:lnTo>
                    <a:lnTo>
                      <a:pt x="40005" y="353377"/>
                    </a:lnTo>
                    <a:lnTo>
                      <a:pt x="29527" y="365760"/>
                    </a:lnTo>
                    <a:lnTo>
                      <a:pt x="8572" y="408623"/>
                    </a:lnTo>
                    <a:lnTo>
                      <a:pt x="11430" y="421958"/>
                    </a:lnTo>
                    <a:lnTo>
                      <a:pt x="0" y="432435"/>
                    </a:lnTo>
                    <a:lnTo>
                      <a:pt x="7620" y="472440"/>
                    </a:lnTo>
                    <a:lnTo>
                      <a:pt x="23813" y="481965"/>
                    </a:lnTo>
                    <a:lnTo>
                      <a:pt x="23813" y="499110"/>
                    </a:lnTo>
                    <a:lnTo>
                      <a:pt x="45720" y="510540"/>
                    </a:lnTo>
                    <a:lnTo>
                      <a:pt x="51435" y="524827"/>
                    </a:lnTo>
                    <a:lnTo>
                      <a:pt x="60960" y="530543"/>
                    </a:lnTo>
                    <a:lnTo>
                      <a:pt x="73342" y="543877"/>
                    </a:lnTo>
                    <a:lnTo>
                      <a:pt x="88582" y="543877"/>
                    </a:lnTo>
                    <a:lnTo>
                      <a:pt x="100013" y="555308"/>
                    </a:lnTo>
                    <a:lnTo>
                      <a:pt x="104775" y="571500"/>
                    </a:lnTo>
                    <a:lnTo>
                      <a:pt x="133350" y="572452"/>
                    </a:lnTo>
                    <a:lnTo>
                      <a:pt x="154305" y="578168"/>
                    </a:lnTo>
                    <a:lnTo>
                      <a:pt x="163830" y="587693"/>
                    </a:lnTo>
                    <a:lnTo>
                      <a:pt x="181927" y="592455"/>
                    </a:lnTo>
                    <a:lnTo>
                      <a:pt x="189547" y="610552"/>
                    </a:lnTo>
                    <a:lnTo>
                      <a:pt x="205740" y="626745"/>
                    </a:lnTo>
                    <a:lnTo>
                      <a:pt x="216217" y="635318"/>
                    </a:lnTo>
                    <a:lnTo>
                      <a:pt x="216217" y="649605"/>
                    </a:lnTo>
                    <a:lnTo>
                      <a:pt x="228600" y="653415"/>
                    </a:lnTo>
                    <a:lnTo>
                      <a:pt x="252413" y="653415"/>
                    </a:lnTo>
                    <a:lnTo>
                      <a:pt x="252413" y="643890"/>
                    </a:lnTo>
                    <a:lnTo>
                      <a:pt x="263842" y="647700"/>
                    </a:lnTo>
                    <a:lnTo>
                      <a:pt x="279082" y="647700"/>
                    </a:lnTo>
                    <a:lnTo>
                      <a:pt x="279082" y="665798"/>
                    </a:lnTo>
                    <a:lnTo>
                      <a:pt x="288607" y="676275"/>
                    </a:lnTo>
                    <a:lnTo>
                      <a:pt x="297180" y="676275"/>
                    </a:lnTo>
                    <a:lnTo>
                      <a:pt x="297180" y="687705"/>
                    </a:lnTo>
                    <a:lnTo>
                      <a:pt x="314325" y="695325"/>
                    </a:lnTo>
                    <a:lnTo>
                      <a:pt x="324802" y="706755"/>
                    </a:lnTo>
                    <a:lnTo>
                      <a:pt x="339090" y="691515"/>
                    </a:lnTo>
                    <a:lnTo>
                      <a:pt x="343852" y="679133"/>
                    </a:lnTo>
                    <a:lnTo>
                      <a:pt x="359092" y="685800"/>
                    </a:lnTo>
                    <a:lnTo>
                      <a:pt x="369570" y="703898"/>
                    </a:lnTo>
                    <a:lnTo>
                      <a:pt x="358140" y="716280"/>
                    </a:lnTo>
                    <a:lnTo>
                      <a:pt x="374332" y="725805"/>
                    </a:lnTo>
                    <a:lnTo>
                      <a:pt x="374332" y="733425"/>
                    </a:lnTo>
                    <a:lnTo>
                      <a:pt x="385763" y="733425"/>
                    </a:lnTo>
                    <a:lnTo>
                      <a:pt x="401955" y="740093"/>
                    </a:lnTo>
                    <a:lnTo>
                      <a:pt x="394335" y="746760"/>
                    </a:lnTo>
                    <a:lnTo>
                      <a:pt x="403860" y="761048"/>
                    </a:lnTo>
                    <a:lnTo>
                      <a:pt x="412432" y="769620"/>
                    </a:lnTo>
                    <a:lnTo>
                      <a:pt x="427672" y="756285"/>
                    </a:lnTo>
                    <a:lnTo>
                      <a:pt x="438150" y="760095"/>
                    </a:lnTo>
                    <a:lnTo>
                      <a:pt x="445770" y="772477"/>
                    </a:lnTo>
                    <a:lnTo>
                      <a:pt x="451485" y="778193"/>
                    </a:lnTo>
                    <a:lnTo>
                      <a:pt x="464820" y="791527"/>
                    </a:lnTo>
                    <a:lnTo>
                      <a:pt x="460057" y="806768"/>
                    </a:lnTo>
                    <a:lnTo>
                      <a:pt x="472440" y="813435"/>
                    </a:lnTo>
                    <a:lnTo>
                      <a:pt x="490538" y="808673"/>
                    </a:lnTo>
                    <a:lnTo>
                      <a:pt x="488632" y="799148"/>
                    </a:lnTo>
                    <a:lnTo>
                      <a:pt x="501015" y="802005"/>
                    </a:lnTo>
                    <a:lnTo>
                      <a:pt x="523875" y="802005"/>
                    </a:lnTo>
                    <a:lnTo>
                      <a:pt x="526732" y="813435"/>
                    </a:lnTo>
                    <a:lnTo>
                      <a:pt x="540068" y="816293"/>
                    </a:lnTo>
                    <a:lnTo>
                      <a:pt x="552450" y="802005"/>
                    </a:lnTo>
                    <a:lnTo>
                      <a:pt x="566738" y="791527"/>
                    </a:lnTo>
                    <a:lnTo>
                      <a:pt x="578168" y="771525"/>
                    </a:lnTo>
                    <a:lnTo>
                      <a:pt x="562927" y="755333"/>
                    </a:lnTo>
                    <a:lnTo>
                      <a:pt x="573405" y="744855"/>
                    </a:lnTo>
                    <a:lnTo>
                      <a:pt x="590550" y="733425"/>
                    </a:lnTo>
                    <a:lnTo>
                      <a:pt x="592455" y="721043"/>
                    </a:lnTo>
                    <a:lnTo>
                      <a:pt x="614363" y="707708"/>
                    </a:lnTo>
                    <a:lnTo>
                      <a:pt x="633413" y="688658"/>
                    </a:lnTo>
                    <a:lnTo>
                      <a:pt x="645795" y="683895"/>
                    </a:lnTo>
                    <a:lnTo>
                      <a:pt x="662940" y="665798"/>
                    </a:lnTo>
                    <a:lnTo>
                      <a:pt x="651510" y="654368"/>
                    </a:lnTo>
                    <a:lnTo>
                      <a:pt x="649605" y="635318"/>
                    </a:lnTo>
                    <a:lnTo>
                      <a:pt x="635318" y="641985"/>
                    </a:lnTo>
                    <a:lnTo>
                      <a:pt x="626745" y="632460"/>
                    </a:lnTo>
                    <a:lnTo>
                      <a:pt x="614363" y="632460"/>
                    </a:lnTo>
                    <a:lnTo>
                      <a:pt x="595313" y="636270"/>
                    </a:lnTo>
                    <a:lnTo>
                      <a:pt x="587693" y="654368"/>
                    </a:lnTo>
                    <a:lnTo>
                      <a:pt x="578168" y="651510"/>
                    </a:lnTo>
                    <a:lnTo>
                      <a:pt x="565785" y="669608"/>
                    </a:lnTo>
                    <a:lnTo>
                      <a:pt x="553402" y="657225"/>
                    </a:lnTo>
                    <a:lnTo>
                      <a:pt x="540068" y="652463"/>
                    </a:lnTo>
                    <a:lnTo>
                      <a:pt x="525780" y="646748"/>
                    </a:lnTo>
                    <a:lnTo>
                      <a:pt x="523875" y="621983"/>
                    </a:lnTo>
                    <a:lnTo>
                      <a:pt x="540068" y="613410"/>
                    </a:lnTo>
                    <a:lnTo>
                      <a:pt x="538163" y="597218"/>
                    </a:lnTo>
                    <a:lnTo>
                      <a:pt x="544830" y="590550"/>
                    </a:lnTo>
                    <a:lnTo>
                      <a:pt x="549593" y="577215"/>
                    </a:lnTo>
                    <a:lnTo>
                      <a:pt x="565785" y="572452"/>
                    </a:lnTo>
                    <a:lnTo>
                      <a:pt x="585788" y="578168"/>
                    </a:lnTo>
                    <a:lnTo>
                      <a:pt x="589597" y="564833"/>
                    </a:lnTo>
                    <a:lnTo>
                      <a:pt x="586740" y="542925"/>
                    </a:lnTo>
                    <a:lnTo>
                      <a:pt x="576263" y="532448"/>
                    </a:lnTo>
                    <a:lnTo>
                      <a:pt x="581025" y="510540"/>
                    </a:lnTo>
                    <a:lnTo>
                      <a:pt x="600075" y="499110"/>
                    </a:lnTo>
                    <a:lnTo>
                      <a:pt x="600075" y="478155"/>
                    </a:lnTo>
                    <a:lnTo>
                      <a:pt x="605790" y="458152"/>
                    </a:lnTo>
                    <a:lnTo>
                      <a:pt x="591502" y="443865"/>
                    </a:lnTo>
                    <a:lnTo>
                      <a:pt x="576263" y="422910"/>
                    </a:lnTo>
                    <a:lnTo>
                      <a:pt x="576263" y="405765"/>
                    </a:lnTo>
                    <a:lnTo>
                      <a:pt x="573405" y="386715"/>
                    </a:lnTo>
                    <a:lnTo>
                      <a:pt x="590550" y="386715"/>
                    </a:lnTo>
                    <a:lnTo>
                      <a:pt x="610552" y="401002"/>
                    </a:lnTo>
                    <a:lnTo>
                      <a:pt x="627697" y="406717"/>
                    </a:lnTo>
                    <a:lnTo>
                      <a:pt x="639127" y="419100"/>
                    </a:lnTo>
                    <a:lnTo>
                      <a:pt x="662940" y="423863"/>
                    </a:lnTo>
                    <a:lnTo>
                      <a:pt x="683895" y="436245"/>
                    </a:lnTo>
                    <a:lnTo>
                      <a:pt x="706755" y="458152"/>
                    </a:lnTo>
                    <a:lnTo>
                      <a:pt x="710565" y="480060"/>
                    </a:lnTo>
                    <a:lnTo>
                      <a:pt x="726757" y="472440"/>
                    </a:lnTo>
                    <a:lnTo>
                      <a:pt x="745807" y="464820"/>
                    </a:lnTo>
                    <a:lnTo>
                      <a:pt x="761047" y="474345"/>
                    </a:lnTo>
                    <a:lnTo>
                      <a:pt x="779145" y="478155"/>
                    </a:lnTo>
                    <a:lnTo>
                      <a:pt x="796290" y="492442"/>
                    </a:lnTo>
                    <a:lnTo>
                      <a:pt x="809625" y="492442"/>
                    </a:lnTo>
                    <a:lnTo>
                      <a:pt x="818197" y="501015"/>
                    </a:lnTo>
                    <a:lnTo>
                      <a:pt x="830580" y="488633"/>
                    </a:lnTo>
                    <a:lnTo>
                      <a:pt x="842963" y="466725"/>
                    </a:lnTo>
                    <a:lnTo>
                      <a:pt x="832485" y="456248"/>
                    </a:lnTo>
                    <a:lnTo>
                      <a:pt x="828675" y="437198"/>
                    </a:lnTo>
                    <a:lnTo>
                      <a:pt x="837247" y="418148"/>
                    </a:lnTo>
                    <a:lnTo>
                      <a:pt x="830580" y="404813"/>
                    </a:lnTo>
                    <a:lnTo>
                      <a:pt x="814388" y="389573"/>
                    </a:lnTo>
                    <a:lnTo>
                      <a:pt x="808672" y="377190"/>
                    </a:lnTo>
                    <a:lnTo>
                      <a:pt x="821055" y="364808"/>
                    </a:lnTo>
                    <a:lnTo>
                      <a:pt x="831532" y="354330"/>
                    </a:lnTo>
                    <a:lnTo>
                      <a:pt x="831532" y="343852"/>
                    </a:lnTo>
                    <a:lnTo>
                      <a:pt x="841057" y="334327"/>
                    </a:lnTo>
                    <a:lnTo>
                      <a:pt x="848678" y="313373"/>
                    </a:lnTo>
                    <a:lnTo>
                      <a:pt x="864870" y="298133"/>
                    </a:lnTo>
                    <a:lnTo>
                      <a:pt x="852488" y="28575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88" name="Полилиния: фигура 50">
              <a:extLst>
                <a:ext uri="{FF2B5EF4-FFF2-40B4-BE49-F238E27FC236}">
                  <a16:creationId xmlns:a16="http://schemas.microsoft.com/office/drawing/2014/main" id="{31C5F952-94A7-4E63-9917-F5CFBCF5CB6C}"/>
                </a:ext>
              </a:extLst>
            </p:cNvPr>
            <p:cNvSpPr/>
            <p:nvPr/>
          </p:nvSpPr>
          <p:spPr>
            <a:xfrm>
              <a:off x="3281088" y="4322521"/>
              <a:ext cx="109320" cy="108990"/>
            </a:xfrm>
            <a:custGeom>
              <a:avLst/>
              <a:gdLst>
                <a:gd name="connsiteX0" fmla="*/ 0 w 169545"/>
                <a:gd name="connsiteY0" fmla="*/ 14288 h 194310"/>
                <a:gd name="connsiteX1" fmla="*/ 21908 w 169545"/>
                <a:gd name="connsiteY1" fmla="*/ 19050 h 194310"/>
                <a:gd name="connsiteX2" fmla="*/ 40958 w 169545"/>
                <a:gd name="connsiteY2" fmla="*/ 14288 h 194310"/>
                <a:gd name="connsiteX3" fmla="*/ 48578 w 169545"/>
                <a:gd name="connsiteY3" fmla="*/ 0 h 194310"/>
                <a:gd name="connsiteX4" fmla="*/ 64770 w 169545"/>
                <a:gd name="connsiteY4" fmla="*/ 2858 h 194310"/>
                <a:gd name="connsiteX5" fmla="*/ 80962 w 169545"/>
                <a:gd name="connsiteY5" fmla="*/ 19050 h 194310"/>
                <a:gd name="connsiteX6" fmla="*/ 81915 w 169545"/>
                <a:gd name="connsiteY6" fmla="*/ 40958 h 194310"/>
                <a:gd name="connsiteX7" fmla="*/ 94298 w 169545"/>
                <a:gd name="connsiteY7" fmla="*/ 44767 h 194310"/>
                <a:gd name="connsiteX8" fmla="*/ 97155 w 169545"/>
                <a:gd name="connsiteY8" fmla="*/ 61913 h 194310"/>
                <a:gd name="connsiteX9" fmla="*/ 117158 w 169545"/>
                <a:gd name="connsiteY9" fmla="*/ 64770 h 194310"/>
                <a:gd name="connsiteX10" fmla="*/ 121920 w 169545"/>
                <a:gd name="connsiteY10" fmla="*/ 49530 h 194310"/>
                <a:gd name="connsiteX11" fmla="*/ 111442 w 169545"/>
                <a:gd name="connsiteY11" fmla="*/ 38100 h 194310"/>
                <a:gd name="connsiteX12" fmla="*/ 120967 w 169545"/>
                <a:gd name="connsiteY12" fmla="*/ 28575 h 194310"/>
                <a:gd name="connsiteX13" fmla="*/ 126683 w 169545"/>
                <a:gd name="connsiteY13" fmla="*/ 34290 h 194310"/>
                <a:gd name="connsiteX14" fmla="*/ 145733 w 169545"/>
                <a:gd name="connsiteY14" fmla="*/ 50483 h 194310"/>
                <a:gd name="connsiteX15" fmla="*/ 145733 w 169545"/>
                <a:gd name="connsiteY15" fmla="*/ 75248 h 194310"/>
                <a:gd name="connsiteX16" fmla="*/ 142875 w 169545"/>
                <a:gd name="connsiteY16" fmla="*/ 96203 h 194310"/>
                <a:gd name="connsiteX17" fmla="*/ 154305 w 169545"/>
                <a:gd name="connsiteY17" fmla="*/ 114300 h 194310"/>
                <a:gd name="connsiteX18" fmla="*/ 165735 w 169545"/>
                <a:gd name="connsiteY18" fmla="*/ 121920 h 194310"/>
                <a:gd name="connsiteX19" fmla="*/ 169545 w 169545"/>
                <a:gd name="connsiteY19" fmla="*/ 149542 h 194310"/>
                <a:gd name="connsiteX20" fmla="*/ 160020 w 169545"/>
                <a:gd name="connsiteY20" fmla="*/ 170498 h 194310"/>
                <a:gd name="connsiteX21" fmla="*/ 112395 w 169545"/>
                <a:gd name="connsiteY21" fmla="*/ 194310 h 194310"/>
                <a:gd name="connsiteX22" fmla="*/ 40958 w 169545"/>
                <a:gd name="connsiteY22" fmla="*/ 109538 h 19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9545" h="194310">
                  <a:moveTo>
                    <a:pt x="0" y="14288"/>
                  </a:moveTo>
                  <a:lnTo>
                    <a:pt x="21908" y="19050"/>
                  </a:lnTo>
                  <a:lnTo>
                    <a:pt x="40958" y="14288"/>
                  </a:lnTo>
                  <a:lnTo>
                    <a:pt x="48578" y="0"/>
                  </a:lnTo>
                  <a:lnTo>
                    <a:pt x="64770" y="2858"/>
                  </a:lnTo>
                  <a:lnTo>
                    <a:pt x="80962" y="19050"/>
                  </a:lnTo>
                  <a:lnTo>
                    <a:pt x="81915" y="40958"/>
                  </a:lnTo>
                  <a:lnTo>
                    <a:pt x="94298" y="44767"/>
                  </a:lnTo>
                  <a:lnTo>
                    <a:pt x="97155" y="61913"/>
                  </a:lnTo>
                  <a:lnTo>
                    <a:pt x="117158" y="64770"/>
                  </a:lnTo>
                  <a:lnTo>
                    <a:pt x="121920" y="49530"/>
                  </a:lnTo>
                  <a:lnTo>
                    <a:pt x="111442" y="38100"/>
                  </a:lnTo>
                  <a:lnTo>
                    <a:pt x="120967" y="28575"/>
                  </a:lnTo>
                  <a:lnTo>
                    <a:pt x="126683" y="34290"/>
                  </a:lnTo>
                  <a:lnTo>
                    <a:pt x="145733" y="50483"/>
                  </a:lnTo>
                  <a:lnTo>
                    <a:pt x="145733" y="75248"/>
                  </a:lnTo>
                  <a:lnTo>
                    <a:pt x="142875" y="96203"/>
                  </a:lnTo>
                  <a:lnTo>
                    <a:pt x="154305" y="114300"/>
                  </a:lnTo>
                  <a:lnTo>
                    <a:pt x="165735" y="121920"/>
                  </a:lnTo>
                  <a:lnTo>
                    <a:pt x="169545" y="149542"/>
                  </a:lnTo>
                  <a:lnTo>
                    <a:pt x="160020" y="170498"/>
                  </a:lnTo>
                  <a:lnTo>
                    <a:pt x="112395" y="194310"/>
                  </a:lnTo>
                  <a:lnTo>
                    <a:pt x="40958" y="109538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9" name="Полилиния: фигура 51">
              <a:extLst>
                <a:ext uri="{FF2B5EF4-FFF2-40B4-BE49-F238E27FC236}">
                  <a16:creationId xmlns:a16="http://schemas.microsoft.com/office/drawing/2014/main" id="{6297DA61-A753-47B2-BCB3-9F12EAEC074D}"/>
                </a:ext>
              </a:extLst>
            </p:cNvPr>
            <p:cNvSpPr/>
            <p:nvPr/>
          </p:nvSpPr>
          <p:spPr>
            <a:xfrm>
              <a:off x="3873134" y="4406400"/>
              <a:ext cx="34393" cy="25645"/>
            </a:xfrm>
            <a:custGeom>
              <a:avLst/>
              <a:gdLst>
                <a:gd name="connsiteX0" fmla="*/ 22860 w 53340"/>
                <a:gd name="connsiteY0" fmla="*/ 45720 h 45720"/>
                <a:gd name="connsiteX1" fmla="*/ 10478 w 53340"/>
                <a:gd name="connsiteY1" fmla="*/ 36195 h 45720"/>
                <a:gd name="connsiteX2" fmla="*/ 0 w 53340"/>
                <a:gd name="connsiteY2" fmla="*/ 38100 h 45720"/>
                <a:gd name="connsiteX3" fmla="*/ 3810 w 53340"/>
                <a:gd name="connsiteY3" fmla="*/ 24765 h 45720"/>
                <a:gd name="connsiteX4" fmla="*/ 6667 w 53340"/>
                <a:gd name="connsiteY4" fmla="*/ 13335 h 45720"/>
                <a:gd name="connsiteX5" fmla="*/ 6667 w 53340"/>
                <a:gd name="connsiteY5" fmla="*/ 5715 h 45720"/>
                <a:gd name="connsiteX6" fmla="*/ 11430 w 53340"/>
                <a:gd name="connsiteY6" fmla="*/ 0 h 45720"/>
                <a:gd name="connsiteX7" fmla="*/ 22860 w 53340"/>
                <a:gd name="connsiteY7" fmla="*/ 28575 h 45720"/>
                <a:gd name="connsiteX8" fmla="*/ 40005 w 53340"/>
                <a:gd name="connsiteY8" fmla="*/ 11430 h 45720"/>
                <a:gd name="connsiteX9" fmla="*/ 49530 w 53340"/>
                <a:gd name="connsiteY9" fmla="*/ 953 h 45720"/>
                <a:gd name="connsiteX10" fmla="*/ 53340 w 53340"/>
                <a:gd name="connsiteY10" fmla="*/ 5715 h 45720"/>
                <a:gd name="connsiteX11" fmla="*/ 53340 w 53340"/>
                <a:gd name="connsiteY11" fmla="*/ 16193 h 45720"/>
                <a:gd name="connsiteX12" fmla="*/ 46672 w 53340"/>
                <a:gd name="connsiteY12" fmla="*/ 24765 h 45720"/>
                <a:gd name="connsiteX13" fmla="*/ 46672 w 53340"/>
                <a:gd name="connsiteY13" fmla="*/ 35243 h 45720"/>
                <a:gd name="connsiteX14" fmla="*/ 34290 w 53340"/>
                <a:gd name="connsiteY14" fmla="*/ 40958 h 45720"/>
                <a:gd name="connsiteX15" fmla="*/ 28575 w 53340"/>
                <a:gd name="connsiteY15" fmla="*/ 40958 h 45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3340" h="45720">
                  <a:moveTo>
                    <a:pt x="22860" y="45720"/>
                  </a:moveTo>
                  <a:lnTo>
                    <a:pt x="10478" y="36195"/>
                  </a:lnTo>
                  <a:lnTo>
                    <a:pt x="0" y="38100"/>
                  </a:lnTo>
                  <a:lnTo>
                    <a:pt x="3810" y="24765"/>
                  </a:lnTo>
                  <a:lnTo>
                    <a:pt x="6667" y="13335"/>
                  </a:lnTo>
                  <a:lnTo>
                    <a:pt x="6667" y="5715"/>
                  </a:lnTo>
                  <a:lnTo>
                    <a:pt x="11430" y="0"/>
                  </a:lnTo>
                  <a:lnTo>
                    <a:pt x="22860" y="28575"/>
                  </a:lnTo>
                  <a:lnTo>
                    <a:pt x="40005" y="11430"/>
                  </a:lnTo>
                  <a:lnTo>
                    <a:pt x="49530" y="953"/>
                  </a:lnTo>
                  <a:lnTo>
                    <a:pt x="53340" y="5715"/>
                  </a:lnTo>
                  <a:lnTo>
                    <a:pt x="53340" y="16193"/>
                  </a:lnTo>
                  <a:lnTo>
                    <a:pt x="46672" y="24765"/>
                  </a:lnTo>
                  <a:lnTo>
                    <a:pt x="46672" y="35243"/>
                  </a:lnTo>
                  <a:lnTo>
                    <a:pt x="34290" y="40958"/>
                  </a:lnTo>
                  <a:lnTo>
                    <a:pt x="28575" y="40958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0" name="Полилиния: фигура 52">
              <a:extLst>
                <a:ext uri="{FF2B5EF4-FFF2-40B4-BE49-F238E27FC236}">
                  <a16:creationId xmlns:a16="http://schemas.microsoft.com/office/drawing/2014/main" id="{94737471-8674-4972-88B1-B6AEC23B4BB5}"/>
                </a:ext>
              </a:extLst>
            </p:cNvPr>
            <p:cNvSpPr/>
            <p:nvPr/>
          </p:nvSpPr>
          <p:spPr>
            <a:xfrm>
              <a:off x="3641598" y="4762754"/>
              <a:ext cx="181790" cy="108455"/>
            </a:xfrm>
            <a:custGeom>
              <a:avLst/>
              <a:gdLst>
                <a:gd name="connsiteX0" fmla="*/ 13335 w 281939"/>
                <a:gd name="connsiteY0" fmla="*/ 45720 h 193357"/>
                <a:gd name="connsiteX1" fmla="*/ 0 w 281939"/>
                <a:gd name="connsiteY1" fmla="*/ 24765 h 193357"/>
                <a:gd name="connsiteX2" fmla="*/ 19050 w 281939"/>
                <a:gd name="connsiteY2" fmla="*/ 20955 h 193357"/>
                <a:gd name="connsiteX3" fmla="*/ 40005 w 281939"/>
                <a:gd name="connsiteY3" fmla="*/ 0 h 193357"/>
                <a:gd name="connsiteX4" fmla="*/ 59055 w 281939"/>
                <a:gd name="connsiteY4" fmla="*/ 0 h 193357"/>
                <a:gd name="connsiteX5" fmla="*/ 73342 w 281939"/>
                <a:gd name="connsiteY5" fmla="*/ 14288 h 193357"/>
                <a:gd name="connsiteX6" fmla="*/ 77152 w 281939"/>
                <a:gd name="connsiteY6" fmla="*/ 31432 h 193357"/>
                <a:gd name="connsiteX7" fmla="*/ 98107 w 281939"/>
                <a:gd name="connsiteY7" fmla="*/ 33338 h 193357"/>
                <a:gd name="connsiteX8" fmla="*/ 104775 w 281939"/>
                <a:gd name="connsiteY8" fmla="*/ 26670 h 193357"/>
                <a:gd name="connsiteX9" fmla="*/ 116205 w 281939"/>
                <a:gd name="connsiteY9" fmla="*/ 29528 h 193357"/>
                <a:gd name="connsiteX10" fmla="*/ 134302 w 281939"/>
                <a:gd name="connsiteY10" fmla="*/ 43815 h 193357"/>
                <a:gd name="connsiteX11" fmla="*/ 152400 w 281939"/>
                <a:gd name="connsiteY11" fmla="*/ 33338 h 193357"/>
                <a:gd name="connsiteX12" fmla="*/ 171450 w 281939"/>
                <a:gd name="connsiteY12" fmla="*/ 33338 h 193357"/>
                <a:gd name="connsiteX13" fmla="*/ 198120 w 281939"/>
                <a:gd name="connsiteY13" fmla="*/ 27622 h 193357"/>
                <a:gd name="connsiteX14" fmla="*/ 217170 w 281939"/>
                <a:gd name="connsiteY14" fmla="*/ 33338 h 193357"/>
                <a:gd name="connsiteX15" fmla="*/ 228600 w 281939"/>
                <a:gd name="connsiteY15" fmla="*/ 53340 h 193357"/>
                <a:gd name="connsiteX16" fmla="*/ 240982 w 281939"/>
                <a:gd name="connsiteY16" fmla="*/ 66675 h 193357"/>
                <a:gd name="connsiteX17" fmla="*/ 263842 w 281939"/>
                <a:gd name="connsiteY17" fmla="*/ 66675 h 193357"/>
                <a:gd name="connsiteX18" fmla="*/ 272415 w 281939"/>
                <a:gd name="connsiteY18" fmla="*/ 83820 h 193357"/>
                <a:gd name="connsiteX19" fmla="*/ 281940 w 281939"/>
                <a:gd name="connsiteY19" fmla="*/ 99060 h 193357"/>
                <a:gd name="connsiteX20" fmla="*/ 272415 w 281939"/>
                <a:gd name="connsiteY20" fmla="*/ 113347 h 193357"/>
                <a:gd name="connsiteX21" fmla="*/ 263842 w 281939"/>
                <a:gd name="connsiteY21" fmla="*/ 128588 h 193357"/>
                <a:gd name="connsiteX22" fmla="*/ 263842 w 281939"/>
                <a:gd name="connsiteY22" fmla="*/ 149542 h 193357"/>
                <a:gd name="connsiteX23" fmla="*/ 242888 w 281939"/>
                <a:gd name="connsiteY23" fmla="*/ 163830 h 193357"/>
                <a:gd name="connsiteX24" fmla="*/ 222885 w 281939"/>
                <a:gd name="connsiteY24" fmla="*/ 150495 h 193357"/>
                <a:gd name="connsiteX25" fmla="*/ 215265 w 281939"/>
                <a:gd name="connsiteY25" fmla="*/ 158115 h 193357"/>
                <a:gd name="connsiteX26" fmla="*/ 215265 w 281939"/>
                <a:gd name="connsiteY26" fmla="*/ 173355 h 193357"/>
                <a:gd name="connsiteX27" fmla="*/ 196215 w 281939"/>
                <a:gd name="connsiteY27" fmla="*/ 177165 h 193357"/>
                <a:gd name="connsiteX28" fmla="*/ 180022 w 281939"/>
                <a:gd name="connsiteY28" fmla="*/ 160972 h 193357"/>
                <a:gd name="connsiteX29" fmla="*/ 165735 w 281939"/>
                <a:gd name="connsiteY29" fmla="*/ 153353 h 193357"/>
                <a:gd name="connsiteX30" fmla="*/ 141922 w 281939"/>
                <a:gd name="connsiteY30" fmla="*/ 160020 h 193357"/>
                <a:gd name="connsiteX31" fmla="*/ 130492 w 281939"/>
                <a:gd name="connsiteY31" fmla="*/ 171450 h 193357"/>
                <a:gd name="connsiteX32" fmla="*/ 117157 w 281939"/>
                <a:gd name="connsiteY32" fmla="*/ 166688 h 193357"/>
                <a:gd name="connsiteX33" fmla="*/ 98107 w 281939"/>
                <a:gd name="connsiteY33" fmla="*/ 193357 h 193357"/>
                <a:gd name="connsiteX34" fmla="*/ 66675 w 281939"/>
                <a:gd name="connsiteY34" fmla="*/ 181928 h 193357"/>
                <a:gd name="connsiteX35" fmla="*/ 43815 w 281939"/>
                <a:gd name="connsiteY35" fmla="*/ 181928 h 193357"/>
                <a:gd name="connsiteX36" fmla="*/ 23813 w 281939"/>
                <a:gd name="connsiteY36" fmla="*/ 174307 h 193357"/>
                <a:gd name="connsiteX37" fmla="*/ 20955 w 281939"/>
                <a:gd name="connsiteY37" fmla="*/ 154305 h 193357"/>
                <a:gd name="connsiteX38" fmla="*/ 6667 w 281939"/>
                <a:gd name="connsiteY38" fmla="*/ 140017 h 193357"/>
                <a:gd name="connsiteX39" fmla="*/ 6667 w 281939"/>
                <a:gd name="connsiteY39" fmla="*/ 123825 h 193357"/>
                <a:gd name="connsiteX40" fmla="*/ 18097 w 281939"/>
                <a:gd name="connsiteY40" fmla="*/ 112395 h 193357"/>
                <a:gd name="connsiteX41" fmla="*/ 18097 w 281939"/>
                <a:gd name="connsiteY41" fmla="*/ 91440 h 193357"/>
                <a:gd name="connsiteX42" fmla="*/ 23813 w 281939"/>
                <a:gd name="connsiteY42" fmla="*/ 70485 h 193357"/>
                <a:gd name="connsiteX43" fmla="*/ 12382 w 281939"/>
                <a:gd name="connsiteY43" fmla="*/ 60007 h 193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1939" h="193357">
                  <a:moveTo>
                    <a:pt x="13335" y="45720"/>
                  </a:moveTo>
                  <a:lnTo>
                    <a:pt x="0" y="24765"/>
                  </a:lnTo>
                  <a:lnTo>
                    <a:pt x="19050" y="20955"/>
                  </a:lnTo>
                  <a:lnTo>
                    <a:pt x="40005" y="0"/>
                  </a:lnTo>
                  <a:lnTo>
                    <a:pt x="59055" y="0"/>
                  </a:lnTo>
                  <a:lnTo>
                    <a:pt x="73342" y="14288"/>
                  </a:lnTo>
                  <a:lnTo>
                    <a:pt x="77152" y="31432"/>
                  </a:lnTo>
                  <a:lnTo>
                    <a:pt x="98107" y="33338"/>
                  </a:lnTo>
                  <a:lnTo>
                    <a:pt x="104775" y="26670"/>
                  </a:lnTo>
                  <a:lnTo>
                    <a:pt x="116205" y="29528"/>
                  </a:lnTo>
                  <a:lnTo>
                    <a:pt x="134302" y="43815"/>
                  </a:lnTo>
                  <a:lnTo>
                    <a:pt x="152400" y="33338"/>
                  </a:lnTo>
                  <a:lnTo>
                    <a:pt x="171450" y="33338"/>
                  </a:lnTo>
                  <a:lnTo>
                    <a:pt x="198120" y="27622"/>
                  </a:lnTo>
                  <a:lnTo>
                    <a:pt x="217170" y="33338"/>
                  </a:lnTo>
                  <a:lnTo>
                    <a:pt x="228600" y="53340"/>
                  </a:lnTo>
                  <a:lnTo>
                    <a:pt x="240982" y="66675"/>
                  </a:lnTo>
                  <a:lnTo>
                    <a:pt x="263842" y="66675"/>
                  </a:lnTo>
                  <a:lnTo>
                    <a:pt x="272415" y="83820"/>
                  </a:lnTo>
                  <a:lnTo>
                    <a:pt x="281940" y="99060"/>
                  </a:lnTo>
                  <a:lnTo>
                    <a:pt x="272415" y="113347"/>
                  </a:lnTo>
                  <a:lnTo>
                    <a:pt x="263842" y="128588"/>
                  </a:lnTo>
                  <a:lnTo>
                    <a:pt x="263842" y="149542"/>
                  </a:lnTo>
                  <a:lnTo>
                    <a:pt x="242888" y="163830"/>
                  </a:lnTo>
                  <a:lnTo>
                    <a:pt x="222885" y="150495"/>
                  </a:lnTo>
                  <a:lnTo>
                    <a:pt x="215265" y="158115"/>
                  </a:lnTo>
                  <a:lnTo>
                    <a:pt x="215265" y="173355"/>
                  </a:lnTo>
                  <a:lnTo>
                    <a:pt x="196215" y="177165"/>
                  </a:lnTo>
                  <a:lnTo>
                    <a:pt x="180022" y="160972"/>
                  </a:lnTo>
                  <a:lnTo>
                    <a:pt x="165735" y="153353"/>
                  </a:lnTo>
                  <a:lnTo>
                    <a:pt x="141922" y="160020"/>
                  </a:lnTo>
                  <a:lnTo>
                    <a:pt x="130492" y="171450"/>
                  </a:lnTo>
                  <a:lnTo>
                    <a:pt x="117157" y="166688"/>
                  </a:lnTo>
                  <a:lnTo>
                    <a:pt x="98107" y="193357"/>
                  </a:lnTo>
                  <a:lnTo>
                    <a:pt x="66675" y="181928"/>
                  </a:lnTo>
                  <a:lnTo>
                    <a:pt x="43815" y="181928"/>
                  </a:lnTo>
                  <a:lnTo>
                    <a:pt x="23813" y="174307"/>
                  </a:lnTo>
                  <a:lnTo>
                    <a:pt x="20955" y="154305"/>
                  </a:lnTo>
                  <a:lnTo>
                    <a:pt x="6667" y="140017"/>
                  </a:lnTo>
                  <a:lnTo>
                    <a:pt x="6667" y="123825"/>
                  </a:lnTo>
                  <a:lnTo>
                    <a:pt x="18097" y="112395"/>
                  </a:lnTo>
                  <a:lnTo>
                    <a:pt x="18097" y="91440"/>
                  </a:lnTo>
                  <a:lnTo>
                    <a:pt x="23813" y="70485"/>
                  </a:lnTo>
                  <a:lnTo>
                    <a:pt x="12382" y="60007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1" name="Полилиния: фигура 53">
              <a:extLst>
                <a:ext uri="{FF2B5EF4-FFF2-40B4-BE49-F238E27FC236}">
                  <a16:creationId xmlns:a16="http://schemas.microsoft.com/office/drawing/2014/main" id="{2FD2ECB2-C70E-4D83-8C5C-F7B69FA3DE6A}"/>
                </a:ext>
              </a:extLst>
            </p:cNvPr>
            <p:cNvSpPr/>
            <p:nvPr/>
          </p:nvSpPr>
          <p:spPr>
            <a:xfrm>
              <a:off x="3728193" y="4468909"/>
              <a:ext cx="257331" cy="165087"/>
            </a:xfrm>
            <a:custGeom>
              <a:avLst/>
              <a:gdLst>
                <a:gd name="connsiteX0" fmla="*/ 385762 w 399097"/>
                <a:gd name="connsiteY0" fmla="*/ 294322 h 294322"/>
                <a:gd name="connsiteX1" fmla="*/ 395287 w 399097"/>
                <a:gd name="connsiteY1" fmla="*/ 284797 h 294322"/>
                <a:gd name="connsiteX2" fmla="*/ 399098 w 399097"/>
                <a:gd name="connsiteY2" fmla="*/ 263842 h 294322"/>
                <a:gd name="connsiteX3" fmla="*/ 381000 w 399097"/>
                <a:gd name="connsiteY3" fmla="*/ 234315 h 294322"/>
                <a:gd name="connsiteX4" fmla="*/ 360998 w 399097"/>
                <a:gd name="connsiteY4" fmla="*/ 226695 h 294322"/>
                <a:gd name="connsiteX5" fmla="*/ 366712 w 399097"/>
                <a:gd name="connsiteY5" fmla="*/ 214313 h 294322"/>
                <a:gd name="connsiteX6" fmla="*/ 376237 w 399097"/>
                <a:gd name="connsiteY6" fmla="*/ 197167 h 294322"/>
                <a:gd name="connsiteX7" fmla="*/ 368618 w 399097"/>
                <a:gd name="connsiteY7" fmla="*/ 176213 h 294322"/>
                <a:gd name="connsiteX8" fmla="*/ 364807 w 399097"/>
                <a:gd name="connsiteY8" fmla="*/ 155257 h 294322"/>
                <a:gd name="connsiteX9" fmla="*/ 353378 w 399097"/>
                <a:gd name="connsiteY9" fmla="*/ 143828 h 294322"/>
                <a:gd name="connsiteX10" fmla="*/ 337185 w 399097"/>
                <a:gd name="connsiteY10" fmla="*/ 138113 h 294322"/>
                <a:gd name="connsiteX11" fmla="*/ 345757 w 399097"/>
                <a:gd name="connsiteY11" fmla="*/ 120015 h 294322"/>
                <a:gd name="connsiteX12" fmla="*/ 345757 w 399097"/>
                <a:gd name="connsiteY12" fmla="*/ 103822 h 294322"/>
                <a:gd name="connsiteX13" fmla="*/ 328612 w 399097"/>
                <a:gd name="connsiteY13" fmla="*/ 95250 h 294322"/>
                <a:gd name="connsiteX14" fmla="*/ 325755 w 399097"/>
                <a:gd name="connsiteY14" fmla="*/ 79057 h 294322"/>
                <a:gd name="connsiteX15" fmla="*/ 305753 w 399097"/>
                <a:gd name="connsiteY15" fmla="*/ 77153 h 294322"/>
                <a:gd name="connsiteX16" fmla="*/ 293370 w 399097"/>
                <a:gd name="connsiteY16" fmla="*/ 89535 h 294322"/>
                <a:gd name="connsiteX17" fmla="*/ 278130 w 399097"/>
                <a:gd name="connsiteY17" fmla="*/ 70485 h 294322"/>
                <a:gd name="connsiteX18" fmla="*/ 282893 w 399097"/>
                <a:gd name="connsiteY18" fmla="*/ 33338 h 294322"/>
                <a:gd name="connsiteX19" fmla="*/ 270510 w 399097"/>
                <a:gd name="connsiteY19" fmla="*/ 30480 h 294322"/>
                <a:gd name="connsiteX20" fmla="*/ 256223 w 399097"/>
                <a:gd name="connsiteY20" fmla="*/ 16192 h 294322"/>
                <a:gd name="connsiteX21" fmla="*/ 241935 w 399097"/>
                <a:gd name="connsiteY21" fmla="*/ 27622 h 294322"/>
                <a:gd name="connsiteX22" fmla="*/ 227648 w 399097"/>
                <a:gd name="connsiteY22" fmla="*/ 31432 h 294322"/>
                <a:gd name="connsiteX23" fmla="*/ 205740 w 399097"/>
                <a:gd name="connsiteY23" fmla="*/ 21907 h 294322"/>
                <a:gd name="connsiteX24" fmla="*/ 183832 w 399097"/>
                <a:gd name="connsiteY24" fmla="*/ 20002 h 294322"/>
                <a:gd name="connsiteX25" fmla="*/ 151448 w 399097"/>
                <a:gd name="connsiteY25" fmla="*/ 20002 h 294322"/>
                <a:gd name="connsiteX26" fmla="*/ 140970 w 399097"/>
                <a:gd name="connsiteY26" fmla="*/ 0 h 294322"/>
                <a:gd name="connsiteX27" fmla="*/ 129540 w 399097"/>
                <a:gd name="connsiteY27" fmla="*/ 5715 h 294322"/>
                <a:gd name="connsiteX28" fmla="*/ 119063 w 399097"/>
                <a:gd name="connsiteY28" fmla="*/ 16192 h 294322"/>
                <a:gd name="connsiteX29" fmla="*/ 100013 w 399097"/>
                <a:gd name="connsiteY29" fmla="*/ 14288 h 294322"/>
                <a:gd name="connsiteX30" fmla="*/ 77152 w 399097"/>
                <a:gd name="connsiteY30" fmla="*/ 16192 h 294322"/>
                <a:gd name="connsiteX31" fmla="*/ 66675 w 399097"/>
                <a:gd name="connsiteY31" fmla="*/ 27622 h 294322"/>
                <a:gd name="connsiteX32" fmla="*/ 66675 w 399097"/>
                <a:gd name="connsiteY32" fmla="*/ 45720 h 294322"/>
                <a:gd name="connsiteX33" fmla="*/ 56198 w 399097"/>
                <a:gd name="connsiteY33" fmla="*/ 56197 h 294322"/>
                <a:gd name="connsiteX34" fmla="*/ 60960 w 399097"/>
                <a:gd name="connsiteY34" fmla="*/ 67628 h 294322"/>
                <a:gd name="connsiteX35" fmla="*/ 75248 w 399097"/>
                <a:gd name="connsiteY35" fmla="*/ 78105 h 294322"/>
                <a:gd name="connsiteX36" fmla="*/ 69532 w 399097"/>
                <a:gd name="connsiteY36" fmla="*/ 98107 h 294322"/>
                <a:gd name="connsiteX37" fmla="*/ 50482 w 399097"/>
                <a:gd name="connsiteY37" fmla="*/ 106680 h 294322"/>
                <a:gd name="connsiteX38" fmla="*/ 36195 w 399097"/>
                <a:gd name="connsiteY38" fmla="*/ 120967 h 294322"/>
                <a:gd name="connsiteX39" fmla="*/ 23813 w 399097"/>
                <a:gd name="connsiteY39" fmla="*/ 127635 h 294322"/>
                <a:gd name="connsiteX40" fmla="*/ 23813 w 399097"/>
                <a:gd name="connsiteY40" fmla="*/ 147638 h 294322"/>
                <a:gd name="connsiteX41" fmla="*/ 11430 w 399097"/>
                <a:gd name="connsiteY41" fmla="*/ 153353 h 294322"/>
                <a:gd name="connsiteX42" fmla="*/ 0 w 399097"/>
                <a:gd name="connsiteY42" fmla="*/ 164782 h 294322"/>
                <a:gd name="connsiteX43" fmla="*/ 12382 w 399097"/>
                <a:gd name="connsiteY43" fmla="*/ 177165 h 294322"/>
                <a:gd name="connsiteX44" fmla="*/ 20955 w 399097"/>
                <a:gd name="connsiteY44" fmla="*/ 195263 h 294322"/>
                <a:gd name="connsiteX45" fmla="*/ 33338 w 399097"/>
                <a:gd name="connsiteY45" fmla="*/ 207645 h 294322"/>
                <a:gd name="connsiteX46" fmla="*/ 58102 w 399097"/>
                <a:gd name="connsiteY46" fmla="*/ 207645 h 294322"/>
                <a:gd name="connsiteX47" fmla="*/ 70485 w 399097"/>
                <a:gd name="connsiteY47" fmla="*/ 220028 h 294322"/>
                <a:gd name="connsiteX48" fmla="*/ 91440 w 399097"/>
                <a:gd name="connsiteY48" fmla="*/ 219075 h 294322"/>
                <a:gd name="connsiteX49" fmla="*/ 108585 w 399097"/>
                <a:gd name="connsiteY49" fmla="*/ 228600 h 294322"/>
                <a:gd name="connsiteX50" fmla="*/ 138113 w 399097"/>
                <a:gd name="connsiteY50" fmla="*/ 228600 h 294322"/>
                <a:gd name="connsiteX51" fmla="*/ 154305 w 399097"/>
                <a:gd name="connsiteY51" fmla="*/ 244792 h 294322"/>
                <a:gd name="connsiteX52" fmla="*/ 174307 w 399097"/>
                <a:gd name="connsiteY52" fmla="*/ 247650 h 294322"/>
                <a:gd name="connsiteX53" fmla="*/ 185738 w 399097"/>
                <a:gd name="connsiteY53" fmla="*/ 235267 h 294322"/>
                <a:gd name="connsiteX54" fmla="*/ 209550 w 399097"/>
                <a:gd name="connsiteY54" fmla="*/ 235267 h 294322"/>
                <a:gd name="connsiteX55" fmla="*/ 224790 w 399097"/>
                <a:gd name="connsiteY55" fmla="*/ 220028 h 294322"/>
                <a:gd name="connsiteX56" fmla="*/ 242887 w 399097"/>
                <a:gd name="connsiteY56" fmla="*/ 220028 h 294322"/>
                <a:gd name="connsiteX57" fmla="*/ 259080 w 399097"/>
                <a:gd name="connsiteY57" fmla="*/ 227647 h 294322"/>
                <a:gd name="connsiteX58" fmla="*/ 270510 w 399097"/>
                <a:gd name="connsiteY58" fmla="*/ 239078 h 294322"/>
                <a:gd name="connsiteX59" fmla="*/ 275273 w 399097"/>
                <a:gd name="connsiteY59" fmla="*/ 260032 h 294322"/>
                <a:gd name="connsiteX60" fmla="*/ 295275 w 399097"/>
                <a:gd name="connsiteY60" fmla="*/ 260032 h 294322"/>
                <a:gd name="connsiteX61" fmla="*/ 308610 w 399097"/>
                <a:gd name="connsiteY61" fmla="*/ 276225 h 294322"/>
                <a:gd name="connsiteX62" fmla="*/ 327660 w 399097"/>
                <a:gd name="connsiteY62" fmla="*/ 276225 h 294322"/>
                <a:gd name="connsiteX63" fmla="*/ 330518 w 399097"/>
                <a:gd name="connsiteY63" fmla="*/ 264795 h 294322"/>
                <a:gd name="connsiteX64" fmla="*/ 342900 w 399097"/>
                <a:gd name="connsiteY64" fmla="*/ 276225 h 294322"/>
                <a:gd name="connsiteX65" fmla="*/ 361950 w 399097"/>
                <a:gd name="connsiteY65" fmla="*/ 285750 h 294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399097" h="294322">
                  <a:moveTo>
                    <a:pt x="385762" y="294322"/>
                  </a:moveTo>
                  <a:lnTo>
                    <a:pt x="395287" y="284797"/>
                  </a:lnTo>
                  <a:lnTo>
                    <a:pt x="399098" y="263842"/>
                  </a:lnTo>
                  <a:lnTo>
                    <a:pt x="381000" y="234315"/>
                  </a:lnTo>
                  <a:lnTo>
                    <a:pt x="360998" y="226695"/>
                  </a:lnTo>
                  <a:lnTo>
                    <a:pt x="366712" y="214313"/>
                  </a:lnTo>
                  <a:lnTo>
                    <a:pt x="376237" y="197167"/>
                  </a:lnTo>
                  <a:lnTo>
                    <a:pt x="368618" y="176213"/>
                  </a:lnTo>
                  <a:lnTo>
                    <a:pt x="364807" y="155257"/>
                  </a:lnTo>
                  <a:lnTo>
                    <a:pt x="353378" y="143828"/>
                  </a:lnTo>
                  <a:lnTo>
                    <a:pt x="337185" y="138113"/>
                  </a:lnTo>
                  <a:lnTo>
                    <a:pt x="345757" y="120015"/>
                  </a:lnTo>
                  <a:lnTo>
                    <a:pt x="345757" y="103822"/>
                  </a:lnTo>
                  <a:lnTo>
                    <a:pt x="328612" y="95250"/>
                  </a:lnTo>
                  <a:lnTo>
                    <a:pt x="325755" y="79057"/>
                  </a:lnTo>
                  <a:lnTo>
                    <a:pt x="305753" y="77153"/>
                  </a:lnTo>
                  <a:lnTo>
                    <a:pt x="293370" y="89535"/>
                  </a:lnTo>
                  <a:lnTo>
                    <a:pt x="278130" y="70485"/>
                  </a:lnTo>
                  <a:lnTo>
                    <a:pt x="282893" y="33338"/>
                  </a:lnTo>
                  <a:lnTo>
                    <a:pt x="270510" y="30480"/>
                  </a:lnTo>
                  <a:lnTo>
                    <a:pt x="256223" y="16192"/>
                  </a:lnTo>
                  <a:lnTo>
                    <a:pt x="241935" y="27622"/>
                  </a:lnTo>
                  <a:lnTo>
                    <a:pt x="227648" y="31432"/>
                  </a:lnTo>
                  <a:lnTo>
                    <a:pt x="205740" y="21907"/>
                  </a:lnTo>
                  <a:lnTo>
                    <a:pt x="183832" y="20002"/>
                  </a:lnTo>
                  <a:lnTo>
                    <a:pt x="151448" y="20002"/>
                  </a:lnTo>
                  <a:lnTo>
                    <a:pt x="140970" y="0"/>
                  </a:lnTo>
                  <a:lnTo>
                    <a:pt x="129540" y="5715"/>
                  </a:lnTo>
                  <a:lnTo>
                    <a:pt x="119063" y="16192"/>
                  </a:lnTo>
                  <a:lnTo>
                    <a:pt x="100013" y="14288"/>
                  </a:lnTo>
                  <a:lnTo>
                    <a:pt x="77152" y="16192"/>
                  </a:lnTo>
                  <a:lnTo>
                    <a:pt x="66675" y="27622"/>
                  </a:lnTo>
                  <a:lnTo>
                    <a:pt x="66675" y="45720"/>
                  </a:lnTo>
                  <a:lnTo>
                    <a:pt x="56198" y="56197"/>
                  </a:lnTo>
                  <a:lnTo>
                    <a:pt x="60960" y="67628"/>
                  </a:lnTo>
                  <a:lnTo>
                    <a:pt x="75248" y="78105"/>
                  </a:lnTo>
                  <a:lnTo>
                    <a:pt x="69532" y="98107"/>
                  </a:lnTo>
                  <a:lnTo>
                    <a:pt x="50482" y="106680"/>
                  </a:lnTo>
                  <a:lnTo>
                    <a:pt x="36195" y="120967"/>
                  </a:lnTo>
                  <a:lnTo>
                    <a:pt x="23813" y="127635"/>
                  </a:lnTo>
                  <a:lnTo>
                    <a:pt x="23813" y="147638"/>
                  </a:lnTo>
                  <a:lnTo>
                    <a:pt x="11430" y="153353"/>
                  </a:lnTo>
                  <a:lnTo>
                    <a:pt x="0" y="164782"/>
                  </a:lnTo>
                  <a:lnTo>
                    <a:pt x="12382" y="177165"/>
                  </a:lnTo>
                  <a:lnTo>
                    <a:pt x="20955" y="195263"/>
                  </a:lnTo>
                  <a:lnTo>
                    <a:pt x="33338" y="207645"/>
                  </a:lnTo>
                  <a:lnTo>
                    <a:pt x="58102" y="207645"/>
                  </a:lnTo>
                  <a:lnTo>
                    <a:pt x="70485" y="220028"/>
                  </a:lnTo>
                  <a:lnTo>
                    <a:pt x="91440" y="219075"/>
                  </a:lnTo>
                  <a:lnTo>
                    <a:pt x="108585" y="228600"/>
                  </a:lnTo>
                  <a:lnTo>
                    <a:pt x="138113" y="228600"/>
                  </a:lnTo>
                  <a:lnTo>
                    <a:pt x="154305" y="244792"/>
                  </a:lnTo>
                  <a:lnTo>
                    <a:pt x="174307" y="247650"/>
                  </a:lnTo>
                  <a:lnTo>
                    <a:pt x="185738" y="235267"/>
                  </a:lnTo>
                  <a:lnTo>
                    <a:pt x="209550" y="235267"/>
                  </a:lnTo>
                  <a:lnTo>
                    <a:pt x="224790" y="220028"/>
                  </a:lnTo>
                  <a:lnTo>
                    <a:pt x="242887" y="220028"/>
                  </a:lnTo>
                  <a:lnTo>
                    <a:pt x="259080" y="227647"/>
                  </a:lnTo>
                  <a:lnTo>
                    <a:pt x="270510" y="239078"/>
                  </a:lnTo>
                  <a:lnTo>
                    <a:pt x="275273" y="260032"/>
                  </a:lnTo>
                  <a:lnTo>
                    <a:pt x="295275" y="260032"/>
                  </a:lnTo>
                  <a:lnTo>
                    <a:pt x="308610" y="276225"/>
                  </a:lnTo>
                  <a:lnTo>
                    <a:pt x="327660" y="276225"/>
                  </a:lnTo>
                  <a:lnTo>
                    <a:pt x="330518" y="264795"/>
                  </a:lnTo>
                  <a:lnTo>
                    <a:pt x="342900" y="276225"/>
                  </a:lnTo>
                  <a:lnTo>
                    <a:pt x="361950" y="28575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2" name="Полилиния: фигура 54">
              <a:extLst>
                <a:ext uri="{FF2B5EF4-FFF2-40B4-BE49-F238E27FC236}">
                  <a16:creationId xmlns:a16="http://schemas.microsoft.com/office/drawing/2014/main" id="{66A097C9-784F-41B7-8AEE-19B4B5CD7461}"/>
                </a:ext>
              </a:extLst>
            </p:cNvPr>
            <p:cNvSpPr/>
            <p:nvPr/>
          </p:nvSpPr>
          <p:spPr>
            <a:xfrm>
              <a:off x="3682132" y="4567214"/>
              <a:ext cx="340856" cy="199280"/>
            </a:xfrm>
            <a:custGeom>
              <a:avLst/>
              <a:gdLst>
                <a:gd name="connsiteX0" fmla="*/ 255270 w 528637"/>
                <a:gd name="connsiteY0" fmla="*/ 271463 h 355282"/>
                <a:gd name="connsiteX1" fmla="*/ 255270 w 528637"/>
                <a:gd name="connsiteY1" fmla="*/ 289560 h 355282"/>
                <a:gd name="connsiteX2" fmla="*/ 262890 w 528637"/>
                <a:gd name="connsiteY2" fmla="*/ 290513 h 355282"/>
                <a:gd name="connsiteX3" fmla="*/ 265748 w 528637"/>
                <a:gd name="connsiteY3" fmla="*/ 305753 h 355282"/>
                <a:gd name="connsiteX4" fmla="*/ 286703 w 528637"/>
                <a:gd name="connsiteY4" fmla="*/ 305753 h 355282"/>
                <a:gd name="connsiteX5" fmla="*/ 298132 w 528637"/>
                <a:gd name="connsiteY5" fmla="*/ 314325 h 355282"/>
                <a:gd name="connsiteX6" fmla="*/ 316230 w 528637"/>
                <a:gd name="connsiteY6" fmla="*/ 324803 h 355282"/>
                <a:gd name="connsiteX7" fmla="*/ 338137 w 528637"/>
                <a:gd name="connsiteY7" fmla="*/ 324803 h 355282"/>
                <a:gd name="connsiteX8" fmla="*/ 352425 w 528637"/>
                <a:gd name="connsiteY8" fmla="*/ 339090 h 355282"/>
                <a:gd name="connsiteX9" fmla="*/ 376237 w 528637"/>
                <a:gd name="connsiteY9" fmla="*/ 339090 h 355282"/>
                <a:gd name="connsiteX10" fmla="*/ 395287 w 528637"/>
                <a:gd name="connsiteY10" fmla="*/ 349568 h 355282"/>
                <a:gd name="connsiteX11" fmla="*/ 413385 w 528637"/>
                <a:gd name="connsiteY11" fmla="*/ 355282 h 355282"/>
                <a:gd name="connsiteX12" fmla="*/ 429578 w 528637"/>
                <a:gd name="connsiteY12" fmla="*/ 340043 h 355282"/>
                <a:gd name="connsiteX13" fmla="*/ 457200 w 528637"/>
                <a:gd name="connsiteY13" fmla="*/ 322897 h 355282"/>
                <a:gd name="connsiteX14" fmla="*/ 446723 w 528637"/>
                <a:gd name="connsiteY14" fmla="*/ 300038 h 355282"/>
                <a:gd name="connsiteX15" fmla="*/ 446723 w 528637"/>
                <a:gd name="connsiteY15" fmla="*/ 286703 h 355282"/>
                <a:gd name="connsiteX16" fmla="*/ 461962 w 528637"/>
                <a:gd name="connsiteY16" fmla="*/ 271463 h 355282"/>
                <a:gd name="connsiteX17" fmla="*/ 455295 w 528637"/>
                <a:gd name="connsiteY17" fmla="*/ 246697 h 355282"/>
                <a:gd name="connsiteX18" fmla="*/ 463868 w 528637"/>
                <a:gd name="connsiteY18" fmla="*/ 228600 h 355282"/>
                <a:gd name="connsiteX19" fmla="*/ 483870 w 528637"/>
                <a:gd name="connsiteY19" fmla="*/ 228600 h 355282"/>
                <a:gd name="connsiteX20" fmla="*/ 493395 w 528637"/>
                <a:gd name="connsiteY20" fmla="*/ 199072 h 355282"/>
                <a:gd name="connsiteX21" fmla="*/ 521018 w 528637"/>
                <a:gd name="connsiteY21" fmla="*/ 187643 h 355282"/>
                <a:gd name="connsiteX22" fmla="*/ 521018 w 528637"/>
                <a:gd name="connsiteY22" fmla="*/ 159068 h 355282"/>
                <a:gd name="connsiteX23" fmla="*/ 528637 w 528637"/>
                <a:gd name="connsiteY23" fmla="*/ 135255 h 355282"/>
                <a:gd name="connsiteX24" fmla="*/ 508635 w 528637"/>
                <a:gd name="connsiteY24" fmla="*/ 128588 h 355282"/>
                <a:gd name="connsiteX25" fmla="*/ 485775 w 528637"/>
                <a:gd name="connsiteY25" fmla="*/ 133350 h 355282"/>
                <a:gd name="connsiteX26" fmla="*/ 469582 w 528637"/>
                <a:gd name="connsiteY26" fmla="*/ 126682 h 355282"/>
                <a:gd name="connsiteX27" fmla="*/ 457200 w 528637"/>
                <a:gd name="connsiteY27" fmla="*/ 119063 h 355282"/>
                <a:gd name="connsiteX28" fmla="*/ 437198 w 528637"/>
                <a:gd name="connsiteY28" fmla="*/ 109538 h 355282"/>
                <a:gd name="connsiteX29" fmla="*/ 414337 w 528637"/>
                <a:gd name="connsiteY29" fmla="*/ 100013 h 355282"/>
                <a:gd name="connsiteX30" fmla="*/ 402907 w 528637"/>
                <a:gd name="connsiteY30" fmla="*/ 88582 h 355282"/>
                <a:gd name="connsiteX31" fmla="*/ 399098 w 528637"/>
                <a:gd name="connsiteY31" fmla="*/ 100013 h 355282"/>
                <a:gd name="connsiteX32" fmla="*/ 381000 w 528637"/>
                <a:gd name="connsiteY32" fmla="*/ 100013 h 355282"/>
                <a:gd name="connsiteX33" fmla="*/ 367665 w 528637"/>
                <a:gd name="connsiteY33" fmla="*/ 83820 h 355282"/>
                <a:gd name="connsiteX34" fmla="*/ 347662 w 528637"/>
                <a:gd name="connsiteY34" fmla="*/ 83820 h 355282"/>
                <a:gd name="connsiteX35" fmla="*/ 342900 w 528637"/>
                <a:gd name="connsiteY35" fmla="*/ 62865 h 355282"/>
                <a:gd name="connsiteX36" fmla="*/ 331470 w 528637"/>
                <a:gd name="connsiteY36" fmla="*/ 51435 h 355282"/>
                <a:gd name="connsiteX37" fmla="*/ 316230 w 528637"/>
                <a:gd name="connsiteY37" fmla="*/ 43815 h 355282"/>
                <a:gd name="connsiteX38" fmla="*/ 297180 w 528637"/>
                <a:gd name="connsiteY38" fmla="*/ 43815 h 355282"/>
                <a:gd name="connsiteX39" fmla="*/ 281940 w 528637"/>
                <a:gd name="connsiteY39" fmla="*/ 59055 h 355282"/>
                <a:gd name="connsiteX40" fmla="*/ 258127 w 528637"/>
                <a:gd name="connsiteY40" fmla="*/ 59055 h 355282"/>
                <a:gd name="connsiteX41" fmla="*/ 246698 w 528637"/>
                <a:gd name="connsiteY41" fmla="*/ 70485 h 355282"/>
                <a:gd name="connsiteX42" fmla="*/ 226695 w 528637"/>
                <a:gd name="connsiteY42" fmla="*/ 68580 h 355282"/>
                <a:gd name="connsiteX43" fmla="*/ 210502 w 528637"/>
                <a:gd name="connsiteY43" fmla="*/ 52388 h 355282"/>
                <a:gd name="connsiteX44" fmla="*/ 180023 w 528637"/>
                <a:gd name="connsiteY44" fmla="*/ 52388 h 355282"/>
                <a:gd name="connsiteX45" fmla="*/ 163830 w 528637"/>
                <a:gd name="connsiteY45" fmla="*/ 41910 h 355282"/>
                <a:gd name="connsiteX46" fmla="*/ 141923 w 528637"/>
                <a:gd name="connsiteY46" fmla="*/ 42863 h 355282"/>
                <a:gd name="connsiteX47" fmla="*/ 129540 w 528637"/>
                <a:gd name="connsiteY47" fmla="*/ 30480 h 355282"/>
                <a:gd name="connsiteX48" fmla="*/ 104775 w 528637"/>
                <a:gd name="connsiteY48" fmla="*/ 30480 h 355282"/>
                <a:gd name="connsiteX49" fmla="*/ 92392 w 528637"/>
                <a:gd name="connsiteY49" fmla="*/ 18097 h 355282"/>
                <a:gd name="connsiteX50" fmla="*/ 83820 w 528637"/>
                <a:gd name="connsiteY50" fmla="*/ 0 h 355282"/>
                <a:gd name="connsiteX51" fmla="*/ 61913 w 528637"/>
                <a:gd name="connsiteY51" fmla="*/ 18097 h 355282"/>
                <a:gd name="connsiteX52" fmla="*/ 60007 w 528637"/>
                <a:gd name="connsiteY52" fmla="*/ 36195 h 355282"/>
                <a:gd name="connsiteX53" fmla="*/ 47625 w 528637"/>
                <a:gd name="connsiteY53" fmla="*/ 48578 h 355282"/>
                <a:gd name="connsiteX54" fmla="*/ 44767 w 528637"/>
                <a:gd name="connsiteY54" fmla="*/ 78105 h 355282"/>
                <a:gd name="connsiteX55" fmla="*/ 37148 w 528637"/>
                <a:gd name="connsiteY55" fmla="*/ 95250 h 355282"/>
                <a:gd name="connsiteX56" fmla="*/ 28575 w 528637"/>
                <a:gd name="connsiteY56" fmla="*/ 110490 h 355282"/>
                <a:gd name="connsiteX57" fmla="*/ 8573 w 528637"/>
                <a:gd name="connsiteY57" fmla="*/ 110490 h 355282"/>
                <a:gd name="connsiteX58" fmla="*/ 0 w 528637"/>
                <a:gd name="connsiteY58" fmla="*/ 134303 h 355282"/>
                <a:gd name="connsiteX59" fmla="*/ 1905 w 528637"/>
                <a:gd name="connsiteY59" fmla="*/ 142875 h 355282"/>
                <a:gd name="connsiteX60" fmla="*/ 20955 w 528637"/>
                <a:gd name="connsiteY60" fmla="*/ 153353 h 355282"/>
                <a:gd name="connsiteX61" fmla="*/ 26670 w 528637"/>
                <a:gd name="connsiteY61" fmla="*/ 181928 h 355282"/>
                <a:gd name="connsiteX62" fmla="*/ 43815 w 528637"/>
                <a:gd name="connsiteY62" fmla="*/ 199072 h 355282"/>
                <a:gd name="connsiteX63" fmla="*/ 62865 w 528637"/>
                <a:gd name="connsiteY63" fmla="*/ 209550 h 355282"/>
                <a:gd name="connsiteX64" fmla="*/ 76200 w 528637"/>
                <a:gd name="connsiteY64" fmla="*/ 222885 h 355282"/>
                <a:gd name="connsiteX65" fmla="*/ 104775 w 528637"/>
                <a:gd name="connsiteY65" fmla="*/ 229553 h 355282"/>
                <a:gd name="connsiteX66" fmla="*/ 126682 w 528637"/>
                <a:gd name="connsiteY66" fmla="*/ 222885 h 355282"/>
                <a:gd name="connsiteX67" fmla="*/ 150495 w 528637"/>
                <a:gd name="connsiteY67" fmla="*/ 229553 h 355282"/>
                <a:gd name="connsiteX68" fmla="*/ 150495 w 528637"/>
                <a:gd name="connsiteY68" fmla="*/ 244793 h 355282"/>
                <a:gd name="connsiteX69" fmla="*/ 161925 w 528637"/>
                <a:gd name="connsiteY69" fmla="*/ 256222 h 355282"/>
                <a:gd name="connsiteX70" fmla="*/ 172402 w 528637"/>
                <a:gd name="connsiteY70" fmla="*/ 277178 h 355282"/>
                <a:gd name="connsiteX71" fmla="*/ 187642 w 528637"/>
                <a:gd name="connsiteY71" fmla="*/ 289560 h 355282"/>
                <a:gd name="connsiteX72" fmla="*/ 196215 w 528637"/>
                <a:gd name="connsiteY72" fmla="*/ 305753 h 355282"/>
                <a:gd name="connsiteX73" fmla="*/ 205740 w 528637"/>
                <a:gd name="connsiteY73" fmla="*/ 294322 h 355282"/>
                <a:gd name="connsiteX74" fmla="*/ 221932 w 528637"/>
                <a:gd name="connsiteY74" fmla="*/ 294322 h 355282"/>
                <a:gd name="connsiteX75" fmla="*/ 233363 w 528637"/>
                <a:gd name="connsiteY75" fmla="*/ 278130 h 355282"/>
                <a:gd name="connsiteX76" fmla="*/ 255270 w 528637"/>
                <a:gd name="connsiteY76" fmla="*/ 271463 h 355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528637" h="355282">
                  <a:moveTo>
                    <a:pt x="255270" y="271463"/>
                  </a:moveTo>
                  <a:lnTo>
                    <a:pt x="255270" y="289560"/>
                  </a:lnTo>
                  <a:lnTo>
                    <a:pt x="262890" y="290513"/>
                  </a:lnTo>
                  <a:lnTo>
                    <a:pt x="265748" y="305753"/>
                  </a:lnTo>
                  <a:lnTo>
                    <a:pt x="286703" y="305753"/>
                  </a:lnTo>
                  <a:lnTo>
                    <a:pt x="298132" y="314325"/>
                  </a:lnTo>
                  <a:lnTo>
                    <a:pt x="316230" y="324803"/>
                  </a:lnTo>
                  <a:lnTo>
                    <a:pt x="338137" y="324803"/>
                  </a:lnTo>
                  <a:lnTo>
                    <a:pt x="352425" y="339090"/>
                  </a:lnTo>
                  <a:lnTo>
                    <a:pt x="376237" y="339090"/>
                  </a:lnTo>
                  <a:lnTo>
                    <a:pt x="395287" y="349568"/>
                  </a:lnTo>
                  <a:lnTo>
                    <a:pt x="413385" y="355282"/>
                  </a:lnTo>
                  <a:lnTo>
                    <a:pt x="429578" y="340043"/>
                  </a:lnTo>
                  <a:lnTo>
                    <a:pt x="457200" y="322897"/>
                  </a:lnTo>
                  <a:lnTo>
                    <a:pt x="446723" y="300038"/>
                  </a:lnTo>
                  <a:lnTo>
                    <a:pt x="446723" y="286703"/>
                  </a:lnTo>
                  <a:lnTo>
                    <a:pt x="461962" y="271463"/>
                  </a:lnTo>
                  <a:lnTo>
                    <a:pt x="455295" y="246697"/>
                  </a:lnTo>
                  <a:lnTo>
                    <a:pt x="463868" y="228600"/>
                  </a:lnTo>
                  <a:lnTo>
                    <a:pt x="483870" y="228600"/>
                  </a:lnTo>
                  <a:lnTo>
                    <a:pt x="493395" y="199072"/>
                  </a:lnTo>
                  <a:lnTo>
                    <a:pt x="521018" y="187643"/>
                  </a:lnTo>
                  <a:lnTo>
                    <a:pt x="521018" y="159068"/>
                  </a:lnTo>
                  <a:lnTo>
                    <a:pt x="528637" y="135255"/>
                  </a:lnTo>
                  <a:lnTo>
                    <a:pt x="508635" y="128588"/>
                  </a:lnTo>
                  <a:lnTo>
                    <a:pt x="485775" y="133350"/>
                  </a:lnTo>
                  <a:lnTo>
                    <a:pt x="469582" y="126682"/>
                  </a:lnTo>
                  <a:lnTo>
                    <a:pt x="457200" y="119063"/>
                  </a:lnTo>
                  <a:cubicBezTo>
                    <a:pt x="457200" y="119063"/>
                    <a:pt x="441007" y="109538"/>
                    <a:pt x="437198" y="109538"/>
                  </a:cubicBezTo>
                  <a:cubicBezTo>
                    <a:pt x="433387" y="109538"/>
                    <a:pt x="414337" y="100013"/>
                    <a:pt x="414337" y="100013"/>
                  </a:cubicBezTo>
                  <a:lnTo>
                    <a:pt x="402907" y="88582"/>
                  </a:lnTo>
                  <a:lnTo>
                    <a:pt x="399098" y="100013"/>
                  </a:lnTo>
                  <a:lnTo>
                    <a:pt x="381000" y="100013"/>
                  </a:lnTo>
                  <a:lnTo>
                    <a:pt x="367665" y="83820"/>
                  </a:lnTo>
                  <a:lnTo>
                    <a:pt x="347662" y="83820"/>
                  </a:lnTo>
                  <a:cubicBezTo>
                    <a:pt x="347662" y="83820"/>
                    <a:pt x="346710" y="62865"/>
                    <a:pt x="342900" y="62865"/>
                  </a:cubicBezTo>
                  <a:cubicBezTo>
                    <a:pt x="339090" y="62865"/>
                    <a:pt x="331470" y="51435"/>
                    <a:pt x="331470" y="51435"/>
                  </a:cubicBezTo>
                  <a:lnTo>
                    <a:pt x="316230" y="43815"/>
                  </a:lnTo>
                  <a:lnTo>
                    <a:pt x="297180" y="43815"/>
                  </a:lnTo>
                  <a:lnTo>
                    <a:pt x="281940" y="59055"/>
                  </a:lnTo>
                  <a:lnTo>
                    <a:pt x="258127" y="59055"/>
                  </a:lnTo>
                  <a:lnTo>
                    <a:pt x="246698" y="70485"/>
                  </a:lnTo>
                  <a:lnTo>
                    <a:pt x="226695" y="68580"/>
                  </a:lnTo>
                  <a:lnTo>
                    <a:pt x="210502" y="52388"/>
                  </a:lnTo>
                  <a:lnTo>
                    <a:pt x="180023" y="52388"/>
                  </a:lnTo>
                  <a:lnTo>
                    <a:pt x="163830" y="41910"/>
                  </a:lnTo>
                  <a:lnTo>
                    <a:pt x="141923" y="42863"/>
                  </a:lnTo>
                  <a:lnTo>
                    <a:pt x="129540" y="30480"/>
                  </a:lnTo>
                  <a:lnTo>
                    <a:pt x="104775" y="30480"/>
                  </a:lnTo>
                  <a:lnTo>
                    <a:pt x="92392" y="18097"/>
                  </a:lnTo>
                  <a:lnTo>
                    <a:pt x="83820" y="0"/>
                  </a:lnTo>
                  <a:lnTo>
                    <a:pt x="61913" y="18097"/>
                  </a:lnTo>
                  <a:lnTo>
                    <a:pt x="60007" y="36195"/>
                  </a:lnTo>
                  <a:lnTo>
                    <a:pt x="47625" y="48578"/>
                  </a:lnTo>
                  <a:lnTo>
                    <a:pt x="44767" y="78105"/>
                  </a:lnTo>
                  <a:lnTo>
                    <a:pt x="37148" y="95250"/>
                  </a:lnTo>
                  <a:lnTo>
                    <a:pt x="28575" y="110490"/>
                  </a:lnTo>
                  <a:lnTo>
                    <a:pt x="8573" y="110490"/>
                  </a:lnTo>
                  <a:lnTo>
                    <a:pt x="0" y="134303"/>
                  </a:lnTo>
                  <a:lnTo>
                    <a:pt x="1905" y="142875"/>
                  </a:lnTo>
                  <a:lnTo>
                    <a:pt x="20955" y="153353"/>
                  </a:lnTo>
                  <a:lnTo>
                    <a:pt x="26670" y="181928"/>
                  </a:lnTo>
                  <a:lnTo>
                    <a:pt x="43815" y="199072"/>
                  </a:lnTo>
                  <a:lnTo>
                    <a:pt x="62865" y="209550"/>
                  </a:lnTo>
                  <a:lnTo>
                    <a:pt x="76200" y="222885"/>
                  </a:lnTo>
                  <a:lnTo>
                    <a:pt x="104775" y="229553"/>
                  </a:lnTo>
                  <a:lnTo>
                    <a:pt x="126682" y="222885"/>
                  </a:lnTo>
                  <a:lnTo>
                    <a:pt x="150495" y="229553"/>
                  </a:lnTo>
                  <a:lnTo>
                    <a:pt x="150495" y="244793"/>
                  </a:lnTo>
                  <a:lnTo>
                    <a:pt x="161925" y="256222"/>
                  </a:lnTo>
                  <a:lnTo>
                    <a:pt x="172402" y="277178"/>
                  </a:lnTo>
                  <a:lnTo>
                    <a:pt x="187642" y="289560"/>
                  </a:lnTo>
                  <a:lnTo>
                    <a:pt x="196215" y="305753"/>
                  </a:lnTo>
                  <a:lnTo>
                    <a:pt x="205740" y="294322"/>
                  </a:lnTo>
                  <a:lnTo>
                    <a:pt x="221932" y="294322"/>
                  </a:lnTo>
                  <a:lnTo>
                    <a:pt x="233363" y="278130"/>
                  </a:lnTo>
                  <a:lnTo>
                    <a:pt x="255270" y="271463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3" name="Полилиния: фигура 55">
              <a:extLst>
                <a:ext uri="{FF2B5EF4-FFF2-40B4-BE49-F238E27FC236}">
                  <a16:creationId xmlns:a16="http://schemas.microsoft.com/office/drawing/2014/main" id="{2FF310BB-9358-4E76-8B0E-CC951DD1890B}"/>
                </a:ext>
              </a:extLst>
            </p:cNvPr>
            <p:cNvSpPr/>
            <p:nvPr/>
          </p:nvSpPr>
          <p:spPr>
            <a:xfrm>
              <a:off x="3769342" y="4719479"/>
              <a:ext cx="181176" cy="191266"/>
            </a:xfrm>
            <a:custGeom>
              <a:avLst/>
              <a:gdLst>
                <a:gd name="connsiteX0" fmla="*/ 252413 w 280987"/>
                <a:gd name="connsiteY0" fmla="*/ 237172 h 340994"/>
                <a:gd name="connsiteX1" fmla="*/ 245745 w 280987"/>
                <a:gd name="connsiteY1" fmla="*/ 223838 h 340994"/>
                <a:gd name="connsiteX2" fmla="*/ 245745 w 280987"/>
                <a:gd name="connsiteY2" fmla="*/ 205740 h 340994"/>
                <a:gd name="connsiteX3" fmla="*/ 232410 w 280987"/>
                <a:gd name="connsiteY3" fmla="*/ 200025 h 340994"/>
                <a:gd name="connsiteX4" fmla="*/ 225743 w 280987"/>
                <a:gd name="connsiteY4" fmla="*/ 180975 h 340994"/>
                <a:gd name="connsiteX5" fmla="*/ 241935 w 280987"/>
                <a:gd name="connsiteY5" fmla="*/ 169545 h 340994"/>
                <a:gd name="connsiteX6" fmla="*/ 240982 w 280987"/>
                <a:gd name="connsiteY6" fmla="*/ 150495 h 340994"/>
                <a:gd name="connsiteX7" fmla="*/ 252413 w 280987"/>
                <a:gd name="connsiteY7" fmla="*/ 139065 h 340994"/>
                <a:gd name="connsiteX8" fmla="*/ 258127 w 280987"/>
                <a:gd name="connsiteY8" fmla="*/ 120968 h 340994"/>
                <a:gd name="connsiteX9" fmla="*/ 274320 w 280987"/>
                <a:gd name="connsiteY9" fmla="*/ 113347 h 340994"/>
                <a:gd name="connsiteX10" fmla="*/ 270510 w 280987"/>
                <a:gd name="connsiteY10" fmla="*/ 96203 h 340994"/>
                <a:gd name="connsiteX11" fmla="*/ 280988 w 280987"/>
                <a:gd name="connsiteY11" fmla="*/ 83820 h 340994"/>
                <a:gd name="connsiteX12" fmla="*/ 262890 w 280987"/>
                <a:gd name="connsiteY12" fmla="*/ 78105 h 340994"/>
                <a:gd name="connsiteX13" fmla="*/ 243840 w 280987"/>
                <a:gd name="connsiteY13" fmla="*/ 67628 h 340994"/>
                <a:gd name="connsiteX14" fmla="*/ 220027 w 280987"/>
                <a:gd name="connsiteY14" fmla="*/ 67628 h 340994"/>
                <a:gd name="connsiteX15" fmla="*/ 205740 w 280987"/>
                <a:gd name="connsiteY15" fmla="*/ 53340 h 340994"/>
                <a:gd name="connsiteX16" fmla="*/ 183832 w 280987"/>
                <a:gd name="connsiteY16" fmla="*/ 53340 h 340994"/>
                <a:gd name="connsiteX17" fmla="*/ 165735 w 280987"/>
                <a:gd name="connsiteY17" fmla="*/ 42863 h 340994"/>
                <a:gd name="connsiteX18" fmla="*/ 154305 w 280987"/>
                <a:gd name="connsiteY18" fmla="*/ 34290 h 340994"/>
                <a:gd name="connsiteX19" fmla="*/ 133350 w 280987"/>
                <a:gd name="connsiteY19" fmla="*/ 34290 h 340994"/>
                <a:gd name="connsiteX20" fmla="*/ 130493 w 280987"/>
                <a:gd name="connsiteY20" fmla="*/ 19050 h 340994"/>
                <a:gd name="connsiteX21" fmla="*/ 122873 w 280987"/>
                <a:gd name="connsiteY21" fmla="*/ 18097 h 340994"/>
                <a:gd name="connsiteX22" fmla="*/ 122873 w 280987"/>
                <a:gd name="connsiteY22" fmla="*/ 0 h 340994"/>
                <a:gd name="connsiteX23" fmla="*/ 100965 w 280987"/>
                <a:gd name="connsiteY23" fmla="*/ 8572 h 340994"/>
                <a:gd name="connsiteX24" fmla="*/ 89535 w 280987"/>
                <a:gd name="connsiteY24" fmla="*/ 24765 h 340994"/>
                <a:gd name="connsiteX25" fmla="*/ 70485 w 280987"/>
                <a:gd name="connsiteY25" fmla="*/ 24765 h 340994"/>
                <a:gd name="connsiteX26" fmla="*/ 60960 w 280987"/>
                <a:gd name="connsiteY26" fmla="*/ 36195 h 340994"/>
                <a:gd name="connsiteX27" fmla="*/ 54293 w 280987"/>
                <a:gd name="connsiteY27" fmla="*/ 59055 h 340994"/>
                <a:gd name="connsiteX28" fmla="*/ 28575 w 280987"/>
                <a:gd name="connsiteY28" fmla="*/ 69532 h 340994"/>
                <a:gd name="connsiteX29" fmla="*/ 9525 w 280987"/>
                <a:gd name="connsiteY29" fmla="*/ 88582 h 340994"/>
                <a:gd name="connsiteX30" fmla="*/ 0 w 280987"/>
                <a:gd name="connsiteY30" fmla="*/ 103822 h 340994"/>
                <a:gd name="connsiteX31" fmla="*/ 20002 w 280987"/>
                <a:gd name="connsiteY31" fmla="*/ 109538 h 340994"/>
                <a:gd name="connsiteX32" fmla="*/ 29527 w 280987"/>
                <a:gd name="connsiteY32" fmla="*/ 127635 h 340994"/>
                <a:gd name="connsiteX33" fmla="*/ 43815 w 280987"/>
                <a:gd name="connsiteY33" fmla="*/ 142875 h 340994"/>
                <a:gd name="connsiteX34" fmla="*/ 66675 w 280987"/>
                <a:gd name="connsiteY34" fmla="*/ 142875 h 340994"/>
                <a:gd name="connsiteX35" fmla="*/ 75248 w 280987"/>
                <a:gd name="connsiteY35" fmla="*/ 159068 h 340994"/>
                <a:gd name="connsiteX36" fmla="*/ 84773 w 280987"/>
                <a:gd name="connsiteY36" fmla="*/ 174307 h 340994"/>
                <a:gd name="connsiteX37" fmla="*/ 66675 w 280987"/>
                <a:gd name="connsiteY37" fmla="*/ 203835 h 340994"/>
                <a:gd name="connsiteX38" fmla="*/ 66675 w 280987"/>
                <a:gd name="connsiteY38" fmla="*/ 224790 h 340994"/>
                <a:gd name="connsiteX39" fmla="*/ 79058 w 280987"/>
                <a:gd name="connsiteY39" fmla="*/ 244793 h 340994"/>
                <a:gd name="connsiteX40" fmla="*/ 97155 w 280987"/>
                <a:gd name="connsiteY40" fmla="*/ 248603 h 340994"/>
                <a:gd name="connsiteX41" fmla="*/ 97155 w 280987"/>
                <a:gd name="connsiteY41" fmla="*/ 263843 h 340994"/>
                <a:gd name="connsiteX42" fmla="*/ 91440 w 280987"/>
                <a:gd name="connsiteY42" fmla="*/ 280988 h 340994"/>
                <a:gd name="connsiteX43" fmla="*/ 96202 w 280987"/>
                <a:gd name="connsiteY43" fmla="*/ 298132 h 340994"/>
                <a:gd name="connsiteX44" fmla="*/ 89535 w 280987"/>
                <a:gd name="connsiteY44" fmla="*/ 321945 h 340994"/>
                <a:gd name="connsiteX45" fmla="*/ 91440 w 280987"/>
                <a:gd name="connsiteY45" fmla="*/ 340995 h 340994"/>
                <a:gd name="connsiteX46" fmla="*/ 113348 w 280987"/>
                <a:gd name="connsiteY46" fmla="*/ 338138 h 340994"/>
                <a:gd name="connsiteX47" fmla="*/ 116205 w 280987"/>
                <a:gd name="connsiteY47" fmla="*/ 322897 h 340994"/>
                <a:gd name="connsiteX48" fmla="*/ 133350 w 280987"/>
                <a:gd name="connsiteY48" fmla="*/ 319088 h 340994"/>
                <a:gd name="connsiteX49" fmla="*/ 139065 w 280987"/>
                <a:gd name="connsiteY49" fmla="*/ 324803 h 340994"/>
                <a:gd name="connsiteX50" fmla="*/ 164783 w 280987"/>
                <a:gd name="connsiteY50" fmla="*/ 323850 h 340994"/>
                <a:gd name="connsiteX51" fmla="*/ 172402 w 280987"/>
                <a:gd name="connsiteY51" fmla="*/ 316230 h 340994"/>
                <a:gd name="connsiteX52" fmla="*/ 194310 w 280987"/>
                <a:gd name="connsiteY52" fmla="*/ 320040 h 340994"/>
                <a:gd name="connsiteX53" fmla="*/ 207645 w 280987"/>
                <a:gd name="connsiteY53" fmla="*/ 324803 h 340994"/>
                <a:gd name="connsiteX54" fmla="*/ 221932 w 280987"/>
                <a:gd name="connsiteY54" fmla="*/ 321945 h 340994"/>
                <a:gd name="connsiteX55" fmla="*/ 228600 w 280987"/>
                <a:gd name="connsiteY55" fmla="*/ 315278 h 340994"/>
                <a:gd name="connsiteX56" fmla="*/ 244793 w 280987"/>
                <a:gd name="connsiteY56" fmla="*/ 317182 h 340994"/>
                <a:gd name="connsiteX57" fmla="*/ 261938 w 280987"/>
                <a:gd name="connsiteY57" fmla="*/ 317182 h 340994"/>
                <a:gd name="connsiteX58" fmla="*/ 261938 w 280987"/>
                <a:gd name="connsiteY58" fmla="*/ 297180 h 340994"/>
                <a:gd name="connsiteX59" fmla="*/ 271463 w 280987"/>
                <a:gd name="connsiteY59" fmla="*/ 293370 h 340994"/>
                <a:gd name="connsiteX60" fmla="*/ 276225 w 280987"/>
                <a:gd name="connsiteY60" fmla="*/ 279082 h 340994"/>
                <a:gd name="connsiteX61" fmla="*/ 278130 w 280987"/>
                <a:gd name="connsiteY61" fmla="*/ 252413 h 340994"/>
                <a:gd name="connsiteX62" fmla="*/ 266700 w 280987"/>
                <a:gd name="connsiteY62" fmla="*/ 240982 h 340994"/>
                <a:gd name="connsiteX63" fmla="*/ 252413 w 280987"/>
                <a:gd name="connsiteY63" fmla="*/ 237172 h 340994"/>
                <a:gd name="connsiteX64" fmla="*/ 181927 w 280987"/>
                <a:gd name="connsiteY64" fmla="*/ 165735 h 340994"/>
                <a:gd name="connsiteX65" fmla="*/ 173355 w 280987"/>
                <a:gd name="connsiteY65" fmla="*/ 178118 h 340994"/>
                <a:gd name="connsiteX66" fmla="*/ 176213 w 280987"/>
                <a:gd name="connsiteY66" fmla="*/ 193357 h 340994"/>
                <a:gd name="connsiteX67" fmla="*/ 157163 w 280987"/>
                <a:gd name="connsiteY67" fmla="*/ 193357 h 340994"/>
                <a:gd name="connsiteX68" fmla="*/ 151448 w 280987"/>
                <a:gd name="connsiteY68" fmla="*/ 187643 h 340994"/>
                <a:gd name="connsiteX69" fmla="*/ 145733 w 280987"/>
                <a:gd name="connsiteY69" fmla="*/ 181928 h 340994"/>
                <a:gd name="connsiteX70" fmla="*/ 135255 w 280987"/>
                <a:gd name="connsiteY70" fmla="*/ 192405 h 340994"/>
                <a:gd name="connsiteX71" fmla="*/ 91440 w 280987"/>
                <a:gd name="connsiteY71" fmla="*/ 217170 h 340994"/>
                <a:gd name="connsiteX72" fmla="*/ 64770 w 280987"/>
                <a:gd name="connsiteY72" fmla="*/ 206693 h 340994"/>
                <a:gd name="connsiteX73" fmla="*/ 82868 w 280987"/>
                <a:gd name="connsiteY73" fmla="*/ 177165 h 340994"/>
                <a:gd name="connsiteX74" fmla="*/ 126683 w 280987"/>
                <a:gd name="connsiteY74" fmla="*/ 151447 h 340994"/>
                <a:gd name="connsiteX75" fmla="*/ 136208 w 280987"/>
                <a:gd name="connsiteY75" fmla="*/ 152400 h 340994"/>
                <a:gd name="connsiteX76" fmla="*/ 144780 w 280987"/>
                <a:gd name="connsiteY76" fmla="*/ 139065 h 340994"/>
                <a:gd name="connsiteX77" fmla="*/ 141923 w 280987"/>
                <a:gd name="connsiteY77" fmla="*/ 131445 h 340994"/>
                <a:gd name="connsiteX78" fmla="*/ 150495 w 280987"/>
                <a:gd name="connsiteY78" fmla="*/ 123825 h 340994"/>
                <a:gd name="connsiteX79" fmla="*/ 162877 w 280987"/>
                <a:gd name="connsiteY79" fmla="*/ 120968 h 340994"/>
                <a:gd name="connsiteX80" fmla="*/ 162877 w 280987"/>
                <a:gd name="connsiteY80" fmla="*/ 130493 h 340994"/>
                <a:gd name="connsiteX81" fmla="*/ 167640 w 280987"/>
                <a:gd name="connsiteY81" fmla="*/ 139065 h 340994"/>
                <a:gd name="connsiteX82" fmla="*/ 167640 w 280987"/>
                <a:gd name="connsiteY82" fmla="*/ 140970 h 340994"/>
                <a:gd name="connsiteX83" fmla="*/ 181927 w 280987"/>
                <a:gd name="connsiteY83" fmla="*/ 146685 h 340994"/>
                <a:gd name="connsiteX84" fmla="*/ 191452 w 280987"/>
                <a:gd name="connsiteY84" fmla="*/ 156210 h 340994"/>
                <a:gd name="connsiteX85" fmla="*/ 181927 w 280987"/>
                <a:gd name="connsiteY85" fmla="*/ 165735 h 340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280987" h="340994">
                  <a:moveTo>
                    <a:pt x="252413" y="237172"/>
                  </a:moveTo>
                  <a:lnTo>
                    <a:pt x="245745" y="223838"/>
                  </a:lnTo>
                  <a:lnTo>
                    <a:pt x="245745" y="205740"/>
                  </a:lnTo>
                  <a:lnTo>
                    <a:pt x="232410" y="200025"/>
                  </a:lnTo>
                  <a:lnTo>
                    <a:pt x="225743" y="180975"/>
                  </a:lnTo>
                  <a:lnTo>
                    <a:pt x="241935" y="169545"/>
                  </a:lnTo>
                  <a:lnTo>
                    <a:pt x="240982" y="150495"/>
                  </a:lnTo>
                  <a:lnTo>
                    <a:pt x="252413" y="139065"/>
                  </a:lnTo>
                  <a:lnTo>
                    <a:pt x="258127" y="120968"/>
                  </a:lnTo>
                  <a:lnTo>
                    <a:pt x="274320" y="113347"/>
                  </a:lnTo>
                  <a:cubicBezTo>
                    <a:pt x="274320" y="113347"/>
                    <a:pt x="268605" y="97155"/>
                    <a:pt x="270510" y="96203"/>
                  </a:cubicBezTo>
                  <a:cubicBezTo>
                    <a:pt x="271463" y="95250"/>
                    <a:pt x="280988" y="83820"/>
                    <a:pt x="280988" y="83820"/>
                  </a:cubicBezTo>
                  <a:lnTo>
                    <a:pt x="262890" y="78105"/>
                  </a:lnTo>
                  <a:lnTo>
                    <a:pt x="243840" y="67628"/>
                  </a:lnTo>
                  <a:lnTo>
                    <a:pt x="220027" y="67628"/>
                  </a:lnTo>
                  <a:lnTo>
                    <a:pt x="205740" y="53340"/>
                  </a:lnTo>
                  <a:lnTo>
                    <a:pt x="183832" y="53340"/>
                  </a:lnTo>
                  <a:lnTo>
                    <a:pt x="165735" y="42863"/>
                  </a:lnTo>
                  <a:lnTo>
                    <a:pt x="154305" y="34290"/>
                  </a:lnTo>
                  <a:lnTo>
                    <a:pt x="133350" y="34290"/>
                  </a:lnTo>
                  <a:lnTo>
                    <a:pt x="130493" y="19050"/>
                  </a:lnTo>
                  <a:lnTo>
                    <a:pt x="122873" y="18097"/>
                  </a:lnTo>
                  <a:lnTo>
                    <a:pt x="122873" y="0"/>
                  </a:lnTo>
                  <a:lnTo>
                    <a:pt x="100965" y="8572"/>
                  </a:lnTo>
                  <a:lnTo>
                    <a:pt x="89535" y="24765"/>
                  </a:lnTo>
                  <a:lnTo>
                    <a:pt x="70485" y="24765"/>
                  </a:lnTo>
                  <a:lnTo>
                    <a:pt x="60960" y="36195"/>
                  </a:lnTo>
                  <a:lnTo>
                    <a:pt x="54293" y="59055"/>
                  </a:lnTo>
                  <a:lnTo>
                    <a:pt x="28575" y="69532"/>
                  </a:lnTo>
                  <a:lnTo>
                    <a:pt x="9525" y="88582"/>
                  </a:lnTo>
                  <a:lnTo>
                    <a:pt x="0" y="103822"/>
                  </a:lnTo>
                  <a:lnTo>
                    <a:pt x="20002" y="109538"/>
                  </a:lnTo>
                  <a:lnTo>
                    <a:pt x="29527" y="127635"/>
                  </a:lnTo>
                  <a:lnTo>
                    <a:pt x="43815" y="142875"/>
                  </a:lnTo>
                  <a:lnTo>
                    <a:pt x="66675" y="142875"/>
                  </a:lnTo>
                  <a:lnTo>
                    <a:pt x="75248" y="159068"/>
                  </a:lnTo>
                  <a:lnTo>
                    <a:pt x="84773" y="174307"/>
                  </a:lnTo>
                  <a:lnTo>
                    <a:pt x="66675" y="203835"/>
                  </a:lnTo>
                  <a:lnTo>
                    <a:pt x="66675" y="224790"/>
                  </a:lnTo>
                  <a:lnTo>
                    <a:pt x="79058" y="244793"/>
                  </a:lnTo>
                  <a:lnTo>
                    <a:pt x="97155" y="248603"/>
                  </a:lnTo>
                  <a:lnTo>
                    <a:pt x="97155" y="263843"/>
                  </a:lnTo>
                  <a:lnTo>
                    <a:pt x="91440" y="280988"/>
                  </a:lnTo>
                  <a:lnTo>
                    <a:pt x="96202" y="298132"/>
                  </a:lnTo>
                  <a:lnTo>
                    <a:pt x="89535" y="321945"/>
                  </a:lnTo>
                  <a:lnTo>
                    <a:pt x="91440" y="340995"/>
                  </a:lnTo>
                  <a:lnTo>
                    <a:pt x="113348" y="338138"/>
                  </a:lnTo>
                  <a:lnTo>
                    <a:pt x="116205" y="322897"/>
                  </a:lnTo>
                  <a:lnTo>
                    <a:pt x="133350" y="319088"/>
                  </a:lnTo>
                  <a:lnTo>
                    <a:pt x="139065" y="324803"/>
                  </a:lnTo>
                  <a:lnTo>
                    <a:pt x="164783" y="323850"/>
                  </a:lnTo>
                  <a:lnTo>
                    <a:pt x="172402" y="316230"/>
                  </a:lnTo>
                  <a:lnTo>
                    <a:pt x="194310" y="320040"/>
                  </a:lnTo>
                  <a:lnTo>
                    <a:pt x="207645" y="324803"/>
                  </a:lnTo>
                  <a:lnTo>
                    <a:pt x="221932" y="321945"/>
                  </a:lnTo>
                  <a:lnTo>
                    <a:pt x="228600" y="315278"/>
                  </a:lnTo>
                  <a:lnTo>
                    <a:pt x="244793" y="317182"/>
                  </a:lnTo>
                  <a:lnTo>
                    <a:pt x="261938" y="317182"/>
                  </a:lnTo>
                  <a:lnTo>
                    <a:pt x="261938" y="297180"/>
                  </a:lnTo>
                  <a:lnTo>
                    <a:pt x="271463" y="293370"/>
                  </a:lnTo>
                  <a:lnTo>
                    <a:pt x="276225" y="279082"/>
                  </a:lnTo>
                  <a:lnTo>
                    <a:pt x="278130" y="252413"/>
                  </a:lnTo>
                  <a:lnTo>
                    <a:pt x="266700" y="240982"/>
                  </a:lnTo>
                  <a:lnTo>
                    <a:pt x="252413" y="237172"/>
                  </a:lnTo>
                  <a:close/>
                  <a:moveTo>
                    <a:pt x="181927" y="165735"/>
                  </a:moveTo>
                  <a:lnTo>
                    <a:pt x="173355" y="178118"/>
                  </a:lnTo>
                  <a:lnTo>
                    <a:pt x="176213" y="193357"/>
                  </a:lnTo>
                  <a:lnTo>
                    <a:pt x="157163" y="193357"/>
                  </a:lnTo>
                  <a:lnTo>
                    <a:pt x="151448" y="187643"/>
                  </a:lnTo>
                  <a:lnTo>
                    <a:pt x="145733" y="181928"/>
                  </a:lnTo>
                  <a:lnTo>
                    <a:pt x="135255" y="192405"/>
                  </a:lnTo>
                  <a:lnTo>
                    <a:pt x="91440" y="217170"/>
                  </a:lnTo>
                  <a:lnTo>
                    <a:pt x="64770" y="206693"/>
                  </a:lnTo>
                  <a:lnTo>
                    <a:pt x="82868" y="177165"/>
                  </a:lnTo>
                  <a:lnTo>
                    <a:pt x="126683" y="151447"/>
                  </a:lnTo>
                  <a:lnTo>
                    <a:pt x="136208" y="152400"/>
                  </a:lnTo>
                  <a:lnTo>
                    <a:pt x="144780" y="139065"/>
                  </a:lnTo>
                  <a:lnTo>
                    <a:pt x="141923" y="131445"/>
                  </a:lnTo>
                  <a:lnTo>
                    <a:pt x="150495" y="123825"/>
                  </a:lnTo>
                  <a:lnTo>
                    <a:pt x="162877" y="120968"/>
                  </a:lnTo>
                  <a:lnTo>
                    <a:pt x="162877" y="130493"/>
                  </a:lnTo>
                  <a:lnTo>
                    <a:pt x="167640" y="139065"/>
                  </a:lnTo>
                  <a:lnTo>
                    <a:pt x="167640" y="140970"/>
                  </a:lnTo>
                  <a:lnTo>
                    <a:pt x="181927" y="146685"/>
                  </a:lnTo>
                  <a:lnTo>
                    <a:pt x="191452" y="156210"/>
                  </a:lnTo>
                  <a:lnTo>
                    <a:pt x="181927" y="16573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4" name="Полилиния: фигура 56">
              <a:extLst>
                <a:ext uri="{FF2B5EF4-FFF2-40B4-BE49-F238E27FC236}">
                  <a16:creationId xmlns:a16="http://schemas.microsoft.com/office/drawing/2014/main" id="{D4AF6C60-62D1-4A5B-B18E-6F0A8820EB21}"/>
                </a:ext>
              </a:extLst>
            </p:cNvPr>
            <p:cNvSpPr/>
            <p:nvPr/>
          </p:nvSpPr>
          <p:spPr>
            <a:xfrm>
              <a:off x="3811719" y="4786796"/>
              <a:ext cx="82296" cy="53960"/>
            </a:xfrm>
            <a:custGeom>
              <a:avLst/>
              <a:gdLst>
                <a:gd name="connsiteX0" fmla="*/ 103822 w 127634"/>
                <a:gd name="connsiteY0" fmla="*/ 20003 h 96202"/>
                <a:gd name="connsiteX1" fmla="*/ 102870 w 127634"/>
                <a:gd name="connsiteY1" fmla="*/ 18097 h 96202"/>
                <a:gd name="connsiteX2" fmla="*/ 99060 w 127634"/>
                <a:gd name="connsiteY2" fmla="*/ 9525 h 96202"/>
                <a:gd name="connsiteX3" fmla="*/ 99060 w 127634"/>
                <a:gd name="connsiteY3" fmla="*/ 0 h 96202"/>
                <a:gd name="connsiteX4" fmla="*/ 86677 w 127634"/>
                <a:gd name="connsiteY4" fmla="*/ 3810 h 96202"/>
                <a:gd name="connsiteX5" fmla="*/ 77152 w 127634"/>
                <a:gd name="connsiteY5" fmla="*/ 11430 h 96202"/>
                <a:gd name="connsiteX6" fmla="*/ 80963 w 127634"/>
                <a:gd name="connsiteY6" fmla="*/ 19050 h 96202"/>
                <a:gd name="connsiteX7" fmla="*/ 71438 w 127634"/>
                <a:gd name="connsiteY7" fmla="*/ 32385 h 96202"/>
                <a:gd name="connsiteX8" fmla="*/ 61913 w 127634"/>
                <a:gd name="connsiteY8" fmla="*/ 30480 h 96202"/>
                <a:gd name="connsiteX9" fmla="*/ 18098 w 127634"/>
                <a:gd name="connsiteY9" fmla="*/ 56197 h 96202"/>
                <a:gd name="connsiteX10" fmla="*/ 0 w 127634"/>
                <a:gd name="connsiteY10" fmla="*/ 85725 h 96202"/>
                <a:gd name="connsiteX11" fmla="*/ 26670 w 127634"/>
                <a:gd name="connsiteY11" fmla="*/ 96203 h 96202"/>
                <a:gd name="connsiteX12" fmla="*/ 69533 w 127634"/>
                <a:gd name="connsiteY12" fmla="*/ 71438 h 96202"/>
                <a:gd name="connsiteX13" fmla="*/ 80010 w 127634"/>
                <a:gd name="connsiteY13" fmla="*/ 61913 h 96202"/>
                <a:gd name="connsiteX14" fmla="*/ 85725 w 127634"/>
                <a:gd name="connsiteY14" fmla="*/ 67628 h 96202"/>
                <a:gd name="connsiteX15" fmla="*/ 91440 w 127634"/>
                <a:gd name="connsiteY15" fmla="*/ 72390 h 96202"/>
                <a:gd name="connsiteX16" fmla="*/ 110490 w 127634"/>
                <a:gd name="connsiteY16" fmla="*/ 72390 h 96202"/>
                <a:gd name="connsiteX17" fmla="*/ 107633 w 127634"/>
                <a:gd name="connsiteY17" fmla="*/ 58103 h 96202"/>
                <a:gd name="connsiteX18" fmla="*/ 116205 w 127634"/>
                <a:gd name="connsiteY18" fmla="*/ 45720 h 96202"/>
                <a:gd name="connsiteX19" fmla="*/ 127635 w 127634"/>
                <a:gd name="connsiteY19" fmla="*/ 36195 h 96202"/>
                <a:gd name="connsiteX20" fmla="*/ 117158 w 127634"/>
                <a:gd name="connsiteY20" fmla="*/ 25717 h 96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7634" h="96202">
                  <a:moveTo>
                    <a:pt x="103822" y="20003"/>
                  </a:moveTo>
                  <a:lnTo>
                    <a:pt x="102870" y="18097"/>
                  </a:lnTo>
                  <a:lnTo>
                    <a:pt x="99060" y="9525"/>
                  </a:lnTo>
                  <a:lnTo>
                    <a:pt x="99060" y="0"/>
                  </a:lnTo>
                  <a:lnTo>
                    <a:pt x="86677" y="3810"/>
                  </a:lnTo>
                  <a:lnTo>
                    <a:pt x="77152" y="11430"/>
                  </a:lnTo>
                  <a:lnTo>
                    <a:pt x="80963" y="19050"/>
                  </a:lnTo>
                  <a:lnTo>
                    <a:pt x="71438" y="32385"/>
                  </a:lnTo>
                  <a:lnTo>
                    <a:pt x="61913" y="30480"/>
                  </a:lnTo>
                  <a:lnTo>
                    <a:pt x="18098" y="56197"/>
                  </a:lnTo>
                  <a:lnTo>
                    <a:pt x="0" y="85725"/>
                  </a:lnTo>
                  <a:lnTo>
                    <a:pt x="26670" y="96203"/>
                  </a:lnTo>
                  <a:lnTo>
                    <a:pt x="69533" y="71438"/>
                  </a:lnTo>
                  <a:lnTo>
                    <a:pt x="80010" y="61913"/>
                  </a:lnTo>
                  <a:lnTo>
                    <a:pt x="85725" y="67628"/>
                  </a:lnTo>
                  <a:lnTo>
                    <a:pt x="91440" y="72390"/>
                  </a:lnTo>
                  <a:lnTo>
                    <a:pt x="110490" y="72390"/>
                  </a:lnTo>
                  <a:lnTo>
                    <a:pt x="107633" y="58103"/>
                  </a:lnTo>
                  <a:lnTo>
                    <a:pt x="116205" y="45720"/>
                  </a:lnTo>
                  <a:lnTo>
                    <a:pt x="127635" y="36195"/>
                  </a:lnTo>
                  <a:lnTo>
                    <a:pt x="117158" y="25717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95" name="Рисунок 3">
              <a:extLst>
                <a:ext uri="{FF2B5EF4-FFF2-40B4-BE49-F238E27FC236}">
                  <a16:creationId xmlns:a16="http://schemas.microsoft.com/office/drawing/2014/main" id="{B412268B-09DD-4887-9246-5B9F453AF109}"/>
                </a:ext>
              </a:extLst>
            </p:cNvPr>
            <p:cNvGrpSpPr/>
            <p:nvPr/>
          </p:nvGrpSpPr>
          <p:grpSpPr>
            <a:xfrm>
              <a:off x="4608279" y="4253601"/>
              <a:ext cx="668202" cy="341394"/>
              <a:chOff x="3916679" y="2907982"/>
              <a:chExt cx="1036320" cy="608647"/>
            </a:xfrm>
            <a:grpFill/>
          </p:grpSpPr>
          <p:sp>
            <p:nvSpPr>
              <p:cNvPr id="396" name="Полилиния: фигура 58">
                <a:extLst>
                  <a:ext uri="{FF2B5EF4-FFF2-40B4-BE49-F238E27FC236}">
                    <a16:creationId xmlns:a16="http://schemas.microsoft.com/office/drawing/2014/main" id="{3B56B2BC-646E-443E-8466-2564DD56251D}"/>
                  </a:ext>
                </a:extLst>
              </p:cNvPr>
              <p:cNvSpPr/>
              <p:nvPr/>
            </p:nvSpPr>
            <p:spPr>
              <a:xfrm>
                <a:off x="4733925" y="3075622"/>
                <a:ext cx="61912" cy="100012"/>
              </a:xfrm>
              <a:custGeom>
                <a:avLst/>
                <a:gdLst>
                  <a:gd name="connsiteX0" fmla="*/ 36195 w 61912"/>
                  <a:gd name="connsiteY0" fmla="*/ 0 h 100012"/>
                  <a:gd name="connsiteX1" fmla="*/ 15240 w 61912"/>
                  <a:gd name="connsiteY1" fmla="*/ 10478 h 100012"/>
                  <a:gd name="connsiteX2" fmla="*/ 0 w 61912"/>
                  <a:gd name="connsiteY2" fmla="*/ 15240 h 100012"/>
                  <a:gd name="connsiteX3" fmla="*/ 3810 w 61912"/>
                  <a:gd name="connsiteY3" fmla="*/ 48578 h 100012"/>
                  <a:gd name="connsiteX4" fmla="*/ 6668 w 61912"/>
                  <a:gd name="connsiteY4" fmla="*/ 66675 h 100012"/>
                  <a:gd name="connsiteX5" fmla="*/ 20955 w 61912"/>
                  <a:gd name="connsiteY5" fmla="*/ 70485 h 100012"/>
                  <a:gd name="connsiteX6" fmla="*/ 25718 w 61912"/>
                  <a:gd name="connsiteY6" fmla="*/ 97155 h 100012"/>
                  <a:gd name="connsiteX7" fmla="*/ 52388 w 61912"/>
                  <a:gd name="connsiteY7" fmla="*/ 100013 h 100012"/>
                  <a:gd name="connsiteX8" fmla="*/ 61913 w 61912"/>
                  <a:gd name="connsiteY8" fmla="*/ 78105 h 100012"/>
                  <a:gd name="connsiteX9" fmla="*/ 48578 w 61912"/>
                  <a:gd name="connsiteY9" fmla="*/ 56198 h 100012"/>
                  <a:gd name="connsiteX10" fmla="*/ 50482 w 61912"/>
                  <a:gd name="connsiteY10" fmla="*/ 32385 h 100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912" h="100012">
                    <a:moveTo>
                      <a:pt x="36195" y="0"/>
                    </a:moveTo>
                    <a:lnTo>
                      <a:pt x="15240" y="10478"/>
                    </a:lnTo>
                    <a:lnTo>
                      <a:pt x="0" y="15240"/>
                    </a:lnTo>
                    <a:lnTo>
                      <a:pt x="3810" y="48578"/>
                    </a:lnTo>
                    <a:lnTo>
                      <a:pt x="6668" y="66675"/>
                    </a:lnTo>
                    <a:lnTo>
                      <a:pt x="20955" y="70485"/>
                    </a:lnTo>
                    <a:lnTo>
                      <a:pt x="25718" y="97155"/>
                    </a:lnTo>
                    <a:lnTo>
                      <a:pt x="52388" y="100013"/>
                    </a:lnTo>
                    <a:lnTo>
                      <a:pt x="61913" y="78105"/>
                    </a:lnTo>
                    <a:lnTo>
                      <a:pt x="48578" y="56198"/>
                    </a:lnTo>
                    <a:lnTo>
                      <a:pt x="50482" y="3238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7" name="Полилиния: фигура 59">
                <a:extLst>
                  <a:ext uri="{FF2B5EF4-FFF2-40B4-BE49-F238E27FC236}">
                    <a16:creationId xmlns:a16="http://schemas.microsoft.com/office/drawing/2014/main" id="{E8D7AF35-CFEC-43B3-BDF5-9BD487C42CBC}"/>
                  </a:ext>
                </a:extLst>
              </p:cNvPr>
              <p:cNvSpPr/>
              <p:nvPr/>
            </p:nvSpPr>
            <p:spPr>
              <a:xfrm>
                <a:off x="4258627" y="2964179"/>
                <a:ext cx="100012" cy="85725"/>
              </a:xfrm>
              <a:custGeom>
                <a:avLst/>
                <a:gdLst>
                  <a:gd name="connsiteX0" fmla="*/ 58103 w 100012"/>
                  <a:gd name="connsiteY0" fmla="*/ 0 h 85725"/>
                  <a:gd name="connsiteX1" fmla="*/ 29528 w 100012"/>
                  <a:gd name="connsiteY1" fmla="*/ 7620 h 85725"/>
                  <a:gd name="connsiteX2" fmla="*/ 13335 w 100012"/>
                  <a:gd name="connsiteY2" fmla="*/ 29528 h 85725"/>
                  <a:gd name="connsiteX3" fmla="*/ 0 w 100012"/>
                  <a:gd name="connsiteY3" fmla="*/ 46673 h 85725"/>
                  <a:gd name="connsiteX4" fmla="*/ 9525 w 100012"/>
                  <a:gd name="connsiteY4" fmla="*/ 70485 h 85725"/>
                  <a:gd name="connsiteX5" fmla="*/ 29528 w 100012"/>
                  <a:gd name="connsiteY5" fmla="*/ 78105 h 85725"/>
                  <a:gd name="connsiteX6" fmla="*/ 48578 w 100012"/>
                  <a:gd name="connsiteY6" fmla="*/ 85725 h 85725"/>
                  <a:gd name="connsiteX7" fmla="*/ 66675 w 100012"/>
                  <a:gd name="connsiteY7" fmla="*/ 73342 h 85725"/>
                  <a:gd name="connsiteX8" fmla="*/ 88582 w 100012"/>
                  <a:gd name="connsiteY8" fmla="*/ 77153 h 85725"/>
                  <a:gd name="connsiteX9" fmla="*/ 100013 w 100012"/>
                  <a:gd name="connsiteY9" fmla="*/ 50483 h 85725"/>
                  <a:gd name="connsiteX10" fmla="*/ 81915 w 100012"/>
                  <a:gd name="connsiteY10" fmla="*/ 26670 h 85725"/>
                  <a:gd name="connsiteX11" fmla="*/ 80963 w 100012"/>
                  <a:gd name="connsiteY11" fmla="*/ 7620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0012" h="85725">
                    <a:moveTo>
                      <a:pt x="58103" y="0"/>
                    </a:moveTo>
                    <a:lnTo>
                      <a:pt x="29528" y="7620"/>
                    </a:lnTo>
                    <a:lnTo>
                      <a:pt x="13335" y="29528"/>
                    </a:lnTo>
                    <a:lnTo>
                      <a:pt x="0" y="46673"/>
                    </a:lnTo>
                    <a:lnTo>
                      <a:pt x="9525" y="70485"/>
                    </a:lnTo>
                    <a:lnTo>
                      <a:pt x="29528" y="78105"/>
                    </a:lnTo>
                    <a:lnTo>
                      <a:pt x="48578" y="85725"/>
                    </a:lnTo>
                    <a:lnTo>
                      <a:pt x="66675" y="73342"/>
                    </a:lnTo>
                    <a:lnTo>
                      <a:pt x="88582" y="77153"/>
                    </a:lnTo>
                    <a:lnTo>
                      <a:pt x="100013" y="50483"/>
                    </a:lnTo>
                    <a:lnTo>
                      <a:pt x="81915" y="26670"/>
                    </a:lnTo>
                    <a:lnTo>
                      <a:pt x="80963" y="762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8" name="Полилиния: фигура 60">
                <a:extLst>
                  <a:ext uri="{FF2B5EF4-FFF2-40B4-BE49-F238E27FC236}">
                    <a16:creationId xmlns:a16="http://schemas.microsoft.com/office/drawing/2014/main" id="{94B95029-A69A-4BC2-B8BA-814197DC4FE4}"/>
                  </a:ext>
                </a:extLst>
              </p:cNvPr>
              <p:cNvSpPr/>
              <p:nvPr/>
            </p:nvSpPr>
            <p:spPr>
              <a:xfrm>
                <a:off x="3916679" y="2907982"/>
                <a:ext cx="1036320" cy="608647"/>
              </a:xfrm>
              <a:custGeom>
                <a:avLst/>
                <a:gdLst>
                  <a:gd name="connsiteX0" fmla="*/ 1036320 w 1036320"/>
                  <a:gd name="connsiteY0" fmla="*/ 399097 h 608647"/>
                  <a:gd name="connsiteX1" fmla="*/ 1024890 w 1036320"/>
                  <a:gd name="connsiteY1" fmla="*/ 416242 h 608647"/>
                  <a:gd name="connsiteX2" fmla="*/ 1011555 w 1036320"/>
                  <a:gd name="connsiteY2" fmla="*/ 429577 h 608647"/>
                  <a:gd name="connsiteX3" fmla="*/ 1002983 w 1036320"/>
                  <a:gd name="connsiteY3" fmla="*/ 438150 h 608647"/>
                  <a:gd name="connsiteX4" fmla="*/ 1016318 w 1036320"/>
                  <a:gd name="connsiteY4" fmla="*/ 451485 h 608647"/>
                  <a:gd name="connsiteX5" fmla="*/ 1019175 w 1036320"/>
                  <a:gd name="connsiteY5" fmla="*/ 461962 h 608647"/>
                  <a:gd name="connsiteX6" fmla="*/ 1029652 w 1036320"/>
                  <a:gd name="connsiteY6" fmla="*/ 465773 h 608647"/>
                  <a:gd name="connsiteX7" fmla="*/ 1029652 w 1036320"/>
                  <a:gd name="connsiteY7" fmla="*/ 487680 h 608647"/>
                  <a:gd name="connsiteX8" fmla="*/ 1029652 w 1036320"/>
                  <a:gd name="connsiteY8" fmla="*/ 513398 h 608647"/>
                  <a:gd name="connsiteX9" fmla="*/ 1016318 w 1036320"/>
                  <a:gd name="connsiteY9" fmla="*/ 513398 h 608647"/>
                  <a:gd name="connsiteX10" fmla="*/ 1000125 w 1036320"/>
                  <a:gd name="connsiteY10" fmla="*/ 503873 h 608647"/>
                  <a:gd name="connsiteX11" fmla="*/ 983933 w 1036320"/>
                  <a:gd name="connsiteY11" fmla="*/ 503873 h 608647"/>
                  <a:gd name="connsiteX12" fmla="*/ 955358 w 1036320"/>
                  <a:gd name="connsiteY12" fmla="*/ 527685 h 608647"/>
                  <a:gd name="connsiteX13" fmla="*/ 930593 w 1036320"/>
                  <a:gd name="connsiteY13" fmla="*/ 528637 h 608647"/>
                  <a:gd name="connsiteX14" fmla="*/ 919163 w 1036320"/>
                  <a:gd name="connsiteY14" fmla="*/ 555308 h 608647"/>
                  <a:gd name="connsiteX15" fmla="*/ 882015 w 1036320"/>
                  <a:gd name="connsiteY15" fmla="*/ 548640 h 608647"/>
                  <a:gd name="connsiteX16" fmla="*/ 872490 w 1036320"/>
                  <a:gd name="connsiteY16" fmla="*/ 564833 h 608647"/>
                  <a:gd name="connsiteX17" fmla="*/ 856298 w 1036320"/>
                  <a:gd name="connsiteY17" fmla="*/ 581025 h 608647"/>
                  <a:gd name="connsiteX18" fmla="*/ 840105 w 1036320"/>
                  <a:gd name="connsiteY18" fmla="*/ 590550 h 608647"/>
                  <a:gd name="connsiteX19" fmla="*/ 808673 w 1036320"/>
                  <a:gd name="connsiteY19" fmla="*/ 601980 h 608647"/>
                  <a:gd name="connsiteX20" fmla="*/ 782002 w 1036320"/>
                  <a:gd name="connsiteY20" fmla="*/ 608648 h 608647"/>
                  <a:gd name="connsiteX21" fmla="*/ 750570 w 1036320"/>
                  <a:gd name="connsiteY21" fmla="*/ 592455 h 608647"/>
                  <a:gd name="connsiteX22" fmla="*/ 733425 w 1036320"/>
                  <a:gd name="connsiteY22" fmla="*/ 596265 h 608647"/>
                  <a:gd name="connsiteX23" fmla="*/ 714375 w 1036320"/>
                  <a:gd name="connsiteY23" fmla="*/ 580073 h 608647"/>
                  <a:gd name="connsiteX24" fmla="*/ 677227 w 1036320"/>
                  <a:gd name="connsiteY24" fmla="*/ 564833 h 608647"/>
                  <a:gd name="connsiteX25" fmla="*/ 639127 w 1036320"/>
                  <a:gd name="connsiteY25" fmla="*/ 540068 h 608647"/>
                  <a:gd name="connsiteX26" fmla="*/ 610552 w 1036320"/>
                  <a:gd name="connsiteY26" fmla="*/ 528637 h 608647"/>
                  <a:gd name="connsiteX27" fmla="*/ 564833 w 1036320"/>
                  <a:gd name="connsiteY27" fmla="*/ 510540 h 608647"/>
                  <a:gd name="connsiteX28" fmla="*/ 541973 w 1036320"/>
                  <a:gd name="connsiteY28" fmla="*/ 487680 h 608647"/>
                  <a:gd name="connsiteX29" fmla="*/ 514350 w 1036320"/>
                  <a:gd name="connsiteY29" fmla="*/ 484823 h 608647"/>
                  <a:gd name="connsiteX30" fmla="*/ 469583 w 1036320"/>
                  <a:gd name="connsiteY30" fmla="*/ 456248 h 608647"/>
                  <a:gd name="connsiteX31" fmla="*/ 447675 w 1036320"/>
                  <a:gd name="connsiteY31" fmla="*/ 434340 h 608647"/>
                  <a:gd name="connsiteX32" fmla="*/ 413385 w 1036320"/>
                  <a:gd name="connsiteY32" fmla="*/ 419100 h 608647"/>
                  <a:gd name="connsiteX33" fmla="*/ 379095 w 1036320"/>
                  <a:gd name="connsiteY33" fmla="*/ 390525 h 608647"/>
                  <a:gd name="connsiteX34" fmla="*/ 347663 w 1036320"/>
                  <a:gd name="connsiteY34" fmla="*/ 394335 h 608647"/>
                  <a:gd name="connsiteX35" fmla="*/ 324802 w 1036320"/>
                  <a:gd name="connsiteY35" fmla="*/ 409575 h 608647"/>
                  <a:gd name="connsiteX36" fmla="*/ 178117 w 1036320"/>
                  <a:gd name="connsiteY36" fmla="*/ 410527 h 608647"/>
                  <a:gd name="connsiteX37" fmla="*/ 166688 w 1036320"/>
                  <a:gd name="connsiteY37" fmla="*/ 399097 h 608647"/>
                  <a:gd name="connsiteX38" fmla="*/ 139065 w 1036320"/>
                  <a:gd name="connsiteY38" fmla="*/ 386715 h 608647"/>
                  <a:gd name="connsiteX39" fmla="*/ 136208 w 1036320"/>
                  <a:gd name="connsiteY39" fmla="*/ 395288 h 608647"/>
                  <a:gd name="connsiteX40" fmla="*/ 112395 w 1036320"/>
                  <a:gd name="connsiteY40" fmla="*/ 403860 h 608647"/>
                  <a:gd name="connsiteX41" fmla="*/ 99060 w 1036320"/>
                  <a:gd name="connsiteY41" fmla="*/ 399097 h 608647"/>
                  <a:gd name="connsiteX42" fmla="*/ 81915 w 1036320"/>
                  <a:gd name="connsiteY42" fmla="*/ 379095 h 608647"/>
                  <a:gd name="connsiteX43" fmla="*/ 69533 w 1036320"/>
                  <a:gd name="connsiteY43" fmla="*/ 366713 h 608647"/>
                  <a:gd name="connsiteX44" fmla="*/ 63817 w 1036320"/>
                  <a:gd name="connsiteY44" fmla="*/ 342900 h 608647"/>
                  <a:gd name="connsiteX45" fmla="*/ 41910 w 1036320"/>
                  <a:gd name="connsiteY45" fmla="*/ 320992 h 608647"/>
                  <a:gd name="connsiteX46" fmla="*/ 29528 w 1036320"/>
                  <a:gd name="connsiteY46" fmla="*/ 304800 h 608647"/>
                  <a:gd name="connsiteX47" fmla="*/ 21908 w 1036320"/>
                  <a:gd name="connsiteY47" fmla="*/ 275272 h 608647"/>
                  <a:gd name="connsiteX48" fmla="*/ 11430 w 1036320"/>
                  <a:gd name="connsiteY48" fmla="*/ 252413 h 608647"/>
                  <a:gd name="connsiteX49" fmla="*/ 0 w 1036320"/>
                  <a:gd name="connsiteY49" fmla="*/ 238125 h 608647"/>
                  <a:gd name="connsiteX50" fmla="*/ 34290 w 1036320"/>
                  <a:gd name="connsiteY50" fmla="*/ 231458 h 608647"/>
                  <a:gd name="connsiteX51" fmla="*/ 62865 w 1036320"/>
                  <a:gd name="connsiteY51" fmla="*/ 190500 h 608647"/>
                  <a:gd name="connsiteX52" fmla="*/ 62865 w 1036320"/>
                  <a:gd name="connsiteY52" fmla="*/ 155258 h 608647"/>
                  <a:gd name="connsiteX53" fmla="*/ 74295 w 1036320"/>
                  <a:gd name="connsiteY53" fmla="*/ 131445 h 608647"/>
                  <a:gd name="connsiteX54" fmla="*/ 111442 w 1036320"/>
                  <a:gd name="connsiteY54" fmla="*/ 113347 h 608647"/>
                  <a:gd name="connsiteX55" fmla="*/ 111442 w 1036320"/>
                  <a:gd name="connsiteY55" fmla="*/ 90488 h 608647"/>
                  <a:gd name="connsiteX56" fmla="*/ 146685 w 1036320"/>
                  <a:gd name="connsiteY56" fmla="*/ 69533 h 608647"/>
                  <a:gd name="connsiteX57" fmla="*/ 146685 w 1036320"/>
                  <a:gd name="connsiteY57" fmla="*/ 34290 h 608647"/>
                  <a:gd name="connsiteX58" fmla="*/ 140970 w 1036320"/>
                  <a:gd name="connsiteY58" fmla="*/ 0 h 608647"/>
                  <a:gd name="connsiteX59" fmla="*/ 164783 w 1036320"/>
                  <a:gd name="connsiteY59" fmla="*/ 0 h 608647"/>
                  <a:gd name="connsiteX60" fmla="*/ 172402 w 1036320"/>
                  <a:gd name="connsiteY60" fmla="*/ 18097 h 608647"/>
                  <a:gd name="connsiteX61" fmla="*/ 203835 w 1036320"/>
                  <a:gd name="connsiteY61" fmla="*/ 49530 h 608647"/>
                  <a:gd name="connsiteX62" fmla="*/ 227648 w 1036320"/>
                  <a:gd name="connsiteY62" fmla="*/ 86677 h 608647"/>
                  <a:gd name="connsiteX63" fmla="*/ 227648 w 1036320"/>
                  <a:gd name="connsiteY63" fmla="*/ 136208 h 608647"/>
                  <a:gd name="connsiteX64" fmla="*/ 219075 w 1036320"/>
                  <a:gd name="connsiteY64" fmla="*/ 161925 h 608647"/>
                  <a:gd name="connsiteX65" fmla="*/ 206692 w 1036320"/>
                  <a:gd name="connsiteY65" fmla="*/ 174308 h 608647"/>
                  <a:gd name="connsiteX66" fmla="*/ 185738 w 1036320"/>
                  <a:gd name="connsiteY66" fmla="*/ 153352 h 608647"/>
                  <a:gd name="connsiteX67" fmla="*/ 156210 w 1036320"/>
                  <a:gd name="connsiteY67" fmla="*/ 146685 h 608647"/>
                  <a:gd name="connsiteX68" fmla="*/ 111442 w 1036320"/>
                  <a:gd name="connsiteY68" fmla="*/ 161925 h 608647"/>
                  <a:gd name="connsiteX69" fmla="*/ 111442 w 1036320"/>
                  <a:gd name="connsiteY69" fmla="*/ 199072 h 608647"/>
                  <a:gd name="connsiteX70" fmla="*/ 122873 w 1036320"/>
                  <a:gd name="connsiteY70" fmla="*/ 233363 h 608647"/>
                  <a:gd name="connsiteX71" fmla="*/ 122873 w 1036320"/>
                  <a:gd name="connsiteY71" fmla="*/ 261938 h 608647"/>
                  <a:gd name="connsiteX72" fmla="*/ 155258 w 1036320"/>
                  <a:gd name="connsiteY72" fmla="*/ 270510 h 608647"/>
                  <a:gd name="connsiteX73" fmla="*/ 186690 w 1036320"/>
                  <a:gd name="connsiteY73" fmla="*/ 284797 h 608647"/>
                  <a:gd name="connsiteX74" fmla="*/ 221933 w 1036320"/>
                  <a:gd name="connsiteY74" fmla="*/ 267652 h 608647"/>
                  <a:gd name="connsiteX75" fmla="*/ 221933 w 1036320"/>
                  <a:gd name="connsiteY75" fmla="*/ 241935 h 608647"/>
                  <a:gd name="connsiteX76" fmla="*/ 259080 w 1036320"/>
                  <a:gd name="connsiteY76" fmla="*/ 233363 h 608647"/>
                  <a:gd name="connsiteX77" fmla="*/ 294323 w 1036320"/>
                  <a:gd name="connsiteY77" fmla="*/ 250508 h 608647"/>
                  <a:gd name="connsiteX78" fmla="*/ 288608 w 1036320"/>
                  <a:gd name="connsiteY78" fmla="*/ 227647 h 608647"/>
                  <a:gd name="connsiteX79" fmla="*/ 343852 w 1036320"/>
                  <a:gd name="connsiteY79" fmla="*/ 237172 h 608647"/>
                  <a:gd name="connsiteX80" fmla="*/ 373380 w 1036320"/>
                  <a:gd name="connsiteY80" fmla="*/ 231458 h 608647"/>
                  <a:gd name="connsiteX81" fmla="*/ 426720 w 1036320"/>
                  <a:gd name="connsiteY81" fmla="*/ 238125 h 608647"/>
                  <a:gd name="connsiteX82" fmla="*/ 458152 w 1036320"/>
                  <a:gd name="connsiteY82" fmla="*/ 238125 h 608647"/>
                  <a:gd name="connsiteX83" fmla="*/ 473392 w 1036320"/>
                  <a:gd name="connsiteY83" fmla="*/ 266700 h 608647"/>
                  <a:gd name="connsiteX84" fmla="*/ 487680 w 1036320"/>
                  <a:gd name="connsiteY84" fmla="*/ 266700 h 608647"/>
                  <a:gd name="connsiteX85" fmla="*/ 487680 w 1036320"/>
                  <a:gd name="connsiteY85" fmla="*/ 240983 h 608647"/>
                  <a:gd name="connsiteX86" fmla="*/ 532448 w 1036320"/>
                  <a:gd name="connsiteY86" fmla="*/ 226695 h 608647"/>
                  <a:gd name="connsiteX87" fmla="*/ 556260 w 1036320"/>
                  <a:gd name="connsiteY87" fmla="*/ 226695 h 608647"/>
                  <a:gd name="connsiteX88" fmla="*/ 565785 w 1036320"/>
                  <a:gd name="connsiteY88" fmla="*/ 263842 h 608647"/>
                  <a:gd name="connsiteX89" fmla="*/ 539115 w 1036320"/>
                  <a:gd name="connsiteY89" fmla="*/ 263842 h 608647"/>
                  <a:gd name="connsiteX90" fmla="*/ 530543 w 1036320"/>
                  <a:gd name="connsiteY90" fmla="*/ 289560 h 608647"/>
                  <a:gd name="connsiteX91" fmla="*/ 509588 w 1036320"/>
                  <a:gd name="connsiteY91" fmla="*/ 296227 h 608647"/>
                  <a:gd name="connsiteX92" fmla="*/ 541973 w 1036320"/>
                  <a:gd name="connsiteY92" fmla="*/ 325755 h 608647"/>
                  <a:gd name="connsiteX93" fmla="*/ 564833 w 1036320"/>
                  <a:gd name="connsiteY93" fmla="*/ 325755 h 608647"/>
                  <a:gd name="connsiteX94" fmla="*/ 606743 w 1036320"/>
                  <a:gd name="connsiteY94" fmla="*/ 307658 h 608647"/>
                  <a:gd name="connsiteX95" fmla="*/ 646748 w 1036320"/>
                  <a:gd name="connsiteY95" fmla="*/ 315277 h 608647"/>
                  <a:gd name="connsiteX96" fmla="*/ 690563 w 1036320"/>
                  <a:gd name="connsiteY96" fmla="*/ 359092 h 608647"/>
                  <a:gd name="connsiteX97" fmla="*/ 705802 w 1036320"/>
                  <a:gd name="connsiteY97" fmla="*/ 343852 h 608647"/>
                  <a:gd name="connsiteX98" fmla="*/ 735330 w 1036320"/>
                  <a:gd name="connsiteY98" fmla="*/ 343852 h 608647"/>
                  <a:gd name="connsiteX99" fmla="*/ 772477 w 1036320"/>
                  <a:gd name="connsiteY99" fmla="*/ 331470 h 608647"/>
                  <a:gd name="connsiteX100" fmla="*/ 787718 w 1036320"/>
                  <a:gd name="connsiteY100" fmla="*/ 346710 h 608647"/>
                  <a:gd name="connsiteX101" fmla="*/ 783908 w 1036320"/>
                  <a:gd name="connsiteY101" fmla="*/ 366713 h 608647"/>
                  <a:gd name="connsiteX102" fmla="*/ 761048 w 1036320"/>
                  <a:gd name="connsiteY102" fmla="*/ 381952 h 608647"/>
                  <a:gd name="connsiteX103" fmla="*/ 761048 w 1036320"/>
                  <a:gd name="connsiteY103" fmla="*/ 405765 h 608647"/>
                  <a:gd name="connsiteX104" fmla="*/ 787718 w 1036320"/>
                  <a:gd name="connsiteY104" fmla="*/ 428625 h 608647"/>
                  <a:gd name="connsiteX105" fmla="*/ 789623 w 1036320"/>
                  <a:gd name="connsiteY105" fmla="*/ 402908 h 608647"/>
                  <a:gd name="connsiteX106" fmla="*/ 802005 w 1036320"/>
                  <a:gd name="connsiteY106" fmla="*/ 390525 h 608647"/>
                  <a:gd name="connsiteX107" fmla="*/ 830580 w 1036320"/>
                  <a:gd name="connsiteY107" fmla="*/ 397192 h 608647"/>
                  <a:gd name="connsiteX108" fmla="*/ 830580 w 1036320"/>
                  <a:gd name="connsiteY108" fmla="*/ 374333 h 608647"/>
                  <a:gd name="connsiteX109" fmla="*/ 857250 w 1036320"/>
                  <a:gd name="connsiteY109" fmla="*/ 370522 h 608647"/>
                  <a:gd name="connsiteX110" fmla="*/ 862965 w 1036320"/>
                  <a:gd name="connsiteY110" fmla="*/ 336233 h 608647"/>
                  <a:gd name="connsiteX111" fmla="*/ 859155 w 1036320"/>
                  <a:gd name="connsiteY111" fmla="*/ 295275 h 608647"/>
                  <a:gd name="connsiteX112" fmla="*/ 884873 w 1036320"/>
                  <a:gd name="connsiteY112" fmla="*/ 282892 h 608647"/>
                  <a:gd name="connsiteX113" fmla="*/ 906780 w 1036320"/>
                  <a:gd name="connsiteY113" fmla="*/ 276225 h 608647"/>
                  <a:gd name="connsiteX114" fmla="*/ 932498 w 1036320"/>
                  <a:gd name="connsiteY114" fmla="*/ 301942 h 608647"/>
                  <a:gd name="connsiteX115" fmla="*/ 943927 w 1036320"/>
                  <a:gd name="connsiteY115" fmla="*/ 290513 h 608647"/>
                  <a:gd name="connsiteX116" fmla="*/ 972502 w 1036320"/>
                  <a:gd name="connsiteY116" fmla="*/ 326708 h 608647"/>
                  <a:gd name="connsiteX117" fmla="*/ 1005840 w 1036320"/>
                  <a:gd name="connsiteY117" fmla="*/ 360045 h 608647"/>
                  <a:gd name="connsiteX118" fmla="*/ 1032510 w 1036320"/>
                  <a:gd name="connsiteY118" fmla="*/ 386715 h 608647"/>
                  <a:gd name="connsiteX119" fmla="*/ 1036320 w 1036320"/>
                  <a:gd name="connsiteY119" fmla="*/ 399097 h 608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1036320" h="608647">
                    <a:moveTo>
                      <a:pt x="1036320" y="399097"/>
                    </a:moveTo>
                    <a:lnTo>
                      <a:pt x="1024890" y="416242"/>
                    </a:lnTo>
                    <a:lnTo>
                      <a:pt x="1011555" y="429577"/>
                    </a:lnTo>
                    <a:lnTo>
                      <a:pt x="1002983" y="438150"/>
                    </a:lnTo>
                    <a:lnTo>
                      <a:pt x="1016318" y="451485"/>
                    </a:lnTo>
                    <a:lnTo>
                      <a:pt x="1019175" y="461962"/>
                    </a:lnTo>
                    <a:lnTo>
                      <a:pt x="1029652" y="465773"/>
                    </a:lnTo>
                    <a:lnTo>
                      <a:pt x="1029652" y="487680"/>
                    </a:lnTo>
                    <a:lnTo>
                      <a:pt x="1029652" y="513398"/>
                    </a:lnTo>
                    <a:lnTo>
                      <a:pt x="1016318" y="513398"/>
                    </a:lnTo>
                    <a:lnTo>
                      <a:pt x="1000125" y="503873"/>
                    </a:lnTo>
                    <a:lnTo>
                      <a:pt x="983933" y="503873"/>
                    </a:lnTo>
                    <a:lnTo>
                      <a:pt x="955358" y="527685"/>
                    </a:lnTo>
                    <a:lnTo>
                      <a:pt x="930593" y="528637"/>
                    </a:lnTo>
                    <a:lnTo>
                      <a:pt x="919163" y="555308"/>
                    </a:lnTo>
                    <a:lnTo>
                      <a:pt x="882015" y="548640"/>
                    </a:lnTo>
                    <a:lnTo>
                      <a:pt x="872490" y="564833"/>
                    </a:lnTo>
                    <a:lnTo>
                      <a:pt x="856298" y="581025"/>
                    </a:lnTo>
                    <a:lnTo>
                      <a:pt x="840105" y="590550"/>
                    </a:lnTo>
                    <a:lnTo>
                      <a:pt x="808673" y="601980"/>
                    </a:lnTo>
                    <a:lnTo>
                      <a:pt x="782002" y="608648"/>
                    </a:lnTo>
                    <a:lnTo>
                      <a:pt x="750570" y="592455"/>
                    </a:lnTo>
                    <a:lnTo>
                      <a:pt x="733425" y="596265"/>
                    </a:lnTo>
                    <a:lnTo>
                      <a:pt x="714375" y="580073"/>
                    </a:lnTo>
                    <a:lnTo>
                      <a:pt x="677227" y="564833"/>
                    </a:lnTo>
                    <a:lnTo>
                      <a:pt x="639127" y="540068"/>
                    </a:lnTo>
                    <a:lnTo>
                      <a:pt x="610552" y="528637"/>
                    </a:lnTo>
                    <a:lnTo>
                      <a:pt x="564833" y="510540"/>
                    </a:lnTo>
                    <a:lnTo>
                      <a:pt x="541973" y="487680"/>
                    </a:lnTo>
                    <a:lnTo>
                      <a:pt x="514350" y="484823"/>
                    </a:lnTo>
                    <a:lnTo>
                      <a:pt x="469583" y="456248"/>
                    </a:lnTo>
                    <a:lnTo>
                      <a:pt x="447675" y="434340"/>
                    </a:lnTo>
                    <a:lnTo>
                      <a:pt x="413385" y="419100"/>
                    </a:lnTo>
                    <a:lnTo>
                      <a:pt x="379095" y="390525"/>
                    </a:lnTo>
                    <a:lnTo>
                      <a:pt x="347663" y="394335"/>
                    </a:lnTo>
                    <a:lnTo>
                      <a:pt x="324802" y="409575"/>
                    </a:lnTo>
                    <a:lnTo>
                      <a:pt x="178117" y="410527"/>
                    </a:lnTo>
                    <a:lnTo>
                      <a:pt x="166688" y="399097"/>
                    </a:lnTo>
                    <a:lnTo>
                      <a:pt x="139065" y="386715"/>
                    </a:lnTo>
                    <a:lnTo>
                      <a:pt x="136208" y="395288"/>
                    </a:lnTo>
                    <a:lnTo>
                      <a:pt x="112395" y="403860"/>
                    </a:lnTo>
                    <a:lnTo>
                      <a:pt x="99060" y="399097"/>
                    </a:lnTo>
                    <a:cubicBezTo>
                      <a:pt x="99060" y="399097"/>
                      <a:pt x="84773" y="381952"/>
                      <a:pt x="81915" y="379095"/>
                    </a:cubicBezTo>
                    <a:cubicBezTo>
                      <a:pt x="79058" y="376238"/>
                      <a:pt x="69533" y="366713"/>
                      <a:pt x="69533" y="366713"/>
                    </a:cubicBezTo>
                    <a:lnTo>
                      <a:pt x="63817" y="342900"/>
                    </a:lnTo>
                    <a:lnTo>
                      <a:pt x="41910" y="320992"/>
                    </a:lnTo>
                    <a:lnTo>
                      <a:pt x="29528" y="304800"/>
                    </a:lnTo>
                    <a:lnTo>
                      <a:pt x="21908" y="275272"/>
                    </a:lnTo>
                    <a:lnTo>
                      <a:pt x="11430" y="252413"/>
                    </a:lnTo>
                    <a:lnTo>
                      <a:pt x="0" y="238125"/>
                    </a:lnTo>
                    <a:lnTo>
                      <a:pt x="34290" y="231458"/>
                    </a:lnTo>
                    <a:lnTo>
                      <a:pt x="62865" y="190500"/>
                    </a:lnTo>
                    <a:lnTo>
                      <a:pt x="62865" y="155258"/>
                    </a:lnTo>
                    <a:lnTo>
                      <a:pt x="74295" y="131445"/>
                    </a:lnTo>
                    <a:lnTo>
                      <a:pt x="111442" y="113347"/>
                    </a:lnTo>
                    <a:lnTo>
                      <a:pt x="111442" y="90488"/>
                    </a:lnTo>
                    <a:lnTo>
                      <a:pt x="146685" y="69533"/>
                    </a:lnTo>
                    <a:lnTo>
                      <a:pt x="146685" y="34290"/>
                    </a:lnTo>
                    <a:lnTo>
                      <a:pt x="140970" y="0"/>
                    </a:lnTo>
                    <a:lnTo>
                      <a:pt x="164783" y="0"/>
                    </a:lnTo>
                    <a:lnTo>
                      <a:pt x="172402" y="18097"/>
                    </a:lnTo>
                    <a:lnTo>
                      <a:pt x="203835" y="49530"/>
                    </a:lnTo>
                    <a:lnTo>
                      <a:pt x="227648" y="86677"/>
                    </a:lnTo>
                    <a:lnTo>
                      <a:pt x="227648" y="136208"/>
                    </a:lnTo>
                    <a:lnTo>
                      <a:pt x="219075" y="161925"/>
                    </a:lnTo>
                    <a:lnTo>
                      <a:pt x="206692" y="174308"/>
                    </a:lnTo>
                    <a:lnTo>
                      <a:pt x="185738" y="153352"/>
                    </a:lnTo>
                    <a:lnTo>
                      <a:pt x="156210" y="146685"/>
                    </a:lnTo>
                    <a:lnTo>
                      <a:pt x="111442" y="161925"/>
                    </a:lnTo>
                    <a:lnTo>
                      <a:pt x="111442" y="199072"/>
                    </a:lnTo>
                    <a:lnTo>
                      <a:pt x="122873" y="233363"/>
                    </a:lnTo>
                    <a:lnTo>
                      <a:pt x="122873" y="261938"/>
                    </a:lnTo>
                    <a:lnTo>
                      <a:pt x="155258" y="270510"/>
                    </a:lnTo>
                    <a:lnTo>
                      <a:pt x="186690" y="284797"/>
                    </a:lnTo>
                    <a:lnTo>
                      <a:pt x="221933" y="267652"/>
                    </a:lnTo>
                    <a:lnTo>
                      <a:pt x="221933" y="241935"/>
                    </a:lnTo>
                    <a:lnTo>
                      <a:pt x="259080" y="233363"/>
                    </a:lnTo>
                    <a:lnTo>
                      <a:pt x="294323" y="250508"/>
                    </a:lnTo>
                    <a:lnTo>
                      <a:pt x="288608" y="227647"/>
                    </a:lnTo>
                    <a:lnTo>
                      <a:pt x="343852" y="237172"/>
                    </a:lnTo>
                    <a:lnTo>
                      <a:pt x="373380" y="231458"/>
                    </a:lnTo>
                    <a:lnTo>
                      <a:pt x="426720" y="238125"/>
                    </a:lnTo>
                    <a:lnTo>
                      <a:pt x="458152" y="238125"/>
                    </a:lnTo>
                    <a:lnTo>
                      <a:pt x="473392" y="266700"/>
                    </a:lnTo>
                    <a:lnTo>
                      <a:pt x="487680" y="266700"/>
                    </a:lnTo>
                    <a:lnTo>
                      <a:pt x="487680" y="240983"/>
                    </a:lnTo>
                    <a:lnTo>
                      <a:pt x="532448" y="226695"/>
                    </a:lnTo>
                    <a:lnTo>
                      <a:pt x="556260" y="226695"/>
                    </a:lnTo>
                    <a:lnTo>
                      <a:pt x="565785" y="263842"/>
                    </a:lnTo>
                    <a:lnTo>
                      <a:pt x="539115" y="263842"/>
                    </a:lnTo>
                    <a:lnTo>
                      <a:pt x="530543" y="289560"/>
                    </a:lnTo>
                    <a:lnTo>
                      <a:pt x="509588" y="296227"/>
                    </a:lnTo>
                    <a:lnTo>
                      <a:pt x="541973" y="325755"/>
                    </a:lnTo>
                    <a:lnTo>
                      <a:pt x="564833" y="325755"/>
                    </a:lnTo>
                    <a:lnTo>
                      <a:pt x="606743" y="307658"/>
                    </a:lnTo>
                    <a:lnTo>
                      <a:pt x="646748" y="315277"/>
                    </a:lnTo>
                    <a:lnTo>
                      <a:pt x="690563" y="359092"/>
                    </a:lnTo>
                    <a:lnTo>
                      <a:pt x="705802" y="343852"/>
                    </a:lnTo>
                    <a:lnTo>
                      <a:pt x="735330" y="343852"/>
                    </a:lnTo>
                    <a:lnTo>
                      <a:pt x="772477" y="331470"/>
                    </a:lnTo>
                    <a:lnTo>
                      <a:pt x="787718" y="346710"/>
                    </a:lnTo>
                    <a:lnTo>
                      <a:pt x="783908" y="366713"/>
                    </a:lnTo>
                    <a:lnTo>
                      <a:pt x="761048" y="381952"/>
                    </a:lnTo>
                    <a:lnTo>
                      <a:pt x="761048" y="405765"/>
                    </a:lnTo>
                    <a:lnTo>
                      <a:pt x="787718" y="428625"/>
                    </a:lnTo>
                    <a:lnTo>
                      <a:pt x="789623" y="402908"/>
                    </a:lnTo>
                    <a:lnTo>
                      <a:pt x="802005" y="390525"/>
                    </a:lnTo>
                    <a:lnTo>
                      <a:pt x="830580" y="397192"/>
                    </a:lnTo>
                    <a:lnTo>
                      <a:pt x="830580" y="374333"/>
                    </a:lnTo>
                    <a:lnTo>
                      <a:pt x="857250" y="370522"/>
                    </a:lnTo>
                    <a:lnTo>
                      <a:pt x="862965" y="336233"/>
                    </a:lnTo>
                    <a:lnTo>
                      <a:pt x="859155" y="295275"/>
                    </a:lnTo>
                    <a:lnTo>
                      <a:pt x="884873" y="282892"/>
                    </a:lnTo>
                    <a:lnTo>
                      <a:pt x="906780" y="276225"/>
                    </a:lnTo>
                    <a:lnTo>
                      <a:pt x="932498" y="301942"/>
                    </a:lnTo>
                    <a:lnTo>
                      <a:pt x="943927" y="290513"/>
                    </a:lnTo>
                    <a:lnTo>
                      <a:pt x="972502" y="326708"/>
                    </a:lnTo>
                    <a:lnTo>
                      <a:pt x="1005840" y="360045"/>
                    </a:lnTo>
                    <a:lnTo>
                      <a:pt x="1032510" y="386715"/>
                    </a:lnTo>
                    <a:lnTo>
                      <a:pt x="1036320" y="399097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96" name="Рисунок 3">
              <a:extLst>
                <a:ext uri="{FF2B5EF4-FFF2-40B4-BE49-F238E27FC236}">
                  <a16:creationId xmlns:a16="http://schemas.microsoft.com/office/drawing/2014/main" id="{F8BE304D-E75E-4047-A867-B1DFA3532E72}"/>
                </a:ext>
              </a:extLst>
            </p:cNvPr>
            <p:cNvGrpSpPr/>
            <p:nvPr/>
          </p:nvGrpSpPr>
          <p:grpSpPr>
            <a:xfrm>
              <a:off x="5070738" y="4232231"/>
              <a:ext cx="778135" cy="843601"/>
              <a:chOff x="4633912" y="2869882"/>
              <a:chExt cx="1206817" cy="1503997"/>
            </a:xfrm>
            <a:grpFill/>
          </p:grpSpPr>
          <p:sp>
            <p:nvSpPr>
              <p:cNvPr id="391" name="Полилиния: фигура 62">
                <a:extLst>
                  <a:ext uri="{FF2B5EF4-FFF2-40B4-BE49-F238E27FC236}">
                    <a16:creationId xmlns:a16="http://schemas.microsoft.com/office/drawing/2014/main" id="{332D88C7-0AA3-4104-8987-AD26E5613553}"/>
                  </a:ext>
                </a:extLst>
              </p:cNvPr>
              <p:cNvSpPr/>
              <p:nvPr/>
            </p:nvSpPr>
            <p:spPr>
              <a:xfrm>
                <a:off x="5538787" y="3043237"/>
                <a:ext cx="60007" cy="41909"/>
              </a:xfrm>
              <a:custGeom>
                <a:avLst/>
                <a:gdLst>
                  <a:gd name="connsiteX0" fmla="*/ 29528 w 60007"/>
                  <a:gd name="connsiteY0" fmla="*/ 4763 h 41909"/>
                  <a:gd name="connsiteX1" fmla="*/ 15240 w 60007"/>
                  <a:gd name="connsiteY1" fmla="*/ 18097 h 41909"/>
                  <a:gd name="connsiteX2" fmla="*/ 0 w 60007"/>
                  <a:gd name="connsiteY2" fmla="*/ 31433 h 41909"/>
                  <a:gd name="connsiteX3" fmla="*/ 13335 w 60007"/>
                  <a:gd name="connsiteY3" fmla="*/ 41910 h 41909"/>
                  <a:gd name="connsiteX4" fmla="*/ 24765 w 60007"/>
                  <a:gd name="connsiteY4" fmla="*/ 31433 h 41909"/>
                  <a:gd name="connsiteX5" fmla="*/ 42863 w 60007"/>
                  <a:gd name="connsiteY5" fmla="*/ 31433 h 41909"/>
                  <a:gd name="connsiteX6" fmla="*/ 60007 w 60007"/>
                  <a:gd name="connsiteY6" fmla="*/ 16192 h 41909"/>
                  <a:gd name="connsiteX7" fmla="*/ 44768 w 60007"/>
                  <a:gd name="connsiteY7" fmla="*/ 0 h 41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0007" h="41909">
                    <a:moveTo>
                      <a:pt x="29528" y="4763"/>
                    </a:moveTo>
                    <a:lnTo>
                      <a:pt x="15240" y="18097"/>
                    </a:lnTo>
                    <a:lnTo>
                      <a:pt x="0" y="31433"/>
                    </a:lnTo>
                    <a:lnTo>
                      <a:pt x="13335" y="41910"/>
                    </a:lnTo>
                    <a:lnTo>
                      <a:pt x="24765" y="31433"/>
                    </a:lnTo>
                    <a:lnTo>
                      <a:pt x="42863" y="31433"/>
                    </a:lnTo>
                    <a:lnTo>
                      <a:pt x="60007" y="16192"/>
                    </a:lnTo>
                    <a:lnTo>
                      <a:pt x="44768" y="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2" name="Полилиния: фигура 63">
                <a:extLst>
                  <a:ext uri="{FF2B5EF4-FFF2-40B4-BE49-F238E27FC236}">
                    <a16:creationId xmlns:a16="http://schemas.microsoft.com/office/drawing/2014/main" id="{8A3DDD8C-8660-44AB-8CB7-5486533CCB61}"/>
                  </a:ext>
                </a:extLst>
              </p:cNvPr>
              <p:cNvSpPr/>
              <p:nvPr/>
            </p:nvSpPr>
            <p:spPr>
              <a:xfrm>
                <a:off x="5510212" y="2905125"/>
                <a:ext cx="41909" cy="21907"/>
              </a:xfrm>
              <a:custGeom>
                <a:avLst/>
                <a:gdLst>
                  <a:gd name="connsiteX0" fmla="*/ 11430 w 41909"/>
                  <a:gd name="connsiteY0" fmla="*/ 0 h 21907"/>
                  <a:gd name="connsiteX1" fmla="*/ 0 w 41909"/>
                  <a:gd name="connsiteY1" fmla="*/ 10478 h 21907"/>
                  <a:gd name="connsiteX2" fmla="*/ 7620 w 41909"/>
                  <a:gd name="connsiteY2" fmla="*/ 21908 h 21907"/>
                  <a:gd name="connsiteX3" fmla="*/ 22860 w 41909"/>
                  <a:gd name="connsiteY3" fmla="*/ 11430 h 21907"/>
                  <a:gd name="connsiteX4" fmla="*/ 41910 w 41909"/>
                  <a:gd name="connsiteY4" fmla="*/ 17145 h 21907"/>
                  <a:gd name="connsiteX5" fmla="*/ 37147 w 41909"/>
                  <a:gd name="connsiteY5" fmla="*/ 5715 h 21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909" h="21907">
                    <a:moveTo>
                      <a:pt x="11430" y="0"/>
                    </a:moveTo>
                    <a:lnTo>
                      <a:pt x="0" y="10478"/>
                    </a:lnTo>
                    <a:lnTo>
                      <a:pt x="7620" y="21908"/>
                    </a:lnTo>
                    <a:lnTo>
                      <a:pt x="22860" y="11430"/>
                    </a:lnTo>
                    <a:lnTo>
                      <a:pt x="41910" y="17145"/>
                    </a:lnTo>
                    <a:lnTo>
                      <a:pt x="37147" y="571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3" name="Полилиния: фигура 64">
                <a:extLst>
                  <a:ext uri="{FF2B5EF4-FFF2-40B4-BE49-F238E27FC236}">
                    <a16:creationId xmlns:a16="http://schemas.microsoft.com/office/drawing/2014/main" id="{85D89C5C-A801-49C2-B064-9009A7C059F9}"/>
                  </a:ext>
                </a:extLst>
              </p:cNvPr>
              <p:cNvSpPr/>
              <p:nvPr/>
            </p:nvSpPr>
            <p:spPr>
              <a:xfrm>
                <a:off x="5456872" y="2956559"/>
                <a:ext cx="20955" cy="25717"/>
              </a:xfrm>
              <a:custGeom>
                <a:avLst/>
                <a:gdLst>
                  <a:gd name="connsiteX0" fmla="*/ 5715 w 20955"/>
                  <a:gd name="connsiteY0" fmla="*/ 0 h 25717"/>
                  <a:gd name="connsiteX1" fmla="*/ 0 w 20955"/>
                  <a:gd name="connsiteY1" fmla="*/ 17145 h 25717"/>
                  <a:gd name="connsiteX2" fmla="*/ 9525 w 20955"/>
                  <a:gd name="connsiteY2" fmla="*/ 25718 h 25717"/>
                  <a:gd name="connsiteX3" fmla="*/ 20955 w 20955"/>
                  <a:gd name="connsiteY3" fmla="*/ 11430 h 25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" h="25717">
                    <a:moveTo>
                      <a:pt x="5715" y="0"/>
                    </a:moveTo>
                    <a:lnTo>
                      <a:pt x="0" y="17145"/>
                    </a:lnTo>
                    <a:lnTo>
                      <a:pt x="9525" y="25718"/>
                    </a:lnTo>
                    <a:lnTo>
                      <a:pt x="20955" y="1143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4" name="Полилиния: фигура 65">
                <a:extLst>
                  <a:ext uri="{FF2B5EF4-FFF2-40B4-BE49-F238E27FC236}">
                    <a16:creationId xmlns:a16="http://schemas.microsoft.com/office/drawing/2014/main" id="{BC7505BC-9FFD-4AD3-98DE-4BC8E97E70C7}"/>
                  </a:ext>
                </a:extLst>
              </p:cNvPr>
              <p:cNvSpPr/>
              <p:nvPr/>
            </p:nvSpPr>
            <p:spPr>
              <a:xfrm>
                <a:off x="5306377" y="2869882"/>
                <a:ext cx="60007" cy="54292"/>
              </a:xfrm>
              <a:custGeom>
                <a:avLst/>
                <a:gdLst>
                  <a:gd name="connsiteX0" fmla="*/ 19050 w 60007"/>
                  <a:gd name="connsiteY0" fmla="*/ 3810 h 54292"/>
                  <a:gd name="connsiteX1" fmla="*/ 5715 w 60007"/>
                  <a:gd name="connsiteY1" fmla="*/ 13335 h 54292"/>
                  <a:gd name="connsiteX2" fmla="*/ 10478 w 60007"/>
                  <a:gd name="connsiteY2" fmla="*/ 25717 h 54292"/>
                  <a:gd name="connsiteX3" fmla="*/ 0 w 60007"/>
                  <a:gd name="connsiteY3" fmla="*/ 39052 h 54292"/>
                  <a:gd name="connsiteX4" fmla="*/ 2857 w 60007"/>
                  <a:gd name="connsiteY4" fmla="*/ 48577 h 54292"/>
                  <a:gd name="connsiteX5" fmla="*/ 25717 w 60007"/>
                  <a:gd name="connsiteY5" fmla="*/ 54292 h 54292"/>
                  <a:gd name="connsiteX6" fmla="*/ 47625 w 60007"/>
                  <a:gd name="connsiteY6" fmla="*/ 44767 h 54292"/>
                  <a:gd name="connsiteX7" fmla="*/ 60007 w 60007"/>
                  <a:gd name="connsiteY7" fmla="*/ 45720 h 54292"/>
                  <a:gd name="connsiteX8" fmla="*/ 60007 w 60007"/>
                  <a:gd name="connsiteY8" fmla="*/ 33338 h 54292"/>
                  <a:gd name="connsiteX9" fmla="*/ 40005 w 60007"/>
                  <a:gd name="connsiteY9" fmla="*/ 27622 h 54292"/>
                  <a:gd name="connsiteX10" fmla="*/ 50482 w 60007"/>
                  <a:gd name="connsiteY10" fmla="*/ 16192 h 54292"/>
                  <a:gd name="connsiteX11" fmla="*/ 39053 w 60007"/>
                  <a:gd name="connsiteY11" fmla="*/ 0 h 54292"/>
                  <a:gd name="connsiteX12" fmla="*/ 24765 w 60007"/>
                  <a:gd name="connsiteY12" fmla="*/ 4763 h 5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0007" h="54292">
                    <a:moveTo>
                      <a:pt x="19050" y="3810"/>
                    </a:moveTo>
                    <a:lnTo>
                      <a:pt x="5715" y="13335"/>
                    </a:lnTo>
                    <a:lnTo>
                      <a:pt x="10478" y="25717"/>
                    </a:lnTo>
                    <a:lnTo>
                      <a:pt x="0" y="39052"/>
                    </a:lnTo>
                    <a:lnTo>
                      <a:pt x="2857" y="48577"/>
                    </a:lnTo>
                    <a:lnTo>
                      <a:pt x="25717" y="54292"/>
                    </a:lnTo>
                    <a:lnTo>
                      <a:pt x="47625" y="44767"/>
                    </a:lnTo>
                    <a:lnTo>
                      <a:pt x="60007" y="45720"/>
                    </a:lnTo>
                    <a:lnTo>
                      <a:pt x="60007" y="33338"/>
                    </a:lnTo>
                    <a:lnTo>
                      <a:pt x="40005" y="27622"/>
                    </a:lnTo>
                    <a:lnTo>
                      <a:pt x="50482" y="16192"/>
                    </a:lnTo>
                    <a:lnTo>
                      <a:pt x="39053" y="0"/>
                    </a:lnTo>
                    <a:lnTo>
                      <a:pt x="24765" y="4763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5" name="Полилиния: фигура 66">
                <a:extLst>
                  <a:ext uri="{FF2B5EF4-FFF2-40B4-BE49-F238E27FC236}">
                    <a16:creationId xmlns:a16="http://schemas.microsoft.com/office/drawing/2014/main" id="{415FB474-C47C-4E5A-A65C-E0F2D6BC8E24}"/>
                  </a:ext>
                </a:extLst>
              </p:cNvPr>
              <p:cNvSpPr/>
              <p:nvPr/>
            </p:nvSpPr>
            <p:spPr>
              <a:xfrm>
                <a:off x="4633912" y="2924175"/>
                <a:ext cx="1206817" cy="1449705"/>
              </a:xfrm>
              <a:custGeom>
                <a:avLst/>
                <a:gdLst>
                  <a:gd name="connsiteX0" fmla="*/ 280035 w 1206817"/>
                  <a:gd name="connsiteY0" fmla="*/ 534353 h 1449705"/>
                  <a:gd name="connsiteX1" fmla="*/ 281940 w 1206817"/>
                  <a:gd name="connsiteY1" fmla="*/ 519113 h 1449705"/>
                  <a:gd name="connsiteX2" fmla="*/ 293370 w 1206817"/>
                  <a:gd name="connsiteY2" fmla="*/ 513397 h 1449705"/>
                  <a:gd name="connsiteX3" fmla="*/ 300038 w 1206817"/>
                  <a:gd name="connsiteY3" fmla="*/ 498157 h 1449705"/>
                  <a:gd name="connsiteX4" fmla="*/ 313372 w 1206817"/>
                  <a:gd name="connsiteY4" fmla="*/ 498157 h 1449705"/>
                  <a:gd name="connsiteX5" fmla="*/ 313372 w 1206817"/>
                  <a:gd name="connsiteY5" fmla="*/ 450532 h 1449705"/>
                  <a:gd name="connsiteX6" fmla="*/ 302895 w 1206817"/>
                  <a:gd name="connsiteY6" fmla="*/ 446722 h 1449705"/>
                  <a:gd name="connsiteX7" fmla="*/ 300038 w 1206817"/>
                  <a:gd name="connsiteY7" fmla="*/ 436245 h 1449705"/>
                  <a:gd name="connsiteX8" fmla="*/ 286703 w 1206817"/>
                  <a:gd name="connsiteY8" fmla="*/ 422910 h 1449705"/>
                  <a:gd name="connsiteX9" fmla="*/ 308610 w 1206817"/>
                  <a:gd name="connsiteY9" fmla="*/ 401003 h 1449705"/>
                  <a:gd name="connsiteX10" fmla="*/ 320040 w 1206817"/>
                  <a:gd name="connsiteY10" fmla="*/ 383858 h 1449705"/>
                  <a:gd name="connsiteX11" fmla="*/ 331470 w 1206817"/>
                  <a:gd name="connsiteY11" fmla="*/ 406718 h 1449705"/>
                  <a:gd name="connsiteX12" fmla="*/ 364807 w 1206817"/>
                  <a:gd name="connsiteY12" fmla="*/ 440055 h 1449705"/>
                  <a:gd name="connsiteX13" fmla="*/ 387668 w 1206817"/>
                  <a:gd name="connsiteY13" fmla="*/ 475297 h 1449705"/>
                  <a:gd name="connsiteX14" fmla="*/ 411480 w 1206817"/>
                  <a:gd name="connsiteY14" fmla="*/ 507682 h 1449705"/>
                  <a:gd name="connsiteX15" fmla="*/ 411480 w 1206817"/>
                  <a:gd name="connsiteY15" fmla="*/ 536257 h 1449705"/>
                  <a:gd name="connsiteX16" fmla="*/ 431482 w 1206817"/>
                  <a:gd name="connsiteY16" fmla="*/ 567690 h 1449705"/>
                  <a:gd name="connsiteX17" fmla="*/ 460057 w 1206817"/>
                  <a:gd name="connsiteY17" fmla="*/ 550545 h 1449705"/>
                  <a:gd name="connsiteX18" fmla="*/ 460057 w 1206817"/>
                  <a:gd name="connsiteY18" fmla="*/ 521018 h 1449705"/>
                  <a:gd name="connsiteX19" fmla="*/ 492443 w 1206817"/>
                  <a:gd name="connsiteY19" fmla="*/ 491490 h 1449705"/>
                  <a:gd name="connsiteX20" fmla="*/ 469582 w 1206817"/>
                  <a:gd name="connsiteY20" fmla="*/ 484822 h 1449705"/>
                  <a:gd name="connsiteX21" fmla="*/ 454343 w 1206817"/>
                  <a:gd name="connsiteY21" fmla="*/ 447675 h 1449705"/>
                  <a:gd name="connsiteX22" fmla="*/ 460057 w 1206817"/>
                  <a:gd name="connsiteY22" fmla="*/ 408622 h 1449705"/>
                  <a:gd name="connsiteX23" fmla="*/ 433388 w 1206817"/>
                  <a:gd name="connsiteY23" fmla="*/ 390525 h 1449705"/>
                  <a:gd name="connsiteX24" fmla="*/ 418147 w 1206817"/>
                  <a:gd name="connsiteY24" fmla="*/ 360045 h 1449705"/>
                  <a:gd name="connsiteX25" fmla="*/ 431482 w 1206817"/>
                  <a:gd name="connsiteY25" fmla="*/ 346710 h 1449705"/>
                  <a:gd name="connsiteX26" fmla="*/ 460057 w 1206817"/>
                  <a:gd name="connsiteY26" fmla="*/ 332422 h 1449705"/>
                  <a:gd name="connsiteX27" fmla="*/ 460057 w 1206817"/>
                  <a:gd name="connsiteY27" fmla="*/ 309563 h 1449705"/>
                  <a:gd name="connsiteX28" fmla="*/ 466725 w 1206817"/>
                  <a:gd name="connsiteY28" fmla="*/ 275272 h 1449705"/>
                  <a:gd name="connsiteX29" fmla="*/ 479107 w 1206817"/>
                  <a:gd name="connsiteY29" fmla="*/ 258128 h 1449705"/>
                  <a:gd name="connsiteX30" fmla="*/ 479107 w 1206817"/>
                  <a:gd name="connsiteY30" fmla="*/ 237172 h 1449705"/>
                  <a:gd name="connsiteX31" fmla="*/ 461010 w 1206817"/>
                  <a:gd name="connsiteY31" fmla="*/ 231458 h 1449705"/>
                  <a:gd name="connsiteX32" fmla="*/ 470535 w 1206817"/>
                  <a:gd name="connsiteY32" fmla="*/ 202883 h 1449705"/>
                  <a:gd name="connsiteX33" fmla="*/ 485775 w 1206817"/>
                  <a:gd name="connsiteY33" fmla="*/ 182880 h 1449705"/>
                  <a:gd name="connsiteX34" fmla="*/ 514350 w 1206817"/>
                  <a:gd name="connsiteY34" fmla="*/ 173355 h 1449705"/>
                  <a:gd name="connsiteX35" fmla="*/ 544830 w 1206817"/>
                  <a:gd name="connsiteY35" fmla="*/ 158115 h 1449705"/>
                  <a:gd name="connsiteX36" fmla="*/ 555307 w 1206817"/>
                  <a:gd name="connsiteY36" fmla="*/ 147638 h 1449705"/>
                  <a:gd name="connsiteX37" fmla="*/ 579120 w 1206817"/>
                  <a:gd name="connsiteY37" fmla="*/ 123825 h 1449705"/>
                  <a:gd name="connsiteX38" fmla="*/ 597218 w 1206817"/>
                  <a:gd name="connsiteY38" fmla="*/ 82867 h 1449705"/>
                  <a:gd name="connsiteX39" fmla="*/ 611505 w 1206817"/>
                  <a:gd name="connsiteY39" fmla="*/ 48578 h 1449705"/>
                  <a:gd name="connsiteX40" fmla="*/ 626745 w 1206817"/>
                  <a:gd name="connsiteY40" fmla="*/ 14288 h 1449705"/>
                  <a:gd name="connsiteX41" fmla="*/ 653415 w 1206817"/>
                  <a:gd name="connsiteY41" fmla="*/ 0 h 1449705"/>
                  <a:gd name="connsiteX42" fmla="*/ 670560 w 1206817"/>
                  <a:gd name="connsiteY42" fmla="*/ 23813 h 1449705"/>
                  <a:gd name="connsiteX43" fmla="*/ 704850 w 1206817"/>
                  <a:gd name="connsiteY43" fmla="*/ 23813 h 1449705"/>
                  <a:gd name="connsiteX44" fmla="*/ 721995 w 1206817"/>
                  <a:gd name="connsiteY44" fmla="*/ 40958 h 1449705"/>
                  <a:gd name="connsiteX45" fmla="*/ 751522 w 1206817"/>
                  <a:gd name="connsiteY45" fmla="*/ 40958 h 1449705"/>
                  <a:gd name="connsiteX46" fmla="*/ 763905 w 1206817"/>
                  <a:gd name="connsiteY46" fmla="*/ 88583 h 1449705"/>
                  <a:gd name="connsiteX47" fmla="*/ 749618 w 1206817"/>
                  <a:gd name="connsiteY47" fmla="*/ 102870 h 1449705"/>
                  <a:gd name="connsiteX48" fmla="*/ 742950 w 1206817"/>
                  <a:gd name="connsiteY48" fmla="*/ 154305 h 1449705"/>
                  <a:gd name="connsiteX49" fmla="*/ 702945 w 1206817"/>
                  <a:gd name="connsiteY49" fmla="*/ 194310 h 1449705"/>
                  <a:gd name="connsiteX50" fmla="*/ 691515 w 1206817"/>
                  <a:gd name="connsiteY50" fmla="*/ 231458 h 1449705"/>
                  <a:gd name="connsiteX51" fmla="*/ 715328 w 1206817"/>
                  <a:gd name="connsiteY51" fmla="*/ 252413 h 1449705"/>
                  <a:gd name="connsiteX52" fmla="*/ 706755 w 1206817"/>
                  <a:gd name="connsiteY52" fmla="*/ 300038 h 1449705"/>
                  <a:gd name="connsiteX53" fmla="*/ 700088 w 1206817"/>
                  <a:gd name="connsiteY53" fmla="*/ 338138 h 1449705"/>
                  <a:gd name="connsiteX54" fmla="*/ 671513 w 1206817"/>
                  <a:gd name="connsiteY54" fmla="*/ 380047 h 1449705"/>
                  <a:gd name="connsiteX55" fmla="*/ 661988 w 1206817"/>
                  <a:gd name="connsiteY55" fmla="*/ 441007 h 1449705"/>
                  <a:gd name="connsiteX56" fmla="*/ 646747 w 1206817"/>
                  <a:gd name="connsiteY56" fmla="*/ 494347 h 1449705"/>
                  <a:gd name="connsiteX57" fmla="*/ 635318 w 1206817"/>
                  <a:gd name="connsiteY57" fmla="*/ 521018 h 1449705"/>
                  <a:gd name="connsiteX58" fmla="*/ 645795 w 1206817"/>
                  <a:gd name="connsiteY58" fmla="*/ 558165 h 1449705"/>
                  <a:gd name="connsiteX59" fmla="*/ 670560 w 1206817"/>
                  <a:gd name="connsiteY59" fmla="*/ 582930 h 1449705"/>
                  <a:gd name="connsiteX60" fmla="*/ 666750 w 1206817"/>
                  <a:gd name="connsiteY60" fmla="*/ 605790 h 1449705"/>
                  <a:gd name="connsiteX61" fmla="*/ 635318 w 1206817"/>
                  <a:gd name="connsiteY61" fmla="*/ 629603 h 1449705"/>
                  <a:gd name="connsiteX62" fmla="*/ 629603 w 1206817"/>
                  <a:gd name="connsiteY62" fmla="*/ 681990 h 1449705"/>
                  <a:gd name="connsiteX63" fmla="*/ 598170 w 1206817"/>
                  <a:gd name="connsiteY63" fmla="*/ 690563 h 1449705"/>
                  <a:gd name="connsiteX64" fmla="*/ 561022 w 1206817"/>
                  <a:gd name="connsiteY64" fmla="*/ 727710 h 1449705"/>
                  <a:gd name="connsiteX65" fmla="*/ 540068 w 1206817"/>
                  <a:gd name="connsiteY65" fmla="*/ 759143 h 1449705"/>
                  <a:gd name="connsiteX66" fmla="*/ 520065 w 1206817"/>
                  <a:gd name="connsiteY66" fmla="*/ 770572 h 1449705"/>
                  <a:gd name="connsiteX67" fmla="*/ 484822 w 1206817"/>
                  <a:gd name="connsiteY67" fmla="*/ 763905 h 1449705"/>
                  <a:gd name="connsiteX68" fmla="*/ 463868 w 1206817"/>
                  <a:gd name="connsiteY68" fmla="*/ 778193 h 1449705"/>
                  <a:gd name="connsiteX69" fmla="*/ 441007 w 1206817"/>
                  <a:gd name="connsiteY69" fmla="*/ 762953 h 1449705"/>
                  <a:gd name="connsiteX70" fmla="*/ 425768 w 1206817"/>
                  <a:gd name="connsiteY70" fmla="*/ 747713 h 1449705"/>
                  <a:gd name="connsiteX71" fmla="*/ 404813 w 1206817"/>
                  <a:gd name="connsiteY71" fmla="*/ 741045 h 1449705"/>
                  <a:gd name="connsiteX72" fmla="*/ 404813 w 1206817"/>
                  <a:gd name="connsiteY72" fmla="*/ 767715 h 1449705"/>
                  <a:gd name="connsiteX73" fmla="*/ 425768 w 1206817"/>
                  <a:gd name="connsiteY73" fmla="*/ 800100 h 1449705"/>
                  <a:gd name="connsiteX74" fmla="*/ 446722 w 1206817"/>
                  <a:gd name="connsiteY74" fmla="*/ 809625 h 1449705"/>
                  <a:gd name="connsiteX75" fmla="*/ 475297 w 1206817"/>
                  <a:gd name="connsiteY75" fmla="*/ 829628 h 1449705"/>
                  <a:gd name="connsiteX76" fmla="*/ 499110 w 1206817"/>
                  <a:gd name="connsiteY76" fmla="*/ 828675 h 1449705"/>
                  <a:gd name="connsiteX77" fmla="*/ 516255 w 1206817"/>
                  <a:gd name="connsiteY77" fmla="*/ 852488 h 1449705"/>
                  <a:gd name="connsiteX78" fmla="*/ 541972 w 1206817"/>
                  <a:gd name="connsiteY78" fmla="*/ 852488 h 1449705"/>
                  <a:gd name="connsiteX79" fmla="*/ 546735 w 1206817"/>
                  <a:gd name="connsiteY79" fmla="*/ 827722 h 1449705"/>
                  <a:gd name="connsiteX80" fmla="*/ 561975 w 1206817"/>
                  <a:gd name="connsiteY80" fmla="*/ 812482 h 1449705"/>
                  <a:gd name="connsiteX81" fmla="*/ 580072 w 1206817"/>
                  <a:gd name="connsiteY81" fmla="*/ 812482 h 1449705"/>
                  <a:gd name="connsiteX82" fmla="*/ 588645 w 1206817"/>
                  <a:gd name="connsiteY82" fmla="*/ 803910 h 1449705"/>
                  <a:gd name="connsiteX83" fmla="*/ 623888 w 1206817"/>
                  <a:gd name="connsiteY83" fmla="*/ 794385 h 1449705"/>
                  <a:gd name="connsiteX84" fmla="*/ 652463 w 1206817"/>
                  <a:gd name="connsiteY84" fmla="*/ 779145 h 1449705"/>
                  <a:gd name="connsiteX85" fmla="*/ 652463 w 1206817"/>
                  <a:gd name="connsiteY85" fmla="*/ 749618 h 1449705"/>
                  <a:gd name="connsiteX86" fmla="*/ 664845 w 1206817"/>
                  <a:gd name="connsiteY86" fmla="*/ 737235 h 1449705"/>
                  <a:gd name="connsiteX87" fmla="*/ 686753 w 1206817"/>
                  <a:gd name="connsiteY87" fmla="*/ 715328 h 1449705"/>
                  <a:gd name="connsiteX88" fmla="*/ 704850 w 1206817"/>
                  <a:gd name="connsiteY88" fmla="*/ 697230 h 1449705"/>
                  <a:gd name="connsiteX89" fmla="*/ 713422 w 1206817"/>
                  <a:gd name="connsiteY89" fmla="*/ 662940 h 1449705"/>
                  <a:gd name="connsiteX90" fmla="*/ 706755 w 1206817"/>
                  <a:gd name="connsiteY90" fmla="*/ 633413 h 1449705"/>
                  <a:gd name="connsiteX91" fmla="*/ 703897 w 1206817"/>
                  <a:gd name="connsiteY91" fmla="*/ 606743 h 1449705"/>
                  <a:gd name="connsiteX92" fmla="*/ 722947 w 1206817"/>
                  <a:gd name="connsiteY92" fmla="*/ 587693 h 1449705"/>
                  <a:gd name="connsiteX93" fmla="*/ 741997 w 1206817"/>
                  <a:gd name="connsiteY93" fmla="*/ 568643 h 1449705"/>
                  <a:gd name="connsiteX94" fmla="*/ 771525 w 1206817"/>
                  <a:gd name="connsiteY94" fmla="*/ 568643 h 1449705"/>
                  <a:gd name="connsiteX95" fmla="*/ 803910 w 1206817"/>
                  <a:gd name="connsiteY95" fmla="*/ 564832 h 1449705"/>
                  <a:gd name="connsiteX96" fmla="*/ 813435 w 1206817"/>
                  <a:gd name="connsiteY96" fmla="*/ 592455 h 1449705"/>
                  <a:gd name="connsiteX97" fmla="*/ 826770 w 1206817"/>
                  <a:gd name="connsiteY97" fmla="*/ 605790 h 1449705"/>
                  <a:gd name="connsiteX98" fmla="*/ 843915 w 1206817"/>
                  <a:gd name="connsiteY98" fmla="*/ 649605 h 1449705"/>
                  <a:gd name="connsiteX99" fmla="*/ 821055 w 1206817"/>
                  <a:gd name="connsiteY99" fmla="*/ 672465 h 1449705"/>
                  <a:gd name="connsiteX100" fmla="*/ 822007 w 1206817"/>
                  <a:gd name="connsiteY100" fmla="*/ 706755 h 1449705"/>
                  <a:gd name="connsiteX101" fmla="*/ 822007 w 1206817"/>
                  <a:gd name="connsiteY101" fmla="*/ 727710 h 1449705"/>
                  <a:gd name="connsiteX102" fmla="*/ 850582 w 1206817"/>
                  <a:gd name="connsiteY102" fmla="*/ 756285 h 1449705"/>
                  <a:gd name="connsiteX103" fmla="*/ 882968 w 1206817"/>
                  <a:gd name="connsiteY103" fmla="*/ 762953 h 1449705"/>
                  <a:gd name="connsiteX104" fmla="*/ 882968 w 1206817"/>
                  <a:gd name="connsiteY104" fmla="*/ 742950 h 1449705"/>
                  <a:gd name="connsiteX105" fmla="*/ 851535 w 1206817"/>
                  <a:gd name="connsiteY105" fmla="*/ 733425 h 1449705"/>
                  <a:gd name="connsiteX106" fmla="*/ 839153 w 1206817"/>
                  <a:gd name="connsiteY106" fmla="*/ 721043 h 1449705"/>
                  <a:gd name="connsiteX107" fmla="*/ 839153 w 1206817"/>
                  <a:gd name="connsiteY107" fmla="*/ 703897 h 1449705"/>
                  <a:gd name="connsiteX108" fmla="*/ 836295 w 1206817"/>
                  <a:gd name="connsiteY108" fmla="*/ 678180 h 1449705"/>
                  <a:gd name="connsiteX109" fmla="*/ 859155 w 1206817"/>
                  <a:gd name="connsiteY109" fmla="*/ 671513 h 1449705"/>
                  <a:gd name="connsiteX110" fmla="*/ 867728 w 1206817"/>
                  <a:gd name="connsiteY110" fmla="*/ 653415 h 1449705"/>
                  <a:gd name="connsiteX111" fmla="*/ 859155 w 1206817"/>
                  <a:gd name="connsiteY111" fmla="*/ 626745 h 1449705"/>
                  <a:gd name="connsiteX112" fmla="*/ 868680 w 1206817"/>
                  <a:gd name="connsiteY112" fmla="*/ 603885 h 1449705"/>
                  <a:gd name="connsiteX113" fmla="*/ 854393 w 1206817"/>
                  <a:gd name="connsiteY113" fmla="*/ 575310 h 1449705"/>
                  <a:gd name="connsiteX114" fmla="*/ 836295 w 1206817"/>
                  <a:gd name="connsiteY114" fmla="*/ 558165 h 1449705"/>
                  <a:gd name="connsiteX115" fmla="*/ 824865 w 1206817"/>
                  <a:gd name="connsiteY115" fmla="*/ 546735 h 1449705"/>
                  <a:gd name="connsiteX116" fmla="*/ 790575 w 1206817"/>
                  <a:gd name="connsiteY116" fmla="*/ 534353 h 1449705"/>
                  <a:gd name="connsiteX117" fmla="*/ 770572 w 1206817"/>
                  <a:gd name="connsiteY117" fmla="*/ 514350 h 1449705"/>
                  <a:gd name="connsiteX118" fmla="*/ 754380 w 1206817"/>
                  <a:gd name="connsiteY118" fmla="*/ 530543 h 1449705"/>
                  <a:gd name="connsiteX119" fmla="*/ 733425 w 1206817"/>
                  <a:gd name="connsiteY119" fmla="*/ 540068 h 1449705"/>
                  <a:gd name="connsiteX120" fmla="*/ 721995 w 1206817"/>
                  <a:gd name="connsiteY120" fmla="*/ 524828 h 1449705"/>
                  <a:gd name="connsiteX121" fmla="*/ 696278 w 1206817"/>
                  <a:gd name="connsiteY121" fmla="*/ 524828 h 1449705"/>
                  <a:gd name="connsiteX122" fmla="*/ 692468 w 1206817"/>
                  <a:gd name="connsiteY122" fmla="*/ 498157 h 1449705"/>
                  <a:gd name="connsiteX123" fmla="*/ 709613 w 1206817"/>
                  <a:gd name="connsiteY123" fmla="*/ 481013 h 1449705"/>
                  <a:gd name="connsiteX124" fmla="*/ 705803 w 1206817"/>
                  <a:gd name="connsiteY124" fmla="*/ 436245 h 1449705"/>
                  <a:gd name="connsiteX125" fmla="*/ 725805 w 1206817"/>
                  <a:gd name="connsiteY125" fmla="*/ 404813 h 1449705"/>
                  <a:gd name="connsiteX126" fmla="*/ 738188 w 1206817"/>
                  <a:gd name="connsiteY126" fmla="*/ 367665 h 1449705"/>
                  <a:gd name="connsiteX127" fmla="*/ 766763 w 1206817"/>
                  <a:gd name="connsiteY127" fmla="*/ 339090 h 1449705"/>
                  <a:gd name="connsiteX128" fmla="*/ 757238 w 1206817"/>
                  <a:gd name="connsiteY128" fmla="*/ 307658 h 1449705"/>
                  <a:gd name="connsiteX129" fmla="*/ 748665 w 1206817"/>
                  <a:gd name="connsiteY129" fmla="*/ 280988 h 1449705"/>
                  <a:gd name="connsiteX130" fmla="*/ 752475 w 1206817"/>
                  <a:gd name="connsiteY130" fmla="*/ 252413 h 1449705"/>
                  <a:gd name="connsiteX131" fmla="*/ 732472 w 1206817"/>
                  <a:gd name="connsiteY131" fmla="*/ 232410 h 1449705"/>
                  <a:gd name="connsiteX132" fmla="*/ 755332 w 1206817"/>
                  <a:gd name="connsiteY132" fmla="*/ 209550 h 1449705"/>
                  <a:gd name="connsiteX133" fmla="*/ 790575 w 1206817"/>
                  <a:gd name="connsiteY133" fmla="*/ 174308 h 1449705"/>
                  <a:gd name="connsiteX134" fmla="*/ 820103 w 1206817"/>
                  <a:gd name="connsiteY134" fmla="*/ 174308 h 1449705"/>
                  <a:gd name="connsiteX135" fmla="*/ 837247 w 1206817"/>
                  <a:gd name="connsiteY135" fmla="*/ 147638 h 1449705"/>
                  <a:gd name="connsiteX136" fmla="*/ 848678 w 1206817"/>
                  <a:gd name="connsiteY136" fmla="*/ 118110 h 1449705"/>
                  <a:gd name="connsiteX137" fmla="*/ 839153 w 1206817"/>
                  <a:gd name="connsiteY137" fmla="*/ 94297 h 1449705"/>
                  <a:gd name="connsiteX138" fmla="*/ 848678 w 1206817"/>
                  <a:gd name="connsiteY138" fmla="*/ 73342 h 1449705"/>
                  <a:gd name="connsiteX139" fmla="*/ 871538 w 1206817"/>
                  <a:gd name="connsiteY139" fmla="*/ 73342 h 1449705"/>
                  <a:gd name="connsiteX140" fmla="*/ 864870 w 1206817"/>
                  <a:gd name="connsiteY140" fmla="*/ 102870 h 1449705"/>
                  <a:gd name="connsiteX141" fmla="*/ 864870 w 1206817"/>
                  <a:gd name="connsiteY141" fmla="*/ 143828 h 1449705"/>
                  <a:gd name="connsiteX142" fmla="*/ 859155 w 1206817"/>
                  <a:gd name="connsiteY142" fmla="*/ 180975 h 1449705"/>
                  <a:gd name="connsiteX143" fmla="*/ 833438 w 1206817"/>
                  <a:gd name="connsiteY143" fmla="*/ 206692 h 1449705"/>
                  <a:gd name="connsiteX144" fmla="*/ 833438 w 1206817"/>
                  <a:gd name="connsiteY144" fmla="*/ 241935 h 1449705"/>
                  <a:gd name="connsiteX145" fmla="*/ 833438 w 1206817"/>
                  <a:gd name="connsiteY145" fmla="*/ 267653 h 1449705"/>
                  <a:gd name="connsiteX146" fmla="*/ 862965 w 1206817"/>
                  <a:gd name="connsiteY146" fmla="*/ 290513 h 1449705"/>
                  <a:gd name="connsiteX147" fmla="*/ 880110 w 1206817"/>
                  <a:gd name="connsiteY147" fmla="*/ 304800 h 1449705"/>
                  <a:gd name="connsiteX148" fmla="*/ 902018 w 1206817"/>
                  <a:gd name="connsiteY148" fmla="*/ 291465 h 1449705"/>
                  <a:gd name="connsiteX149" fmla="*/ 923925 w 1206817"/>
                  <a:gd name="connsiteY149" fmla="*/ 313372 h 1449705"/>
                  <a:gd name="connsiteX150" fmla="*/ 947738 w 1206817"/>
                  <a:gd name="connsiteY150" fmla="*/ 336233 h 1449705"/>
                  <a:gd name="connsiteX151" fmla="*/ 947738 w 1206817"/>
                  <a:gd name="connsiteY151" fmla="*/ 319088 h 1449705"/>
                  <a:gd name="connsiteX152" fmla="*/ 938213 w 1206817"/>
                  <a:gd name="connsiteY152" fmla="*/ 297180 h 1449705"/>
                  <a:gd name="connsiteX153" fmla="*/ 922020 w 1206817"/>
                  <a:gd name="connsiteY153" fmla="*/ 280988 h 1449705"/>
                  <a:gd name="connsiteX154" fmla="*/ 896303 w 1206817"/>
                  <a:gd name="connsiteY154" fmla="*/ 268605 h 1449705"/>
                  <a:gd name="connsiteX155" fmla="*/ 896303 w 1206817"/>
                  <a:gd name="connsiteY155" fmla="*/ 257175 h 1449705"/>
                  <a:gd name="connsiteX156" fmla="*/ 875347 w 1206817"/>
                  <a:gd name="connsiteY156" fmla="*/ 236220 h 1449705"/>
                  <a:gd name="connsiteX157" fmla="*/ 865822 w 1206817"/>
                  <a:gd name="connsiteY157" fmla="*/ 204788 h 1449705"/>
                  <a:gd name="connsiteX158" fmla="*/ 895350 w 1206817"/>
                  <a:gd name="connsiteY158" fmla="*/ 184785 h 1449705"/>
                  <a:gd name="connsiteX159" fmla="*/ 909638 w 1206817"/>
                  <a:gd name="connsiteY159" fmla="*/ 199072 h 1449705"/>
                  <a:gd name="connsiteX160" fmla="*/ 932497 w 1206817"/>
                  <a:gd name="connsiteY160" fmla="*/ 221933 h 1449705"/>
                  <a:gd name="connsiteX161" fmla="*/ 949643 w 1206817"/>
                  <a:gd name="connsiteY161" fmla="*/ 206692 h 1449705"/>
                  <a:gd name="connsiteX162" fmla="*/ 943928 w 1206817"/>
                  <a:gd name="connsiteY162" fmla="*/ 188595 h 1449705"/>
                  <a:gd name="connsiteX163" fmla="*/ 942022 w 1206817"/>
                  <a:gd name="connsiteY163" fmla="*/ 172403 h 1449705"/>
                  <a:gd name="connsiteX164" fmla="*/ 958215 w 1206817"/>
                  <a:gd name="connsiteY164" fmla="*/ 156210 h 1449705"/>
                  <a:gd name="connsiteX165" fmla="*/ 959168 w 1206817"/>
                  <a:gd name="connsiteY165" fmla="*/ 173355 h 1449705"/>
                  <a:gd name="connsiteX166" fmla="*/ 972503 w 1206817"/>
                  <a:gd name="connsiteY166" fmla="*/ 173355 h 1449705"/>
                  <a:gd name="connsiteX167" fmla="*/ 978218 w 1206817"/>
                  <a:gd name="connsiteY167" fmla="*/ 188595 h 1449705"/>
                  <a:gd name="connsiteX168" fmla="*/ 988695 w 1206817"/>
                  <a:gd name="connsiteY168" fmla="*/ 199072 h 1449705"/>
                  <a:gd name="connsiteX169" fmla="*/ 1007745 w 1206817"/>
                  <a:gd name="connsiteY169" fmla="*/ 203835 h 1449705"/>
                  <a:gd name="connsiteX170" fmla="*/ 1027747 w 1206817"/>
                  <a:gd name="connsiteY170" fmla="*/ 214313 h 1449705"/>
                  <a:gd name="connsiteX171" fmla="*/ 1032510 w 1206817"/>
                  <a:gd name="connsiteY171" fmla="*/ 232410 h 1449705"/>
                  <a:gd name="connsiteX172" fmla="*/ 1019175 w 1206817"/>
                  <a:gd name="connsiteY172" fmla="*/ 245745 h 1449705"/>
                  <a:gd name="connsiteX173" fmla="*/ 1022032 w 1206817"/>
                  <a:gd name="connsiteY173" fmla="*/ 260985 h 1449705"/>
                  <a:gd name="connsiteX174" fmla="*/ 995363 w 1206817"/>
                  <a:gd name="connsiteY174" fmla="*/ 264795 h 1449705"/>
                  <a:gd name="connsiteX175" fmla="*/ 982980 w 1206817"/>
                  <a:gd name="connsiteY175" fmla="*/ 277178 h 1449705"/>
                  <a:gd name="connsiteX176" fmla="*/ 975360 w 1206817"/>
                  <a:gd name="connsiteY176" fmla="*/ 284797 h 1449705"/>
                  <a:gd name="connsiteX177" fmla="*/ 983932 w 1206817"/>
                  <a:gd name="connsiteY177" fmla="*/ 303847 h 1449705"/>
                  <a:gd name="connsiteX178" fmla="*/ 990600 w 1206817"/>
                  <a:gd name="connsiteY178" fmla="*/ 297180 h 1449705"/>
                  <a:gd name="connsiteX179" fmla="*/ 999172 w 1206817"/>
                  <a:gd name="connsiteY179" fmla="*/ 313372 h 1449705"/>
                  <a:gd name="connsiteX180" fmla="*/ 1029653 w 1206817"/>
                  <a:gd name="connsiteY180" fmla="*/ 330517 h 1449705"/>
                  <a:gd name="connsiteX181" fmla="*/ 1026795 w 1206817"/>
                  <a:gd name="connsiteY181" fmla="*/ 364808 h 1449705"/>
                  <a:gd name="connsiteX182" fmla="*/ 1026795 w 1206817"/>
                  <a:gd name="connsiteY182" fmla="*/ 413385 h 1449705"/>
                  <a:gd name="connsiteX183" fmla="*/ 998220 w 1206817"/>
                  <a:gd name="connsiteY183" fmla="*/ 413385 h 1449705"/>
                  <a:gd name="connsiteX184" fmla="*/ 987743 w 1206817"/>
                  <a:gd name="connsiteY184" fmla="*/ 430530 h 1449705"/>
                  <a:gd name="connsiteX185" fmla="*/ 966788 w 1206817"/>
                  <a:gd name="connsiteY185" fmla="*/ 451485 h 1449705"/>
                  <a:gd name="connsiteX186" fmla="*/ 941070 w 1206817"/>
                  <a:gd name="connsiteY186" fmla="*/ 470535 h 1449705"/>
                  <a:gd name="connsiteX187" fmla="*/ 942022 w 1206817"/>
                  <a:gd name="connsiteY187" fmla="*/ 496253 h 1449705"/>
                  <a:gd name="connsiteX188" fmla="*/ 954405 w 1206817"/>
                  <a:gd name="connsiteY188" fmla="*/ 508635 h 1449705"/>
                  <a:gd name="connsiteX189" fmla="*/ 958215 w 1206817"/>
                  <a:gd name="connsiteY189" fmla="*/ 523875 h 1449705"/>
                  <a:gd name="connsiteX190" fmla="*/ 976313 w 1206817"/>
                  <a:gd name="connsiteY190" fmla="*/ 541972 h 1449705"/>
                  <a:gd name="connsiteX191" fmla="*/ 1002982 w 1206817"/>
                  <a:gd name="connsiteY191" fmla="*/ 545782 h 1449705"/>
                  <a:gd name="connsiteX192" fmla="*/ 1006793 w 1206817"/>
                  <a:gd name="connsiteY192" fmla="*/ 563880 h 1449705"/>
                  <a:gd name="connsiteX193" fmla="*/ 1016318 w 1206817"/>
                  <a:gd name="connsiteY193" fmla="*/ 573405 h 1449705"/>
                  <a:gd name="connsiteX194" fmla="*/ 1033463 w 1206817"/>
                  <a:gd name="connsiteY194" fmla="*/ 558165 h 1449705"/>
                  <a:gd name="connsiteX195" fmla="*/ 1042035 w 1206817"/>
                  <a:gd name="connsiteY195" fmla="*/ 566738 h 1449705"/>
                  <a:gd name="connsiteX196" fmla="*/ 1059180 w 1206817"/>
                  <a:gd name="connsiteY196" fmla="*/ 550545 h 1449705"/>
                  <a:gd name="connsiteX197" fmla="*/ 1058228 w 1206817"/>
                  <a:gd name="connsiteY197" fmla="*/ 578168 h 1449705"/>
                  <a:gd name="connsiteX198" fmla="*/ 1080135 w 1206817"/>
                  <a:gd name="connsiteY198" fmla="*/ 581978 h 1449705"/>
                  <a:gd name="connsiteX199" fmla="*/ 1080135 w 1206817"/>
                  <a:gd name="connsiteY199" fmla="*/ 603885 h 1449705"/>
                  <a:gd name="connsiteX200" fmla="*/ 1093470 w 1206817"/>
                  <a:gd name="connsiteY200" fmla="*/ 636270 h 1449705"/>
                  <a:gd name="connsiteX201" fmla="*/ 1085850 w 1206817"/>
                  <a:gd name="connsiteY201" fmla="*/ 656272 h 1449705"/>
                  <a:gd name="connsiteX202" fmla="*/ 1075373 w 1206817"/>
                  <a:gd name="connsiteY202" fmla="*/ 656272 h 1449705"/>
                  <a:gd name="connsiteX203" fmla="*/ 1086803 w 1206817"/>
                  <a:gd name="connsiteY203" fmla="*/ 677228 h 1449705"/>
                  <a:gd name="connsiteX204" fmla="*/ 1077278 w 1206817"/>
                  <a:gd name="connsiteY204" fmla="*/ 703897 h 1449705"/>
                  <a:gd name="connsiteX205" fmla="*/ 1062038 w 1206817"/>
                  <a:gd name="connsiteY205" fmla="*/ 719138 h 1449705"/>
                  <a:gd name="connsiteX206" fmla="*/ 1056323 w 1206817"/>
                  <a:gd name="connsiteY206" fmla="*/ 736282 h 1449705"/>
                  <a:gd name="connsiteX207" fmla="*/ 1036320 w 1206817"/>
                  <a:gd name="connsiteY207" fmla="*/ 732472 h 1449705"/>
                  <a:gd name="connsiteX208" fmla="*/ 1035368 w 1206817"/>
                  <a:gd name="connsiteY208" fmla="*/ 755332 h 1449705"/>
                  <a:gd name="connsiteX209" fmla="*/ 1048703 w 1206817"/>
                  <a:gd name="connsiteY209" fmla="*/ 768668 h 1449705"/>
                  <a:gd name="connsiteX210" fmla="*/ 1053465 w 1206817"/>
                  <a:gd name="connsiteY210" fmla="*/ 794385 h 1449705"/>
                  <a:gd name="connsiteX211" fmla="*/ 1041082 w 1206817"/>
                  <a:gd name="connsiteY211" fmla="*/ 815340 h 1449705"/>
                  <a:gd name="connsiteX212" fmla="*/ 1053465 w 1206817"/>
                  <a:gd name="connsiteY212" fmla="*/ 827722 h 1449705"/>
                  <a:gd name="connsiteX213" fmla="*/ 1053465 w 1206817"/>
                  <a:gd name="connsiteY213" fmla="*/ 847725 h 1449705"/>
                  <a:gd name="connsiteX214" fmla="*/ 1084898 w 1206817"/>
                  <a:gd name="connsiteY214" fmla="*/ 865822 h 1449705"/>
                  <a:gd name="connsiteX215" fmla="*/ 1097280 w 1206817"/>
                  <a:gd name="connsiteY215" fmla="*/ 890588 h 1449705"/>
                  <a:gd name="connsiteX216" fmla="*/ 1078230 w 1206817"/>
                  <a:gd name="connsiteY216" fmla="*/ 908685 h 1449705"/>
                  <a:gd name="connsiteX217" fmla="*/ 1078230 w 1206817"/>
                  <a:gd name="connsiteY217" fmla="*/ 922972 h 1449705"/>
                  <a:gd name="connsiteX218" fmla="*/ 1087755 w 1206817"/>
                  <a:gd name="connsiteY218" fmla="*/ 940118 h 1449705"/>
                  <a:gd name="connsiteX219" fmla="*/ 1087755 w 1206817"/>
                  <a:gd name="connsiteY219" fmla="*/ 965835 h 1449705"/>
                  <a:gd name="connsiteX220" fmla="*/ 1075373 w 1206817"/>
                  <a:gd name="connsiteY220" fmla="*/ 975360 h 1449705"/>
                  <a:gd name="connsiteX221" fmla="*/ 1090613 w 1206817"/>
                  <a:gd name="connsiteY221" fmla="*/ 1003935 h 1449705"/>
                  <a:gd name="connsiteX222" fmla="*/ 1107757 w 1206817"/>
                  <a:gd name="connsiteY222" fmla="*/ 1003935 h 1449705"/>
                  <a:gd name="connsiteX223" fmla="*/ 1124903 w 1206817"/>
                  <a:gd name="connsiteY223" fmla="*/ 1021080 h 1449705"/>
                  <a:gd name="connsiteX224" fmla="*/ 1137285 w 1206817"/>
                  <a:gd name="connsiteY224" fmla="*/ 1046797 h 1449705"/>
                  <a:gd name="connsiteX225" fmla="*/ 1140143 w 1206817"/>
                  <a:gd name="connsiteY225" fmla="*/ 1079182 h 1449705"/>
                  <a:gd name="connsiteX226" fmla="*/ 1125855 w 1206817"/>
                  <a:gd name="connsiteY226" fmla="*/ 1093470 h 1449705"/>
                  <a:gd name="connsiteX227" fmla="*/ 1132523 w 1206817"/>
                  <a:gd name="connsiteY227" fmla="*/ 1122998 h 1449705"/>
                  <a:gd name="connsiteX228" fmla="*/ 1164907 w 1206817"/>
                  <a:gd name="connsiteY228" fmla="*/ 1129665 h 1449705"/>
                  <a:gd name="connsiteX229" fmla="*/ 1181100 w 1206817"/>
                  <a:gd name="connsiteY229" fmla="*/ 1145857 h 1449705"/>
                  <a:gd name="connsiteX230" fmla="*/ 1197293 w 1206817"/>
                  <a:gd name="connsiteY230" fmla="*/ 1129665 h 1449705"/>
                  <a:gd name="connsiteX231" fmla="*/ 1203007 w 1206817"/>
                  <a:gd name="connsiteY231" fmla="*/ 1163955 h 1449705"/>
                  <a:gd name="connsiteX232" fmla="*/ 1197293 w 1206817"/>
                  <a:gd name="connsiteY232" fmla="*/ 1193482 h 1449705"/>
                  <a:gd name="connsiteX233" fmla="*/ 1206818 w 1206817"/>
                  <a:gd name="connsiteY233" fmla="*/ 1216343 h 1449705"/>
                  <a:gd name="connsiteX234" fmla="*/ 1187768 w 1206817"/>
                  <a:gd name="connsiteY234" fmla="*/ 1235393 h 1449705"/>
                  <a:gd name="connsiteX235" fmla="*/ 1167765 w 1206817"/>
                  <a:gd name="connsiteY235" fmla="*/ 1261110 h 1449705"/>
                  <a:gd name="connsiteX236" fmla="*/ 1153478 w 1206817"/>
                  <a:gd name="connsiteY236" fmla="*/ 1287780 h 1449705"/>
                  <a:gd name="connsiteX237" fmla="*/ 1174432 w 1206817"/>
                  <a:gd name="connsiteY237" fmla="*/ 1317307 h 1449705"/>
                  <a:gd name="connsiteX238" fmla="*/ 1174432 w 1206817"/>
                  <a:gd name="connsiteY238" fmla="*/ 1352550 h 1449705"/>
                  <a:gd name="connsiteX239" fmla="*/ 1154430 w 1206817"/>
                  <a:gd name="connsiteY239" fmla="*/ 1372553 h 1449705"/>
                  <a:gd name="connsiteX240" fmla="*/ 1152525 w 1206817"/>
                  <a:gd name="connsiteY240" fmla="*/ 1403985 h 1449705"/>
                  <a:gd name="connsiteX241" fmla="*/ 1140143 w 1206817"/>
                  <a:gd name="connsiteY241" fmla="*/ 1416368 h 1449705"/>
                  <a:gd name="connsiteX242" fmla="*/ 1106805 w 1206817"/>
                  <a:gd name="connsiteY242" fmla="*/ 1449705 h 1449705"/>
                  <a:gd name="connsiteX243" fmla="*/ 1077278 w 1206817"/>
                  <a:gd name="connsiteY243" fmla="*/ 1412557 h 1449705"/>
                  <a:gd name="connsiteX244" fmla="*/ 1057275 w 1206817"/>
                  <a:gd name="connsiteY244" fmla="*/ 1412557 h 1449705"/>
                  <a:gd name="connsiteX245" fmla="*/ 1036320 w 1206817"/>
                  <a:gd name="connsiteY245" fmla="*/ 1419225 h 1449705"/>
                  <a:gd name="connsiteX246" fmla="*/ 1015365 w 1206817"/>
                  <a:gd name="connsiteY246" fmla="*/ 1383982 h 1449705"/>
                  <a:gd name="connsiteX247" fmla="*/ 974407 w 1206817"/>
                  <a:gd name="connsiteY247" fmla="*/ 1371600 h 1449705"/>
                  <a:gd name="connsiteX248" fmla="*/ 961072 w 1206817"/>
                  <a:gd name="connsiteY248" fmla="*/ 1384935 h 1449705"/>
                  <a:gd name="connsiteX249" fmla="*/ 932497 w 1206817"/>
                  <a:gd name="connsiteY249" fmla="*/ 1347788 h 1449705"/>
                  <a:gd name="connsiteX250" fmla="*/ 921068 w 1206817"/>
                  <a:gd name="connsiteY250" fmla="*/ 1318260 h 1449705"/>
                  <a:gd name="connsiteX251" fmla="*/ 891540 w 1206817"/>
                  <a:gd name="connsiteY251" fmla="*/ 1338263 h 1449705"/>
                  <a:gd name="connsiteX252" fmla="*/ 865822 w 1206817"/>
                  <a:gd name="connsiteY252" fmla="*/ 1352550 h 1449705"/>
                  <a:gd name="connsiteX253" fmla="*/ 854393 w 1206817"/>
                  <a:gd name="connsiteY253" fmla="*/ 1372553 h 1449705"/>
                  <a:gd name="connsiteX254" fmla="*/ 804863 w 1206817"/>
                  <a:gd name="connsiteY254" fmla="*/ 1372553 h 1449705"/>
                  <a:gd name="connsiteX255" fmla="*/ 752475 w 1206817"/>
                  <a:gd name="connsiteY255" fmla="*/ 1372553 h 1449705"/>
                  <a:gd name="connsiteX256" fmla="*/ 729615 w 1206817"/>
                  <a:gd name="connsiteY256" fmla="*/ 1349693 h 1449705"/>
                  <a:gd name="connsiteX257" fmla="*/ 700088 w 1206817"/>
                  <a:gd name="connsiteY257" fmla="*/ 1334453 h 1449705"/>
                  <a:gd name="connsiteX258" fmla="*/ 709613 w 1206817"/>
                  <a:gd name="connsiteY258" fmla="*/ 1307782 h 1449705"/>
                  <a:gd name="connsiteX259" fmla="*/ 671513 w 1206817"/>
                  <a:gd name="connsiteY259" fmla="*/ 1292543 h 1449705"/>
                  <a:gd name="connsiteX260" fmla="*/ 658178 w 1206817"/>
                  <a:gd name="connsiteY260" fmla="*/ 1305878 h 1449705"/>
                  <a:gd name="connsiteX261" fmla="*/ 635318 w 1206817"/>
                  <a:gd name="connsiteY261" fmla="*/ 1283018 h 1449705"/>
                  <a:gd name="connsiteX262" fmla="*/ 601028 w 1206817"/>
                  <a:gd name="connsiteY262" fmla="*/ 1273493 h 1449705"/>
                  <a:gd name="connsiteX263" fmla="*/ 577215 w 1206817"/>
                  <a:gd name="connsiteY263" fmla="*/ 1279207 h 1449705"/>
                  <a:gd name="connsiteX264" fmla="*/ 548640 w 1206817"/>
                  <a:gd name="connsiteY264" fmla="*/ 1249680 h 1449705"/>
                  <a:gd name="connsiteX265" fmla="*/ 524828 w 1206817"/>
                  <a:gd name="connsiteY265" fmla="*/ 1249680 h 1449705"/>
                  <a:gd name="connsiteX266" fmla="*/ 503872 w 1206817"/>
                  <a:gd name="connsiteY266" fmla="*/ 1215390 h 1449705"/>
                  <a:gd name="connsiteX267" fmla="*/ 480060 w 1206817"/>
                  <a:gd name="connsiteY267" fmla="*/ 1215390 h 1449705"/>
                  <a:gd name="connsiteX268" fmla="*/ 430530 w 1206817"/>
                  <a:gd name="connsiteY268" fmla="*/ 1221105 h 1449705"/>
                  <a:gd name="connsiteX269" fmla="*/ 421005 w 1206817"/>
                  <a:gd name="connsiteY269" fmla="*/ 1192530 h 1449705"/>
                  <a:gd name="connsiteX270" fmla="*/ 427672 w 1206817"/>
                  <a:gd name="connsiteY270" fmla="*/ 1163955 h 1449705"/>
                  <a:gd name="connsiteX271" fmla="*/ 396240 w 1206817"/>
                  <a:gd name="connsiteY271" fmla="*/ 1132523 h 1449705"/>
                  <a:gd name="connsiteX272" fmla="*/ 396240 w 1206817"/>
                  <a:gd name="connsiteY272" fmla="*/ 1107757 h 1449705"/>
                  <a:gd name="connsiteX273" fmla="*/ 388620 w 1206817"/>
                  <a:gd name="connsiteY273" fmla="*/ 1069657 h 1449705"/>
                  <a:gd name="connsiteX274" fmla="*/ 354330 w 1206817"/>
                  <a:gd name="connsiteY274" fmla="*/ 1035368 h 1449705"/>
                  <a:gd name="connsiteX275" fmla="*/ 316230 w 1206817"/>
                  <a:gd name="connsiteY275" fmla="*/ 1035368 h 1449705"/>
                  <a:gd name="connsiteX276" fmla="*/ 300990 w 1206817"/>
                  <a:gd name="connsiteY276" fmla="*/ 1050607 h 1449705"/>
                  <a:gd name="connsiteX277" fmla="*/ 280035 w 1206817"/>
                  <a:gd name="connsiteY277" fmla="*/ 1029653 h 1449705"/>
                  <a:gd name="connsiteX278" fmla="*/ 260032 w 1206817"/>
                  <a:gd name="connsiteY278" fmla="*/ 1049655 h 1449705"/>
                  <a:gd name="connsiteX279" fmla="*/ 221932 w 1206817"/>
                  <a:gd name="connsiteY279" fmla="*/ 1042988 h 1449705"/>
                  <a:gd name="connsiteX280" fmla="*/ 200978 w 1206817"/>
                  <a:gd name="connsiteY280" fmla="*/ 1019175 h 1449705"/>
                  <a:gd name="connsiteX281" fmla="*/ 225743 w 1206817"/>
                  <a:gd name="connsiteY281" fmla="*/ 994410 h 1449705"/>
                  <a:gd name="connsiteX282" fmla="*/ 194310 w 1206817"/>
                  <a:gd name="connsiteY282" fmla="*/ 966788 h 1449705"/>
                  <a:gd name="connsiteX283" fmla="*/ 161925 w 1206817"/>
                  <a:gd name="connsiteY283" fmla="*/ 949643 h 1449705"/>
                  <a:gd name="connsiteX284" fmla="*/ 132397 w 1206817"/>
                  <a:gd name="connsiteY284" fmla="*/ 962025 h 1449705"/>
                  <a:gd name="connsiteX285" fmla="*/ 102870 w 1206817"/>
                  <a:gd name="connsiteY285" fmla="*/ 949643 h 1449705"/>
                  <a:gd name="connsiteX286" fmla="*/ 64770 w 1206817"/>
                  <a:gd name="connsiteY286" fmla="*/ 958215 h 1449705"/>
                  <a:gd name="connsiteX287" fmla="*/ 37147 w 1206817"/>
                  <a:gd name="connsiteY287" fmla="*/ 930593 h 1449705"/>
                  <a:gd name="connsiteX288" fmla="*/ 13335 w 1206817"/>
                  <a:gd name="connsiteY288" fmla="*/ 906780 h 1449705"/>
                  <a:gd name="connsiteX289" fmla="*/ 0 w 1206817"/>
                  <a:gd name="connsiteY289" fmla="*/ 893445 h 1449705"/>
                  <a:gd name="connsiteX290" fmla="*/ 25718 w 1206817"/>
                  <a:gd name="connsiteY290" fmla="*/ 867728 h 1449705"/>
                  <a:gd name="connsiteX291" fmla="*/ 36195 w 1206817"/>
                  <a:gd name="connsiteY291" fmla="*/ 833438 h 1449705"/>
                  <a:gd name="connsiteX292" fmla="*/ 30480 w 1206817"/>
                  <a:gd name="connsiteY292" fmla="*/ 795338 h 1449705"/>
                  <a:gd name="connsiteX293" fmla="*/ 33338 w 1206817"/>
                  <a:gd name="connsiteY293" fmla="*/ 748665 h 1449705"/>
                  <a:gd name="connsiteX294" fmla="*/ 70485 w 1206817"/>
                  <a:gd name="connsiteY294" fmla="*/ 749618 h 1449705"/>
                  <a:gd name="connsiteX295" fmla="*/ 70485 w 1206817"/>
                  <a:gd name="connsiteY295" fmla="*/ 718185 h 1449705"/>
                  <a:gd name="connsiteX296" fmla="*/ 115253 w 1206817"/>
                  <a:gd name="connsiteY296" fmla="*/ 692468 h 1449705"/>
                  <a:gd name="connsiteX297" fmla="*/ 160020 w 1206817"/>
                  <a:gd name="connsiteY297" fmla="*/ 682943 h 1449705"/>
                  <a:gd name="connsiteX298" fmla="*/ 207645 w 1206817"/>
                  <a:gd name="connsiteY298" fmla="*/ 682943 h 1449705"/>
                  <a:gd name="connsiteX299" fmla="*/ 217170 w 1206817"/>
                  <a:gd name="connsiteY299" fmla="*/ 651510 h 1449705"/>
                  <a:gd name="connsiteX300" fmla="*/ 243840 w 1206817"/>
                  <a:gd name="connsiteY300" fmla="*/ 651510 h 1449705"/>
                  <a:gd name="connsiteX301" fmla="*/ 269557 w 1206817"/>
                  <a:gd name="connsiteY301" fmla="*/ 625793 h 1449705"/>
                  <a:gd name="connsiteX302" fmla="*/ 303847 w 1206817"/>
                  <a:gd name="connsiteY302" fmla="*/ 608647 h 1449705"/>
                  <a:gd name="connsiteX303" fmla="*/ 281940 w 1206817"/>
                  <a:gd name="connsiteY303" fmla="*/ 586740 h 1449705"/>
                  <a:gd name="connsiteX304" fmla="*/ 307657 w 1206817"/>
                  <a:gd name="connsiteY304" fmla="*/ 576263 h 1449705"/>
                  <a:gd name="connsiteX305" fmla="*/ 307657 w 1206817"/>
                  <a:gd name="connsiteY305" fmla="*/ 558165 h 1449705"/>
                  <a:gd name="connsiteX306" fmla="*/ 279082 w 1206817"/>
                  <a:gd name="connsiteY306" fmla="*/ 543878 h 1449705"/>
                  <a:gd name="connsiteX307" fmla="*/ 280035 w 1206817"/>
                  <a:gd name="connsiteY307" fmla="*/ 534353 h 1449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</a:cxnLst>
                <a:rect l="l" t="t" r="r" b="b"/>
                <a:pathLst>
                  <a:path w="1206817" h="1449705">
                    <a:moveTo>
                      <a:pt x="280035" y="534353"/>
                    </a:moveTo>
                    <a:lnTo>
                      <a:pt x="281940" y="519113"/>
                    </a:lnTo>
                    <a:lnTo>
                      <a:pt x="293370" y="513397"/>
                    </a:lnTo>
                    <a:lnTo>
                      <a:pt x="300038" y="498157"/>
                    </a:lnTo>
                    <a:lnTo>
                      <a:pt x="313372" y="498157"/>
                    </a:lnTo>
                    <a:lnTo>
                      <a:pt x="313372" y="450532"/>
                    </a:lnTo>
                    <a:lnTo>
                      <a:pt x="302895" y="446722"/>
                    </a:lnTo>
                    <a:lnTo>
                      <a:pt x="300038" y="436245"/>
                    </a:lnTo>
                    <a:lnTo>
                      <a:pt x="286703" y="422910"/>
                    </a:lnTo>
                    <a:lnTo>
                      <a:pt x="308610" y="401003"/>
                    </a:lnTo>
                    <a:lnTo>
                      <a:pt x="320040" y="383858"/>
                    </a:lnTo>
                    <a:lnTo>
                      <a:pt x="331470" y="406718"/>
                    </a:lnTo>
                    <a:lnTo>
                      <a:pt x="364807" y="440055"/>
                    </a:lnTo>
                    <a:lnTo>
                      <a:pt x="387668" y="475297"/>
                    </a:lnTo>
                    <a:lnTo>
                      <a:pt x="411480" y="507682"/>
                    </a:lnTo>
                    <a:lnTo>
                      <a:pt x="411480" y="536257"/>
                    </a:lnTo>
                    <a:lnTo>
                      <a:pt x="431482" y="567690"/>
                    </a:lnTo>
                    <a:lnTo>
                      <a:pt x="460057" y="550545"/>
                    </a:lnTo>
                    <a:lnTo>
                      <a:pt x="460057" y="521018"/>
                    </a:lnTo>
                    <a:lnTo>
                      <a:pt x="492443" y="491490"/>
                    </a:lnTo>
                    <a:lnTo>
                      <a:pt x="469582" y="484822"/>
                    </a:lnTo>
                    <a:lnTo>
                      <a:pt x="454343" y="447675"/>
                    </a:lnTo>
                    <a:lnTo>
                      <a:pt x="460057" y="408622"/>
                    </a:lnTo>
                    <a:lnTo>
                      <a:pt x="433388" y="390525"/>
                    </a:lnTo>
                    <a:lnTo>
                      <a:pt x="418147" y="360045"/>
                    </a:lnTo>
                    <a:lnTo>
                      <a:pt x="431482" y="346710"/>
                    </a:lnTo>
                    <a:lnTo>
                      <a:pt x="460057" y="332422"/>
                    </a:lnTo>
                    <a:lnTo>
                      <a:pt x="460057" y="309563"/>
                    </a:lnTo>
                    <a:lnTo>
                      <a:pt x="466725" y="275272"/>
                    </a:lnTo>
                    <a:lnTo>
                      <a:pt x="479107" y="258128"/>
                    </a:lnTo>
                    <a:lnTo>
                      <a:pt x="479107" y="237172"/>
                    </a:lnTo>
                    <a:lnTo>
                      <a:pt x="461010" y="231458"/>
                    </a:lnTo>
                    <a:lnTo>
                      <a:pt x="470535" y="202883"/>
                    </a:lnTo>
                    <a:lnTo>
                      <a:pt x="485775" y="182880"/>
                    </a:lnTo>
                    <a:lnTo>
                      <a:pt x="514350" y="173355"/>
                    </a:lnTo>
                    <a:lnTo>
                      <a:pt x="544830" y="158115"/>
                    </a:lnTo>
                    <a:lnTo>
                      <a:pt x="555307" y="147638"/>
                    </a:lnTo>
                    <a:lnTo>
                      <a:pt x="579120" y="123825"/>
                    </a:lnTo>
                    <a:lnTo>
                      <a:pt x="597218" y="82867"/>
                    </a:lnTo>
                    <a:lnTo>
                      <a:pt x="611505" y="48578"/>
                    </a:lnTo>
                    <a:lnTo>
                      <a:pt x="626745" y="14288"/>
                    </a:lnTo>
                    <a:lnTo>
                      <a:pt x="653415" y="0"/>
                    </a:lnTo>
                    <a:lnTo>
                      <a:pt x="670560" y="23813"/>
                    </a:lnTo>
                    <a:lnTo>
                      <a:pt x="704850" y="23813"/>
                    </a:lnTo>
                    <a:lnTo>
                      <a:pt x="721995" y="40958"/>
                    </a:lnTo>
                    <a:lnTo>
                      <a:pt x="751522" y="40958"/>
                    </a:lnTo>
                    <a:lnTo>
                      <a:pt x="763905" y="88583"/>
                    </a:lnTo>
                    <a:lnTo>
                      <a:pt x="749618" y="102870"/>
                    </a:lnTo>
                    <a:lnTo>
                      <a:pt x="742950" y="154305"/>
                    </a:lnTo>
                    <a:lnTo>
                      <a:pt x="702945" y="194310"/>
                    </a:lnTo>
                    <a:lnTo>
                      <a:pt x="691515" y="231458"/>
                    </a:lnTo>
                    <a:lnTo>
                      <a:pt x="715328" y="252413"/>
                    </a:lnTo>
                    <a:lnTo>
                      <a:pt x="706755" y="300038"/>
                    </a:lnTo>
                    <a:lnTo>
                      <a:pt x="700088" y="338138"/>
                    </a:lnTo>
                    <a:lnTo>
                      <a:pt x="671513" y="380047"/>
                    </a:lnTo>
                    <a:lnTo>
                      <a:pt x="661988" y="441007"/>
                    </a:lnTo>
                    <a:lnTo>
                      <a:pt x="646747" y="494347"/>
                    </a:lnTo>
                    <a:lnTo>
                      <a:pt x="635318" y="521018"/>
                    </a:lnTo>
                    <a:lnTo>
                      <a:pt x="645795" y="558165"/>
                    </a:lnTo>
                    <a:lnTo>
                      <a:pt x="670560" y="582930"/>
                    </a:lnTo>
                    <a:lnTo>
                      <a:pt x="666750" y="605790"/>
                    </a:lnTo>
                    <a:lnTo>
                      <a:pt x="635318" y="629603"/>
                    </a:lnTo>
                    <a:lnTo>
                      <a:pt x="629603" y="681990"/>
                    </a:lnTo>
                    <a:lnTo>
                      <a:pt x="598170" y="690563"/>
                    </a:lnTo>
                    <a:lnTo>
                      <a:pt x="561022" y="727710"/>
                    </a:lnTo>
                    <a:lnTo>
                      <a:pt x="540068" y="759143"/>
                    </a:lnTo>
                    <a:lnTo>
                      <a:pt x="520065" y="770572"/>
                    </a:lnTo>
                    <a:lnTo>
                      <a:pt x="484822" y="763905"/>
                    </a:lnTo>
                    <a:lnTo>
                      <a:pt x="463868" y="778193"/>
                    </a:lnTo>
                    <a:lnTo>
                      <a:pt x="441007" y="762953"/>
                    </a:lnTo>
                    <a:lnTo>
                      <a:pt x="425768" y="747713"/>
                    </a:lnTo>
                    <a:lnTo>
                      <a:pt x="404813" y="741045"/>
                    </a:lnTo>
                    <a:lnTo>
                      <a:pt x="404813" y="767715"/>
                    </a:lnTo>
                    <a:lnTo>
                      <a:pt x="425768" y="800100"/>
                    </a:lnTo>
                    <a:lnTo>
                      <a:pt x="446722" y="809625"/>
                    </a:lnTo>
                    <a:lnTo>
                      <a:pt x="475297" y="829628"/>
                    </a:lnTo>
                    <a:lnTo>
                      <a:pt x="499110" y="828675"/>
                    </a:lnTo>
                    <a:lnTo>
                      <a:pt x="516255" y="852488"/>
                    </a:lnTo>
                    <a:lnTo>
                      <a:pt x="541972" y="852488"/>
                    </a:lnTo>
                    <a:cubicBezTo>
                      <a:pt x="541972" y="852488"/>
                      <a:pt x="552450" y="833438"/>
                      <a:pt x="546735" y="827722"/>
                    </a:cubicBezTo>
                    <a:cubicBezTo>
                      <a:pt x="541020" y="822007"/>
                      <a:pt x="561975" y="812482"/>
                      <a:pt x="561975" y="812482"/>
                    </a:cubicBezTo>
                    <a:lnTo>
                      <a:pt x="580072" y="812482"/>
                    </a:lnTo>
                    <a:lnTo>
                      <a:pt x="588645" y="803910"/>
                    </a:lnTo>
                    <a:lnTo>
                      <a:pt x="623888" y="794385"/>
                    </a:lnTo>
                    <a:lnTo>
                      <a:pt x="652463" y="779145"/>
                    </a:lnTo>
                    <a:lnTo>
                      <a:pt x="652463" y="749618"/>
                    </a:lnTo>
                    <a:lnTo>
                      <a:pt x="664845" y="737235"/>
                    </a:lnTo>
                    <a:lnTo>
                      <a:pt x="686753" y="715328"/>
                    </a:lnTo>
                    <a:lnTo>
                      <a:pt x="704850" y="697230"/>
                    </a:lnTo>
                    <a:lnTo>
                      <a:pt x="713422" y="662940"/>
                    </a:lnTo>
                    <a:lnTo>
                      <a:pt x="706755" y="633413"/>
                    </a:lnTo>
                    <a:lnTo>
                      <a:pt x="703897" y="606743"/>
                    </a:lnTo>
                    <a:lnTo>
                      <a:pt x="722947" y="587693"/>
                    </a:lnTo>
                    <a:lnTo>
                      <a:pt x="741997" y="568643"/>
                    </a:lnTo>
                    <a:lnTo>
                      <a:pt x="771525" y="568643"/>
                    </a:lnTo>
                    <a:lnTo>
                      <a:pt x="803910" y="564832"/>
                    </a:lnTo>
                    <a:lnTo>
                      <a:pt x="813435" y="592455"/>
                    </a:lnTo>
                    <a:lnTo>
                      <a:pt x="826770" y="605790"/>
                    </a:lnTo>
                    <a:lnTo>
                      <a:pt x="843915" y="649605"/>
                    </a:lnTo>
                    <a:lnTo>
                      <a:pt x="821055" y="672465"/>
                    </a:lnTo>
                    <a:lnTo>
                      <a:pt x="822007" y="706755"/>
                    </a:lnTo>
                    <a:lnTo>
                      <a:pt x="822007" y="727710"/>
                    </a:lnTo>
                    <a:lnTo>
                      <a:pt x="850582" y="756285"/>
                    </a:lnTo>
                    <a:lnTo>
                      <a:pt x="882968" y="762953"/>
                    </a:lnTo>
                    <a:lnTo>
                      <a:pt x="882968" y="742950"/>
                    </a:lnTo>
                    <a:lnTo>
                      <a:pt x="851535" y="733425"/>
                    </a:lnTo>
                    <a:lnTo>
                      <a:pt x="839153" y="721043"/>
                    </a:lnTo>
                    <a:lnTo>
                      <a:pt x="839153" y="703897"/>
                    </a:lnTo>
                    <a:lnTo>
                      <a:pt x="836295" y="678180"/>
                    </a:lnTo>
                    <a:lnTo>
                      <a:pt x="859155" y="671513"/>
                    </a:lnTo>
                    <a:lnTo>
                      <a:pt x="867728" y="653415"/>
                    </a:lnTo>
                    <a:lnTo>
                      <a:pt x="859155" y="626745"/>
                    </a:lnTo>
                    <a:lnTo>
                      <a:pt x="868680" y="603885"/>
                    </a:lnTo>
                    <a:lnTo>
                      <a:pt x="854393" y="575310"/>
                    </a:lnTo>
                    <a:lnTo>
                      <a:pt x="836295" y="558165"/>
                    </a:lnTo>
                    <a:lnTo>
                      <a:pt x="824865" y="546735"/>
                    </a:lnTo>
                    <a:lnTo>
                      <a:pt x="790575" y="534353"/>
                    </a:lnTo>
                    <a:lnTo>
                      <a:pt x="770572" y="514350"/>
                    </a:lnTo>
                    <a:lnTo>
                      <a:pt x="754380" y="530543"/>
                    </a:lnTo>
                    <a:lnTo>
                      <a:pt x="733425" y="540068"/>
                    </a:lnTo>
                    <a:lnTo>
                      <a:pt x="721995" y="524828"/>
                    </a:lnTo>
                    <a:lnTo>
                      <a:pt x="696278" y="524828"/>
                    </a:lnTo>
                    <a:lnTo>
                      <a:pt x="692468" y="498157"/>
                    </a:lnTo>
                    <a:lnTo>
                      <a:pt x="709613" y="481013"/>
                    </a:lnTo>
                    <a:lnTo>
                      <a:pt x="705803" y="436245"/>
                    </a:lnTo>
                    <a:lnTo>
                      <a:pt x="725805" y="404813"/>
                    </a:lnTo>
                    <a:lnTo>
                      <a:pt x="738188" y="367665"/>
                    </a:lnTo>
                    <a:lnTo>
                      <a:pt x="766763" y="339090"/>
                    </a:lnTo>
                    <a:lnTo>
                      <a:pt x="757238" y="307658"/>
                    </a:lnTo>
                    <a:lnTo>
                      <a:pt x="748665" y="280988"/>
                    </a:lnTo>
                    <a:lnTo>
                      <a:pt x="752475" y="252413"/>
                    </a:lnTo>
                    <a:lnTo>
                      <a:pt x="732472" y="232410"/>
                    </a:lnTo>
                    <a:lnTo>
                      <a:pt x="755332" y="209550"/>
                    </a:lnTo>
                    <a:lnTo>
                      <a:pt x="790575" y="174308"/>
                    </a:lnTo>
                    <a:lnTo>
                      <a:pt x="820103" y="174308"/>
                    </a:lnTo>
                    <a:lnTo>
                      <a:pt x="837247" y="147638"/>
                    </a:lnTo>
                    <a:lnTo>
                      <a:pt x="848678" y="118110"/>
                    </a:lnTo>
                    <a:lnTo>
                      <a:pt x="839153" y="94297"/>
                    </a:lnTo>
                    <a:lnTo>
                      <a:pt x="848678" y="73342"/>
                    </a:lnTo>
                    <a:lnTo>
                      <a:pt x="871538" y="73342"/>
                    </a:lnTo>
                    <a:lnTo>
                      <a:pt x="864870" y="102870"/>
                    </a:lnTo>
                    <a:lnTo>
                      <a:pt x="864870" y="143828"/>
                    </a:lnTo>
                    <a:lnTo>
                      <a:pt x="859155" y="180975"/>
                    </a:lnTo>
                    <a:lnTo>
                      <a:pt x="833438" y="206692"/>
                    </a:lnTo>
                    <a:lnTo>
                      <a:pt x="833438" y="241935"/>
                    </a:lnTo>
                    <a:lnTo>
                      <a:pt x="833438" y="267653"/>
                    </a:lnTo>
                    <a:lnTo>
                      <a:pt x="862965" y="290513"/>
                    </a:lnTo>
                    <a:lnTo>
                      <a:pt x="880110" y="304800"/>
                    </a:lnTo>
                    <a:lnTo>
                      <a:pt x="902018" y="291465"/>
                    </a:lnTo>
                    <a:lnTo>
                      <a:pt x="923925" y="313372"/>
                    </a:lnTo>
                    <a:lnTo>
                      <a:pt x="947738" y="336233"/>
                    </a:lnTo>
                    <a:lnTo>
                      <a:pt x="947738" y="319088"/>
                    </a:lnTo>
                    <a:lnTo>
                      <a:pt x="938213" y="297180"/>
                    </a:lnTo>
                    <a:lnTo>
                      <a:pt x="922020" y="280988"/>
                    </a:lnTo>
                    <a:lnTo>
                      <a:pt x="896303" y="268605"/>
                    </a:lnTo>
                    <a:lnTo>
                      <a:pt x="896303" y="257175"/>
                    </a:lnTo>
                    <a:lnTo>
                      <a:pt x="875347" y="236220"/>
                    </a:lnTo>
                    <a:lnTo>
                      <a:pt x="865822" y="204788"/>
                    </a:lnTo>
                    <a:lnTo>
                      <a:pt x="895350" y="184785"/>
                    </a:lnTo>
                    <a:lnTo>
                      <a:pt x="909638" y="199072"/>
                    </a:lnTo>
                    <a:lnTo>
                      <a:pt x="932497" y="221933"/>
                    </a:lnTo>
                    <a:lnTo>
                      <a:pt x="949643" y="206692"/>
                    </a:lnTo>
                    <a:lnTo>
                      <a:pt x="943928" y="188595"/>
                    </a:lnTo>
                    <a:lnTo>
                      <a:pt x="942022" y="172403"/>
                    </a:lnTo>
                    <a:lnTo>
                      <a:pt x="958215" y="156210"/>
                    </a:lnTo>
                    <a:lnTo>
                      <a:pt x="959168" y="173355"/>
                    </a:lnTo>
                    <a:lnTo>
                      <a:pt x="972503" y="173355"/>
                    </a:lnTo>
                    <a:lnTo>
                      <a:pt x="978218" y="188595"/>
                    </a:lnTo>
                    <a:lnTo>
                      <a:pt x="988695" y="199072"/>
                    </a:lnTo>
                    <a:lnTo>
                      <a:pt x="1007745" y="203835"/>
                    </a:lnTo>
                    <a:lnTo>
                      <a:pt x="1027747" y="214313"/>
                    </a:lnTo>
                    <a:lnTo>
                      <a:pt x="1032510" y="232410"/>
                    </a:lnTo>
                    <a:lnTo>
                      <a:pt x="1019175" y="245745"/>
                    </a:lnTo>
                    <a:lnTo>
                      <a:pt x="1022032" y="260985"/>
                    </a:lnTo>
                    <a:lnTo>
                      <a:pt x="995363" y="264795"/>
                    </a:lnTo>
                    <a:lnTo>
                      <a:pt x="982980" y="277178"/>
                    </a:lnTo>
                    <a:lnTo>
                      <a:pt x="975360" y="284797"/>
                    </a:lnTo>
                    <a:lnTo>
                      <a:pt x="983932" y="303847"/>
                    </a:lnTo>
                    <a:lnTo>
                      <a:pt x="990600" y="297180"/>
                    </a:lnTo>
                    <a:lnTo>
                      <a:pt x="999172" y="313372"/>
                    </a:lnTo>
                    <a:lnTo>
                      <a:pt x="1029653" y="330517"/>
                    </a:lnTo>
                    <a:lnTo>
                      <a:pt x="1026795" y="364808"/>
                    </a:lnTo>
                    <a:lnTo>
                      <a:pt x="1026795" y="413385"/>
                    </a:lnTo>
                    <a:lnTo>
                      <a:pt x="998220" y="413385"/>
                    </a:lnTo>
                    <a:lnTo>
                      <a:pt x="987743" y="430530"/>
                    </a:lnTo>
                    <a:lnTo>
                      <a:pt x="966788" y="451485"/>
                    </a:lnTo>
                    <a:lnTo>
                      <a:pt x="941070" y="470535"/>
                    </a:lnTo>
                    <a:lnTo>
                      <a:pt x="942022" y="496253"/>
                    </a:lnTo>
                    <a:lnTo>
                      <a:pt x="954405" y="508635"/>
                    </a:lnTo>
                    <a:lnTo>
                      <a:pt x="958215" y="523875"/>
                    </a:lnTo>
                    <a:lnTo>
                      <a:pt x="976313" y="541972"/>
                    </a:lnTo>
                    <a:lnTo>
                      <a:pt x="1002982" y="545782"/>
                    </a:lnTo>
                    <a:lnTo>
                      <a:pt x="1006793" y="563880"/>
                    </a:lnTo>
                    <a:lnTo>
                      <a:pt x="1016318" y="573405"/>
                    </a:lnTo>
                    <a:lnTo>
                      <a:pt x="1033463" y="558165"/>
                    </a:lnTo>
                    <a:lnTo>
                      <a:pt x="1042035" y="566738"/>
                    </a:lnTo>
                    <a:lnTo>
                      <a:pt x="1059180" y="550545"/>
                    </a:lnTo>
                    <a:lnTo>
                      <a:pt x="1058228" y="578168"/>
                    </a:lnTo>
                    <a:lnTo>
                      <a:pt x="1080135" y="581978"/>
                    </a:lnTo>
                    <a:lnTo>
                      <a:pt x="1080135" y="603885"/>
                    </a:lnTo>
                    <a:lnTo>
                      <a:pt x="1093470" y="636270"/>
                    </a:lnTo>
                    <a:lnTo>
                      <a:pt x="1085850" y="656272"/>
                    </a:lnTo>
                    <a:lnTo>
                      <a:pt x="1075373" y="656272"/>
                    </a:lnTo>
                    <a:lnTo>
                      <a:pt x="1086803" y="677228"/>
                    </a:lnTo>
                    <a:lnTo>
                      <a:pt x="1077278" y="703897"/>
                    </a:lnTo>
                    <a:lnTo>
                      <a:pt x="1062038" y="719138"/>
                    </a:lnTo>
                    <a:lnTo>
                      <a:pt x="1056323" y="736282"/>
                    </a:lnTo>
                    <a:lnTo>
                      <a:pt x="1036320" y="732472"/>
                    </a:lnTo>
                    <a:lnTo>
                      <a:pt x="1035368" y="755332"/>
                    </a:lnTo>
                    <a:lnTo>
                      <a:pt x="1048703" y="768668"/>
                    </a:lnTo>
                    <a:lnTo>
                      <a:pt x="1053465" y="794385"/>
                    </a:lnTo>
                    <a:lnTo>
                      <a:pt x="1041082" y="815340"/>
                    </a:lnTo>
                    <a:lnTo>
                      <a:pt x="1053465" y="827722"/>
                    </a:lnTo>
                    <a:lnTo>
                      <a:pt x="1053465" y="847725"/>
                    </a:lnTo>
                    <a:lnTo>
                      <a:pt x="1084898" y="865822"/>
                    </a:lnTo>
                    <a:lnTo>
                      <a:pt x="1097280" y="890588"/>
                    </a:lnTo>
                    <a:lnTo>
                      <a:pt x="1078230" y="908685"/>
                    </a:lnTo>
                    <a:lnTo>
                      <a:pt x="1078230" y="922972"/>
                    </a:lnTo>
                    <a:lnTo>
                      <a:pt x="1087755" y="940118"/>
                    </a:lnTo>
                    <a:lnTo>
                      <a:pt x="1087755" y="965835"/>
                    </a:lnTo>
                    <a:lnTo>
                      <a:pt x="1075373" y="975360"/>
                    </a:lnTo>
                    <a:lnTo>
                      <a:pt x="1090613" y="1003935"/>
                    </a:lnTo>
                    <a:lnTo>
                      <a:pt x="1107757" y="1003935"/>
                    </a:lnTo>
                    <a:lnTo>
                      <a:pt x="1124903" y="1021080"/>
                    </a:lnTo>
                    <a:lnTo>
                      <a:pt x="1137285" y="1046797"/>
                    </a:lnTo>
                    <a:lnTo>
                      <a:pt x="1140143" y="1079182"/>
                    </a:lnTo>
                    <a:lnTo>
                      <a:pt x="1125855" y="1093470"/>
                    </a:lnTo>
                    <a:lnTo>
                      <a:pt x="1132523" y="1122998"/>
                    </a:lnTo>
                    <a:lnTo>
                      <a:pt x="1164907" y="1129665"/>
                    </a:lnTo>
                    <a:lnTo>
                      <a:pt x="1181100" y="1145857"/>
                    </a:lnTo>
                    <a:lnTo>
                      <a:pt x="1197293" y="1129665"/>
                    </a:lnTo>
                    <a:lnTo>
                      <a:pt x="1203007" y="1163955"/>
                    </a:lnTo>
                    <a:lnTo>
                      <a:pt x="1197293" y="1193482"/>
                    </a:lnTo>
                    <a:lnTo>
                      <a:pt x="1206818" y="1216343"/>
                    </a:lnTo>
                    <a:lnTo>
                      <a:pt x="1187768" y="1235393"/>
                    </a:lnTo>
                    <a:lnTo>
                      <a:pt x="1167765" y="1261110"/>
                    </a:lnTo>
                    <a:lnTo>
                      <a:pt x="1153478" y="1287780"/>
                    </a:lnTo>
                    <a:lnTo>
                      <a:pt x="1174432" y="1317307"/>
                    </a:lnTo>
                    <a:lnTo>
                      <a:pt x="1174432" y="1352550"/>
                    </a:lnTo>
                    <a:lnTo>
                      <a:pt x="1154430" y="1372553"/>
                    </a:lnTo>
                    <a:lnTo>
                      <a:pt x="1152525" y="1403985"/>
                    </a:lnTo>
                    <a:lnTo>
                      <a:pt x="1140143" y="1416368"/>
                    </a:lnTo>
                    <a:lnTo>
                      <a:pt x="1106805" y="1449705"/>
                    </a:lnTo>
                    <a:lnTo>
                      <a:pt x="1077278" y="1412557"/>
                    </a:lnTo>
                    <a:lnTo>
                      <a:pt x="1057275" y="1412557"/>
                    </a:lnTo>
                    <a:lnTo>
                      <a:pt x="1036320" y="1419225"/>
                    </a:lnTo>
                    <a:lnTo>
                      <a:pt x="1015365" y="1383982"/>
                    </a:lnTo>
                    <a:lnTo>
                      <a:pt x="974407" y="1371600"/>
                    </a:lnTo>
                    <a:lnTo>
                      <a:pt x="961072" y="1384935"/>
                    </a:lnTo>
                    <a:lnTo>
                      <a:pt x="932497" y="1347788"/>
                    </a:lnTo>
                    <a:lnTo>
                      <a:pt x="921068" y="1318260"/>
                    </a:lnTo>
                    <a:lnTo>
                      <a:pt x="891540" y="1338263"/>
                    </a:lnTo>
                    <a:lnTo>
                      <a:pt x="865822" y="1352550"/>
                    </a:lnTo>
                    <a:lnTo>
                      <a:pt x="854393" y="1372553"/>
                    </a:lnTo>
                    <a:lnTo>
                      <a:pt x="804863" y="1372553"/>
                    </a:lnTo>
                    <a:lnTo>
                      <a:pt x="752475" y="1372553"/>
                    </a:lnTo>
                    <a:lnTo>
                      <a:pt x="729615" y="1349693"/>
                    </a:lnTo>
                    <a:lnTo>
                      <a:pt x="700088" y="1334453"/>
                    </a:lnTo>
                    <a:lnTo>
                      <a:pt x="709613" y="1307782"/>
                    </a:lnTo>
                    <a:lnTo>
                      <a:pt x="671513" y="1292543"/>
                    </a:lnTo>
                    <a:lnTo>
                      <a:pt x="658178" y="1305878"/>
                    </a:lnTo>
                    <a:lnTo>
                      <a:pt x="635318" y="1283018"/>
                    </a:lnTo>
                    <a:lnTo>
                      <a:pt x="601028" y="1273493"/>
                    </a:lnTo>
                    <a:lnTo>
                      <a:pt x="577215" y="1279207"/>
                    </a:lnTo>
                    <a:lnTo>
                      <a:pt x="548640" y="1249680"/>
                    </a:lnTo>
                    <a:lnTo>
                      <a:pt x="524828" y="1249680"/>
                    </a:lnTo>
                    <a:lnTo>
                      <a:pt x="503872" y="1215390"/>
                    </a:lnTo>
                    <a:lnTo>
                      <a:pt x="480060" y="1215390"/>
                    </a:lnTo>
                    <a:lnTo>
                      <a:pt x="430530" y="1221105"/>
                    </a:lnTo>
                    <a:lnTo>
                      <a:pt x="421005" y="1192530"/>
                    </a:lnTo>
                    <a:lnTo>
                      <a:pt x="427672" y="1163955"/>
                    </a:lnTo>
                    <a:lnTo>
                      <a:pt x="396240" y="1132523"/>
                    </a:lnTo>
                    <a:lnTo>
                      <a:pt x="396240" y="1107757"/>
                    </a:lnTo>
                    <a:lnTo>
                      <a:pt x="388620" y="1069657"/>
                    </a:lnTo>
                    <a:lnTo>
                      <a:pt x="354330" y="1035368"/>
                    </a:lnTo>
                    <a:lnTo>
                      <a:pt x="316230" y="1035368"/>
                    </a:lnTo>
                    <a:lnTo>
                      <a:pt x="300990" y="1050607"/>
                    </a:lnTo>
                    <a:lnTo>
                      <a:pt x="280035" y="1029653"/>
                    </a:lnTo>
                    <a:lnTo>
                      <a:pt x="260032" y="1049655"/>
                    </a:lnTo>
                    <a:lnTo>
                      <a:pt x="221932" y="1042988"/>
                    </a:lnTo>
                    <a:lnTo>
                      <a:pt x="200978" y="1019175"/>
                    </a:lnTo>
                    <a:lnTo>
                      <a:pt x="225743" y="994410"/>
                    </a:lnTo>
                    <a:lnTo>
                      <a:pt x="194310" y="966788"/>
                    </a:lnTo>
                    <a:lnTo>
                      <a:pt x="161925" y="949643"/>
                    </a:lnTo>
                    <a:lnTo>
                      <a:pt x="132397" y="962025"/>
                    </a:lnTo>
                    <a:lnTo>
                      <a:pt x="102870" y="949643"/>
                    </a:lnTo>
                    <a:lnTo>
                      <a:pt x="64770" y="958215"/>
                    </a:lnTo>
                    <a:lnTo>
                      <a:pt x="37147" y="930593"/>
                    </a:lnTo>
                    <a:lnTo>
                      <a:pt x="13335" y="906780"/>
                    </a:lnTo>
                    <a:lnTo>
                      <a:pt x="0" y="893445"/>
                    </a:lnTo>
                    <a:lnTo>
                      <a:pt x="25718" y="867728"/>
                    </a:lnTo>
                    <a:lnTo>
                      <a:pt x="36195" y="833438"/>
                    </a:lnTo>
                    <a:lnTo>
                      <a:pt x="30480" y="795338"/>
                    </a:lnTo>
                    <a:lnTo>
                      <a:pt x="33338" y="748665"/>
                    </a:lnTo>
                    <a:lnTo>
                      <a:pt x="70485" y="749618"/>
                    </a:lnTo>
                    <a:lnTo>
                      <a:pt x="70485" y="718185"/>
                    </a:lnTo>
                    <a:lnTo>
                      <a:pt x="115253" y="692468"/>
                    </a:lnTo>
                    <a:lnTo>
                      <a:pt x="160020" y="682943"/>
                    </a:lnTo>
                    <a:lnTo>
                      <a:pt x="207645" y="682943"/>
                    </a:lnTo>
                    <a:lnTo>
                      <a:pt x="217170" y="651510"/>
                    </a:lnTo>
                    <a:lnTo>
                      <a:pt x="243840" y="651510"/>
                    </a:lnTo>
                    <a:lnTo>
                      <a:pt x="269557" y="625793"/>
                    </a:lnTo>
                    <a:lnTo>
                      <a:pt x="303847" y="608647"/>
                    </a:lnTo>
                    <a:lnTo>
                      <a:pt x="281940" y="586740"/>
                    </a:lnTo>
                    <a:lnTo>
                      <a:pt x="307657" y="576263"/>
                    </a:lnTo>
                    <a:lnTo>
                      <a:pt x="307657" y="558165"/>
                    </a:lnTo>
                    <a:lnTo>
                      <a:pt x="279082" y="543878"/>
                    </a:lnTo>
                    <a:lnTo>
                      <a:pt x="280035" y="534353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97" name="Полилиния: фигура 67">
              <a:extLst>
                <a:ext uri="{FF2B5EF4-FFF2-40B4-BE49-F238E27FC236}">
                  <a16:creationId xmlns:a16="http://schemas.microsoft.com/office/drawing/2014/main" id="{F628C08F-5E26-4C96-8F10-47C48CAADB5F}"/>
                </a:ext>
              </a:extLst>
            </p:cNvPr>
            <p:cNvSpPr/>
            <p:nvPr/>
          </p:nvSpPr>
          <p:spPr>
            <a:xfrm>
              <a:off x="3273718" y="5276181"/>
              <a:ext cx="231537" cy="248432"/>
            </a:xfrm>
            <a:custGeom>
              <a:avLst/>
              <a:gdLst>
                <a:gd name="connsiteX0" fmla="*/ 359093 w 359092"/>
                <a:gd name="connsiteY0" fmla="*/ 213360 h 442912"/>
                <a:gd name="connsiteX1" fmla="*/ 348615 w 359092"/>
                <a:gd name="connsiteY1" fmla="*/ 199072 h 442912"/>
                <a:gd name="connsiteX2" fmla="*/ 333375 w 359092"/>
                <a:gd name="connsiteY2" fmla="*/ 192405 h 442912"/>
                <a:gd name="connsiteX3" fmla="*/ 318135 w 359092"/>
                <a:gd name="connsiteY3" fmla="*/ 168592 h 442912"/>
                <a:gd name="connsiteX4" fmla="*/ 306705 w 359092"/>
                <a:gd name="connsiteY4" fmla="*/ 157163 h 442912"/>
                <a:gd name="connsiteX5" fmla="*/ 325755 w 359092"/>
                <a:gd name="connsiteY5" fmla="*/ 141922 h 442912"/>
                <a:gd name="connsiteX6" fmla="*/ 321945 w 359092"/>
                <a:gd name="connsiteY6" fmla="*/ 120015 h 442912"/>
                <a:gd name="connsiteX7" fmla="*/ 337185 w 359092"/>
                <a:gd name="connsiteY7" fmla="*/ 115252 h 442912"/>
                <a:gd name="connsiteX8" fmla="*/ 325755 w 359092"/>
                <a:gd name="connsiteY8" fmla="*/ 103822 h 442912"/>
                <a:gd name="connsiteX9" fmla="*/ 287655 w 359092"/>
                <a:gd name="connsiteY9" fmla="*/ 63817 h 442912"/>
                <a:gd name="connsiteX10" fmla="*/ 271463 w 359092"/>
                <a:gd name="connsiteY10" fmla="*/ 73342 h 442912"/>
                <a:gd name="connsiteX11" fmla="*/ 256223 w 359092"/>
                <a:gd name="connsiteY11" fmla="*/ 58102 h 442912"/>
                <a:gd name="connsiteX12" fmla="*/ 257175 w 359092"/>
                <a:gd name="connsiteY12" fmla="*/ 43815 h 442912"/>
                <a:gd name="connsiteX13" fmla="*/ 261938 w 359092"/>
                <a:gd name="connsiteY13" fmla="*/ 25717 h 442912"/>
                <a:gd name="connsiteX14" fmla="*/ 241935 w 359092"/>
                <a:gd name="connsiteY14" fmla="*/ 17145 h 442912"/>
                <a:gd name="connsiteX15" fmla="*/ 229553 w 359092"/>
                <a:gd name="connsiteY15" fmla="*/ 29527 h 442912"/>
                <a:gd name="connsiteX16" fmla="*/ 212408 w 359092"/>
                <a:gd name="connsiteY16" fmla="*/ 14288 h 442912"/>
                <a:gd name="connsiteX17" fmla="*/ 197167 w 359092"/>
                <a:gd name="connsiteY17" fmla="*/ 2857 h 442912"/>
                <a:gd name="connsiteX18" fmla="*/ 180023 w 359092"/>
                <a:gd name="connsiteY18" fmla="*/ 0 h 442912"/>
                <a:gd name="connsiteX19" fmla="*/ 174308 w 359092"/>
                <a:gd name="connsiteY19" fmla="*/ 18097 h 442912"/>
                <a:gd name="connsiteX20" fmla="*/ 185738 w 359092"/>
                <a:gd name="connsiteY20" fmla="*/ 39052 h 442912"/>
                <a:gd name="connsiteX21" fmla="*/ 181928 w 359092"/>
                <a:gd name="connsiteY21" fmla="*/ 74295 h 442912"/>
                <a:gd name="connsiteX22" fmla="*/ 160973 w 359092"/>
                <a:gd name="connsiteY22" fmla="*/ 67627 h 442912"/>
                <a:gd name="connsiteX23" fmla="*/ 143828 w 359092"/>
                <a:gd name="connsiteY23" fmla="*/ 67627 h 442912"/>
                <a:gd name="connsiteX24" fmla="*/ 111442 w 359092"/>
                <a:gd name="connsiteY24" fmla="*/ 68580 h 442912"/>
                <a:gd name="connsiteX25" fmla="*/ 87630 w 359092"/>
                <a:gd name="connsiteY25" fmla="*/ 78105 h 442912"/>
                <a:gd name="connsiteX26" fmla="*/ 78105 w 359092"/>
                <a:gd name="connsiteY26" fmla="*/ 99060 h 442912"/>
                <a:gd name="connsiteX27" fmla="*/ 57150 w 359092"/>
                <a:gd name="connsiteY27" fmla="*/ 92392 h 442912"/>
                <a:gd name="connsiteX28" fmla="*/ 34290 w 359092"/>
                <a:gd name="connsiteY28" fmla="*/ 63817 h 442912"/>
                <a:gd name="connsiteX29" fmla="*/ 17145 w 359092"/>
                <a:gd name="connsiteY29" fmla="*/ 66675 h 442912"/>
                <a:gd name="connsiteX30" fmla="*/ 1905 w 359092"/>
                <a:gd name="connsiteY30" fmla="*/ 81915 h 442912"/>
                <a:gd name="connsiteX31" fmla="*/ 8572 w 359092"/>
                <a:gd name="connsiteY31" fmla="*/ 110490 h 442912"/>
                <a:gd name="connsiteX32" fmla="*/ 0 w 359092"/>
                <a:gd name="connsiteY32" fmla="*/ 136207 h 442912"/>
                <a:gd name="connsiteX33" fmla="*/ 11430 w 359092"/>
                <a:gd name="connsiteY33" fmla="*/ 159067 h 442912"/>
                <a:gd name="connsiteX34" fmla="*/ 28575 w 359092"/>
                <a:gd name="connsiteY34" fmla="*/ 174307 h 442912"/>
                <a:gd name="connsiteX35" fmla="*/ 25717 w 359092"/>
                <a:gd name="connsiteY35" fmla="*/ 216217 h 442912"/>
                <a:gd name="connsiteX36" fmla="*/ 40005 w 359092"/>
                <a:gd name="connsiteY36" fmla="*/ 237172 h 442912"/>
                <a:gd name="connsiteX37" fmla="*/ 51435 w 359092"/>
                <a:gd name="connsiteY37" fmla="*/ 260985 h 442912"/>
                <a:gd name="connsiteX38" fmla="*/ 57150 w 359092"/>
                <a:gd name="connsiteY38" fmla="*/ 308610 h 442912"/>
                <a:gd name="connsiteX39" fmla="*/ 53340 w 359092"/>
                <a:gd name="connsiteY39" fmla="*/ 373380 h 442912"/>
                <a:gd name="connsiteX40" fmla="*/ 64770 w 359092"/>
                <a:gd name="connsiteY40" fmla="*/ 407670 h 442912"/>
                <a:gd name="connsiteX41" fmla="*/ 82867 w 359092"/>
                <a:gd name="connsiteY41" fmla="*/ 404813 h 442912"/>
                <a:gd name="connsiteX42" fmla="*/ 97155 w 359092"/>
                <a:gd name="connsiteY42" fmla="*/ 424815 h 442912"/>
                <a:gd name="connsiteX43" fmla="*/ 108585 w 359092"/>
                <a:gd name="connsiteY43" fmla="*/ 439102 h 442912"/>
                <a:gd name="connsiteX44" fmla="*/ 123825 w 359092"/>
                <a:gd name="connsiteY44" fmla="*/ 441960 h 442912"/>
                <a:gd name="connsiteX45" fmla="*/ 140970 w 359092"/>
                <a:gd name="connsiteY45" fmla="*/ 424815 h 442912"/>
                <a:gd name="connsiteX46" fmla="*/ 160973 w 359092"/>
                <a:gd name="connsiteY46" fmla="*/ 421957 h 442912"/>
                <a:gd name="connsiteX47" fmla="*/ 175260 w 359092"/>
                <a:gd name="connsiteY47" fmla="*/ 407670 h 442912"/>
                <a:gd name="connsiteX48" fmla="*/ 189548 w 359092"/>
                <a:gd name="connsiteY48" fmla="*/ 407670 h 442912"/>
                <a:gd name="connsiteX49" fmla="*/ 197167 w 359092"/>
                <a:gd name="connsiteY49" fmla="*/ 424815 h 442912"/>
                <a:gd name="connsiteX50" fmla="*/ 209550 w 359092"/>
                <a:gd name="connsiteY50" fmla="*/ 442913 h 442912"/>
                <a:gd name="connsiteX51" fmla="*/ 237173 w 359092"/>
                <a:gd name="connsiteY51" fmla="*/ 442913 h 442912"/>
                <a:gd name="connsiteX52" fmla="*/ 258128 w 359092"/>
                <a:gd name="connsiteY52" fmla="*/ 416242 h 442912"/>
                <a:gd name="connsiteX53" fmla="*/ 265748 w 359092"/>
                <a:gd name="connsiteY53" fmla="*/ 401002 h 442912"/>
                <a:gd name="connsiteX54" fmla="*/ 260033 w 359092"/>
                <a:gd name="connsiteY54" fmla="*/ 381000 h 442912"/>
                <a:gd name="connsiteX55" fmla="*/ 275273 w 359092"/>
                <a:gd name="connsiteY55" fmla="*/ 377190 h 442912"/>
                <a:gd name="connsiteX56" fmla="*/ 298133 w 359092"/>
                <a:gd name="connsiteY56" fmla="*/ 359092 h 442912"/>
                <a:gd name="connsiteX57" fmla="*/ 284798 w 359092"/>
                <a:gd name="connsiteY57" fmla="*/ 345757 h 442912"/>
                <a:gd name="connsiteX58" fmla="*/ 296228 w 359092"/>
                <a:gd name="connsiteY58" fmla="*/ 327660 h 442912"/>
                <a:gd name="connsiteX59" fmla="*/ 287655 w 359092"/>
                <a:gd name="connsiteY59" fmla="*/ 310515 h 442912"/>
                <a:gd name="connsiteX60" fmla="*/ 277178 w 359092"/>
                <a:gd name="connsiteY60" fmla="*/ 301942 h 442912"/>
                <a:gd name="connsiteX61" fmla="*/ 288608 w 359092"/>
                <a:gd name="connsiteY61" fmla="*/ 284797 h 442912"/>
                <a:gd name="connsiteX62" fmla="*/ 288608 w 359092"/>
                <a:gd name="connsiteY62" fmla="*/ 267652 h 442912"/>
                <a:gd name="connsiteX63" fmla="*/ 299085 w 359092"/>
                <a:gd name="connsiteY63" fmla="*/ 255270 h 442912"/>
                <a:gd name="connsiteX64" fmla="*/ 310515 w 359092"/>
                <a:gd name="connsiteY64" fmla="*/ 259080 h 442912"/>
                <a:gd name="connsiteX65" fmla="*/ 318135 w 359092"/>
                <a:gd name="connsiteY65" fmla="*/ 270510 h 442912"/>
                <a:gd name="connsiteX66" fmla="*/ 338138 w 359092"/>
                <a:gd name="connsiteY66" fmla="*/ 267652 h 442912"/>
                <a:gd name="connsiteX67" fmla="*/ 350520 w 359092"/>
                <a:gd name="connsiteY67" fmla="*/ 255270 h 442912"/>
                <a:gd name="connsiteX68" fmla="*/ 348615 w 359092"/>
                <a:gd name="connsiteY68" fmla="*/ 226695 h 442912"/>
                <a:gd name="connsiteX69" fmla="*/ 359093 w 359092"/>
                <a:gd name="connsiteY69" fmla="*/ 213360 h 442912"/>
                <a:gd name="connsiteX70" fmla="*/ 212408 w 359092"/>
                <a:gd name="connsiteY70" fmla="*/ 290513 h 442912"/>
                <a:gd name="connsiteX71" fmla="*/ 212408 w 359092"/>
                <a:gd name="connsiteY71" fmla="*/ 321945 h 442912"/>
                <a:gd name="connsiteX72" fmla="*/ 204788 w 359092"/>
                <a:gd name="connsiteY72" fmla="*/ 337185 h 442912"/>
                <a:gd name="connsiteX73" fmla="*/ 199073 w 359092"/>
                <a:gd name="connsiteY73" fmla="*/ 319088 h 442912"/>
                <a:gd name="connsiteX74" fmla="*/ 185738 w 359092"/>
                <a:gd name="connsiteY74" fmla="*/ 324802 h 442912"/>
                <a:gd name="connsiteX75" fmla="*/ 173355 w 359092"/>
                <a:gd name="connsiteY75" fmla="*/ 337185 h 442912"/>
                <a:gd name="connsiteX76" fmla="*/ 158115 w 359092"/>
                <a:gd name="connsiteY76" fmla="*/ 358140 h 442912"/>
                <a:gd name="connsiteX77" fmla="*/ 142875 w 359092"/>
                <a:gd name="connsiteY77" fmla="*/ 373380 h 442912"/>
                <a:gd name="connsiteX78" fmla="*/ 132398 w 359092"/>
                <a:gd name="connsiteY78" fmla="*/ 381952 h 442912"/>
                <a:gd name="connsiteX79" fmla="*/ 132398 w 359092"/>
                <a:gd name="connsiteY79" fmla="*/ 392430 h 442912"/>
                <a:gd name="connsiteX80" fmla="*/ 117158 w 359092"/>
                <a:gd name="connsiteY80" fmla="*/ 395288 h 442912"/>
                <a:gd name="connsiteX81" fmla="*/ 110490 w 359092"/>
                <a:gd name="connsiteY81" fmla="*/ 401955 h 442912"/>
                <a:gd name="connsiteX82" fmla="*/ 102870 w 359092"/>
                <a:gd name="connsiteY82" fmla="*/ 386715 h 442912"/>
                <a:gd name="connsiteX83" fmla="*/ 80963 w 359092"/>
                <a:gd name="connsiteY83" fmla="*/ 360045 h 442912"/>
                <a:gd name="connsiteX84" fmla="*/ 93345 w 359092"/>
                <a:gd name="connsiteY84" fmla="*/ 347663 h 442912"/>
                <a:gd name="connsiteX85" fmla="*/ 103823 w 359092"/>
                <a:gd name="connsiteY85" fmla="*/ 352425 h 442912"/>
                <a:gd name="connsiteX86" fmla="*/ 134303 w 359092"/>
                <a:gd name="connsiteY86" fmla="*/ 352425 h 442912"/>
                <a:gd name="connsiteX87" fmla="*/ 138113 w 359092"/>
                <a:gd name="connsiteY87" fmla="*/ 340995 h 442912"/>
                <a:gd name="connsiteX88" fmla="*/ 132398 w 359092"/>
                <a:gd name="connsiteY88" fmla="*/ 327660 h 442912"/>
                <a:gd name="connsiteX89" fmla="*/ 132398 w 359092"/>
                <a:gd name="connsiteY89" fmla="*/ 304800 h 442912"/>
                <a:gd name="connsiteX90" fmla="*/ 145733 w 359092"/>
                <a:gd name="connsiteY90" fmla="*/ 304800 h 442912"/>
                <a:gd name="connsiteX91" fmla="*/ 154305 w 359092"/>
                <a:gd name="connsiteY91" fmla="*/ 288607 h 442912"/>
                <a:gd name="connsiteX92" fmla="*/ 169545 w 359092"/>
                <a:gd name="connsiteY92" fmla="*/ 289560 h 442912"/>
                <a:gd name="connsiteX93" fmla="*/ 179070 w 359092"/>
                <a:gd name="connsiteY93" fmla="*/ 280035 h 442912"/>
                <a:gd name="connsiteX94" fmla="*/ 170498 w 359092"/>
                <a:gd name="connsiteY94" fmla="*/ 260985 h 442912"/>
                <a:gd name="connsiteX95" fmla="*/ 155258 w 359092"/>
                <a:gd name="connsiteY95" fmla="*/ 251460 h 442912"/>
                <a:gd name="connsiteX96" fmla="*/ 151448 w 359092"/>
                <a:gd name="connsiteY96" fmla="*/ 257175 h 442912"/>
                <a:gd name="connsiteX97" fmla="*/ 137160 w 359092"/>
                <a:gd name="connsiteY97" fmla="*/ 257175 h 442912"/>
                <a:gd name="connsiteX98" fmla="*/ 126683 w 359092"/>
                <a:gd name="connsiteY98" fmla="*/ 245745 h 442912"/>
                <a:gd name="connsiteX99" fmla="*/ 115253 w 359092"/>
                <a:gd name="connsiteY99" fmla="*/ 234315 h 442912"/>
                <a:gd name="connsiteX100" fmla="*/ 107633 w 359092"/>
                <a:gd name="connsiteY100" fmla="*/ 226695 h 442912"/>
                <a:gd name="connsiteX101" fmla="*/ 100965 w 359092"/>
                <a:gd name="connsiteY101" fmla="*/ 214313 h 442912"/>
                <a:gd name="connsiteX102" fmla="*/ 100965 w 359092"/>
                <a:gd name="connsiteY102" fmla="*/ 200977 h 442912"/>
                <a:gd name="connsiteX103" fmla="*/ 109538 w 359092"/>
                <a:gd name="connsiteY103" fmla="*/ 197167 h 442912"/>
                <a:gd name="connsiteX104" fmla="*/ 119063 w 359092"/>
                <a:gd name="connsiteY104" fmla="*/ 206692 h 442912"/>
                <a:gd name="connsiteX105" fmla="*/ 125730 w 359092"/>
                <a:gd name="connsiteY105" fmla="*/ 213360 h 442912"/>
                <a:gd name="connsiteX106" fmla="*/ 134303 w 359092"/>
                <a:gd name="connsiteY106" fmla="*/ 226695 h 442912"/>
                <a:gd name="connsiteX107" fmla="*/ 151448 w 359092"/>
                <a:gd name="connsiteY107" fmla="*/ 232410 h 442912"/>
                <a:gd name="connsiteX108" fmla="*/ 159067 w 359092"/>
                <a:gd name="connsiteY108" fmla="*/ 228600 h 442912"/>
                <a:gd name="connsiteX109" fmla="*/ 177165 w 359092"/>
                <a:gd name="connsiteY109" fmla="*/ 234315 h 442912"/>
                <a:gd name="connsiteX110" fmla="*/ 180975 w 359092"/>
                <a:gd name="connsiteY110" fmla="*/ 249555 h 442912"/>
                <a:gd name="connsiteX111" fmla="*/ 193358 w 359092"/>
                <a:gd name="connsiteY111" fmla="*/ 256222 h 442912"/>
                <a:gd name="connsiteX112" fmla="*/ 201930 w 359092"/>
                <a:gd name="connsiteY112" fmla="*/ 264795 h 442912"/>
                <a:gd name="connsiteX113" fmla="*/ 211455 w 359092"/>
                <a:gd name="connsiteY113" fmla="*/ 271463 h 442912"/>
                <a:gd name="connsiteX114" fmla="*/ 212408 w 359092"/>
                <a:gd name="connsiteY114" fmla="*/ 290513 h 442912"/>
                <a:gd name="connsiteX115" fmla="*/ 212408 w 359092"/>
                <a:gd name="connsiteY115" fmla="*/ 290513 h 442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359092" h="442912">
                  <a:moveTo>
                    <a:pt x="359093" y="213360"/>
                  </a:moveTo>
                  <a:lnTo>
                    <a:pt x="348615" y="199072"/>
                  </a:lnTo>
                  <a:lnTo>
                    <a:pt x="333375" y="192405"/>
                  </a:lnTo>
                  <a:lnTo>
                    <a:pt x="318135" y="168592"/>
                  </a:lnTo>
                  <a:lnTo>
                    <a:pt x="306705" y="157163"/>
                  </a:lnTo>
                  <a:lnTo>
                    <a:pt x="325755" y="141922"/>
                  </a:lnTo>
                  <a:lnTo>
                    <a:pt x="321945" y="120015"/>
                  </a:lnTo>
                  <a:lnTo>
                    <a:pt x="337185" y="115252"/>
                  </a:lnTo>
                  <a:lnTo>
                    <a:pt x="325755" y="103822"/>
                  </a:lnTo>
                  <a:lnTo>
                    <a:pt x="287655" y="63817"/>
                  </a:lnTo>
                  <a:lnTo>
                    <a:pt x="271463" y="73342"/>
                  </a:lnTo>
                  <a:lnTo>
                    <a:pt x="256223" y="58102"/>
                  </a:lnTo>
                  <a:lnTo>
                    <a:pt x="257175" y="43815"/>
                  </a:lnTo>
                  <a:lnTo>
                    <a:pt x="261938" y="25717"/>
                  </a:lnTo>
                  <a:lnTo>
                    <a:pt x="241935" y="17145"/>
                  </a:lnTo>
                  <a:lnTo>
                    <a:pt x="229553" y="29527"/>
                  </a:lnTo>
                  <a:lnTo>
                    <a:pt x="212408" y="14288"/>
                  </a:lnTo>
                  <a:lnTo>
                    <a:pt x="197167" y="2857"/>
                  </a:lnTo>
                  <a:lnTo>
                    <a:pt x="180023" y="0"/>
                  </a:lnTo>
                  <a:lnTo>
                    <a:pt x="174308" y="18097"/>
                  </a:lnTo>
                  <a:lnTo>
                    <a:pt x="185738" y="39052"/>
                  </a:lnTo>
                  <a:lnTo>
                    <a:pt x="181928" y="74295"/>
                  </a:lnTo>
                  <a:lnTo>
                    <a:pt x="160973" y="67627"/>
                  </a:lnTo>
                  <a:lnTo>
                    <a:pt x="143828" y="67627"/>
                  </a:lnTo>
                  <a:lnTo>
                    <a:pt x="111442" y="68580"/>
                  </a:lnTo>
                  <a:lnTo>
                    <a:pt x="87630" y="78105"/>
                  </a:lnTo>
                  <a:lnTo>
                    <a:pt x="78105" y="99060"/>
                  </a:lnTo>
                  <a:lnTo>
                    <a:pt x="57150" y="92392"/>
                  </a:lnTo>
                  <a:lnTo>
                    <a:pt x="34290" y="63817"/>
                  </a:lnTo>
                  <a:lnTo>
                    <a:pt x="17145" y="66675"/>
                  </a:lnTo>
                  <a:lnTo>
                    <a:pt x="1905" y="81915"/>
                  </a:lnTo>
                  <a:lnTo>
                    <a:pt x="8572" y="110490"/>
                  </a:lnTo>
                  <a:lnTo>
                    <a:pt x="0" y="136207"/>
                  </a:lnTo>
                  <a:lnTo>
                    <a:pt x="11430" y="159067"/>
                  </a:lnTo>
                  <a:lnTo>
                    <a:pt x="28575" y="174307"/>
                  </a:lnTo>
                  <a:lnTo>
                    <a:pt x="25717" y="216217"/>
                  </a:lnTo>
                  <a:lnTo>
                    <a:pt x="40005" y="237172"/>
                  </a:lnTo>
                  <a:lnTo>
                    <a:pt x="51435" y="260985"/>
                  </a:lnTo>
                  <a:lnTo>
                    <a:pt x="57150" y="308610"/>
                  </a:lnTo>
                  <a:lnTo>
                    <a:pt x="53340" y="373380"/>
                  </a:lnTo>
                  <a:lnTo>
                    <a:pt x="64770" y="407670"/>
                  </a:lnTo>
                  <a:lnTo>
                    <a:pt x="82867" y="404813"/>
                  </a:lnTo>
                  <a:lnTo>
                    <a:pt x="97155" y="424815"/>
                  </a:lnTo>
                  <a:lnTo>
                    <a:pt x="108585" y="439102"/>
                  </a:lnTo>
                  <a:lnTo>
                    <a:pt x="123825" y="441960"/>
                  </a:lnTo>
                  <a:lnTo>
                    <a:pt x="140970" y="424815"/>
                  </a:lnTo>
                  <a:lnTo>
                    <a:pt x="160973" y="421957"/>
                  </a:lnTo>
                  <a:lnTo>
                    <a:pt x="175260" y="407670"/>
                  </a:lnTo>
                  <a:lnTo>
                    <a:pt x="189548" y="407670"/>
                  </a:lnTo>
                  <a:lnTo>
                    <a:pt x="197167" y="424815"/>
                  </a:lnTo>
                  <a:lnTo>
                    <a:pt x="209550" y="442913"/>
                  </a:lnTo>
                  <a:lnTo>
                    <a:pt x="237173" y="442913"/>
                  </a:lnTo>
                  <a:lnTo>
                    <a:pt x="258128" y="416242"/>
                  </a:lnTo>
                  <a:lnTo>
                    <a:pt x="265748" y="401002"/>
                  </a:lnTo>
                  <a:lnTo>
                    <a:pt x="260033" y="381000"/>
                  </a:lnTo>
                  <a:lnTo>
                    <a:pt x="275273" y="377190"/>
                  </a:lnTo>
                  <a:lnTo>
                    <a:pt x="298133" y="359092"/>
                  </a:lnTo>
                  <a:lnTo>
                    <a:pt x="284798" y="345757"/>
                  </a:lnTo>
                  <a:lnTo>
                    <a:pt x="296228" y="327660"/>
                  </a:lnTo>
                  <a:lnTo>
                    <a:pt x="287655" y="310515"/>
                  </a:lnTo>
                  <a:lnTo>
                    <a:pt x="277178" y="301942"/>
                  </a:lnTo>
                  <a:lnTo>
                    <a:pt x="288608" y="284797"/>
                  </a:lnTo>
                  <a:lnTo>
                    <a:pt x="288608" y="267652"/>
                  </a:lnTo>
                  <a:lnTo>
                    <a:pt x="299085" y="255270"/>
                  </a:lnTo>
                  <a:lnTo>
                    <a:pt x="310515" y="259080"/>
                  </a:lnTo>
                  <a:lnTo>
                    <a:pt x="318135" y="270510"/>
                  </a:lnTo>
                  <a:lnTo>
                    <a:pt x="338138" y="267652"/>
                  </a:lnTo>
                  <a:lnTo>
                    <a:pt x="350520" y="255270"/>
                  </a:lnTo>
                  <a:lnTo>
                    <a:pt x="348615" y="226695"/>
                  </a:lnTo>
                  <a:lnTo>
                    <a:pt x="359093" y="213360"/>
                  </a:lnTo>
                  <a:close/>
                  <a:moveTo>
                    <a:pt x="212408" y="290513"/>
                  </a:moveTo>
                  <a:lnTo>
                    <a:pt x="212408" y="321945"/>
                  </a:lnTo>
                  <a:lnTo>
                    <a:pt x="204788" y="337185"/>
                  </a:lnTo>
                  <a:lnTo>
                    <a:pt x="199073" y="319088"/>
                  </a:lnTo>
                  <a:lnTo>
                    <a:pt x="185738" y="324802"/>
                  </a:lnTo>
                  <a:lnTo>
                    <a:pt x="173355" y="337185"/>
                  </a:lnTo>
                  <a:lnTo>
                    <a:pt x="158115" y="358140"/>
                  </a:lnTo>
                  <a:lnTo>
                    <a:pt x="142875" y="373380"/>
                  </a:lnTo>
                  <a:lnTo>
                    <a:pt x="132398" y="381952"/>
                  </a:lnTo>
                  <a:lnTo>
                    <a:pt x="132398" y="392430"/>
                  </a:lnTo>
                  <a:lnTo>
                    <a:pt x="117158" y="395288"/>
                  </a:lnTo>
                  <a:lnTo>
                    <a:pt x="110490" y="401955"/>
                  </a:lnTo>
                  <a:lnTo>
                    <a:pt x="102870" y="386715"/>
                  </a:lnTo>
                  <a:lnTo>
                    <a:pt x="80963" y="360045"/>
                  </a:lnTo>
                  <a:lnTo>
                    <a:pt x="93345" y="347663"/>
                  </a:lnTo>
                  <a:lnTo>
                    <a:pt x="103823" y="352425"/>
                  </a:lnTo>
                  <a:lnTo>
                    <a:pt x="134303" y="352425"/>
                  </a:lnTo>
                  <a:lnTo>
                    <a:pt x="138113" y="340995"/>
                  </a:lnTo>
                  <a:lnTo>
                    <a:pt x="132398" y="327660"/>
                  </a:lnTo>
                  <a:lnTo>
                    <a:pt x="132398" y="304800"/>
                  </a:lnTo>
                  <a:lnTo>
                    <a:pt x="145733" y="304800"/>
                  </a:lnTo>
                  <a:lnTo>
                    <a:pt x="154305" y="288607"/>
                  </a:lnTo>
                  <a:lnTo>
                    <a:pt x="169545" y="289560"/>
                  </a:lnTo>
                  <a:lnTo>
                    <a:pt x="179070" y="280035"/>
                  </a:lnTo>
                  <a:lnTo>
                    <a:pt x="170498" y="260985"/>
                  </a:lnTo>
                  <a:lnTo>
                    <a:pt x="155258" y="251460"/>
                  </a:lnTo>
                  <a:lnTo>
                    <a:pt x="151448" y="257175"/>
                  </a:lnTo>
                  <a:lnTo>
                    <a:pt x="137160" y="257175"/>
                  </a:lnTo>
                  <a:lnTo>
                    <a:pt x="126683" y="245745"/>
                  </a:lnTo>
                  <a:lnTo>
                    <a:pt x="115253" y="234315"/>
                  </a:lnTo>
                  <a:lnTo>
                    <a:pt x="107633" y="226695"/>
                  </a:lnTo>
                  <a:lnTo>
                    <a:pt x="100965" y="214313"/>
                  </a:lnTo>
                  <a:lnTo>
                    <a:pt x="100965" y="200977"/>
                  </a:lnTo>
                  <a:lnTo>
                    <a:pt x="109538" y="197167"/>
                  </a:lnTo>
                  <a:lnTo>
                    <a:pt x="119063" y="206692"/>
                  </a:lnTo>
                  <a:lnTo>
                    <a:pt x="125730" y="213360"/>
                  </a:lnTo>
                  <a:lnTo>
                    <a:pt x="134303" y="226695"/>
                  </a:lnTo>
                  <a:lnTo>
                    <a:pt x="151448" y="232410"/>
                  </a:lnTo>
                  <a:lnTo>
                    <a:pt x="159067" y="228600"/>
                  </a:lnTo>
                  <a:lnTo>
                    <a:pt x="177165" y="234315"/>
                  </a:lnTo>
                  <a:lnTo>
                    <a:pt x="180975" y="249555"/>
                  </a:lnTo>
                  <a:lnTo>
                    <a:pt x="193358" y="256222"/>
                  </a:lnTo>
                  <a:lnTo>
                    <a:pt x="201930" y="264795"/>
                  </a:lnTo>
                  <a:lnTo>
                    <a:pt x="211455" y="271463"/>
                  </a:lnTo>
                  <a:lnTo>
                    <a:pt x="212408" y="290513"/>
                  </a:lnTo>
                  <a:lnTo>
                    <a:pt x="212408" y="290513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8" name="Полилиния: фигура 68">
              <a:extLst>
                <a:ext uri="{FF2B5EF4-FFF2-40B4-BE49-F238E27FC236}">
                  <a16:creationId xmlns:a16="http://schemas.microsoft.com/office/drawing/2014/main" id="{8A31BC9B-D375-438C-AD42-59A1BD20A963}"/>
                </a:ext>
              </a:extLst>
            </p:cNvPr>
            <p:cNvSpPr/>
            <p:nvPr/>
          </p:nvSpPr>
          <p:spPr>
            <a:xfrm>
              <a:off x="3439540" y="5419363"/>
              <a:ext cx="208813" cy="234007"/>
            </a:xfrm>
            <a:custGeom>
              <a:avLst/>
              <a:gdLst>
                <a:gd name="connsiteX0" fmla="*/ 138113 w 323850"/>
                <a:gd name="connsiteY0" fmla="*/ 365760 h 417194"/>
                <a:gd name="connsiteX1" fmla="*/ 143827 w 323850"/>
                <a:gd name="connsiteY1" fmla="*/ 354330 h 417194"/>
                <a:gd name="connsiteX2" fmla="*/ 127635 w 323850"/>
                <a:gd name="connsiteY2" fmla="*/ 342900 h 417194"/>
                <a:gd name="connsiteX3" fmla="*/ 117157 w 323850"/>
                <a:gd name="connsiteY3" fmla="*/ 332422 h 417194"/>
                <a:gd name="connsiteX4" fmla="*/ 97155 w 323850"/>
                <a:gd name="connsiteY4" fmla="*/ 337185 h 417194"/>
                <a:gd name="connsiteX5" fmla="*/ 71438 w 323850"/>
                <a:gd name="connsiteY5" fmla="*/ 311468 h 417194"/>
                <a:gd name="connsiteX6" fmla="*/ 66675 w 323850"/>
                <a:gd name="connsiteY6" fmla="*/ 294322 h 417194"/>
                <a:gd name="connsiteX7" fmla="*/ 44767 w 323850"/>
                <a:gd name="connsiteY7" fmla="*/ 289560 h 417194"/>
                <a:gd name="connsiteX8" fmla="*/ 22860 w 323850"/>
                <a:gd name="connsiteY8" fmla="*/ 282893 h 417194"/>
                <a:gd name="connsiteX9" fmla="*/ 29527 w 323850"/>
                <a:gd name="connsiteY9" fmla="*/ 267653 h 417194"/>
                <a:gd name="connsiteX10" fmla="*/ 22860 w 323850"/>
                <a:gd name="connsiteY10" fmla="*/ 252413 h 417194"/>
                <a:gd name="connsiteX11" fmla="*/ 11430 w 323850"/>
                <a:gd name="connsiteY11" fmla="*/ 241935 h 417194"/>
                <a:gd name="connsiteX12" fmla="*/ 19050 w 323850"/>
                <a:gd name="connsiteY12" fmla="*/ 228600 h 417194"/>
                <a:gd name="connsiteX13" fmla="*/ 43815 w 323850"/>
                <a:gd name="connsiteY13" fmla="*/ 228600 h 417194"/>
                <a:gd name="connsiteX14" fmla="*/ 35242 w 323850"/>
                <a:gd name="connsiteY14" fmla="*/ 217170 h 417194"/>
                <a:gd name="connsiteX15" fmla="*/ 32385 w 323850"/>
                <a:gd name="connsiteY15" fmla="*/ 200025 h 417194"/>
                <a:gd name="connsiteX16" fmla="*/ 16192 w 323850"/>
                <a:gd name="connsiteY16" fmla="*/ 189547 h 417194"/>
                <a:gd name="connsiteX17" fmla="*/ 16192 w 323850"/>
                <a:gd name="connsiteY17" fmla="*/ 166688 h 417194"/>
                <a:gd name="connsiteX18" fmla="*/ 0 w 323850"/>
                <a:gd name="connsiteY18" fmla="*/ 161925 h 417194"/>
                <a:gd name="connsiteX19" fmla="*/ 6667 w 323850"/>
                <a:gd name="connsiteY19" fmla="*/ 146685 h 417194"/>
                <a:gd name="connsiteX20" fmla="*/ 1905 w 323850"/>
                <a:gd name="connsiteY20" fmla="*/ 125730 h 417194"/>
                <a:gd name="connsiteX21" fmla="*/ 16192 w 323850"/>
                <a:gd name="connsiteY21" fmla="*/ 121920 h 417194"/>
                <a:gd name="connsiteX22" fmla="*/ 40005 w 323850"/>
                <a:gd name="connsiteY22" fmla="*/ 103822 h 417194"/>
                <a:gd name="connsiteX23" fmla="*/ 25717 w 323850"/>
                <a:gd name="connsiteY23" fmla="*/ 90488 h 417194"/>
                <a:gd name="connsiteX24" fmla="*/ 38100 w 323850"/>
                <a:gd name="connsiteY24" fmla="*/ 71438 h 417194"/>
                <a:gd name="connsiteX25" fmla="*/ 29527 w 323850"/>
                <a:gd name="connsiteY25" fmla="*/ 54293 h 417194"/>
                <a:gd name="connsiteX26" fmla="*/ 19050 w 323850"/>
                <a:gd name="connsiteY26" fmla="*/ 45720 h 417194"/>
                <a:gd name="connsiteX27" fmla="*/ 30480 w 323850"/>
                <a:gd name="connsiteY27" fmla="*/ 28575 h 417194"/>
                <a:gd name="connsiteX28" fmla="*/ 30480 w 323850"/>
                <a:gd name="connsiteY28" fmla="*/ 11430 h 417194"/>
                <a:gd name="connsiteX29" fmla="*/ 40957 w 323850"/>
                <a:gd name="connsiteY29" fmla="*/ 0 h 417194"/>
                <a:gd name="connsiteX30" fmla="*/ 52388 w 323850"/>
                <a:gd name="connsiteY30" fmla="*/ 3810 h 417194"/>
                <a:gd name="connsiteX31" fmla="*/ 59055 w 323850"/>
                <a:gd name="connsiteY31" fmla="*/ 15240 h 417194"/>
                <a:gd name="connsiteX32" fmla="*/ 79057 w 323850"/>
                <a:gd name="connsiteY32" fmla="*/ 12382 h 417194"/>
                <a:gd name="connsiteX33" fmla="*/ 91440 w 323850"/>
                <a:gd name="connsiteY33" fmla="*/ 0 h 417194"/>
                <a:gd name="connsiteX34" fmla="*/ 106680 w 323850"/>
                <a:gd name="connsiteY34" fmla="*/ 0 h 417194"/>
                <a:gd name="connsiteX35" fmla="*/ 117157 w 323850"/>
                <a:gd name="connsiteY35" fmla="*/ 10478 h 417194"/>
                <a:gd name="connsiteX36" fmla="*/ 133350 w 323850"/>
                <a:gd name="connsiteY36" fmla="*/ 19050 h 417194"/>
                <a:gd name="connsiteX37" fmla="*/ 139065 w 323850"/>
                <a:gd name="connsiteY37" fmla="*/ 37147 h 417194"/>
                <a:gd name="connsiteX38" fmla="*/ 153352 w 323850"/>
                <a:gd name="connsiteY38" fmla="*/ 37147 h 417194"/>
                <a:gd name="connsiteX39" fmla="*/ 165735 w 323850"/>
                <a:gd name="connsiteY39" fmla="*/ 33338 h 417194"/>
                <a:gd name="connsiteX40" fmla="*/ 171450 w 323850"/>
                <a:gd name="connsiteY40" fmla="*/ 51435 h 417194"/>
                <a:gd name="connsiteX41" fmla="*/ 182880 w 323850"/>
                <a:gd name="connsiteY41" fmla="*/ 62865 h 417194"/>
                <a:gd name="connsiteX42" fmla="*/ 208598 w 323850"/>
                <a:gd name="connsiteY42" fmla="*/ 58103 h 417194"/>
                <a:gd name="connsiteX43" fmla="*/ 223838 w 323850"/>
                <a:gd name="connsiteY43" fmla="*/ 64770 h 417194"/>
                <a:gd name="connsiteX44" fmla="*/ 226695 w 323850"/>
                <a:gd name="connsiteY44" fmla="*/ 85725 h 417194"/>
                <a:gd name="connsiteX45" fmla="*/ 240030 w 323850"/>
                <a:gd name="connsiteY45" fmla="*/ 100965 h 417194"/>
                <a:gd name="connsiteX46" fmla="*/ 244792 w 323850"/>
                <a:gd name="connsiteY46" fmla="*/ 119063 h 417194"/>
                <a:gd name="connsiteX47" fmla="*/ 258127 w 323850"/>
                <a:gd name="connsiteY47" fmla="*/ 132397 h 417194"/>
                <a:gd name="connsiteX48" fmla="*/ 266700 w 323850"/>
                <a:gd name="connsiteY48" fmla="*/ 157163 h 417194"/>
                <a:gd name="connsiteX49" fmla="*/ 257175 w 323850"/>
                <a:gd name="connsiteY49" fmla="*/ 176213 h 417194"/>
                <a:gd name="connsiteX50" fmla="*/ 267653 w 323850"/>
                <a:gd name="connsiteY50" fmla="*/ 196215 h 417194"/>
                <a:gd name="connsiteX51" fmla="*/ 281940 w 323850"/>
                <a:gd name="connsiteY51" fmla="*/ 210503 h 417194"/>
                <a:gd name="connsiteX52" fmla="*/ 293370 w 323850"/>
                <a:gd name="connsiteY52" fmla="*/ 225743 h 417194"/>
                <a:gd name="connsiteX53" fmla="*/ 293370 w 323850"/>
                <a:gd name="connsiteY53" fmla="*/ 241935 h 417194"/>
                <a:gd name="connsiteX54" fmla="*/ 308610 w 323850"/>
                <a:gd name="connsiteY54" fmla="*/ 257175 h 417194"/>
                <a:gd name="connsiteX55" fmla="*/ 312420 w 323850"/>
                <a:gd name="connsiteY55" fmla="*/ 279082 h 417194"/>
                <a:gd name="connsiteX56" fmla="*/ 323850 w 323850"/>
                <a:gd name="connsiteY56" fmla="*/ 296228 h 417194"/>
                <a:gd name="connsiteX57" fmla="*/ 323850 w 323850"/>
                <a:gd name="connsiteY57" fmla="*/ 328613 h 417194"/>
                <a:gd name="connsiteX58" fmla="*/ 301942 w 323850"/>
                <a:gd name="connsiteY58" fmla="*/ 342900 h 417194"/>
                <a:gd name="connsiteX59" fmla="*/ 280035 w 323850"/>
                <a:gd name="connsiteY59" fmla="*/ 350520 h 417194"/>
                <a:gd name="connsiteX60" fmla="*/ 261938 w 323850"/>
                <a:gd name="connsiteY60" fmla="*/ 343853 h 417194"/>
                <a:gd name="connsiteX61" fmla="*/ 251460 w 323850"/>
                <a:gd name="connsiteY61" fmla="*/ 354330 h 417194"/>
                <a:gd name="connsiteX62" fmla="*/ 258127 w 323850"/>
                <a:gd name="connsiteY62" fmla="*/ 366713 h 417194"/>
                <a:gd name="connsiteX63" fmla="*/ 247650 w 323850"/>
                <a:gd name="connsiteY63" fmla="*/ 375285 h 417194"/>
                <a:gd name="connsiteX64" fmla="*/ 230505 w 323850"/>
                <a:gd name="connsiteY64" fmla="*/ 375285 h 417194"/>
                <a:gd name="connsiteX65" fmla="*/ 230505 w 323850"/>
                <a:gd name="connsiteY65" fmla="*/ 387668 h 417194"/>
                <a:gd name="connsiteX66" fmla="*/ 244792 w 323850"/>
                <a:gd name="connsiteY66" fmla="*/ 394335 h 417194"/>
                <a:gd name="connsiteX67" fmla="*/ 237173 w 323850"/>
                <a:gd name="connsiteY67" fmla="*/ 417195 h 417194"/>
                <a:gd name="connsiteX68" fmla="*/ 213360 w 323850"/>
                <a:gd name="connsiteY68" fmla="*/ 417195 h 417194"/>
                <a:gd name="connsiteX69" fmla="*/ 202882 w 323850"/>
                <a:gd name="connsiteY69" fmla="*/ 406718 h 417194"/>
                <a:gd name="connsiteX70" fmla="*/ 202882 w 323850"/>
                <a:gd name="connsiteY70" fmla="*/ 397193 h 417194"/>
                <a:gd name="connsiteX71" fmla="*/ 193357 w 323850"/>
                <a:gd name="connsiteY71" fmla="*/ 397193 h 417194"/>
                <a:gd name="connsiteX72" fmla="*/ 181927 w 323850"/>
                <a:gd name="connsiteY72" fmla="*/ 411480 h 417194"/>
                <a:gd name="connsiteX73" fmla="*/ 170498 w 323850"/>
                <a:gd name="connsiteY73" fmla="*/ 413385 h 417194"/>
                <a:gd name="connsiteX74" fmla="*/ 164782 w 323850"/>
                <a:gd name="connsiteY74" fmla="*/ 389572 h 417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323850" h="417194">
                  <a:moveTo>
                    <a:pt x="138113" y="365760"/>
                  </a:moveTo>
                  <a:lnTo>
                    <a:pt x="143827" y="354330"/>
                  </a:lnTo>
                  <a:lnTo>
                    <a:pt x="127635" y="342900"/>
                  </a:lnTo>
                  <a:lnTo>
                    <a:pt x="117157" y="332422"/>
                  </a:lnTo>
                  <a:lnTo>
                    <a:pt x="97155" y="337185"/>
                  </a:lnTo>
                  <a:lnTo>
                    <a:pt x="71438" y="311468"/>
                  </a:lnTo>
                  <a:lnTo>
                    <a:pt x="66675" y="294322"/>
                  </a:lnTo>
                  <a:lnTo>
                    <a:pt x="44767" y="289560"/>
                  </a:lnTo>
                  <a:lnTo>
                    <a:pt x="22860" y="282893"/>
                  </a:lnTo>
                  <a:lnTo>
                    <a:pt x="29527" y="267653"/>
                  </a:lnTo>
                  <a:lnTo>
                    <a:pt x="22860" y="252413"/>
                  </a:lnTo>
                  <a:lnTo>
                    <a:pt x="11430" y="241935"/>
                  </a:lnTo>
                  <a:lnTo>
                    <a:pt x="19050" y="228600"/>
                  </a:lnTo>
                  <a:lnTo>
                    <a:pt x="43815" y="228600"/>
                  </a:lnTo>
                  <a:lnTo>
                    <a:pt x="35242" y="217170"/>
                  </a:lnTo>
                  <a:lnTo>
                    <a:pt x="32385" y="200025"/>
                  </a:lnTo>
                  <a:lnTo>
                    <a:pt x="16192" y="189547"/>
                  </a:lnTo>
                  <a:lnTo>
                    <a:pt x="16192" y="166688"/>
                  </a:lnTo>
                  <a:lnTo>
                    <a:pt x="0" y="161925"/>
                  </a:lnTo>
                  <a:lnTo>
                    <a:pt x="6667" y="146685"/>
                  </a:lnTo>
                  <a:lnTo>
                    <a:pt x="1905" y="125730"/>
                  </a:lnTo>
                  <a:lnTo>
                    <a:pt x="16192" y="121920"/>
                  </a:lnTo>
                  <a:lnTo>
                    <a:pt x="40005" y="103822"/>
                  </a:lnTo>
                  <a:lnTo>
                    <a:pt x="25717" y="90488"/>
                  </a:lnTo>
                  <a:lnTo>
                    <a:pt x="38100" y="71438"/>
                  </a:lnTo>
                  <a:lnTo>
                    <a:pt x="29527" y="54293"/>
                  </a:lnTo>
                  <a:lnTo>
                    <a:pt x="19050" y="45720"/>
                  </a:lnTo>
                  <a:lnTo>
                    <a:pt x="30480" y="28575"/>
                  </a:lnTo>
                  <a:lnTo>
                    <a:pt x="30480" y="11430"/>
                  </a:lnTo>
                  <a:lnTo>
                    <a:pt x="40957" y="0"/>
                  </a:lnTo>
                  <a:lnTo>
                    <a:pt x="52388" y="3810"/>
                  </a:lnTo>
                  <a:lnTo>
                    <a:pt x="59055" y="15240"/>
                  </a:lnTo>
                  <a:lnTo>
                    <a:pt x="79057" y="12382"/>
                  </a:lnTo>
                  <a:lnTo>
                    <a:pt x="91440" y="0"/>
                  </a:lnTo>
                  <a:lnTo>
                    <a:pt x="106680" y="0"/>
                  </a:lnTo>
                  <a:lnTo>
                    <a:pt x="117157" y="10478"/>
                  </a:lnTo>
                  <a:lnTo>
                    <a:pt x="133350" y="19050"/>
                  </a:lnTo>
                  <a:lnTo>
                    <a:pt x="139065" y="37147"/>
                  </a:lnTo>
                  <a:lnTo>
                    <a:pt x="153352" y="37147"/>
                  </a:lnTo>
                  <a:lnTo>
                    <a:pt x="165735" y="33338"/>
                  </a:lnTo>
                  <a:lnTo>
                    <a:pt x="171450" y="51435"/>
                  </a:lnTo>
                  <a:lnTo>
                    <a:pt x="182880" y="62865"/>
                  </a:lnTo>
                  <a:lnTo>
                    <a:pt x="208598" y="58103"/>
                  </a:lnTo>
                  <a:lnTo>
                    <a:pt x="223838" y="64770"/>
                  </a:lnTo>
                  <a:lnTo>
                    <a:pt x="226695" y="85725"/>
                  </a:lnTo>
                  <a:lnTo>
                    <a:pt x="240030" y="100965"/>
                  </a:lnTo>
                  <a:lnTo>
                    <a:pt x="244792" y="119063"/>
                  </a:lnTo>
                  <a:lnTo>
                    <a:pt x="258127" y="132397"/>
                  </a:lnTo>
                  <a:lnTo>
                    <a:pt x="266700" y="157163"/>
                  </a:lnTo>
                  <a:lnTo>
                    <a:pt x="257175" y="176213"/>
                  </a:lnTo>
                  <a:lnTo>
                    <a:pt x="267653" y="196215"/>
                  </a:lnTo>
                  <a:lnTo>
                    <a:pt x="281940" y="210503"/>
                  </a:lnTo>
                  <a:lnTo>
                    <a:pt x="293370" y="225743"/>
                  </a:lnTo>
                  <a:lnTo>
                    <a:pt x="293370" y="241935"/>
                  </a:lnTo>
                  <a:lnTo>
                    <a:pt x="308610" y="257175"/>
                  </a:lnTo>
                  <a:lnTo>
                    <a:pt x="312420" y="279082"/>
                  </a:lnTo>
                  <a:lnTo>
                    <a:pt x="323850" y="296228"/>
                  </a:lnTo>
                  <a:lnTo>
                    <a:pt x="323850" y="328613"/>
                  </a:lnTo>
                  <a:lnTo>
                    <a:pt x="301942" y="342900"/>
                  </a:lnTo>
                  <a:lnTo>
                    <a:pt x="280035" y="350520"/>
                  </a:lnTo>
                  <a:lnTo>
                    <a:pt x="261938" y="343853"/>
                  </a:lnTo>
                  <a:lnTo>
                    <a:pt x="251460" y="354330"/>
                  </a:lnTo>
                  <a:lnTo>
                    <a:pt x="258127" y="366713"/>
                  </a:lnTo>
                  <a:lnTo>
                    <a:pt x="247650" y="375285"/>
                  </a:lnTo>
                  <a:lnTo>
                    <a:pt x="230505" y="375285"/>
                  </a:lnTo>
                  <a:lnTo>
                    <a:pt x="230505" y="387668"/>
                  </a:lnTo>
                  <a:lnTo>
                    <a:pt x="244792" y="394335"/>
                  </a:lnTo>
                  <a:lnTo>
                    <a:pt x="237173" y="417195"/>
                  </a:lnTo>
                  <a:lnTo>
                    <a:pt x="213360" y="417195"/>
                  </a:lnTo>
                  <a:lnTo>
                    <a:pt x="202882" y="406718"/>
                  </a:lnTo>
                  <a:lnTo>
                    <a:pt x="202882" y="397193"/>
                  </a:lnTo>
                  <a:lnTo>
                    <a:pt x="193357" y="397193"/>
                  </a:lnTo>
                  <a:lnTo>
                    <a:pt x="181927" y="411480"/>
                  </a:lnTo>
                  <a:lnTo>
                    <a:pt x="170498" y="413385"/>
                  </a:lnTo>
                  <a:lnTo>
                    <a:pt x="164782" y="389572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9" name="Полилиния: фигура 69">
              <a:extLst>
                <a:ext uri="{FF2B5EF4-FFF2-40B4-BE49-F238E27FC236}">
                  <a16:creationId xmlns:a16="http://schemas.microsoft.com/office/drawing/2014/main" id="{4AFA5459-6F13-4808-8954-1C910D14D9DC}"/>
                </a:ext>
              </a:extLst>
            </p:cNvPr>
            <p:cNvSpPr/>
            <p:nvPr/>
          </p:nvSpPr>
          <p:spPr>
            <a:xfrm>
              <a:off x="3515081" y="5642151"/>
              <a:ext cx="120988" cy="106853"/>
            </a:xfrm>
            <a:custGeom>
              <a:avLst/>
              <a:gdLst>
                <a:gd name="connsiteX0" fmla="*/ 140970 w 187642"/>
                <a:gd name="connsiteY0" fmla="*/ 43815 h 190500"/>
                <a:gd name="connsiteX1" fmla="*/ 156210 w 187642"/>
                <a:gd name="connsiteY1" fmla="*/ 62865 h 190500"/>
                <a:gd name="connsiteX2" fmla="*/ 184785 w 187642"/>
                <a:gd name="connsiteY2" fmla="*/ 65722 h 190500"/>
                <a:gd name="connsiteX3" fmla="*/ 187643 w 187642"/>
                <a:gd name="connsiteY3" fmla="*/ 98107 h 190500"/>
                <a:gd name="connsiteX4" fmla="*/ 172403 w 187642"/>
                <a:gd name="connsiteY4" fmla="*/ 102870 h 190500"/>
                <a:gd name="connsiteX5" fmla="*/ 146685 w 187642"/>
                <a:gd name="connsiteY5" fmla="*/ 117157 h 190500"/>
                <a:gd name="connsiteX6" fmla="*/ 122873 w 187642"/>
                <a:gd name="connsiteY6" fmla="*/ 146685 h 190500"/>
                <a:gd name="connsiteX7" fmla="*/ 113348 w 187642"/>
                <a:gd name="connsiteY7" fmla="*/ 180022 h 190500"/>
                <a:gd name="connsiteX8" fmla="*/ 90488 w 187642"/>
                <a:gd name="connsiteY8" fmla="*/ 166688 h 190500"/>
                <a:gd name="connsiteX9" fmla="*/ 75248 w 187642"/>
                <a:gd name="connsiteY9" fmla="*/ 178117 h 190500"/>
                <a:gd name="connsiteX10" fmla="*/ 52388 w 187642"/>
                <a:gd name="connsiteY10" fmla="*/ 176213 h 190500"/>
                <a:gd name="connsiteX11" fmla="*/ 36195 w 187642"/>
                <a:gd name="connsiteY11" fmla="*/ 187642 h 190500"/>
                <a:gd name="connsiteX12" fmla="*/ 12383 w 187642"/>
                <a:gd name="connsiteY12" fmla="*/ 190500 h 190500"/>
                <a:gd name="connsiteX13" fmla="*/ 20955 w 187642"/>
                <a:gd name="connsiteY13" fmla="*/ 166688 h 190500"/>
                <a:gd name="connsiteX14" fmla="*/ 0 w 187642"/>
                <a:gd name="connsiteY14" fmla="*/ 143827 h 190500"/>
                <a:gd name="connsiteX15" fmla="*/ 20955 w 187642"/>
                <a:gd name="connsiteY15" fmla="*/ 129540 h 190500"/>
                <a:gd name="connsiteX16" fmla="*/ 38100 w 187642"/>
                <a:gd name="connsiteY16" fmla="*/ 101917 h 190500"/>
                <a:gd name="connsiteX17" fmla="*/ 51435 w 187642"/>
                <a:gd name="connsiteY17" fmla="*/ 73342 h 190500"/>
                <a:gd name="connsiteX18" fmla="*/ 56198 w 187642"/>
                <a:gd name="connsiteY18" fmla="*/ 51435 h 190500"/>
                <a:gd name="connsiteX19" fmla="*/ 34290 w 187642"/>
                <a:gd name="connsiteY19" fmla="*/ 34290 h 190500"/>
                <a:gd name="connsiteX20" fmla="*/ 24765 w 187642"/>
                <a:gd name="connsiteY20" fmla="*/ 16192 h 190500"/>
                <a:gd name="connsiteX21" fmla="*/ 53340 w 187642"/>
                <a:gd name="connsiteY21" fmla="*/ 16192 h 190500"/>
                <a:gd name="connsiteX22" fmla="*/ 67628 w 187642"/>
                <a:gd name="connsiteY22" fmla="*/ 11430 h 190500"/>
                <a:gd name="connsiteX23" fmla="*/ 76200 w 187642"/>
                <a:gd name="connsiteY23" fmla="*/ 0 h 190500"/>
                <a:gd name="connsiteX24" fmla="*/ 85725 w 187642"/>
                <a:gd name="connsiteY24" fmla="*/ 0 h 190500"/>
                <a:gd name="connsiteX25" fmla="*/ 85725 w 187642"/>
                <a:gd name="connsiteY25" fmla="*/ 9525 h 190500"/>
                <a:gd name="connsiteX26" fmla="*/ 96203 w 187642"/>
                <a:gd name="connsiteY26" fmla="*/ 20002 h 190500"/>
                <a:gd name="connsiteX27" fmla="*/ 120015 w 187642"/>
                <a:gd name="connsiteY27" fmla="*/ 20002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7642" h="190500">
                  <a:moveTo>
                    <a:pt x="140970" y="43815"/>
                  </a:moveTo>
                  <a:lnTo>
                    <a:pt x="156210" y="62865"/>
                  </a:lnTo>
                  <a:lnTo>
                    <a:pt x="184785" y="65722"/>
                  </a:lnTo>
                  <a:lnTo>
                    <a:pt x="187643" y="98107"/>
                  </a:lnTo>
                  <a:lnTo>
                    <a:pt x="172403" y="102870"/>
                  </a:lnTo>
                  <a:lnTo>
                    <a:pt x="146685" y="117157"/>
                  </a:lnTo>
                  <a:lnTo>
                    <a:pt x="122873" y="146685"/>
                  </a:lnTo>
                  <a:lnTo>
                    <a:pt x="113348" y="180022"/>
                  </a:lnTo>
                  <a:lnTo>
                    <a:pt x="90488" y="166688"/>
                  </a:lnTo>
                  <a:lnTo>
                    <a:pt x="75248" y="178117"/>
                  </a:lnTo>
                  <a:lnTo>
                    <a:pt x="52388" y="176213"/>
                  </a:lnTo>
                  <a:lnTo>
                    <a:pt x="36195" y="187642"/>
                  </a:lnTo>
                  <a:lnTo>
                    <a:pt x="12383" y="190500"/>
                  </a:lnTo>
                  <a:lnTo>
                    <a:pt x="20955" y="166688"/>
                  </a:lnTo>
                  <a:lnTo>
                    <a:pt x="0" y="143827"/>
                  </a:lnTo>
                  <a:lnTo>
                    <a:pt x="20955" y="129540"/>
                  </a:lnTo>
                  <a:lnTo>
                    <a:pt x="38100" y="101917"/>
                  </a:lnTo>
                  <a:lnTo>
                    <a:pt x="51435" y="73342"/>
                  </a:lnTo>
                  <a:lnTo>
                    <a:pt x="56198" y="51435"/>
                  </a:lnTo>
                  <a:lnTo>
                    <a:pt x="34290" y="34290"/>
                  </a:lnTo>
                  <a:lnTo>
                    <a:pt x="24765" y="16192"/>
                  </a:lnTo>
                  <a:lnTo>
                    <a:pt x="53340" y="16192"/>
                  </a:lnTo>
                  <a:lnTo>
                    <a:pt x="67628" y="11430"/>
                  </a:lnTo>
                  <a:lnTo>
                    <a:pt x="76200" y="0"/>
                  </a:lnTo>
                  <a:lnTo>
                    <a:pt x="85725" y="0"/>
                  </a:lnTo>
                  <a:lnTo>
                    <a:pt x="85725" y="9525"/>
                  </a:lnTo>
                  <a:lnTo>
                    <a:pt x="96203" y="20002"/>
                  </a:lnTo>
                  <a:lnTo>
                    <a:pt x="120015" y="20002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0" name="Полилиния: фигура 70">
              <a:extLst>
                <a:ext uri="{FF2B5EF4-FFF2-40B4-BE49-F238E27FC236}">
                  <a16:creationId xmlns:a16="http://schemas.microsoft.com/office/drawing/2014/main" id="{59AF081F-7412-42C4-B25D-18687AF6B452}"/>
                </a:ext>
              </a:extLst>
            </p:cNvPr>
            <p:cNvSpPr/>
            <p:nvPr/>
          </p:nvSpPr>
          <p:spPr>
            <a:xfrm>
              <a:off x="3411289" y="5578040"/>
              <a:ext cx="120988" cy="72659"/>
            </a:xfrm>
            <a:custGeom>
              <a:avLst/>
              <a:gdLst>
                <a:gd name="connsiteX0" fmla="*/ 0 w 187642"/>
                <a:gd name="connsiteY0" fmla="*/ 29527 h 129539"/>
                <a:gd name="connsiteX1" fmla="*/ 16193 w 187642"/>
                <a:gd name="connsiteY1" fmla="*/ 22860 h 129539"/>
                <a:gd name="connsiteX2" fmla="*/ 32385 w 187642"/>
                <a:gd name="connsiteY2" fmla="*/ 6667 h 129539"/>
                <a:gd name="connsiteX3" fmla="*/ 46673 w 187642"/>
                <a:gd name="connsiteY3" fmla="*/ 7620 h 129539"/>
                <a:gd name="connsiteX4" fmla="*/ 66675 w 187642"/>
                <a:gd name="connsiteY4" fmla="*/ 0 h 129539"/>
                <a:gd name="connsiteX5" fmla="*/ 88582 w 187642"/>
                <a:gd name="connsiteY5" fmla="*/ 6667 h 129539"/>
                <a:gd name="connsiteX6" fmla="*/ 110490 w 187642"/>
                <a:gd name="connsiteY6" fmla="*/ 11430 h 129539"/>
                <a:gd name="connsiteX7" fmla="*/ 115253 w 187642"/>
                <a:gd name="connsiteY7" fmla="*/ 28575 h 129539"/>
                <a:gd name="connsiteX8" fmla="*/ 140970 w 187642"/>
                <a:gd name="connsiteY8" fmla="*/ 54292 h 129539"/>
                <a:gd name="connsiteX9" fmla="*/ 160972 w 187642"/>
                <a:gd name="connsiteY9" fmla="*/ 49530 h 129539"/>
                <a:gd name="connsiteX10" fmla="*/ 171450 w 187642"/>
                <a:gd name="connsiteY10" fmla="*/ 60007 h 129539"/>
                <a:gd name="connsiteX11" fmla="*/ 187643 w 187642"/>
                <a:gd name="connsiteY11" fmla="*/ 71438 h 129539"/>
                <a:gd name="connsiteX12" fmla="*/ 181928 w 187642"/>
                <a:gd name="connsiteY12" fmla="*/ 82867 h 129539"/>
                <a:gd name="connsiteX13" fmla="*/ 170497 w 187642"/>
                <a:gd name="connsiteY13" fmla="*/ 91440 h 129539"/>
                <a:gd name="connsiteX14" fmla="*/ 170497 w 187642"/>
                <a:gd name="connsiteY14" fmla="*/ 108585 h 129539"/>
                <a:gd name="connsiteX15" fmla="*/ 160020 w 187642"/>
                <a:gd name="connsiteY15" fmla="*/ 119063 h 129539"/>
                <a:gd name="connsiteX16" fmla="*/ 135255 w 187642"/>
                <a:gd name="connsiteY16" fmla="*/ 120967 h 129539"/>
                <a:gd name="connsiteX17" fmla="*/ 125730 w 187642"/>
                <a:gd name="connsiteY17" fmla="*/ 129540 h 129539"/>
                <a:gd name="connsiteX18" fmla="*/ 114300 w 187642"/>
                <a:gd name="connsiteY18" fmla="*/ 117157 h 129539"/>
                <a:gd name="connsiteX19" fmla="*/ 94298 w 187642"/>
                <a:gd name="connsiteY19" fmla="*/ 117157 h 129539"/>
                <a:gd name="connsiteX20" fmla="*/ 81915 w 187642"/>
                <a:gd name="connsiteY20" fmla="*/ 124777 h 129539"/>
                <a:gd name="connsiteX21" fmla="*/ 69532 w 187642"/>
                <a:gd name="connsiteY21" fmla="*/ 122872 h 129539"/>
                <a:gd name="connsiteX22" fmla="*/ 50482 w 187642"/>
                <a:gd name="connsiteY22" fmla="*/ 128588 h 129539"/>
                <a:gd name="connsiteX23" fmla="*/ 30480 w 187642"/>
                <a:gd name="connsiteY23" fmla="*/ 110490 h 129539"/>
                <a:gd name="connsiteX24" fmla="*/ 36195 w 187642"/>
                <a:gd name="connsiteY24" fmla="*/ 81915 h 129539"/>
                <a:gd name="connsiteX25" fmla="*/ 12382 w 187642"/>
                <a:gd name="connsiteY25" fmla="*/ 61913 h 129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7642" h="129539">
                  <a:moveTo>
                    <a:pt x="0" y="29527"/>
                  </a:moveTo>
                  <a:lnTo>
                    <a:pt x="16193" y="22860"/>
                  </a:lnTo>
                  <a:lnTo>
                    <a:pt x="32385" y="6667"/>
                  </a:lnTo>
                  <a:lnTo>
                    <a:pt x="46673" y="7620"/>
                  </a:lnTo>
                  <a:lnTo>
                    <a:pt x="66675" y="0"/>
                  </a:lnTo>
                  <a:lnTo>
                    <a:pt x="88582" y="6667"/>
                  </a:lnTo>
                  <a:lnTo>
                    <a:pt x="110490" y="11430"/>
                  </a:lnTo>
                  <a:lnTo>
                    <a:pt x="115253" y="28575"/>
                  </a:lnTo>
                  <a:lnTo>
                    <a:pt x="140970" y="54292"/>
                  </a:lnTo>
                  <a:lnTo>
                    <a:pt x="160972" y="49530"/>
                  </a:lnTo>
                  <a:lnTo>
                    <a:pt x="171450" y="60007"/>
                  </a:lnTo>
                  <a:lnTo>
                    <a:pt x="187643" y="71438"/>
                  </a:lnTo>
                  <a:lnTo>
                    <a:pt x="181928" y="82867"/>
                  </a:lnTo>
                  <a:lnTo>
                    <a:pt x="170497" y="91440"/>
                  </a:lnTo>
                  <a:lnTo>
                    <a:pt x="170497" y="108585"/>
                  </a:lnTo>
                  <a:lnTo>
                    <a:pt x="160020" y="119063"/>
                  </a:lnTo>
                  <a:lnTo>
                    <a:pt x="135255" y="120967"/>
                  </a:lnTo>
                  <a:lnTo>
                    <a:pt x="125730" y="129540"/>
                  </a:lnTo>
                  <a:lnTo>
                    <a:pt x="114300" y="117157"/>
                  </a:lnTo>
                  <a:lnTo>
                    <a:pt x="94298" y="117157"/>
                  </a:lnTo>
                  <a:lnTo>
                    <a:pt x="81915" y="124777"/>
                  </a:lnTo>
                  <a:lnTo>
                    <a:pt x="69532" y="122872"/>
                  </a:lnTo>
                  <a:lnTo>
                    <a:pt x="50482" y="128588"/>
                  </a:lnTo>
                  <a:lnTo>
                    <a:pt x="30480" y="110490"/>
                  </a:lnTo>
                  <a:lnTo>
                    <a:pt x="36195" y="81915"/>
                  </a:lnTo>
                  <a:lnTo>
                    <a:pt x="12382" y="61913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1" name="Полилиния: фигура 71">
              <a:extLst>
                <a:ext uri="{FF2B5EF4-FFF2-40B4-BE49-F238E27FC236}">
                  <a16:creationId xmlns:a16="http://schemas.microsoft.com/office/drawing/2014/main" id="{1B062476-9D44-4FCA-86E9-839B863714EC}"/>
                </a:ext>
              </a:extLst>
            </p:cNvPr>
            <p:cNvSpPr/>
            <p:nvPr/>
          </p:nvSpPr>
          <p:spPr>
            <a:xfrm>
              <a:off x="3636684" y="5155437"/>
              <a:ext cx="326730" cy="261789"/>
            </a:xfrm>
            <a:custGeom>
              <a:avLst/>
              <a:gdLst>
                <a:gd name="connsiteX0" fmla="*/ 299085 w 506729"/>
                <a:gd name="connsiteY0" fmla="*/ 31432 h 466725"/>
                <a:gd name="connsiteX1" fmla="*/ 297180 w 506729"/>
                <a:gd name="connsiteY1" fmla="*/ 56197 h 466725"/>
                <a:gd name="connsiteX2" fmla="*/ 305753 w 506729"/>
                <a:gd name="connsiteY2" fmla="*/ 89535 h 466725"/>
                <a:gd name="connsiteX3" fmla="*/ 337185 w 506729"/>
                <a:gd name="connsiteY3" fmla="*/ 93345 h 466725"/>
                <a:gd name="connsiteX4" fmla="*/ 356235 w 506729"/>
                <a:gd name="connsiteY4" fmla="*/ 103822 h 466725"/>
                <a:gd name="connsiteX5" fmla="*/ 356235 w 506729"/>
                <a:gd name="connsiteY5" fmla="*/ 120015 h 466725"/>
                <a:gd name="connsiteX6" fmla="*/ 383858 w 506729"/>
                <a:gd name="connsiteY6" fmla="*/ 119063 h 466725"/>
                <a:gd name="connsiteX7" fmla="*/ 418147 w 506729"/>
                <a:gd name="connsiteY7" fmla="*/ 151447 h 466725"/>
                <a:gd name="connsiteX8" fmla="*/ 421958 w 506729"/>
                <a:gd name="connsiteY8" fmla="*/ 190500 h 466725"/>
                <a:gd name="connsiteX9" fmla="*/ 396240 w 506729"/>
                <a:gd name="connsiteY9" fmla="*/ 215265 h 466725"/>
                <a:gd name="connsiteX10" fmla="*/ 414338 w 506729"/>
                <a:gd name="connsiteY10" fmla="*/ 233363 h 466725"/>
                <a:gd name="connsiteX11" fmla="*/ 424815 w 506729"/>
                <a:gd name="connsiteY11" fmla="*/ 222885 h 466725"/>
                <a:gd name="connsiteX12" fmla="*/ 445770 w 506729"/>
                <a:gd name="connsiteY12" fmla="*/ 230505 h 466725"/>
                <a:gd name="connsiteX13" fmla="*/ 451485 w 506729"/>
                <a:gd name="connsiteY13" fmla="*/ 259080 h 466725"/>
                <a:gd name="connsiteX14" fmla="*/ 464820 w 506729"/>
                <a:gd name="connsiteY14" fmla="*/ 272415 h 466725"/>
                <a:gd name="connsiteX15" fmla="*/ 484822 w 506729"/>
                <a:gd name="connsiteY15" fmla="*/ 272415 h 466725"/>
                <a:gd name="connsiteX16" fmla="*/ 488633 w 506729"/>
                <a:gd name="connsiteY16" fmla="*/ 293370 h 466725"/>
                <a:gd name="connsiteX17" fmla="*/ 505778 w 506729"/>
                <a:gd name="connsiteY17" fmla="*/ 310515 h 466725"/>
                <a:gd name="connsiteX18" fmla="*/ 506730 w 506729"/>
                <a:gd name="connsiteY18" fmla="*/ 339090 h 466725"/>
                <a:gd name="connsiteX19" fmla="*/ 497205 w 506729"/>
                <a:gd name="connsiteY19" fmla="*/ 360997 h 466725"/>
                <a:gd name="connsiteX20" fmla="*/ 478155 w 506729"/>
                <a:gd name="connsiteY20" fmla="*/ 374332 h 466725"/>
                <a:gd name="connsiteX21" fmla="*/ 451485 w 506729"/>
                <a:gd name="connsiteY21" fmla="*/ 374332 h 466725"/>
                <a:gd name="connsiteX22" fmla="*/ 429578 w 506729"/>
                <a:gd name="connsiteY22" fmla="*/ 396240 h 466725"/>
                <a:gd name="connsiteX23" fmla="*/ 410528 w 506729"/>
                <a:gd name="connsiteY23" fmla="*/ 415290 h 466725"/>
                <a:gd name="connsiteX24" fmla="*/ 410528 w 506729"/>
                <a:gd name="connsiteY24" fmla="*/ 440055 h 466725"/>
                <a:gd name="connsiteX25" fmla="*/ 386715 w 506729"/>
                <a:gd name="connsiteY25" fmla="*/ 450532 h 466725"/>
                <a:gd name="connsiteX26" fmla="*/ 360998 w 506729"/>
                <a:gd name="connsiteY26" fmla="*/ 448628 h 466725"/>
                <a:gd name="connsiteX27" fmla="*/ 342900 w 506729"/>
                <a:gd name="connsiteY27" fmla="*/ 466725 h 466725"/>
                <a:gd name="connsiteX28" fmla="*/ 333375 w 506729"/>
                <a:gd name="connsiteY28" fmla="*/ 438150 h 466725"/>
                <a:gd name="connsiteX29" fmla="*/ 317183 w 506729"/>
                <a:gd name="connsiteY29" fmla="*/ 421957 h 466725"/>
                <a:gd name="connsiteX30" fmla="*/ 297180 w 506729"/>
                <a:gd name="connsiteY30" fmla="*/ 435292 h 466725"/>
                <a:gd name="connsiteX31" fmla="*/ 268605 w 506729"/>
                <a:gd name="connsiteY31" fmla="*/ 434340 h 466725"/>
                <a:gd name="connsiteX32" fmla="*/ 253365 w 506729"/>
                <a:gd name="connsiteY32" fmla="*/ 419100 h 466725"/>
                <a:gd name="connsiteX33" fmla="*/ 220027 w 506729"/>
                <a:gd name="connsiteY33" fmla="*/ 427672 h 466725"/>
                <a:gd name="connsiteX34" fmla="*/ 210502 w 506729"/>
                <a:gd name="connsiteY34" fmla="*/ 453390 h 466725"/>
                <a:gd name="connsiteX35" fmla="*/ 184785 w 506729"/>
                <a:gd name="connsiteY35" fmla="*/ 447675 h 466725"/>
                <a:gd name="connsiteX36" fmla="*/ 169545 w 506729"/>
                <a:gd name="connsiteY36" fmla="*/ 432435 h 466725"/>
                <a:gd name="connsiteX37" fmla="*/ 169545 w 506729"/>
                <a:gd name="connsiteY37" fmla="*/ 415290 h 466725"/>
                <a:gd name="connsiteX38" fmla="*/ 156210 w 506729"/>
                <a:gd name="connsiteY38" fmla="*/ 410528 h 466725"/>
                <a:gd name="connsiteX39" fmla="*/ 146685 w 506729"/>
                <a:gd name="connsiteY39" fmla="*/ 438150 h 466725"/>
                <a:gd name="connsiteX40" fmla="*/ 131445 w 506729"/>
                <a:gd name="connsiteY40" fmla="*/ 443865 h 466725"/>
                <a:gd name="connsiteX41" fmla="*/ 117158 w 506729"/>
                <a:gd name="connsiteY41" fmla="*/ 429578 h 466725"/>
                <a:gd name="connsiteX42" fmla="*/ 100013 w 506729"/>
                <a:gd name="connsiteY42" fmla="*/ 436245 h 466725"/>
                <a:gd name="connsiteX43" fmla="*/ 84773 w 506729"/>
                <a:gd name="connsiteY43" fmla="*/ 421005 h 466725"/>
                <a:gd name="connsiteX44" fmla="*/ 60008 w 506729"/>
                <a:gd name="connsiteY44" fmla="*/ 443865 h 466725"/>
                <a:gd name="connsiteX45" fmla="*/ 29527 w 506729"/>
                <a:gd name="connsiteY45" fmla="*/ 415290 h 466725"/>
                <a:gd name="connsiteX46" fmla="*/ 22860 w 506729"/>
                <a:gd name="connsiteY46" fmla="*/ 389572 h 466725"/>
                <a:gd name="connsiteX47" fmla="*/ 31433 w 506729"/>
                <a:gd name="connsiteY47" fmla="*/ 365760 h 466725"/>
                <a:gd name="connsiteX48" fmla="*/ 31433 w 506729"/>
                <a:gd name="connsiteY48" fmla="*/ 340042 h 466725"/>
                <a:gd name="connsiteX49" fmla="*/ 0 w 506729"/>
                <a:gd name="connsiteY49" fmla="*/ 318135 h 466725"/>
                <a:gd name="connsiteX50" fmla="*/ 17145 w 506729"/>
                <a:gd name="connsiteY50" fmla="*/ 300038 h 466725"/>
                <a:gd name="connsiteX51" fmla="*/ 17145 w 506729"/>
                <a:gd name="connsiteY51" fmla="*/ 282892 h 466725"/>
                <a:gd name="connsiteX52" fmla="*/ 40958 w 506729"/>
                <a:gd name="connsiteY52" fmla="*/ 272415 h 466725"/>
                <a:gd name="connsiteX53" fmla="*/ 60008 w 506729"/>
                <a:gd name="connsiteY53" fmla="*/ 291465 h 466725"/>
                <a:gd name="connsiteX54" fmla="*/ 89535 w 506729"/>
                <a:gd name="connsiteY54" fmla="*/ 286703 h 466725"/>
                <a:gd name="connsiteX55" fmla="*/ 108585 w 506729"/>
                <a:gd name="connsiteY55" fmla="*/ 247650 h 466725"/>
                <a:gd name="connsiteX56" fmla="*/ 96202 w 506729"/>
                <a:gd name="connsiteY56" fmla="*/ 198120 h 466725"/>
                <a:gd name="connsiteX57" fmla="*/ 129540 w 506729"/>
                <a:gd name="connsiteY57" fmla="*/ 164782 h 466725"/>
                <a:gd name="connsiteX58" fmla="*/ 140970 w 506729"/>
                <a:gd name="connsiteY58" fmla="*/ 134303 h 466725"/>
                <a:gd name="connsiteX59" fmla="*/ 121920 w 506729"/>
                <a:gd name="connsiteY59" fmla="*/ 103822 h 466725"/>
                <a:gd name="connsiteX60" fmla="*/ 120015 w 506729"/>
                <a:gd name="connsiteY60" fmla="*/ 84772 h 466725"/>
                <a:gd name="connsiteX61" fmla="*/ 152400 w 506729"/>
                <a:gd name="connsiteY61" fmla="*/ 51435 h 466725"/>
                <a:gd name="connsiteX62" fmla="*/ 162877 w 506729"/>
                <a:gd name="connsiteY62" fmla="*/ 18097 h 466725"/>
                <a:gd name="connsiteX63" fmla="*/ 203835 w 506729"/>
                <a:gd name="connsiteY63" fmla="*/ 18097 h 466725"/>
                <a:gd name="connsiteX64" fmla="*/ 222885 w 506729"/>
                <a:gd name="connsiteY64" fmla="*/ 0 h 466725"/>
                <a:gd name="connsiteX65" fmla="*/ 243840 w 506729"/>
                <a:gd name="connsiteY65" fmla="*/ 3810 h 466725"/>
                <a:gd name="connsiteX66" fmla="*/ 248602 w 506729"/>
                <a:gd name="connsiteY66" fmla="*/ 20003 h 466725"/>
                <a:gd name="connsiteX67" fmla="*/ 270510 w 506729"/>
                <a:gd name="connsiteY67" fmla="*/ 31432 h 466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506729" h="466725">
                  <a:moveTo>
                    <a:pt x="299085" y="31432"/>
                  </a:moveTo>
                  <a:lnTo>
                    <a:pt x="297180" y="56197"/>
                  </a:lnTo>
                  <a:lnTo>
                    <a:pt x="305753" y="89535"/>
                  </a:lnTo>
                  <a:lnTo>
                    <a:pt x="337185" y="93345"/>
                  </a:lnTo>
                  <a:lnTo>
                    <a:pt x="356235" y="103822"/>
                  </a:lnTo>
                  <a:lnTo>
                    <a:pt x="356235" y="120015"/>
                  </a:lnTo>
                  <a:lnTo>
                    <a:pt x="383858" y="119063"/>
                  </a:lnTo>
                  <a:lnTo>
                    <a:pt x="418147" y="151447"/>
                  </a:lnTo>
                  <a:lnTo>
                    <a:pt x="421958" y="190500"/>
                  </a:lnTo>
                  <a:lnTo>
                    <a:pt x="396240" y="215265"/>
                  </a:lnTo>
                  <a:lnTo>
                    <a:pt x="414338" y="233363"/>
                  </a:lnTo>
                  <a:lnTo>
                    <a:pt x="424815" y="222885"/>
                  </a:lnTo>
                  <a:lnTo>
                    <a:pt x="445770" y="230505"/>
                  </a:lnTo>
                  <a:lnTo>
                    <a:pt x="451485" y="259080"/>
                  </a:lnTo>
                  <a:lnTo>
                    <a:pt x="464820" y="272415"/>
                  </a:lnTo>
                  <a:lnTo>
                    <a:pt x="484822" y="272415"/>
                  </a:lnTo>
                  <a:lnTo>
                    <a:pt x="488633" y="293370"/>
                  </a:lnTo>
                  <a:lnTo>
                    <a:pt x="505778" y="310515"/>
                  </a:lnTo>
                  <a:lnTo>
                    <a:pt x="506730" y="339090"/>
                  </a:lnTo>
                  <a:lnTo>
                    <a:pt x="497205" y="360997"/>
                  </a:lnTo>
                  <a:lnTo>
                    <a:pt x="478155" y="374332"/>
                  </a:lnTo>
                  <a:lnTo>
                    <a:pt x="451485" y="374332"/>
                  </a:lnTo>
                  <a:lnTo>
                    <a:pt x="429578" y="396240"/>
                  </a:lnTo>
                  <a:lnTo>
                    <a:pt x="410528" y="415290"/>
                  </a:lnTo>
                  <a:lnTo>
                    <a:pt x="410528" y="440055"/>
                  </a:lnTo>
                  <a:lnTo>
                    <a:pt x="386715" y="450532"/>
                  </a:lnTo>
                  <a:lnTo>
                    <a:pt x="360998" y="448628"/>
                  </a:lnTo>
                  <a:lnTo>
                    <a:pt x="342900" y="466725"/>
                  </a:lnTo>
                  <a:lnTo>
                    <a:pt x="333375" y="438150"/>
                  </a:lnTo>
                  <a:lnTo>
                    <a:pt x="317183" y="421957"/>
                  </a:lnTo>
                  <a:lnTo>
                    <a:pt x="297180" y="435292"/>
                  </a:lnTo>
                  <a:lnTo>
                    <a:pt x="268605" y="434340"/>
                  </a:lnTo>
                  <a:lnTo>
                    <a:pt x="253365" y="419100"/>
                  </a:lnTo>
                  <a:lnTo>
                    <a:pt x="220027" y="427672"/>
                  </a:lnTo>
                  <a:lnTo>
                    <a:pt x="210502" y="453390"/>
                  </a:lnTo>
                  <a:lnTo>
                    <a:pt x="184785" y="447675"/>
                  </a:lnTo>
                  <a:lnTo>
                    <a:pt x="169545" y="432435"/>
                  </a:lnTo>
                  <a:lnTo>
                    <a:pt x="169545" y="415290"/>
                  </a:lnTo>
                  <a:lnTo>
                    <a:pt x="156210" y="410528"/>
                  </a:lnTo>
                  <a:lnTo>
                    <a:pt x="146685" y="438150"/>
                  </a:lnTo>
                  <a:lnTo>
                    <a:pt x="131445" y="443865"/>
                  </a:lnTo>
                  <a:lnTo>
                    <a:pt x="117158" y="429578"/>
                  </a:lnTo>
                  <a:lnTo>
                    <a:pt x="100013" y="436245"/>
                  </a:lnTo>
                  <a:lnTo>
                    <a:pt x="84773" y="421005"/>
                  </a:lnTo>
                  <a:lnTo>
                    <a:pt x="60008" y="443865"/>
                  </a:lnTo>
                  <a:lnTo>
                    <a:pt x="29527" y="415290"/>
                  </a:lnTo>
                  <a:lnTo>
                    <a:pt x="22860" y="389572"/>
                  </a:lnTo>
                  <a:lnTo>
                    <a:pt x="31433" y="365760"/>
                  </a:lnTo>
                  <a:lnTo>
                    <a:pt x="31433" y="340042"/>
                  </a:lnTo>
                  <a:lnTo>
                    <a:pt x="0" y="318135"/>
                  </a:lnTo>
                  <a:lnTo>
                    <a:pt x="17145" y="300038"/>
                  </a:lnTo>
                  <a:lnTo>
                    <a:pt x="17145" y="282892"/>
                  </a:lnTo>
                  <a:lnTo>
                    <a:pt x="40958" y="272415"/>
                  </a:lnTo>
                  <a:lnTo>
                    <a:pt x="60008" y="291465"/>
                  </a:lnTo>
                  <a:lnTo>
                    <a:pt x="89535" y="286703"/>
                  </a:lnTo>
                  <a:lnTo>
                    <a:pt x="108585" y="247650"/>
                  </a:lnTo>
                  <a:lnTo>
                    <a:pt x="96202" y="198120"/>
                  </a:lnTo>
                  <a:lnTo>
                    <a:pt x="129540" y="164782"/>
                  </a:lnTo>
                  <a:lnTo>
                    <a:pt x="140970" y="134303"/>
                  </a:lnTo>
                  <a:lnTo>
                    <a:pt x="121920" y="103822"/>
                  </a:lnTo>
                  <a:lnTo>
                    <a:pt x="120015" y="84772"/>
                  </a:lnTo>
                  <a:lnTo>
                    <a:pt x="152400" y="51435"/>
                  </a:lnTo>
                  <a:lnTo>
                    <a:pt x="162877" y="18097"/>
                  </a:lnTo>
                  <a:lnTo>
                    <a:pt x="203835" y="18097"/>
                  </a:lnTo>
                  <a:lnTo>
                    <a:pt x="222885" y="0"/>
                  </a:lnTo>
                  <a:lnTo>
                    <a:pt x="243840" y="3810"/>
                  </a:lnTo>
                  <a:lnTo>
                    <a:pt x="248602" y="20003"/>
                  </a:lnTo>
                  <a:lnTo>
                    <a:pt x="270510" y="31432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2" name="Полилиния: фигура 72">
              <a:extLst>
                <a:ext uri="{FF2B5EF4-FFF2-40B4-BE49-F238E27FC236}">
                  <a16:creationId xmlns:a16="http://schemas.microsoft.com/office/drawing/2014/main" id="{D0BA76DD-BDDE-42E8-986C-22243B5F4A5A}"/>
                </a:ext>
              </a:extLst>
            </p:cNvPr>
            <p:cNvSpPr/>
            <p:nvPr/>
          </p:nvSpPr>
          <p:spPr>
            <a:xfrm>
              <a:off x="3435855" y="5186425"/>
              <a:ext cx="291724" cy="287434"/>
            </a:xfrm>
            <a:custGeom>
              <a:avLst/>
              <a:gdLst>
                <a:gd name="connsiteX0" fmla="*/ 371475 w 452437"/>
                <a:gd name="connsiteY0" fmla="*/ 419100 h 512445"/>
                <a:gd name="connsiteX1" fmla="*/ 371475 w 452437"/>
                <a:gd name="connsiteY1" fmla="*/ 388620 h 512445"/>
                <a:gd name="connsiteX2" fmla="*/ 340995 w 452437"/>
                <a:gd name="connsiteY2" fmla="*/ 360045 h 512445"/>
                <a:gd name="connsiteX3" fmla="*/ 334328 w 452437"/>
                <a:gd name="connsiteY3" fmla="*/ 334328 h 512445"/>
                <a:gd name="connsiteX4" fmla="*/ 342900 w 452437"/>
                <a:gd name="connsiteY4" fmla="*/ 310515 h 512445"/>
                <a:gd name="connsiteX5" fmla="*/ 342900 w 452437"/>
                <a:gd name="connsiteY5" fmla="*/ 284797 h 512445"/>
                <a:gd name="connsiteX6" fmla="*/ 311468 w 452437"/>
                <a:gd name="connsiteY6" fmla="*/ 262890 h 512445"/>
                <a:gd name="connsiteX7" fmla="*/ 328613 w 452437"/>
                <a:gd name="connsiteY7" fmla="*/ 244793 h 512445"/>
                <a:gd name="connsiteX8" fmla="*/ 328613 w 452437"/>
                <a:gd name="connsiteY8" fmla="*/ 227647 h 512445"/>
                <a:gd name="connsiteX9" fmla="*/ 352425 w 452437"/>
                <a:gd name="connsiteY9" fmla="*/ 217170 h 512445"/>
                <a:gd name="connsiteX10" fmla="*/ 371475 w 452437"/>
                <a:gd name="connsiteY10" fmla="*/ 236220 h 512445"/>
                <a:gd name="connsiteX11" fmla="*/ 401003 w 452437"/>
                <a:gd name="connsiteY11" fmla="*/ 231458 h 512445"/>
                <a:gd name="connsiteX12" fmla="*/ 420053 w 452437"/>
                <a:gd name="connsiteY12" fmla="*/ 192405 h 512445"/>
                <a:gd name="connsiteX13" fmla="*/ 407670 w 452437"/>
                <a:gd name="connsiteY13" fmla="*/ 142875 h 512445"/>
                <a:gd name="connsiteX14" fmla="*/ 441008 w 452437"/>
                <a:gd name="connsiteY14" fmla="*/ 109538 h 512445"/>
                <a:gd name="connsiteX15" fmla="*/ 452438 w 452437"/>
                <a:gd name="connsiteY15" fmla="*/ 79058 h 512445"/>
                <a:gd name="connsiteX16" fmla="*/ 433388 w 452437"/>
                <a:gd name="connsiteY16" fmla="*/ 48578 h 512445"/>
                <a:gd name="connsiteX17" fmla="*/ 431483 w 452437"/>
                <a:gd name="connsiteY17" fmla="*/ 29528 h 512445"/>
                <a:gd name="connsiteX18" fmla="*/ 395288 w 452437"/>
                <a:gd name="connsiteY18" fmla="*/ 29528 h 512445"/>
                <a:gd name="connsiteX19" fmla="*/ 381953 w 452437"/>
                <a:gd name="connsiteY19" fmla="*/ 41910 h 512445"/>
                <a:gd name="connsiteX20" fmla="*/ 361950 w 452437"/>
                <a:gd name="connsiteY20" fmla="*/ 41910 h 512445"/>
                <a:gd name="connsiteX21" fmla="*/ 352425 w 452437"/>
                <a:gd name="connsiteY21" fmla="*/ 28575 h 512445"/>
                <a:gd name="connsiteX22" fmla="*/ 327660 w 452437"/>
                <a:gd name="connsiteY22" fmla="*/ 28575 h 512445"/>
                <a:gd name="connsiteX23" fmla="*/ 327660 w 452437"/>
                <a:gd name="connsiteY23" fmla="*/ 10478 h 512445"/>
                <a:gd name="connsiteX24" fmla="*/ 317183 w 452437"/>
                <a:gd name="connsiteY24" fmla="*/ 0 h 512445"/>
                <a:gd name="connsiteX25" fmla="*/ 305753 w 452437"/>
                <a:gd name="connsiteY25" fmla="*/ 14288 h 512445"/>
                <a:gd name="connsiteX26" fmla="*/ 296228 w 452437"/>
                <a:gd name="connsiteY26" fmla="*/ 38100 h 512445"/>
                <a:gd name="connsiteX27" fmla="*/ 243840 w 452437"/>
                <a:gd name="connsiteY27" fmla="*/ 44768 h 512445"/>
                <a:gd name="connsiteX28" fmla="*/ 244793 w 452437"/>
                <a:gd name="connsiteY28" fmla="*/ 67628 h 512445"/>
                <a:gd name="connsiteX29" fmla="*/ 225743 w 452437"/>
                <a:gd name="connsiteY29" fmla="*/ 64770 h 512445"/>
                <a:gd name="connsiteX30" fmla="*/ 205740 w 452437"/>
                <a:gd name="connsiteY30" fmla="*/ 84772 h 512445"/>
                <a:gd name="connsiteX31" fmla="*/ 211455 w 452437"/>
                <a:gd name="connsiteY31" fmla="*/ 115253 h 512445"/>
                <a:gd name="connsiteX32" fmla="*/ 190500 w 452437"/>
                <a:gd name="connsiteY32" fmla="*/ 128588 h 512445"/>
                <a:gd name="connsiteX33" fmla="*/ 159068 w 452437"/>
                <a:gd name="connsiteY33" fmla="*/ 159068 h 512445"/>
                <a:gd name="connsiteX34" fmla="*/ 125730 w 452437"/>
                <a:gd name="connsiteY34" fmla="*/ 122872 h 512445"/>
                <a:gd name="connsiteX35" fmla="*/ 102870 w 452437"/>
                <a:gd name="connsiteY35" fmla="*/ 99060 h 512445"/>
                <a:gd name="connsiteX36" fmla="*/ 79057 w 452437"/>
                <a:gd name="connsiteY36" fmla="*/ 108585 h 512445"/>
                <a:gd name="connsiteX37" fmla="*/ 52388 w 452437"/>
                <a:gd name="connsiteY37" fmla="*/ 97155 h 512445"/>
                <a:gd name="connsiteX38" fmla="*/ 20955 w 452437"/>
                <a:gd name="connsiteY38" fmla="*/ 111443 h 512445"/>
                <a:gd name="connsiteX39" fmla="*/ 0 w 452437"/>
                <a:gd name="connsiteY39" fmla="*/ 134303 h 512445"/>
                <a:gd name="connsiteX40" fmla="*/ 16193 w 452437"/>
                <a:gd name="connsiteY40" fmla="*/ 140018 h 512445"/>
                <a:gd name="connsiteX41" fmla="*/ 32385 w 452437"/>
                <a:gd name="connsiteY41" fmla="*/ 155258 h 512445"/>
                <a:gd name="connsiteX42" fmla="*/ 56198 w 452437"/>
                <a:gd name="connsiteY42" fmla="*/ 160972 h 512445"/>
                <a:gd name="connsiteX43" fmla="*/ 73343 w 452437"/>
                <a:gd name="connsiteY43" fmla="*/ 173355 h 512445"/>
                <a:gd name="connsiteX44" fmla="*/ 67628 w 452437"/>
                <a:gd name="connsiteY44" fmla="*/ 199072 h 512445"/>
                <a:gd name="connsiteX45" fmla="*/ 43815 w 452437"/>
                <a:gd name="connsiteY45" fmla="*/ 188595 h 512445"/>
                <a:gd name="connsiteX46" fmla="*/ 11430 w 452437"/>
                <a:gd name="connsiteY46" fmla="*/ 184785 h 512445"/>
                <a:gd name="connsiteX47" fmla="*/ 5715 w 452437"/>
                <a:gd name="connsiteY47" fmla="*/ 202883 h 512445"/>
                <a:gd name="connsiteX48" fmla="*/ 4763 w 452437"/>
                <a:gd name="connsiteY48" fmla="*/ 217170 h 512445"/>
                <a:gd name="connsiteX49" fmla="*/ 20003 w 452437"/>
                <a:gd name="connsiteY49" fmla="*/ 232410 h 512445"/>
                <a:gd name="connsiteX50" fmla="*/ 35243 w 452437"/>
                <a:gd name="connsiteY50" fmla="*/ 222885 h 512445"/>
                <a:gd name="connsiteX51" fmla="*/ 84772 w 452437"/>
                <a:gd name="connsiteY51" fmla="*/ 274320 h 512445"/>
                <a:gd name="connsiteX52" fmla="*/ 69532 w 452437"/>
                <a:gd name="connsiteY52" fmla="*/ 279083 h 512445"/>
                <a:gd name="connsiteX53" fmla="*/ 73343 w 452437"/>
                <a:gd name="connsiteY53" fmla="*/ 300990 h 512445"/>
                <a:gd name="connsiteX54" fmla="*/ 54293 w 452437"/>
                <a:gd name="connsiteY54" fmla="*/ 316230 h 512445"/>
                <a:gd name="connsiteX55" fmla="*/ 65723 w 452437"/>
                <a:gd name="connsiteY55" fmla="*/ 327660 h 512445"/>
                <a:gd name="connsiteX56" fmla="*/ 81915 w 452437"/>
                <a:gd name="connsiteY56" fmla="*/ 352425 h 512445"/>
                <a:gd name="connsiteX57" fmla="*/ 97155 w 452437"/>
                <a:gd name="connsiteY57" fmla="*/ 359093 h 512445"/>
                <a:gd name="connsiteX58" fmla="*/ 107632 w 452437"/>
                <a:gd name="connsiteY58" fmla="*/ 373380 h 512445"/>
                <a:gd name="connsiteX59" fmla="*/ 95250 w 452437"/>
                <a:gd name="connsiteY59" fmla="*/ 386715 h 512445"/>
                <a:gd name="connsiteX60" fmla="*/ 97155 w 452437"/>
                <a:gd name="connsiteY60" fmla="*/ 415290 h 512445"/>
                <a:gd name="connsiteX61" fmla="*/ 112395 w 452437"/>
                <a:gd name="connsiteY61" fmla="*/ 415290 h 512445"/>
                <a:gd name="connsiteX62" fmla="*/ 122872 w 452437"/>
                <a:gd name="connsiteY62" fmla="*/ 425768 h 512445"/>
                <a:gd name="connsiteX63" fmla="*/ 140970 w 452437"/>
                <a:gd name="connsiteY63" fmla="*/ 411480 h 512445"/>
                <a:gd name="connsiteX64" fmla="*/ 154305 w 452437"/>
                <a:gd name="connsiteY64" fmla="*/ 421005 h 512445"/>
                <a:gd name="connsiteX65" fmla="*/ 180975 w 452437"/>
                <a:gd name="connsiteY65" fmla="*/ 421005 h 512445"/>
                <a:gd name="connsiteX66" fmla="*/ 190500 w 452437"/>
                <a:gd name="connsiteY66" fmla="*/ 411480 h 512445"/>
                <a:gd name="connsiteX67" fmla="*/ 190500 w 452437"/>
                <a:gd name="connsiteY67" fmla="*/ 397193 h 512445"/>
                <a:gd name="connsiteX68" fmla="*/ 206693 w 452437"/>
                <a:gd name="connsiteY68" fmla="*/ 397193 h 512445"/>
                <a:gd name="connsiteX69" fmla="*/ 214313 w 452437"/>
                <a:gd name="connsiteY69" fmla="*/ 417195 h 512445"/>
                <a:gd name="connsiteX70" fmla="*/ 214313 w 452437"/>
                <a:gd name="connsiteY70" fmla="*/ 436245 h 512445"/>
                <a:gd name="connsiteX71" fmla="*/ 227647 w 452437"/>
                <a:gd name="connsiteY71" fmla="*/ 449580 h 512445"/>
                <a:gd name="connsiteX72" fmla="*/ 244793 w 452437"/>
                <a:gd name="connsiteY72" fmla="*/ 454343 h 512445"/>
                <a:gd name="connsiteX73" fmla="*/ 250508 w 452437"/>
                <a:gd name="connsiteY73" fmla="*/ 478155 h 512445"/>
                <a:gd name="connsiteX74" fmla="*/ 255270 w 452437"/>
                <a:gd name="connsiteY74" fmla="*/ 496253 h 512445"/>
                <a:gd name="connsiteX75" fmla="*/ 265747 w 452437"/>
                <a:gd name="connsiteY75" fmla="*/ 506730 h 512445"/>
                <a:gd name="connsiteX76" fmla="*/ 280988 w 452437"/>
                <a:gd name="connsiteY76" fmla="*/ 512445 h 512445"/>
                <a:gd name="connsiteX77" fmla="*/ 287655 w 452437"/>
                <a:gd name="connsiteY77" fmla="*/ 505778 h 512445"/>
                <a:gd name="connsiteX78" fmla="*/ 304800 w 452437"/>
                <a:gd name="connsiteY78" fmla="*/ 510540 h 512445"/>
                <a:gd name="connsiteX79" fmla="*/ 334328 w 452437"/>
                <a:gd name="connsiteY79" fmla="*/ 479108 h 512445"/>
                <a:gd name="connsiteX80" fmla="*/ 366713 w 452437"/>
                <a:gd name="connsiteY80" fmla="*/ 479108 h 512445"/>
                <a:gd name="connsiteX81" fmla="*/ 396240 w 452437"/>
                <a:gd name="connsiteY81" fmla="*/ 458153 h 512445"/>
                <a:gd name="connsiteX82" fmla="*/ 409575 w 452437"/>
                <a:gd name="connsiteY82" fmla="*/ 429578 h 512445"/>
                <a:gd name="connsiteX83" fmla="*/ 409575 w 452437"/>
                <a:gd name="connsiteY83" fmla="*/ 409575 h 512445"/>
                <a:gd name="connsiteX84" fmla="*/ 388620 w 452437"/>
                <a:gd name="connsiteY84" fmla="*/ 420053 h 51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452437" h="512445">
                  <a:moveTo>
                    <a:pt x="371475" y="419100"/>
                  </a:moveTo>
                  <a:lnTo>
                    <a:pt x="371475" y="388620"/>
                  </a:lnTo>
                  <a:lnTo>
                    <a:pt x="340995" y="360045"/>
                  </a:lnTo>
                  <a:lnTo>
                    <a:pt x="334328" y="334328"/>
                  </a:lnTo>
                  <a:lnTo>
                    <a:pt x="342900" y="310515"/>
                  </a:lnTo>
                  <a:lnTo>
                    <a:pt x="342900" y="284797"/>
                  </a:lnTo>
                  <a:lnTo>
                    <a:pt x="311468" y="262890"/>
                  </a:lnTo>
                  <a:lnTo>
                    <a:pt x="328613" y="244793"/>
                  </a:lnTo>
                  <a:lnTo>
                    <a:pt x="328613" y="227647"/>
                  </a:lnTo>
                  <a:lnTo>
                    <a:pt x="352425" y="217170"/>
                  </a:lnTo>
                  <a:lnTo>
                    <a:pt x="371475" y="236220"/>
                  </a:lnTo>
                  <a:lnTo>
                    <a:pt x="401003" y="231458"/>
                  </a:lnTo>
                  <a:lnTo>
                    <a:pt x="420053" y="192405"/>
                  </a:lnTo>
                  <a:lnTo>
                    <a:pt x="407670" y="142875"/>
                  </a:lnTo>
                  <a:lnTo>
                    <a:pt x="441008" y="109538"/>
                  </a:lnTo>
                  <a:lnTo>
                    <a:pt x="452438" y="79058"/>
                  </a:lnTo>
                  <a:lnTo>
                    <a:pt x="433388" y="48578"/>
                  </a:lnTo>
                  <a:lnTo>
                    <a:pt x="431483" y="29528"/>
                  </a:lnTo>
                  <a:lnTo>
                    <a:pt x="395288" y="29528"/>
                  </a:lnTo>
                  <a:lnTo>
                    <a:pt x="381953" y="41910"/>
                  </a:lnTo>
                  <a:lnTo>
                    <a:pt x="361950" y="41910"/>
                  </a:lnTo>
                  <a:lnTo>
                    <a:pt x="352425" y="28575"/>
                  </a:lnTo>
                  <a:lnTo>
                    <a:pt x="327660" y="28575"/>
                  </a:lnTo>
                  <a:lnTo>
                    <a:pt x="327660" y="10478"/>
                  </a:lnTo>
                  <a:lnTo>
                    <a:pt x="317183" y="0"/>
                  </a:lnTo>
                  <a:lnTo>
                    <a:pt x="305753" y="14288"/>
                  </a:lnTo>
                  <a:lnTo>
                    <a:pt x="296228" y="38100"/>
                  </a:lnTo>
                  <a:lnTo>
                    <a:pt x="243840" y="44768"/>
                  </a:lnTo>
                  <a:lnTo>
                    <a:pt x="244793" y="67628"/>
                  </a:lnTo>
                  <a:lnTo>
                    <a:pt x="225743" y="64770"/>
                  </a:lnTo>
                  <a:lnTo>
                    <a:pt x="205740" y="84772"/>
                  </a:lnTo>
                  <a:lnTo>
                    <a:pt x="211455" y="115253"/>
                  </a:lnTo>
                  <a:lnTo>
                    <a:pt x="190500" y="128588"/>
                  </a:lnTo>
                  <a:lnTo>
                    <a:pt x="159068" y="159068"/>
                  </a:lnTo>
                  <a:lnTo>
                    <a:pt x="125730" y="122872"/>
                  </a:lnTo>
                  <a:lnTo>
                    <a:pt x="102870" y="99060"/>
                  </a:lnTo>
                  <a:lnTo>
                    <a:pt x="79057" y="108585"/>
                  </a:lnTo>
                  <a:lnTo>
                    <a:pt x="52388" y="97155"/>
                  </a:lnTo>
                  <a:lnTo>
                    <a:pt x="20955" y="111443"/>
                  </a:lnTo>
                  <a:lnTo>
                    <a:pt x="0" y="134303"/>
                  </a:lnTo>
                  <a:lnTo>
                    <a:pt x="16193" y="140018"/>
                  </a:lnTo>
                  <a:lnTo>
                    <a:pt x="32385" y="155258"/>
                  </a:lnTo>
                  <a:lnTo>
                    <a:pt x="56198" y="160972"/>
                  </a:lnTo>
                  <a:lnTo>
                    <a:pt x="73343" y="173355"/>
                  </a:lnTo>
                  <a:lnTo>
                    <a:pt x="67628" y="199072"/>
                  </a:lnTo>
                  <a:lnTo>
                    <a:pt x="43815" y="188595"/>
                  </a:lnTo>
                  <a:lnTo>
                    <a:pt x="11430" y="184785"/>
                  </a:lnTo>
                  <a:lnTo>
                    <a:pt x="5715" y="202883"/>
                  </a:lnTo>
                  <a:lnTo>
                    <a:pt x="4763" y="217170"/>
                  </a:lnTo>
                  <a:lnTo>
                    <a:pt x="20003" y="232410"/>
                  </a:lnTo>
                  <a:lnTo>
                    <a:pt x="35243" y="222885"/>
                  </a:lnTo>
                  <a:lnTo>
                    <a:pt x="84772" y="274320"/>
                  </a:lnTo>
                  <a:lnTo>
                    <a:pt x="69532" y="279083"/>
                  </a:lnTo>
                  <a:lnTo>
                    <a:pt x="73343" y="300990"/>
                  </a:lnTo>
                  <a:lnTo>
                    <a:pt x="54293" y="316230"/>
                  </a:lnTo>
                  <a:lnTo>
                    <a:pt x="65723" y="327660"/>
                  </a:lnTo>
                  <a:lnTo>
                    <a:pt x="81915" y="352425"/>
                  </a:lnTo>
                  <a:lnTo>
                    <a:pt x="97155" y="359093"/>
                  </a:lnTo>
                  <a:lnTo>
                    <a:pt x="107632" y="373380"/>
                  </a:lnTo>
                  <a:lnTo>
                    <a:pt x="95250" y="386715"/>
                  </a:lnTo>
                  <a:lnTo>
                    <a:pt x="97155" y="415290"/>
                  </a:lnTo>
                  <a:lnTo>
                    <a:pt x="112395" y="415290"/>
                  </a:lnTo>
                  <a:lnTo>
                    <a:pt x="122872" y="425768"/>
                  </a:lnTo>
                  <a:lnTo>
                    <a:pt x="140970" y="411480"/>
                  </a:lnTo>
                  <a:lnTo>
                    <a:pt x="154305" y="421005"/>
                  </a:lnTo>
                  <a:lnTo>
                    <a:pt x="180975" y="421005"/>
                  </a:lnTo>
                  <a:lnTo>
                    <a:pt x="190500" y="411480"/>
                  </a:lnTo>
                  <a:lnTo>
                    <a:pt x="190500" y="397193"/>
                  </a:lnTo>
                  <a:lnTo>
                    <a:pt x="206693" y="397193"/>
                  </a:lnTo>
                  <a:lnTo>
                    <a:pt x="214313" y="417195"/>
                  </a:lnTo>
                  <a:lnTo>
                    <a:pt x="214313" y="436245"/>
                  </a:lnTo>
                  <a:lnTo>
                    <a:pt x="227647" y="449580"/>
                  </a:lnTo>
                  <a:lnTo>
                    <a:pt x="244793" y="454343"/>
                  </a:lnTo>
                  <a:lnTo>
                    <a:pt x="250508" y="478155"/>
                  </a:lnTo>
                  <a:lnTo>
                    <a:pt x="255270" y="496253"/>
                  </a:lnTo>
                  <a:lnTo>
                    <a:pt x="265747" y="506730"/>
                  </a:lnTo>
                  <a:lnTo>
                    <a:pt x="280988" y="512445"/>
                  </a:lnTo>
                  <a:lnTo>
                    <a:pt x="287655" y="505778"/>
                  </a:lnTo>
                  <a:lnTo>
                    <a:pt x="304800" y="510540"/>
                  </a:lnTo>
                  <a:lnTo>
                    <a:pt x="334328" y="479108"/>
                  </a:lnTo>
                  <a:lnTo>
                    <a:pt x="366713" y="479108"/>
                  </a:lnTo>
                  <a:lnTo>
                    <a:pt x="396240" y="458153"/>
                  </a:lnTo>
                  <a:lnTo>
                    <a:pt x="409575" y="429578"/>
                  </a:lnTo>
                  <a:lnTo>
                    <a:pt x="409575" y="409575"/>
                  </a:lnTo>
                  <a:lnTo>
                    <a:pt x="388620" y="420053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3" name="Полилиния: фигура 73">
              <a:extLst>
                <a:ext uri="{FF2B5EF4-FFF2-40B4-BE49-F238E27FC236}">
                  <a16:creationId xmlns:a16="http://schemas.microsoft.com/office/drawing/2014/main" id="{87F70AFC-42B2-4B72-8D24-F616A7DEF953}"/>
                </a:ext>
              </a:extLst>
            </p:cNvPr>
            <p:cNvSpPr/>
            <p:nvPr/>
          </p:nvSpPr>
          <p:spPr>
            <a:xfrm>
              <a:off x="3730650" y="5390513"/>
              <a:ext cx="153539" cy="239349"/>
            </a:xfrm>
            <a:custGeom>
              <a:avLst/>
              <a:gdLst>
                <a:gd name="connsiteX0" fmla="*/ 197167 w 238125"/>
                <a:gd name="connsiteY0" fmla="*/ 47625 h 426719"/>
                <a:gd name="connsiteX1" fmla="*/ 187642 w 238125"/>
                <a:gd name="connsiteY1" fmla="*/ 18097 h 426719"/>
                <a:gd name="connsiteX2" fmla="*/ 171450 w 238125"/>
                <a:gd name="connsiteY2" fmla="*/ 1905 h 426719"/>
                <a:gd name="connsiteX3" fmla="*/ 151447 w 238125"/>
                <a:gd name="connsiteY3" fmla="*/ 15240 h 426719"/>
                <a:gd name="connsiteX4" fmla="*/ 122872 w 238125"/>
                <a:gd name="connsiteY4" fmla="*/ 14288 h 426719"/>
                <a:gd name="connsiteX5" fmla="*/ 108585 w 238125"/>
                <a:gd name="connsiteY5" fmla="*/ 0 h 426719"/>
                <a:gd name="connsiteX6" fmla="*/ 75247 w 238125"/>
                <a:gd name="connsiteY6" fmla="*/ 8572 h 426719"/>
                <a:gd name="connsiteX7" fmla="*/ 65722 w 238125"/>
                <a:gd name="connsiteY7" fmla="*/ 34290 h 426719"/>
                <a:gd name="connsiteX8" fmla="*/ 74295 w 238125"/>
                <a:gd name="connsiteY8" fmla="*/ 61913 h 426719"/>
                <a:gd name="connsiteX9" fmla="*/ 90488 w 238125"/>
                <a:gd name="connsiteY9" fmla="*/ 73342 h 426719"/>
                <a:gd name="connsiteX10" fmla="*/ 81915 w 238125"/>
                <a:gd name="connsiteY10" fmla="*/ 118110 h 426719"/>
                <a:gd name="connsiteX11" fmla="*/ 84772 w 238125"/>
                <a:gd name="connsiteY11" fmla="*/ 144780 h 426719"/>
                <a:gd name="connsiteX12" fmla="*/ 98107 w 238125"/>
                <a:gd name="connsiteY12" fmla="*/ 162878 h 426719"/>
                <a:gd name="connsiteX13" fmla="*/ 129540 w 238125"/>
                <a:gd name="connsiteY13" fmla="*/ 163830 h 426719"/>
                <a:gd name="connsiteX14" fmla="*/ 120967 w 238125"/>
                <a:gd name="connsiteY14" fmla="*/ 199072 h 426719"/>
                <a:gd name="connsiteX15" fmla="*/ 104775 w 238125"/>
                <a:gd name="connsiteY15" fmla="*/ 207645 h 426719"/>
                <a:gd name="connsiteX16" fmla="*/ 95250 w 238125"/>
                <a:gd name="connsiteY16" fmla="*/ 243840 h 426719"/>
                <a:gd name="connsiteX17" fmla="*/ 109538 w 238125"/>
                <a:gd name="connsiteY17" fmla="*/ 258128 h 426719"/>
                <a:gd name="connsiteX18" fmla="*/ 100965 w 238125"/>
                <a:gd name="connsiteY18" fmla="*/ 280988 h 426719"/>
                <a:gd name="connsiteX19" fmla="*/ 71438 w 238125"/>
                <a:gd name="connsiteY19" fmla="*/ 278130 h 426719"/>
                <a:gd name="connsiteX20" fmla="*/ 68580 w 238125"/>
                <a:gd name="connsiteY20" fmla="*/ 296228 h 426719"/>
                <a:gd name="connsiteX21" fmla="*/ 58102 w 238125"/>
                <a:gd name="connsiteY21" fmla="*/ 296228 h 426719"/>
                <a:gd name="connsiteX22" fmla="*/ 54292 w 238125"/>
                <a:gd name="connsiteY22" fmla="*/ 284797 h 426719"/>
                <a:gd name="connsiteX23" fmla="*/ 38100 w 238125"/>
                <a:gd name="connsiteY23" fmla="*/ 278130 h 426719"/>
                <a:gd name="connsiteX24" fmla="*/ 26670 w 238125"/>
                <a:gd name="connsiteY24" fmla="*/ 289560 h 426719"/>
                <a:gd name="connsiteX25" fmla="*/ 37147 w 238125"/>
                <a:gd name="connsiteY25" fmla="*/ 302895 h 426719"/>
                <a:gd name="connsiteX26" fmla="*/ 37147 w 238125"/>
                <a:gd name="connsiteY26" fmla="*/ 320040 h 426719"/>
                <a:gd name="connsiteX27" fmla="*/ 45720 w 238125"/>
                <a:gd name="connsiteY27" fmla="*/ 328613 h 426719"/>
                <a:gd name="connsiteX28" fmla="*/ 45720 w 238125"/>
                <a:gd name="connsiteY28" fmla="*/ 341947 h 426719"/>
                <a:gd name="connsiteX29" fmla="*/ 0 w 238125"/>
                <a:gd name="connsiteY29" fmla="*/ 374332 h 426719"/>
                <a:gd name="connsiteX30" fmla="*/ 3810 w 238125"/>
                <a:gd name="connsiteY30" fmla="*/ 385763 h 426719"/>
                <a:gd name="connsiteX31" fmla="*/ 22860 w 238125"/>
                <a:gd name="connsiteY31" fmla="*/ 386715 h 426719"/>
                <a:gd name="connsiteX32" fmla="*/ 38100 w 238125"/>
                <a:gd name="connsiteY32" fmla="*/ 397192 h 426719"/>
                <a:gd name="connsiteX33" fmla="*/ 63817 w 238125"/>
                <a:gd name="connsiteY33" fmla="*/ 401003 h 426719"/>
                <a:gd name="connsiteX34" fmla="*/ 73342 w 238125"/>
                <a:gd name="connsiteY34" fmla="*/ 410528 h 426719"/>
                <a:gd name="connsiteX35" fmla="*/ 94297 w 238125"/>
                <a:gd name="connsiteY35" fmla="*/ 416242 h 426719"/>
                <a:gd name="connsiteX36" fmla="*/ 104775 w 238125"/>
                <a:gd name="connsiteY36" fmla="*/ 426720 h 426719"/>
                <a:gd name="connsiteX37" fmla="*/ 135255 w 238125"/>
                <a:gd name="connsiteY37" fmla="*/ 424815 h 426719"/>
                <a:gd name="connsiteX38" fmla="*/ 147638 w 238125"/>
                <a:gd name="connsiteY38" fmla="*/ 424815 h 426719"/>
                <a:gd name="connsiteX39" fmla="*/ 162877 w 238125"/>
                <a:gd name="connsiteY39" fmla="*/ 424815 h 426719"/>
                <a:gd name="connsiteX40" fmla="*/ 182880 w 238125"/>
                <a:gd name="connsiteY40" fmla="*/ 424815 h 426719"/>
                <a:gd name="connsiteX41" fmla="*/ 206692 w 238125"/>
                <a:gd name="connsiteY41" fmla="*/ 421957 h 426719"/>
                <a:gd name="connsiteX42" fmla="*/ 220980 w 238125"/>
                <a:gd name="connsiteY42" fmla="*/ 407670 h 426719"/>
                <a:gd name="connsiteX43" fmla="*/ 202882 w 238125"/>
                <a:gd name="connsiteY43" fmla="*/ 389572 h 426719"/>
                <a:gd name="connsiteX44" fmla="*/ 190500 w 238125"/>
                <a:gd name="connsiteY44" fmla="*/ 364807 h 426719"/>
                <a:gd name="connsiteX45" fmla="*/ 187642 w 238125"/>
                <a:gd name="connsiteY45" fmla="*/ 339090 h 426719"/>
                <a:gd name="connsiteX46" fmla="*/ 208597 w 238125"/>
                <a:gd name="connsiteY46" fmla="*/ 341947 h 426719"/>
                <a:gd name="connsiteX47" fmla="*/ 222885 w 238125"/>
                <a:gd name="connsiteY47" fmla="*/ 357188 h 426719"/>
                <a:gd name="connsiteX48" fmla="*/ 238125 w 238125"/>
                <a:gd name="connsiteY48" fmla="*/ 341947 h 426719"/>
                <a:gd name="connsiteX49" fmla="*/ 238125 w 238125"/>
                <a:gd name="connsiteY49" fmla="*/ 302895 h 426719"/>
                <a:gd name="connsiteX50" fmla="*/ 230505 w 238125"/>
                <a:gd name="connsiteY50" fmla="*/ 255270 h 426719"/>
                <a:gd name="connsiteX51" fmla="*/ 237172 w 238125"/>
                <a:gd name="connsiteY51" fmla="*/ 218122 h 426719"/>
                <a:gd name="connsiteX52" fmla="*/ 220027 w 238125"/>
                <a:gd name="connsiteY52" fmla="*/ 200978 h 426719"/>
                <a:gd name="connsiteX53" fmla="*/ 193357 w 238125"/>
                <a:gd name="connsiteY53" fmla="*/ 175260 h 426719"/>
                <a:gd name="connsiteX54" fmla="*/ 175260 w 238125"/>
                <a:gd name="connsiteY54" fmla="*/ 163830 h 426719"/>
                <a:gd name="connsiteX55" fmla="*/ 193357 w 238125"/>
                <a:gd name="connsiteY55" fmla="*/ 145732 h 426719"/>
                <a:gd name="connsiteX56" fmla="*/ 201930 w 238125"/>
                <a:gd name="connsiteY56" fmla="*/ 108585 h 426719"/>
                <a:gd name="connsiteX57" fmla="*/ 181927 w 238125"/>
                <a:gd name="connsiteY57" fmla="*/ 87630 h 426719"/>
                <a:gd name="connsiteX58" fmla="*/ 172402 w 238125"/>
                <a:gd name="connsiteY58" fmla="*/ 60007 h 426719"/>
                <a:gd name="connsiteX59" fmla="*/ 197167 w 238125"/>
                <a:gd name="connsiteY59" fmla="*/ 47625 h 42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38125" h="426719">
                  <a:moveTo>
                    <a:pt x="197167" y="47625"/>
                  </a:moveTo>
                  <a:lnTo>
                    <a:pt x="187642" y="18097"/>
                  </a:lnTo>
                  <a:lnTo>
                    <a:pt x="171450" y="1905"/>
                  </a:lnTo>
                  <a:lnTo>
                    <a:pt x="151447" y="15240"/>
                  </a:lnTo>
                  <a:lnTo>
                    <a:pt x="122872" y="14288"/>
                  </a:lnTo>
                  <a:lnTo>
                    <a:pt x="108585" y="0"/>
                  </a:lnTo>
                  <a:lnTo>
                    <a:pt x="75247" y="8572"/>
                  </a:lnTo>
                  <a:lnTo>
                    <a:pt x="65722" y="34290"/>
                  </a:lnTo>
                  <a:lnTo>
                    <a:pt x="74295" y="61913"/>
                  </a:lnTo>
                  <a:lnTo>
                    <a:pt x="90488" y="73342"/>
                  </a:lnTo>
                  <a:lnTo>
                    <a:pt x="81915" y="118110"/>
                  </a:lnTo>
                  <a:lnTo>
                    <a:pt x="84772" y="144780"/>
                  </a:lnTo>
                  <a:lnTo>
                    <a:pt x="98107" y="162878"/>
                  </a:lnTo>
                  <a:lnTo>
                    <a:pt x="129540" y="163830"/>
                  </a:lnTo>
                  <a:lnTo>
                    <a:pt x="120967" y="199072"/>
                  </a:lnTo>
                  <a:lnTo>
                    <a:pt x="104775" y="207645"/>
                  </a:lnTo>
                  <a:lnTo>
                    <a:pt x="95250" y="243840"/>
                  </a:lnTo>
                  <a:lnTo>
                    <a:pt x="109538" y="258128"/>
                  </a:lnTo>
                  <a:lnTo>
                    <a:pt x="100965" y="280988"/>
                  </a:lnTo>
                  <a:lnTo>
                    <a:pt x="71438" y="278130"/>
                  </a:lnTo>
                  <a:lnTo>
                    <a:pt x="68580" y="296228"/>
                  </a:lnTo>
                  <a:lnTo>
                    <a:pt x="58102" y="296228"/>
                  </a:lnTo>
                  <a:lnTo>
                    <a:pt x="54292" y="284797"/>
                  </a:lnTo>
                  <a:lnTo>
                    <a:pt x="38100" y="278130"/>
                  </a:lnTo>
                  <a:lnTo>
                    <a:pt x="26670" y="289560"/>
                  </a:lnTo>
                  <a:lnTo>
                    <a:pt x="37147" y="302895"/>
                  </a:lnTo>
                  <a:lnTo>
                    <a:pt x="37147" y="320040"/>
                  </a:lnTo>
                  <a:lnTo>
                    <a:pt x="45720" y="328613"/>
                  </a:lnTo>
                  <a:lnTo>
                    <a:pt x="45720" y="341947"/>
                  </a:lnTo>
                  <a:lnTo>
                    <a:pt x="0" y="374332"/>
                  </a:lnTo>
                  <a:lnTo>
                    <a:pt x="3810" y="385763"/>
                  </a:lnTo>
                  <a:lnTo>
                    <a:pt x="22860" y="386715"/>
                  </a:lnTo>
                  <a:lnTo>
                    <a:pt x="38100" y="397192"/>
                  </a:lnTo>
                  <a:lnTo>
                    <a:pt x="63817" y="401003"/>
                  </a:lnTo>
                  <a:lnTo>
                    <a:pt x="73342" y="410528"/>
                  </a:lnTo>
                  <a:lnTo>
                    <a:pt x="94297" y="416242"/>
                  </a:lnTo>
                  <a:cubicBezTo>
                    <a:pt x="94297" y="416242"/>
                    <a:pt x="91440" y="426720"/>
                    <a:pt x="104775" y="426720"/>
                  </a:cubicBezTo>
                  <a:cubicBezTo>
                    <a:pt x="118110" y="426720"/>
                    <a:pt x="135255" y="424815"/>
                    <a:pt x="135255" y="424815"/>
                  </a:cubicBezTo>
                  <a:lnTo>
                    <a:pt x="147638" y="424815"/>
                  </a:lnTo>
                  <a:lnTo>
                    <a:pt x="162877" y="424815"/>
                  </a:lnTo>
                  <a:lnTo>
                    <a:pt x="182880" y="424815"/>
                  </a:lnTo>
                  <a:lnTo>
                    <a:pt x="206692" y="421957"/>
                  </a:lnTo>
                  <a:lnTo>
                    <a:pt x="220980" y="407670"/>
                  </a:lnTo>
                  <a:lnTo>
                    <a:pt x="202882" y="389572"/>
                  </a:lnTo>
                  <a:lnTo>
                    <a:pt x="190500" y="364807"/>
                  </a:lnTo>
                  <a:lnTo>
                    <a:pt x="187642" y="339090"/>
                  </a:lnTo>
                  <a:lnTo>
                    <a:pt x="208597" y="341947"/>
                  </a:lnTo>
                  <a:lnTo>
                    <a:pt x="222885" y="357188"/>
                  </a:lnTo>
                  <a:lnTo>
                    <a:pt x="238125" y="341947"/>
                  </a:lnTo>
                  <a:lnTo>
                    <a:pt x="238125" y="302895"/>
                  </a:lnTo>
                  <a:lnTo>
                    <a:pt x="230505" y="255270"/>
                  </a:lnTo>
                  <a:lnTo>
                    <a:pt x="237172" y="218122"/>
                  </a:lnTo>
                  <a:lnTo>
                    <a:pt x="220027" y="200978"/>
                  </a:lnTo>
                  <a:lnTo>
                    <a:pt x="193357" y="175260"/>
                  </a:lnTo>
                  <a:lnTo>
                    <a:pt x="175260" y="163830"/>
                  </a:lnTo>
                  <a:lnTo>
                    <a:pt x="193357" y="145732"/>
                  </a:lnTo>
                  <a:lnTo>
                    <a:pt x="201930" y="108585"/>
                  </a:lnTo>
                  <a:lnTo>
                    <a:pt x="181927" y="87630"/>
                  </a:lnTo>
                  <a:lnTo>
                    <a:pt x="172402" y="60007"/>
                  </a:lnTo>
                  <a:lnTo>
                    <a:pt x="197167" y="4762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4" name="Полилиния: фигура 74">
              <a:extLst>
                <a:ext uri="{FF2B5EF4-FFF2-40B4-BE49-F238E27FC236}">
                  <a16:creationId xmlns:a16="http://schemas.microsoft.com/office/drawing/2014/main" id="{8C8C2921-60E5-4FCC-B6E7-6326A9BEFD22}"/>
                </a:ext>
              </a:extLst>
            </p:cNvPr>
            <p:cNvSpPr/>
            <p:nvPr/>
          </p:nvSpPr>
          <p:spPr>
            <a:xfrm>
              <a:off x="3597992" y="4860524"/>
              <a:ext cx="141256" cy="138374"/>
            </a:xfrm>
            <a:custGeom>
              <a:avLst/>
              <a:gdLst>
                <a:gd name="connsiteX0" fmla="*/ 30480 w 219075"/>
                <a:gd name="connsiteY0" fmla="*/ 53340 h 246697"/>
                <a:gd name="connsiteX1" fmla="*/ 15240 w 219075"/>
                <a:gd name="connsiteY1" fmla="*/ 53340 h 246697"/>
                <a:gd name="connsiteX2" fmla="*/ 0 w 219075"/>
                <a:gd name="connsiteY2" fmla="*/ 68580 h 246697"/>
                <a:gd name="connsiteX3" fmla="*/ 7620 w 219075"/>
                <a:gd name="connsiteY3" fmla="*/ 80963 h 246697"/>
                <a:gd name="connsiteX4" fmla="*/ 22860 w 219075"/>
                <a:gd name="connsiteY4" fmla="*/ 85725 h 246697"/>
                <a:gd name="connsiteX5" fmla="*/ 33338 w 219075"/>
                <a:gd name="connsiteY5" fmla="*/ 94297 h 246697"/>
                <a:gd name="connsiteX6" fmla="*/ 33338 w 219075"/>
                <a:gd name="connsiteY6" fmla="*/ 118110 h 246697"/>
                <a:gd name="connsiteX7" fmla="*/ 49530 w 219075"/>
                <a:gd name="connsiteY7" fmla="*/ 121920 h 246697"/>
                <a:gd name="connsiteX8" fmla="*/ 53340 w 219075"/>
                <a:gd name="connsiteY8" fmla="*/ 135255 h 246697"/>
                <a:gd name="connsiteX9" fmla="*/ 68580 w 219075"/>
                <a:gd name="connsiteY9" fmla="*/ 142875 h 246697"/>
                <a:gd name="connsiteX10" fmla="*/ 72390 w 219075"/>
                <a:gd name="connsiteY10" fmla="*/ 173355 h 246697"/>
                <a:gd name="connsiteX11" fmla="*/ 88583 w 219075"/>
                <a:gd name="connsiteY11" fmla="*/ 200025 h 246697"/>
                <a:gd name="connsiteX12" fmla="*/ 93345 w 219075"/>
                <a:gd name="connsiteY12" fmla="*/ 232410 h 246697"/>
                <a:gd name="connsiteX13" fmla="*/ 108585 w 219075"/>
                <a:gd name="connsiteY13" fmla="*/ 235268 h 246697"/>
                <a:gd name="connsiteX14" fmla="*/ 120015 w 219075"/>
                <a:gd name="connsiteY14" fmla="*/ 246697 h 246697"/>
                <a:gd name="connsiteX15" fmla="*/ 137160 w 219075"/>
                <a:gd name="connsiteY15" fmla="*/ 233363 h 246697"/>
                <a:gd name="connsiteX16" fmla="*/ 155258 w 219075"/>
                <a:gd name="connsiteY16" fmla="*/ 233363 h 246697"/>
                <a:gd name="connsiteX17" fmla="*/ 167640 w 219075"/>
                <a:gd name="connsiteY17" fmla="*/ 220980 h 246697"/>
                <a:gd name="connsiteX18" fmla="*/ 160020 w 219075"/>
                <a:gd name="connsiteY18" fmla="*/ 205740 h 246697"/>
                <a:gd name="connsiteX19" fmla="*/ 188595 w 219075"/>
                <a:gd name="connsiteY19" fmla="*/ 189547 h 246697"/>
                <a:gd name="connsiteX20" fmla="*/ 196215 w 219075"/>
                <a:gd name="connsiteY20" fmla="*/ 169545 h 246697"/>
                <a:gd name="connsiteX21" fmla="*/ 219075 w 219075"/>
                <a:gd name="connsiteY21" fmla="*/ 161925 h 246697"/>
                <a:gd name="connsiteX22" fmla="*/ 208598 w 219075"/>
                <a:gd name="connsiteY22" fmla="*/ 130493 h 246697"/>
                <a:gd name="connsiteX23" fmla="*/ 219075 w 219075"/>
                <a:gd name="connsiteY23" fmla="*/ 120968 h 246697"/>
                <a:gd name="connsiteX24" fmla="*/ 193358 w 219075"/>
                <a:gd name="connsiteY24" fmla="*/ 103822 h 246697"/>
                <a:gd name="connsiteX25" fmla="*/ 175260 w 219075"/>
                <a:gd name="connsiteY25" fmla="*/ 67628 h 246697"/>
                <a:gd name="connsiteX26" fmla="*/ 165735 w 219075"/>
                <a:gd name="connsiteY26" fmla="*/ 19050 h 246697"/>
                <a:gd name="connsiteX27" fmla="*/ 134303 w 219075"/>
                <a:gd name="connsiteY27" fmla="*/ 7620 h 246697"/>
                <a:gd name="connsiteX28" fmla="*/ 111443 w 219075"/>
                <a:gd name="connsiteY28" fmla="*/ 7620 h 246697"/>
                <a:gd name="connsiteX29" fmla="*/ 91440 w 219075"/>
                <a:gd name="connsiteY29" fmla="*/ 0 h 246697"/>
                <a:gd name="connsiteX30" fmla="*/ 82868 w 219075"/>
                <a:gd name="connsiteY30" fmla="*/ 8572 h 246697"/>
                <a:gd name="connsiteX31" fmla="*/ 78105 w 219075"/>
                <a:gd name="connsiteY31" fmla="*/ 26670 h 246697"/>
                <a:gd name="connsiteX32" fmla="*/ 70485 w 219075"/>
                <a:gd name="connsiteY32" fmla="*/ 34290 h 246697"/>
                <a:gd name="connsiteX33" fmla="*/ 59055 w 219075"/>
                <a:gd name="connsiteY33" fmla="*/ 22860 h 246697"/>
                <a:gd name="connsiteX34" fmla="*/ 42863 w 219075"/>
                <a:gd name="connsiteY34" fmla="*/ 22860 h 246697"/>
                <a:gd name="connsiteX35" fmla="*/ 29528 w 219075"/>
                <a:gd name="connsiteY35" fmla="*/ 27622 h 246697"/>
                <a:gd name="connsiteX36" fmla="*/ 34290 w 219075"/>
                <a:gd name="connsiteY36" fmla="*/ 40005 h 246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19075" h="246697">
                  <a:moveTo>
                    <a:pt x="30480" y="53340"/>
                  </a:moveTo>
                  <a:lnTo>
                    <a:pt x="15240" y="53340"/>
                  </a:lnTo>
                  <a:lnTo>
                    <a:pt x="0" y="68580"/>
                  </a:lnTo>
                  <a:lnTo>
                    <a:pt x="7620" y="80963"/>
                  </a:lnTo>
                  <a:lnTo>
                    <a:pt x="22860" y="85725"/>
                  </a:lnTo>
                  <a:lnTo>
                    <a:pt x="33338" y="94297"/>
                  </a:lnTo>
                  <a:lnTo>
                    <a:pt x="33338" y="118110"/>
                  </a:lnTo>
                  <a:lnTo>
                    <a:pt x="49530" y="121920"/>
                  </a:lnTo>
                  <a:lnTo>
                    <a:pt x="53340" y="135255"/>
                  </a:lnTo>
                  <a:lnTo>
                    <a:pt x="68580" y="142875"/>
                  </a:lnTo>
                  <a:lnTo>
                    <a:pt x="72390" y="173355"/>
                  </a:lnTo>
                  <a:lnTo>
                    <a:pt x="88583" y="200025"/>
                  </a:lnTo>
                  <a:lnTo>
                    <a:pt x="93345" y="232410"/>
                  </a:lnTo>
                  <a:lnTo>
                    <a:pt x="108585" y="235268"/>
                  </a:lnTo>
                  <a:lnTo>
                    <a:pt x="120015" y="246697"/>
                  </a:lnTo>
                  <a:lnTo>
                    <a:pt x="137160" y="233363"/>
                  </a:lnTo>
                  <a:lnTo>
                    <a:pt x="155258" y="233363"/>
                  </a:lnTo>
                  <a:lnTo>
                    <a:pt x="167640" y="220980"/>
                  </a:lnTo>
                  <a:lnTo>
                    <a:pt x="160020" y="205740"/>
                  </a:lnTo>
                  <a:lnTo>
                    <a:pt x="188595" y="189547"/>
                  </a:lnTo>
                  <a:lnTo>
                    <a:pt x="196215" y="169545"/>
                  </a:lnTo>
                  <a:lnTo>
                    <a:pt x="219075" y="161925"/>
                  </a:lnTo>
                  <a:lnTo>
                    <a:pt x="208598" y="130493"/>
                  </a:lnTo>
                  <a:lnTo>
                    <a:pt x="219075" y="120968"/>
                  </a:lnTo>
                  <a:lnTo>
                    <a:pt x="193358" y="103822"/>
                  </a:lnTo>
                  <a:lnTo>
                    <a:pt x="175260" y="67628"/>
                  </a:lnTo>
                  <a:lnTo>
                    <a:pt x="165735" y="19050"/>
                  </a:lnTo>
                  <a:lnTo>
                    <a:pt x="134303" y="7620"/>
                  </a:lnTo>
                  <a:lnTo>
                    <a:pt x="111443" y="7620"/>
                  </a:lnTo>
                  <a:lnTo>
                    <a:pt x="91440" y="0"/>
                  </a:lnTo>
                  <a:lnTo>
                    <a:pt x="82868" y="8572"/>
                  </a:lnTo>
                  <a:lnTo>
                    <a:pt x="78105" y="26670"/>
                  </a:lnTo>
                  <a:lnTo>
                    <a:pt x="70485" y="34290"/>
                  </a:lnTo>
                  <a:lnTo>
                    <a:pt x="59055" y="22860"/>
                  </a:lnTo>
                  <a:lnTo>
                    <a:pt x="42863" y="22860"/>
                  </a:lnTo>
                  <a:lnTo>
                    <a:pt x="29528" y="27622"/>
                  </a:lnTo>
                  <a:lnTo>
                    <a:pt x="34290" y="4000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5" name="Полилиния: фигура 75">
              <a:extLst>
                <a:ext uri="{FF2B5EF4-FFF2-40B4-BE49-F238E27FC236}">
                  <a16:creationId xmlns:a16="http://schemas.microsoft.com/office/drawing/2014/main" id="{617729E9-FDA7-4BC7-A816-ECD2110EF28E}"/>
                </a:ext>
              </a:extLst>
            </p:cNvPr>
            <p:cNvSpPr/>
            <p:nvPr/>
          </p:nvSpPr>
          <p:spPr>
            <a:xfrm>
              <a:off x="3675376" y="4951349"/>
              <a:ext cx="159066" cy="130360"/>
            </a:xfrm>
            <a:custGeom>
              <a:avLst/>
              <a:gdLst>
                <a:gd name="connsiteX0" fmla="*/ 195263 w 246697"/>
                <a:gd name="connsiteY0" fmla="*/ 0 h 232409"/>
                <a:gd name="connsiteX1" fmla="*/ 175260 w 246697"/>
                <a:gd name="connsiteY1" fmla="*/ 953 h 232409"/>
                <a:gd name="connsiteX2" fmla="*/ 167640 w 246697"/>
                <a:gd name="connsiteY2" fmla="*/ 14288 h 232409"/>
                <a:gd name="connsiteX3" fmla="*/ 146685 w 246697"/>
                <a:gd name="connsiteY3" fmla="*/ 14288 h 232409"/>
                <a:gd name="connsiteX4" fmla="*/ 139065 w 246697"/>
                <a:gd name="connsiteY4" fmla="*/ 30480 h 232409"/>
                <a:gd name="connsiteX5" fmla="*/ 122872 w 246697"/>
                <a:gd name="connsiteY5" fmla="*/ 30480 h 232409"/>
                <a:gd name="connsiteX6" fmla="*/ 108585 w 246697"/>
                <a:gd name="connsiteY6" fmla="*/ 9525 h 232409"/>
                <a:gd name="connsiteX7" fmla="*/ 99060 w 246697"/>
                <a:gd name="connsiteY7" fmla="*/ 0 h 232409"/>
                <a:gd name="connsiteX8" fmla="*/ 76200 w 246697"/>
                <a:gd name="connsiteY8" fmla="*/ 7620 h 232409"/>
                <a:gd name="connsiteX9" fmla="*/ 68580 w 246697"/>
                <a:gd name="connsiteY9" fmla="*/ 27622 h 232409"/>
                <a:gd name="connsiteX10" fmla="*/ 40005 w 246697"/>
                <a:gd name="connsiteY10" fmla="*/ 43815 h 232409"/>
                <a:gd name="connsiteX11" fmla="*/ 47625 w 246697"/>
                <a:gd name="connsiteY11" fmla="*/ 59055 h 232409"/>
                <a:gd name="connsiteX12" fmla="*/ 35242 w 246697"/>
                <a:gd name="connsiteY12" fmla="*/ 71438 h 232409"/>
                <a:gd name="connsiteX13" fmla="*/ 17145 w 246697"/>
                <a:gd name="connsiteY13" fmla="*/ 71438 h 232409"/>
                <a:gd name="connsiteX14" fmla="*/ 0 w 246697"/>
                <a:gd name="connsiteY14" fmla="*/ 84772 h 232409"/>
                <a:gd name="connsiteX15" fmla="*/ 0 w 246697"/>
                <a:gd name="connsiteY15" fmla="*/ 108585 h 232409"/>
                <a:gd name="connsiteX16" fmla="*/ 18097 w 246697"/>
                <a:gd name="connsiteY16" fmla="*/ 111443 h 232409"/>
                <a:gd name="connsiteX17" fmla="*/ 38100 w 246697"/>
                <a:gd name="connsiteY17" fmla="*/ 123825 h 232409"/>
                <a:gd name="connsiteX18" fmla="*/ 62865 w 246697"/>
                <a:gd name="connsiteY18" fmla="*/ 127635 h 232409"/>
                <a:gd name="connsiteX19" fmla="*/ 73342 w 246697"/>
                <a:gd name="connsiteY19" fmla="*/ 149543 h 232409"/>
                <a:gd name="connsiteX20" fmla="*/ 99060 w 246697"/>
                <a:gd name="connsiteY20" fmla="*/ 158115 h 232409"/>
                <a:gd name="connsiteX21" fmla="*/ 93345 w 246697"/>
                <a:gd name="connsiteY21" fmla="*/ 183833 h 232409"/>
                <a:gd name="connsiteX22" fmla="*/ 110490 w 246697"/>
                <a:gd name="connsiteY22" fmla="*/ 200978 h 232409"/>
                <a:gd name="connsiteX23" fmla="*/ 132397 w 246697"/>
                <a:gd name="connsiteY23" fmla="*/ 202883 h 232409"/>
                <a:gd name="connsiteX24" fmla="*/ 154305 w 246697"/>
                <a:gd name="connsiteY24" fmla="*/ 232410 h 232409"/>
                <a:gd name="connsiteX25" fmla="*/ 170497 w 246697"/>
                <a:gd name="connsiteY25" fmla="*/ 219075 h 232409"/>
                <a:gd name="connsiteX26" fmla="*/ 186690 w 246697"/>
                <a:gd name="connsiteY26" fmla="*/ 219075 h 232409"/>
                <a:gd name="connsiteX27" fmla="*/ 191452 w 246697"/>
                <a:gd name="connsiteY27" fmla="*/ 196215 h 232409"/>
                <a:gd name="connsiteX28" fmla="*/ 176213 w 246697"/>
                <a:gd name="connsiteY28" fmla="*/ 180975 h 232409"/>
                <a:gd name="connsiteX29" fmla="*/ 179070 w 246697"/>
                <a:gd name="connsiteY29" fmla="*/ 160972 h 232409"/>
                <a:gd name="connsiteX30" fmla="*/ 170497 w 246697"/>
                <a:gd name="connsiteY30" fmla="*/ 149543 h 232409"/>
                <a:gd name="connsiteX31" fmla="*/ 176213 w 246697"/>
                <a:gd name="connsiteY31" fmla="*/ 134303 h 232409"/>
                <a:gd name="connsiteX32" fmla="*/ 195263 w 246697"/>
                <a:gd name="connsiteY32" fmla="*/ 128588 h 232409"/>
                <a:gd name="connsiteX33" fmla="*/ 218122 w 246697"/>
                <a:gd name="connsiteY33" fmla="*/ 105728 h 232409"/>
                <a:gd name="connsiteX34" fmla="*/ 246697 w 246697"/>
                <a:gd name="connsiteY34" fmla="*/ 84772 h 232409"/>
                <a:gd name="connsiteX35" fmla="*/ 240982 w 246697"/>
                <a:gd name="connsiteY35" fmla="*/ 46672 h 232409"/>
                <a:gd name="connsiteX36" fmla="*/ 221932 w 246697"/>
                <a:gd name="connsiteY36" fmla="*/ 27622 h 232409"/>
                <a:gd name="connsiteX37" fmla="*/ 204788 w 246697"/>
                <a:gd name="connsiteY37" fmla="*/ 40005 h 232409"/>
                <a:gd name="connsiteX38" fmla="*/ 195263 w 246697"/>
                <a:gd name="connsiteY38" fmla="*/ 24765 h 232409"/>
                <a:gd name="connsiteX39" fmla="*/ 202882 w 246697"/>
                <a:gd name="connsiteY39" fmla="*/ 11430 h 232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46697" h="232409">
                  <a:moveTo>
                    <a:pt x="195263" y="0"/>
                  </a:moveTo>
                  <a:lnTo>
                    <a:pt x="175260" y="953"/>
                  </a:lnTo>
                  <a:lnTo>
                    <a:pt x="167640" y="14288"/>
                  </a:lnTo>
                  <a:lnTo>
                    <a:pt x="146685" y="14288"/>
                  </a:lnTo>
                  <a:lnTo>
                    <a:pt x="139065" y="30480"/>
                  </a:lnTo>
                  <a:lnTo>
                    <a:pt x="122872" y="30480"/>
                  </a:lnTo>
                  <a:lnTo>
                    <a:pt x="108585" y="9525"/>
                  </a:lnTo>
                  <a:lnTo>
                    <a:pt x="99060" y="0"/>
                  </a:lnTo>
                  <a:lnTo>
                    <a:pt x="76200" y="7620"/>
                  </a:lnTo>
                  <a:lnTo>
                    <a:pt x="68580" y="27622"/>
                  </a:lnTo>
                  <a:lnTo>
                    <a:pt x="40005" y="43815"/>
                  </a:lnTo>
                  <a:lnTo>
                    <a:pt x="47625" y="59055"/>
                  </a:lnTo>
                  <a:lnTo>
                    <a:pt x="35242" y="71438"/>
                  </a:lnTo>
                  <a:lnTo>
                    <a:pt x="17145" y="71438"/>
                  </a:lnTo>
                  <a:lnTo>
                    <a:pt x="0" y="84772"/>
                  </a:lnTo>
                  <a:lnTo>
                    <a:pt x="0" y="108585"/>
                  </a:lnTo>
                  <a:lnTo>
                    <a:pt x="18097" y="111443"/>
                  </a:lnTo>
                  <a:lnTo>
                    <a:pt x="38100" y="123825"/>
                  </a:lnTo>
                  <a:lnTo>
                    <a:pt x="62865" y="127635"/>
                  </a:lnTo>
                  <a:lnTo>
                    <a:pt x="73342" y="149543"/>
                  </a:lnTo>
                  <a:lnTo>
                    <a:pt x="99060" y="158115"/>
                  </a:lnTo>
                  <a:lnTo>
                    <a:pt x="93345" y="183833"/>
                  </a:lnTo>
                  <a:lnTo>
                    <a:pt x="110490" y="200978"/>
                  </a:lnTo>
                  <a:lnTo>
                    <a:pt x="132397" y="202883"/>
                  </a:lnTo>
                  <a:lnTo>
                    <a:pt x="154305" y="232410"/>
                  </a:lnTo>
                  <a:lnTo>
                    <a:pt x="170497" y="219075"/>
                  </a:lnTo>
                  <a:lnTo>
                    <a:pt x="186690" y="219075"/>
                  </a:lnTo>
                  <a:lnTo>
                    <a:pt x="191452" y="196215"/>
                  </a:lnTo>
                  <a:lnTo>
                    <a:pt x="176213" y="180975"/>
                  </a:lnTo>
                  <a:lnTo>
                    <a:pt x="179070" y="160972"/>
                  </a:lnTo>
                  <a:lnTo>
                    <a:pt x="170497" y="149543"/>
                  </a:lnTo>
                  <a:lnTo>
                    <a:pt x="176213" y="134303"/>
                  </a:lnTo>
                  <a:lnTo>
                    <a:pt x="195263" y="128588"/>
                  </a:lnTo>
                  <a:lnTo>
                    <a:pt x="218122" y="105728"/>
                  </a:lnTo>
                  <a:lnTo>
                    <a:pt x="246697" y="84772"/>
                  </a:lnTo>
                  <a:lnTo>
                    <a:pt x="240982" y="46672"/>
                  </a:lnTo>
                  <a:lnTo>
                    <a:pt x="221932" y="27622"/>
                  </a:lnTo>
                  <a:lnTo>
                    <a:pt x="204788" y="40005"/>
                  </a:lnTo>
                  <a:lnTo>
                    <a:pt x="195263" y="24765"/>
                  </a:lnTo>
                  <a:lnTo>
                    <a:pt x="202882" y="1143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6" name="Полилиния: фигура 76">
              <a:extLst>
                <a:ext uri="{FF2B5EF4-FFF2-40B4-BE49-F238E27FC236}">
                  <a16:creationId xmlns:a16="http://schemas.microsoft.com/office/drawing/2014/main" id="{0697433B-8DE3-4D1B-872D-99CAAA3B7B72}"/>
                </a:ext>
              </a:extLst>
            </p:cNvPr>
            <p:cNvSpPr/>
            <p:nvPr/>
          </p:nvSpPr>
          <p:spPr>
            <a:xfrm>
              <a:off x="3705469" y="4845565"/>
              <a:ext cx="127130" cy="122346"/>
            </a:xfrm>
            <a:custGeom>
              <a:avLst/>
              <a:gdLst>
                <a:gd name="connsiteX0" fmla="*/ 190500 w 197167"/>
                <a:gd name="connsiteY0" fmla="*/ 119063 h 218122"/>
                <a:gd name="connsiteX1" fmla="*/ 179070 w 197167"/>
                <a:gd name="connsiteY1" fmla="*/ 138113 h 218122"/>
                <a:gd name="connsiteX2" fmla="*/ 179070 w 197167"/>
                <a:gd name="connsiteY2" fmla="*/ 155257 h 218122"/>
                <a:gd name="connsiteX3" fmla="*/ 163830 w 197167"/>
                <a:gd name="connsiteY3" fmla="*/ 166688 h 218122"/>
                <a:gd name="connsiteX4" fmla="*/ 148590 w 197167"/>
                <a:gd name="connsiteY4" fmla="*/ 188595 h 218122"/>
                <a:gd name="connsiteX5" fmla="*/ 128588 w 197167"/>
                <a:gd name="connsiteY5" fmla="*/ 189547 h 218122"/>
                <a:gd name="connsiteX6" fmla="*/ 121920 w 197167"/>
                <a:gd name="connsiteY6" fmla="*/ 201930 h 218122"/>
                <a:gd name="connsiteX7" fmla="*/ 100965 w 197167"/>
                <a:gd name="connsiteY7" fmla="*/ 201930 h 218122"/>
                <a:gd name="connsiteX8" fmla="*/ 93345 w 197167"/>
                <a:gd name="connsiteY8" fmla="*/ 218122 h 218122"/>
                <a:gd name="connsiteX9" fmla="*/ 77153 w 197167"/>
                <a:gd name="connsiteY9" fmla="*/ 218122 h 218122"/>
                <a:gd name="connsiteX10" fmla="*/ 62865 w 197167"/>
                <a:gd name="connsiteY10" fmla="*/ 198120 h 218122"/>
                <a:gd name="connsiteX11" fmla="*/ 53340 w 197167"/>
                <a:gd name="connsiteY11" fmla="*/ 188595 h 218122"/>
                <a:gd name="connsiteX12" fmla="*/ 43815 w 197167"/>
                <a:gd name="connsiteY12" fmla="*/ 157163 h 218122"/>
                <a:gd name="connsiteX13" fmla="*/ 53340 w 197167"/>
                <a:gd name="connsiteY13" fmla="*/ 143828 h 218122"/>
                <a:gd name="connsiteX14" fmla="*/ 27623 w 197167"/>
                <a:gd name="connsiteY14" fmla="*/ 130492 h 218122"/>
                <a:gd name="connsiteX15" fmla="*/ 9525 w 197167"/>
                <a:gd name="connsiteY15" fmla="*/ 94297 h 218122"/>
                <a:gd name="connsiteX16" fmla="*/ 0 w 197167"/>
                <a:gd name="connsiteY16" fmla="*/ 45720 h 218122"/>
                <a:gd name="connsiteX17" fmla="*/ 20003 w 197167"/>
                <a:gd name="connsiteY17" fmla="*/ 19050 h 218122"/>
                <a:gd name="connsiteX18" fmla="*/ 32385 w 197167"/>
                <a:gd name="connsiteY18" fmla="*/ 23813 h 218122"/>
                <a:gd name="connsiteX19" fmla="*/ 44768 w 197167"/>
                <a:gd name="connsiteY19" fmla="*/ 11430 h 218122"/>
                <a:gd name="connsiteX20" fmla="*/ 68580 w 197167"/>
                <a:gd name="connsiteY20" fmla="*/ 4763 h 218122"/>
                <a:gd name="connsiteX21" fmla="*/ 82868 w 197167"/>
                <a:gd name="connsiteY21" fmla="*/ 12382 h 218122"/>
                <a:gd name="connsiteX22" fmla="*/ 99060 w 197167"/>
                <a:gd name="connsiteY22" fmla="*/ 28575 h 218122"/>
                <a:gd name="connsiteX23" fmla="*/ 118110 w 197167"/>
                <a:gd name="connsiteY23" fmla="*/ 24765 h 218122"/>
                <a:gd name="connsiteX24" fmla="*/ 118110 w 197167"/>
                <a:gd name="connsiteY24" fmla="*/ 8572 h 218122"/>
                <a:gd name="connsiteX25" fmla="*/ 125730 w 197167"/>
                <a:gd name="connsiteY25" fmla="*/ 953 h 218122"/>
                <a:gd name="connsiteX26" fmla="*/ 145733 w 197167"/>
                <a:gd name="connsiteY26" fmla="*/ 14288 h 218122"/>
                <a:gd name="connsiteX27" fmla="*/ 166688 w 197167"/>
                <a:gd name="connsiteY27" fmla="*/ 0 h 218122"/>
                <a:gd name="connsiteX28" fmla="*/ 179070 w 197167"/>
                <a:gd name="connsiteY28" fmla="*/ 20003 h 218122"/>
                <a:gd name="connsiteX29" fmla="*/ 197168 w 197167"/>
                <a:gd name="connsiteY29" fmla="*/ 23813 h 218122"/>
                <a:gd name="connsiteX30" fmla="*/ 197168 w 197167"/>
                <a:gd name="connsiteY30" fmla="*/ 39053 h 218122"/>
                <a:gd name="connsiteX31" fmla="*/ 191453 w 197167"/>
                <a:gd name="connsiteY31" fmla="*/ 56197 h 218122"/>
                <a:gd name="connsiteX32" fmla="*/ 196215 w 197167"/>
                <a:gd name="connsiteY32" fmla="*/ 73342 h 218122"/>
                <a:gd name="connsiteX33" fmla="*/ 189548 w 197167"/>
                <a:gd name="connsiteY33" fmla="*/ 97155 h 218122"/>
                <a:gd name="connsiteX34" fmla="*/ 190500 w 197167"/>
                <a:gd name="connsiteY34" fmla="*/ 119063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97167" h="218122">
                  <a:moveTo>
                    <a:pt x="190500" y="119063"/>
                  </a:moveTo>
                  <a:lnTo>
                    <a:pt x="179070" y="138113"/>
                  </a:lnTo>
                  <a:lnTo>
                    <a:pt x="179070" y="155257"/>
                  </a:lnTo>
                  <a:lnTo>
                    <a:pt x="163830" y="166688"/>
                  </a:lnTo>
                  <a:lnTo>
                    <a:pt x="148590" y="188595"/>
                  </a:lnTo>
                  <a:lnTo>
                    <a:pt x="128588" y="189547"/>
                  </a:lnTo>
                  <a:lnTo>
                    <a:pt x="121920" y="201930"/>
                  </a:lnTo>
                  <a:cubicBezTo>
                    <a:pt x="121920" y="201930"/>
                    <a:pt x="100965" y="198120"/>
                    <a:pt x="100965" y="201930"/>
                  </a:cubicBezTo>
                  <a:cubicBezTo>
                    <a:pt x="100965" y="205740"/>
                    <a:pt x="93345" y="218122"/>
                    <a:pt x="93345" y="218122"/>
                  </a:cubicBezTo>
                  <a:lnTo>
                    <a:pt x="77153" y="218122"/>
                  </a:lnTo>
                  <a:lnTo>
                    <a:pt x="62865" y="198120"/>
                  </a:lnTo>
                  <a:lnTo>
                    <a:pt x="53340" y="188595"/>
                  </a:lnTo>
                  <a:lnTo>
                    <a:pt x="43815" y="157163"/>
                  </a:lnTo>
                  <a:lnTo>
                    <a:pt x="53340" y="143828"/>
                  </a:lnTo>
                  <a:lnTo>
                    <a:pt x="27623" y="130492"/>
                  </a:lnTo>
                  <a:lnTo>
                    <a:pt x="9525" y="94297"/>
                  </a:lnTo>
                  <a:lnTo>
                    <a:pt x="0" y="45720"/>
                  </a:lnTo>
                  <a:lnTo>
                    <a:pt x="20003" y="19050"/>
                  </a:lnTo>
                  <a:lnTo>
                    <a:pt x="32385" y="23813"/>
                  </a:lnTo>
                  <a:lnTo>
                    <a:pt x="44768" y="11430"/>
                  </a:lnTo>
                  <a:lnTo>
                    <a:pt x="68580" y="4763"/>
                  </a:lnTo>
                  <a:lnTo>
                    <a:pt x="82868" y="12382"/>
                  </a:lnTo>
                  <a:lnTo>
                    <a:pt x="99060" y="28575"/>
                  </a:lnTo>
                  <a:lnTo>
                    <a:pt x="118110" y="24765"/>
                  </a:lnTo>
                  <a:lnTo>
                    <a:pt x="118110" y="8572"/>
                  </a:lnTo>
                  <a:lnTo>
                    <a:pt x="125730" y="953"/>
                  </a:lnTo>
                  <a:lnTo>
                    <a:pt x="145733" y="14288"/>
                  </a:lnTo>
                  <a:lnTo>
                    <a:pt x="166688" y="0"/>
                  </a:lnTo>
                  <a:lnTo>
                    <a:pt x="179070" y="20003"/>
                  </a:lnTo>
                  <a:lnTo>
                    <a:pt x="197168" y="23813"/>
                  </a:lnTo>
                  <a:lnTo>
                    <a:pt x="197168" y="39053"/>
                  </a:lnTo>
                  <a:lnTo>
                    <a:pt x="191453" y="56197"/>
                  </a:lnTo>
                  <a:lnTo>
                    <a:pt x="196215" y="73342"/>
                  </a:lnTo>
                  <a:lnTo>
                    <a:pt x="189548" y="97155"/>
                  </a:lnTo>
                  <a:lnTo>
                    <a:pt x="190500" y="119063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7" name="Полилиния: фигура 77">
              <a:extLst>
                <a:ext uri="{FF2B5EF4-FFF2-40B4-BE49-F238E27FC236}">
                  <a16:creationId xmlns:a16="http://schemas.microsoft.com/office/drawing/2014/main" id="{29602153-9E08-498A-9145-AEDFF73FC2AE}"/>
                </a:ext>
              </a:extLst>
            </p:cNvPr>
            <p:cNvSpPr/>
            <p:nvPr/>
          </p:nvSpPr>
          <p:spPr>
            <a:xfrm>
              <a:off x="3801278" y="4897923"/>
              <a:ext cx="197144" cy="130894"/>
            </a:xfrm>
            <a:custGeom>
              <a:avLst/>
              <a:gdLst>
                <a:gd name="connsiteX0" fmla="*/ 51435 w 305752"/>
                <a:gd name="connsiteY0" fmla="*/ 180022 h 233362"/>
                <a:gd name="connsiteX1" fmla="*/ 45720 w 305752"/>
                <a:gd name="connsiteY1" fmla="*/ 141922 h 233362"/>
                <a:gd name="connsiteX2" fmla="*/ 26670 w 305752"/>
                <a:gd name="connsiteY2" fmla="*/ 122872 h 233362"/>
                <a:gd name="connsiteX3" fmla="*/ 9525 w 305752"/>
                <a:gd name="connsiteY3" fmla="*/ 135255 h 233362"/>
                <a:gd name="connsiteX4" fmla="*/ 0 w 305752"/>
                <a:gd name="connsiteY4" fmla="*/ 120015 h 233362"/>
                <a:gd name="connsiteX5" fmla="*/ 7620 w 305752"/>
                <a:gd name="connsiteY5" fmla="*/ 106680 h 233362"/>
                <a:gd name="connsiteX6" fmla="*/ 0 w 305752"/>
                <a:gd name="connsiteY6" fmla="*/ 95250 h 233362"/>
                <a:gd name="connsiteX7" fmla="*/ 16192 w 305752"/>
                <a:gd name="connsiteY7" fmla="*/ 73343 h 233362"/>
                <a:gd name="connsiteX8" fmla="*/ 30480 w 305752"/>
                <a:gd name="connsiteY8" fmla="*/ 61913 h 233362"/>
                <a:gd name="connsiteX9" fmla="*/ 30480 w 305752"/>
                <a:gd name="connsiteY9" fmla="*/ 44768 h 233362"/>
                <a:gd name="connsiteX10" fmla="*/ 41910 w 305752"/>
                <a:gd name="connsiteY10" fmla="*/ 25718 h 233362"/>
                <a:gd name="connsiteX11" fmla="*/ 62865 w 305752"/>
                <a:gd name="connsiteY11" fmla="*/ 21908 h 233362"/>
                <a:gd name="connsiteX12" fmla="*/ 66675 w 305752"/>
                <a:gd name="connsiteY12" fmla="*/ 7620 h 233362"/>
                <a:gd name="connsiteX13" fmla="*/ 83820 w 305752"/>
                <a:gd name="connsiteY13" fmla="*/ 3810 h 233362"/>
                <a:gd name="connsiteX14" fmla="*/ 89535 w 305752"/>
                <a:gd name="connsiteY14" fmla="*/ 9525 h 233362"/>
                <a:gd name="connsiteX15" fmla="*/ 115252 w 305752"/>
                <a:gd name="connsiteY15" fmla="*/ 8572 h 233362"/>
                <a:gd name="connsiteX16" fmla="*/ 122872 w 305752"/>
                <a:gd name="connsiteY16" fmla="*/ 953 h 233362"/>
                <a:gd name="connsiteX17" fmla="*/ 144780 w 305752"/>
                <a:gd name="connsiteY17" fmla="*/ 4763 h 233362"/>
                <a:gd name="connsiteX18" fmla="*/ 158115 w 305752"/>
                <a:gd name="connsiteY18" fmla="*/ 9525 h 233362"/>
                <a:gd name="connsiteX19" fmla="*/ 172402 w 305752"/>
                <a:gd name="connsiteY19" fmla="*/ 5715 h 233362"/>
                <a:gd name="connsiteX20" fmla="*/ 179070 w 305752"/>
                <a:gd name="connsiteY20" fmla="*/ 0 h 233362"/>
                <a:gd name="connsiteX21" fmla="*/ 195263 w 305752"/>
                <a:gd name="connsiteY21" fmla="*/ 953 h 233362"/>
                <a:gd name="connsiteX22" fmla="*/ 211455 w 305752"/>
                <a:gd name="connsiteY22" fmla="*/ 953 h 233362"/>
                <a:gd name="connsiteX23" fmla="*/ 225742 w 305752"/>
                <a:gd name="connsiteY23" fmla="*/ 12383 h 233362"/>
                <a:gd name="connsiteX24" fmla="*/ 220027 w 305752"/>
                <a:gd name="connsiteY24" fmla="*/ 28575 h 233362"/>
                <a:gd name="connsiteX25" fmla="*/ 240983 w 305752"/>
                <a:gd name="connsiteY25" fmla="*/ 36195 h 233362"/>
                <a:gd name="connsiteX26" fmla="*/ 244792 w 305752"/>
                <a:gd name="connsiteY26" fmla="*/ 54293 h 233362"/>
                <a:gd name="connsiteX27" fmla="*/ 260033 w 305752"/>
                <a:gd name="connsiteY27" fmla="*/ 59055 h 233362"/>
                <a:gd name="connsiteX28" fmla="*/ 278130 w 305752"/>
                <a:gd name="connsiteY28" fmla="*/ 87630 h 233362"/>
                <a:gd name="connsiteX29" fmla="*/ 278130 w 305752"/>
                <a:gd name="connsiteY29" fmla="*/ 114300 h 233362"/>
                <a:gd name="connsiteX30" fmla="*/ 291465 w 305752"/>
                <a:gd name="connsiteY30" fmla="*/ 122872 h 233362"/>
                <a:gd name="connsiteX31" fmla="*/ 300990 w 305752"/>
                <a:gd name="connsiteY31" fmla="*/ 132397 h 233362"/>
                <a:gd name="connsiteX32" fmla="*/ 300990 w 305752"/>
                <a:gd name="connsiteY32" fmla="*/ 145733 h 233362"/>
                <a:gd name="connsiteX33" fmla="*/ 305752 w 305752"/>
                <a:gd name="connsiteY33" fmla="*/ 159068 h 233362"/>
                <a:gd name="connsiteX34" fmla="*/ 292417 w 305752"/>
                <a:gd name="connsiteY34" fmla="*/ 172403 h 233362"/>
                <a:gd name="connsiteX35" fmla="*/ 275272 w 305752"/>
                <a:gd name="connsiteY35" fmla="*/ 177165 h 233362"/>
                <a:gd name="connsiteX36" fmla="*/ 266700 w 305752"/>
                <a:gd name="connsiteY36" fmla="*/ 185738 h 233362"/>
                <a:gd name="connsiteX37" fmla="*/ 253365 w 305752"/>
                <a:gd name="connsiteY37" fmla="*/ 199072 h 233362"/>
                <a:gd name="connsiteX38" fmla="*/ 237172 w 305752"/>
                <a:gd name="connsiteY38" fmla="*/ 199072 h 233362"/>
                <a:gd name="connsiteX39" fmla="*/ 237172 w 305752"/>
                <a:gd name="connsiteY39" fmla="*/ 209550 h 233362"/>
                <a:gd name="connsiteX40" fmla="*/ 224790 w 305752"/>
                <a:gd name="connsiteY40" fmla="*/ 221933 h 233362"/>
                <a:gd name="connsiteX41" fmla="*/ 208597 w 305752"/>
                <a:gd name="connsiteY41" fmla="*/ 233363 h 233362"/>
                <a:gd name="connsiteX42" fmla="*/ 195263 w 305752"/>
                <a:gd name="connsiteY42" fmla="*/ 226695 h 233362"/>
                <a:gd name="connsiteX43" fmla="*/ 178117 w 305752"/>
                <a:gd name="connsiteY43" fmla="*/ 209550 h 233362"/>
                <a:gd name="connsiteX44" fmla="*/ 165735 w 305752"/>
                <a:gd name="connsiteY44" fmla="*/ 210503 h 233362"/>
                <a:gd name="connsiteX45" fmla="*/ 148590 w 305752"/>
                <a:gd name="connsiteY45" fmla="*/ 194310 h 233362"/>
                <a:gd name="connsiteX46" fmla="*/ 133350 w 305752"/>
                <a:gd name="connsiteY46" fmla="*/ 212408 h 233362"/>
                <a:gd name="connsiteX47" fmla="*/ 107632 w 305752"/>
                <a:gd name="connsiteY47" fmla="*/ 208597 h 233362"/>
                <a:gd name="connsiteX48" fmla="*/ 98107 w 305752"/>
                <a:gd name="connsiteY48" fmla="*/ 185738 h 233362"/>
                <a:gd name="connsiteX49" fmla="*/ 72390 w 305752"/>
                <a:gd name="connsiteY49" fmla="*/ 178118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05752" h="233362">
                  <a:moveTo>
                    <a:pt x="51435" y="180022"/>
                  </a:moveTo>
                  <a:lnTo>
                    <a:pt x="45720" y="141922"/>
                  </a:lnTo>
                  <a:lnTo>
                    <a:pt x="26670" y="122872"/>
                  </a:lnTo>
                  <a:lnTo>
                    <a:pt x="9525" y="135255"/>
                  </a:lnTo>
                  <a:lnTo>
                    <a:pt x="0" y="120015"/>
                  </a:lnTo>
                  <a:lnTo>
                    <a:pt x="7620" y="106680"/>
                  </a:lnTo>
                  <a:lnTo>
                    <a:pt x="0" y="95250"/>
                  </a:lnTo>
                  <a:lnTo>
                    <a:pt x="16192" y="73343"/>
                  </a:lnTo>
                  <a:lnTo>
                    <a:pt x="30480" y="61913"/>
                  </a:lnTo>
                  <a:lnTo>
                    <a:pt x="30480" y="44768"/>
                  </a:lnTo>
                  <a:lnTo>
                    <a:pt x="41910" y="25718"/>
                  </a:lnTo>
                  <a:lnTo>
                    <a:pt x="62865" y="21908"/>
                  </a:lnTo>
                  <a:lnTo>
                    <a:pt x="66675" y="7620"/>
                  </a:lnTo>
                  <a:lnTo>
                    <a:pt x="83820" y="3810"/>
                  </a:lnTo>
                  <a:lnTo>
                    <a:pt x="89535" y="9525"/>
                  </a:lnTo>
                  <a:lnTo>
                    <a:pt x="115252" y="8572"/>
                  </a:lnTo>
                  <a:lnTo>
                    <a:pt x="122872" y="953"/>
                  </a:lnTo>
                  <a:lnTo>
                    <a:pt x="144780" y="4763"/>
                  </a:lnTo>
                  <a:lnTo>
                    <a:pt x="158115" y="9525"/>
                  </a:lnTo>
                  <a:lnTo>
                    <a:pt x="172402" y="5715"/>
                  </a:lnTo>
                  <a:lnTo>
                    <a:pt x="179070" y="0"/>
                  </a:lnTo>
                  <a:lnTo>
                    <a:pt x="195263" y="953"/>
                  </a:lnTo>
                  <a:lnTo>
                    <a:pt x="211455" y="953"/>
                  </a:lnTo>
                  <a:lnTo>
                    <a:pt x="225742" y="12383"/>
                  </a:lnTo>
                  <a:lnTo>
                    <a:pt x="220027" y="28575"/>
                  </a:lnTo>
                  <a:lnTo>
                    <a:pt x="240983" y="36195"/>
                  </a:lnTo>
                  <a:lnTo>
                    <a:pt x="244792" y="54293"/>
                  </a:lnTo>
                  <a:lnTo>
                    <a:pt x="260033" y="59055"/>
                  </a:lnTo>
                  <a:lnTo>
                    <a:pt x="278130" y="87630"/>
                  </a:lnTo>
                  <a:lnTo>
                    <a:pt x="278130" y="114300"/>
                  </a:lnTo>
                  <a:lnTo>
                    <a:pt x="291465" y="122872"/>
                  </a:lnTo>
                  <a:lnTo>
                    <a:pt x="300990" y="132397"/>
                  </a:lnTo>
                  <a:lnTo>
                    <a:pt x="300990" y="145733"/>
                  </a:lnTo>
                  <a:lnTo>
                    <a:pt x="305752" y="159068"/>
                  </a:lnTo>
                  <a:lnTo>
                    <a:pt x="292417" y="172403"/>
                  </a:lnTo>
                  <a:lnTo>
                    <a:pt x="275272" y="177165"/>
                  </a:lnTo>
                  <a:lnTo>
                    <a:pt x="266700" y="185738"/>
                  </a:lnTo>
                  <a:lnTo>
                    <a:pt x="253365" y="199072"/>
                  </a:lnTo>
                  <a:lnTo>
                    <a:pt x="237172" y="199072"/>
                  </a:lnTo>
                  <a:lnTo>
                    <a:pt x="237172" y="209550"/>
                  </a:lnTo>
                  <a:lnTo>
                    <a:pt x="224790" y="221933"/>
                  </a:lnTo>
                  <a:lnTo>
                    <a:pt x="208597" y="233363"/>
                  </a:lnTo>
                  <a:lnTo>
                    <a:pt x="195263" y="226695"/>
                  </a:lnTo>
                  <a:lnTo>
                    <a:pt x="178117" y="209550"/>
                  </a:lnTo>
                  <a:lnTo>
                    <a:pt x="165735" y="210503"/>
                  </a:lnTo>
                  <a:lnTo>
                    <a:pt x="148590" y="194310"/>
                  </a:lnTo>
                  <a:lnTo>
                    <a:pt x="133350" y="212408"/>
                  </a:lnTo>
                  <a:lnTo>
                    <a:pt x="107632" y="208597"/>
                  </a:lnTo>
                  <a:lnTo>
                    <a:pt x="98107" y="185738"/>
                  </a:lnTo>
                  <a:lnTo>
                    <a:pt x="72390" y="178118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8" name="Полилиния: фигура 78">
              <a:extLst>
                <a:ext uri="{FF2B5EF4-FFF2-40B4-BE49-F238E27FC236}">
                  <a16:creationId xmlns:a16="http://schemas.microsoft.com/office/drawing/2014/main" id="{6931E405-2940-425F-9108-41209D1923A0}"/>
                </a:ext>
              </a:extLst>
            </p:cNvPr>
            <p:cNvSpPr/>
            <p:nvPr/>
          </p:nvSpPr>
          <p:spPr>
            <a:xfrm>
              <a:off x="3774869" y="4997830"/>
              <a:ext cx="152311" cy="153333"/>
            </a:xfrm>
            <a:custGeom>
              <a:avLst/>
              <a:gdLst>
                <a:gd name="connsiteX0" fmla="*/ 83820 w 236220"/>
                <a:gd name="connsiteY0" fmla="*/ 273367 h 273367"/>
                <a:gd name="connsiteX1" fmla="*/ 102870 w 236220"/>
                <a:gd name="connsiteY1" fmla="*/ 263842 h 273367"/>
                <a:gd name="connsiteX2" fmla="*/ 117158 w 236220"/>
                <a:gd name="connsiteY2" fmla="*/ 263842 h 273367"/>
                <a:gd name="connsiteX3" fmla="*/ 130492 w 236220"/>
                <a:gd name="connsiteY3" fmla="*/ 249555 h 273367"/>
                <a:gd name="connsiteX4" fmla="*/ 155258 w 236220"/>
                <a:gd name="connsiteY4" fmla="*/ 236220 h 273367"/>
                <a:gd name="connsiteX5" fmla="*/ 183833 w 236220"/>
                <a:gd name="connsiteY5" fmla="*/ 219075 h 273367"/>
                <a:gd name="connsiteX6" fmla="*/ 191453 w 236220"/>
                <a:gd name="connsiteY6" fmla="*/ 204788 h 273367"/>
                <a:gd name="connsiteX7" fmla="*/ 215265 w 236220"/>
                <a:gd name="connsiteY7" fmla="*/ 204788 h 273367"/>
                <a:gd name="connsiteX8" fmla="*/ 218122 w 236220"/>
                <a:gd name="connsiteY8" fmla="*/ 160020 h 273367"/>
                <a:gd name="connsiteX9" fmla="*/ 206692 w 236220"/>
                <a:gd name="connsiteY9" fmla="*/ 140017 h 273367"/>
                <a:gd name="connsiteX10" fmla="*/ 211455 w 236220"/>
                <a:gd name="connsiteY10" fmla="*/ 102870 h 273367"/>
                <a:gd name="connsiteX11" fmla="*/ 206692 w 236220"/>
                <a:gd name="connsiteY11" fmla="*/ 80010 h 273367"/>
                <a:gd name="connsiteX12" fmla="*/ 220028 w 236220"/>
                <a:gd name="connsiteY12" fmla="*/ 66675 h 273367"/>
                <a:gd name="connsiteX13" fmla="*/ 236220 w 236220"/>
                <a:gd name="connsiteY13" fmla="*/ 48578 h 273367"/>
                <a:gd name="connsiteX14" fmla="*/ 219075 w 236220"/>
                <a:gd name="connsiteY14" fmla="*/ 31432 h 273367"/>
                <a:gd name="connsiteX15" fmla="*/ 206692 w 236220"/>
                <a:gd name="connsiteY15" fmla="*/ 32385 h 273367"/>
                <a:gd name="connsiteX16" fmla="*/ 189547 w 236220"/>
                <a:gd name="connsiteY16" fmla="*/ 16192 h 273367"/>
                <a:gd name="connsiteX17" fmla="*/ 174308 w 236220"/>
                <a:gd name="connsiteY17" fmla="*/ 34290 h 273367"/>
                <a:gd name="connsiteX18" fmla="*/ 148590 w 236220"/>
                <a:gd name="connsiteY18" fmla="*/ 30480 h 273367"/>
                <a:gd name="connsiteX19" fmla="*/ 139065 w 236220"/>
                <a:gd name="connsiteY19" fmla="*/ 7620 h 273367"/>
                <a:gd name="connsiteX20" fmla="*/ 113348 w 236220"/>
                <a:gd name="connsiteY20" fmla="*/ 0 h 273367"/>
                <a:gd name="connsiteX21" fmla="*/ 92392 w 236220"/>
                <a:gd name="connsiteY21" fmla="*/ 1905 h 273367"/>
                <a:gd name="connsiteX22" fmla="*/ 63817 w 236220"/>
                <a:gd name="connsiteY22" fmla="*/ 22860 h 273367"/>
                <a:gd name="connsiteX23" fmla="*/ 40958 w 236220"/>
                <a:gd name="connsiteY23" fmla="*/ 45720 h 273367"/>
                <a:gd name="connsiteX24" fmla="*/ 21908 w 236220"/>
                <a:gd name="connsiteY24" fmla="*/ 51435 h 273367"/>
                <a:gd name="connsiteX25" fmla="*/ 16192 w 236220"/>
                <a:gd name="connsiteY25" fmla="*/ 66675 h 273367"/>
                <a:gd name="connsiteX26" fmla="*/ 24765 w 236220"/>
                <a:gd name="connsiteY26" fmla="*/ 78105 h 273367"/>
                <a:gd name="connsiteX27" fmla="*/ 21908 w 236220"/>
                <a:gd name="connsiteY27" fmla="*/ 98107 h 273367"/>
                <a:gd name="connsiteX28" fmla="*/ 37148 w 236220"/>
                <a:gd name="connsiteY28" fmla="*/ 113347 h 273367"/>
                <a:gd name="connsiteX29" fmla="*/ 32385 w 236220"/>
                <a:gd name="connsiteY29" fmla="*/ 136207 h 273367"/>
                <a:gd name="connsiteX30" fmla="*/ 16192 w 236220"/>
                <a:gd name="connsiteY30" fmla="*/ 136207 h 273367"/>
                <a:gd name="connsiteX31" fmla="*/ 0 w 236220"/>
                <a:gd name="connsiteY31" fmla="*/ 149542 h 273367"/>
                <a:gd name="connsiteX32" fmla="*/ 12383 w 236220"/>
                <a:gd name="connsiteY32" fmla="*/ 161925 h 273367"/>
                <a:gd name="connsiteX33" fmla="*/ 5715 w 236220"/>
                <a:gd name="connsiteY33" fmla="*/ 183832 h 273367"/>
                <a:gd name="connsiteX34" fmla="*/ 22860 w 236220"/>
                <a:gd name="connsiteY34" fmla="*/ 200978 h 273367"/>
                <a:gd name="connsiteX35" fmla="*/ 48577 w 236220"/>
                <a:gd name="connsiteY35" fmla="*/ 211455 h 273367"/>
                <a:gd name="connsiteX36" fmla="*/ 58102 w 236220"/>
                <a:gd name="connsiteY36" fmla="*/ 229553 h 273367"/>
                <a:gd name="connsiteX37" fmla="*/ 74295 w 236220"/>
                <a:gd name="connsiteY37" fmla="*/ 245745 h 273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36220" h="273367">
                  <a:moveTo>
                    <a:pt x="83820" y="273367"/>
                  </a:moveTo>
                  <a:lnTo>
                    <a:pt x="102870" y="263842"/>
                  </a:lnTo>
                  <a:lnTo>
                    <a:pt x="117158" y="263842"/>
                  </a:lnTo>
                  <a:lnTo>
                    <a:pt x="130492" y="249555"/>
                  </a:lnTo>
                  <a:lnTo>
                    <a:pt x="155258" y="236220"/>
                  </a:lnTo>
                  <a:lnTo>
                    <a:pt x="183833" y="219075"/>
                  </a:lnTo>
                  <a:lnTo>
                    <a:pt x="191453" y="204788"/>
                  </a:lnTo>
                  <a:lnTo>
                    <a:pt x="215265" y="204788"/>
                  </a:lnTo>
                  <a:lnTo>
                    <a:pt x="218122" y="160020"/>
                  </a:lnTo>
                  <a:lnTo>
                    <a:pt x="206692" y="140017"/>
                  </a:lnTo>
                  <a:lnTo>
                    <a:pt x="211455" y="102870"/>
                  </a:lnTo>
                  <a:lnTo>
                    <a:pt x="206692" y="80010"/>
                  </a:lnTo>
                  <a:lnTo>
                    <a:pt x="220028" y="66675"/>
                  </a:lnTo>
                  <a:lnTo>
                    <a:pt x="236220" y="48578"/>
                  </a:lnTo>
                  <a:lnTo>
                    <a:pt x="219075" y="31432"/>
                  </a:lnTo>
                  <a:lnTo>
                    <a:pt x="206692" y="32385"/>
                  </a:lnTo>
                  <a:lnTo>
                    <a:pt x="189547" y="16192"/>
                  </a:lnTo>
                  <a:lnTo>
                    <a:pt x="174308" y="34290"/>
                  </a:lnTo>
                  <a:lnTo>
                    <a:pt x="148590" y="30480"/>
                  </a:lnTo>
                  <a:lnTo>
                    <a:pt x="139065" y="7620"/>
                  </a:lnTo>
                  <a:lnTo>
                    <a:pt x="113348" y="0"/>
                  </a:lnTo>
                  <a:lnTo>
                    <a:pt x="92392" y="1905"/>
                  </a:lnTo>
                  <a:lnTo>
                    <a:pt x="63817" y="22860"/>
                  </a:lnTo>
                  <a:lnTo>
                    <a:pt x="40958" y="45720"/>
                  </a:lnTo>
                  <a:lnTo>
                    <a:pt x="21908" y="51435"/>
                  </a:lnTo>
                  <a:lnTo>
                    <a:pt x="16192" y="66675"/>
                  </a:lnTo>
                  <a:lnTo>
                    <a:pt x="24765" y="78105"/>
                  </a:lnTo>
                  <a:lnTo>
                    <a:pt x="21908" y="98107"/>
                  </a:lnTo>
                  <a:lnTo>
                    <a:pt x="37148" y="113347"/>
                  </a:lnTo>
                  <a:lnTo>
                    <a:pt x="32385" y="136207"/>
                  </a:lnTo>
                  <a:lnTo>
                    <a:pt x="16192" y="136207"/>
                  </a:lnTo>
                  <a:lnTo>
                    <a:pt x="0" y="149542"/>
                  </a:lnTo>
                  <a:lnTo>
                    <a:pt x="12383" y="161925"/>
                  </a:lnTo>
                  <a:lnTo>
                    <a:pt x="5715" y="183832"/>
                  </a:lnTo>
                  <a:lnTo>
                    <a:pt x="22860" y="200978"/>
                  </a:lnTo>
                  <a:lnTo>
                    <a:pt x="48577" y="211455"/>
                  </a:lnTo>
                  <a:lnTo>
                    <a:pt x="58102" y="229553"/>
                  </a:lnTo>
                  <a:lnTo>
                    <a:pt x="74295" y="24574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9" name="Полилиния: фигура 79">
              <a:extLst>
                <a:ext uri="{FF2B5EF4-FFF2-40B4-BE49-F238E27FC236}">
                  <a16:creationId xmlns:a16="http://schemas.microsoft.com/office/drawing/2014/main" id="{1470BE94-6821-4121-B0EF-ADD839F60923}"/>
                </a:ext>
              </a:extLst>
            </p:cNvPr>
            <p:cNvSpPr/>
            <p:nvPr/>
          </p:nvSpPr>
          <p:spPr>
            <a:xfrm>
              <a:off x="3935778" y="4987145"/>
              <a:ext cx="200829" cy="120743"/>
            </a:xfrm>
            <a:custGeom>
              <a:avLst/>
              <a:gdLst>
                <a:gd name="connsiteX0" fmla="*/ 97155 w 311467"/>
                <a:gd name="connsiteY0" fmla="*/ 0 h 215265"/>
                <a:gd name="connsiteX1" fmla="*/ 112395 w 311467"/>
                <a:gd name="connsiteY1" fmla="*/ 15240 h 215265"/>
                <a:gd name="connsiteX2" fmla="*/ 139065 w 311467"/>
                <a:gd name="connsiteY2" fmla="*/ 15240 h 215265"/>
                <a:gd name="connsiteX3" fmla="*/ 144780 w 311467"/>
                <a:gd name="connsiteY3" fmla="*/ 35242 h 215265"/>
                <a:gd name="connsiteX4" fmla="*/ 159067 w 311467"/>
                <a:gd name="connsiteY4" fmla="*/ 48578 h 215265"/>
                <a:gd name="connsiteX5" fmla="*/ 159067 w 311467"/>
                <a:gd name="connsiteY5" fmla="*/ 76200 h 215265"/>
                <a:gd name="connsiteX6" fmla="*/ 176213 w 311467"/>
                <a:gd name="connsiteY6" fmla="*/ 93345 h 215265"/>
                <a:gd name="connsiteX7" fmla="*/ 183833 w 311467"/>
                <a:gd name="connsiteY7" fmla="*/ 116205 h 215265"/>
                <a:gd name="connsiteX8" fmla="*/ 206692 w 311467"/>
                <a:gd name="connsiteY8" fmla="*/ 122872 h 215265"/>
                <a:gd name="connsiteX9" fmla="*/ 217170 w 311467"/>
                <a:gd name="connsiteY9" fmla="*/ 105728 h 215265"/>
                <a:gd name="connsiteX10" fmla="*/ 251460 w 311467"/>
                <a:gd name="connsiteY10" fmla="*/ 104775 h 215265"/>
                <a:gd name="connsiteX11" fmla="*/ 258128 w 311467"/>
                <a:gd name="connsiteY11" fmla="*/ 98107 h 215265"/>
                <a:gd name="connsiteX12" fmla="*/ 281940 w 311467"/>
                <a:gd name="connsiteY12" fmla="*/ 96203 h 215265"/>
                <a:gd name="connsiteX13" fmla="*/ 278130 w 311467"/>
                <a:gd name="connsiteY13" fmla="*/ 113347 h 215265"/>
                <a:gd name="connsiteX14" fmla="*/ 288608 w 311467"/>
                <a:gd name="connsiteY14" fmla="*/ 123825 h 215265"/>
                <a:gd name="connsiteX15" fmla="*/ 302895 w 311467"/>
                <a:gd name="connsiteY15" fmla="*/ 123825 h 215265"/>
                <a:gd name="connsiteX16" fmla="*/ 311467 w 311467"/>
                <a:gd name="connsiteY16" fmla="*/ 140970 h 215265"/>
                <a:gd name="connsiteX17" fmla="*/ 297180 w 311467"/>
                <a:gd name="connsiteY17" fmla="*/ 161925 h 215265"/>
                <a:gd name="connsiteX18" fmla="*/ 303848 w 311467"/>
                <a:gd name="connsiteY18" fmla="*/ 176213 h 215265"/>
                <a:gd name="connsiteX19" fmla="*/ 292417 w 311467"/>
                <a:gd name="connsiteY19" fmla="*/ 188595 h 215265"/>
                <a:gd name="connsiteX20" fmla="*/ 288608 w 311467"/>
                <a:gd name="connsiteY20" fmla="*/ 208597 h 215265"/>
                <a:gd name="connsiteX21" fmla="*/ 251460 w 311467"/>
                <a:gd name="connsiteY21" fmla="*/ 214313 h 215265"/>
                <a:gd name="connsiteX22" fmla="*/ 238125 w 311467"/>
                <a:gd name="connsiteY22" fmla="*/ 200025 h 215265"/>
                <a:gd name="connsiteX23" fmla="*/ 216217 w 311467"/>
                <a:gd name="connsiteY23" fmla="*/ 215265 h 215265"/>
                <a:gd name="connsiteX24" fmla="*/ 196215 w 311467"/>
                <a:gd name="connsiteY24" fmla="*/ 213360 h 215265"/>
                <a:gd name="connsiteX25" fmla="*/ 177165 w 311467"/>
                <a:gd name="connsiteY25" fmla="*/ 194310 h 215265"/>
                <a:gd name="connsiteX26" fmla="*/ 160020 w 311467"/>
                <a:gd name="connsiteY26" fmla="*/ 177165 h 215265"/>
                <a:gd name="connsiteX27" fmla="*/ 131445 w 311467"/>
                <a:gd name="connsiteY27" fmla="*/ 177165 h 215265"/>
                <a:gd name="connsiteX28" fmla="*/ 123825 w 311467"/>
                <a:gd name="connsiteY28" fmla="*/ 185738 h 215265"/>
                <a:gd name="connsiteX29" fmla="*/ 95250 w 311467"/>
                <a:gd name="connsiteY29" fmla="*/ 159067 h 215265"/>
                <a:gd name="connsiteX30" fmla="*/ 95250 w 311467"/>
                <a:gd name="connsiteY30" fmla="*/ 132397 h 215265"/>
                <a:gd name="connsiteX31" fmla="*/ 72390 w 311467"/>
                <a:gd name="connsiteY31" fmla="*/ 109538 h 215265"/>
                <a:gd name="connsiteX32" fmla="*/ 55245 w 311467"/>
                <a:gd name="connsiteY32" fmla="*/ 109538 h 215265"/>
                <a:gd name="connsiteX33" fmla="*/ 30480 w 311467"/>
                <a:gd name="connsiteY33" fmla="*/ 99060 h 215265"/>
                <a:gd name="connsiteX34" fmla="*/ 18098 w 311467"/>
                <a:gd name="connsiteY34" fmla="*/ 86678 h 215265"/>
                <a:gd name="connsiteX35" fmla="*/ 1905 w 311467"/>
                <a:gd name="connsiteY35" fmla="*/ 92392 h 215265"/>
                <a:gd name="connsiteX36" fmla="*/ 0 w 311467"/>
                <a:gd name="connsiteY36" fmla="*/ 74295 h 215265"/>
                <a:gd name="connsiteX37" fmla="*/ 16192 w 311467"/>
                <a:gd name="connsiteY37" fmla="*/ 62865 h 215265"/>
                <a:gd name="connsiteX38" fmla="*/ 28575 w 311467"/>
                <a:gd name="connsiteY38" fmla="*/ 50482 h 215265"/>
                <a:gd name="connsiteX39" fmla="*/ 28575 w 311467"/>
                <a:gd name="connsiteY39" fmla="*/ 40005 h 215265"/>
                <a:gd name="connsiteX40" fmla="*/ 44767 w 311467"/>
                <a:gd name="connsiteY40" fmla="*/ 40005 h 215265"/>
                <a:gd name="connsiteX41" fmla="*/ 66675 w 311467"/>
                <a:gd name="connsiteY41" fmla="*/ 18097 h 215265"/>
                <a:gd name="connsiteX42" fmla="*/ 83820 w 311467"/>
                <a:gd name="connsiteY42" fmla="*/ 13335 h 215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11467" h="215265">
                  <a:moveTo>
                    <a:pt x="97155" y="0"/>
                  </a:moveTo>
                  <a:lnTo>
                    <a:pt x="112395" y="15240"/>
                  </a:lnTo>
                  <a:lnTo>
                    <a:pt x="139065" y="15240"/>
                  </a:lnTo>
                  <a:lnTo>
                    <a:pt x="144780" y="35242"/>
                  </a:lnTo>
                  <a:lnTo>
                    <a:pt x="159067" y="48578"/>
                  </a:lnTo>
                  <a:lnTo>
                    <a:pt x="159067" y="76200"/>
                  </a:lnTo>
                  <a:lnTo>
                    <a:pt x="176213" y="93345"/>
                  </a:lnTo>
                  <a:lnTo>
                    <a:pt x="183833" y="116205"/>
                  </a:lnTo>
                  <a:lnTo>
                    <a:pt x="206692" y="122872"/>
                  </a:lnTo>
                  <a:lnTo>
                    <a:pt x="217170" y="105728"/>
                  </a:lnTo>
                  <a:lnTo>
                    <a:pt x="251460" y="104775"/>
                  </a:lnTo>
                  <a:lnTo>
                    <a:pt x="258128" y="98107"/>
                  </a:lnTo>
                  <a:lnTo>
                    <a:pt x="281940" y="96203"/>
                  </a:lnTo>
                  <a:lnTo>
                    <a:pt x="278130" y="113347"/>
                  </a:lnTo>
                  <a:lnTo>
                    <a:pt x="288608" y="123825"/>
                  </a:lnTo>
                  <a:lnTo>
                    <a:pt x="302895" y="123825"/>
                  </a:lnTo>
                  <a:lnTo>
                    <a:pt x="311467" y="140970"/>
                  </a:lnTo>
                  <a:lnTo>
                    <a:pt x="297180" y="161925"/>
                  </a:lnTo>
                  <a:lnTo>
                    <a:pt x="303848" y="176213"/>
                  </a:lnTo>
                  <a:lnTo>
                    <a:pt x="292417" y="188595"/>
                  </a:lnTo>
                  <a:lnTo>
                    <a:pt x="288608" y="208597"/>
                  </a:lnTo>
                  <a:lnTo>
                    <a:pt x="251460" y="214313"/>
                  </a:lnTo>
                  <a:lnTo>
                    <a:pt x="238125" y="200025"/>
                  </a:lnTo>
                  <a:lnTo>
                    <a:pt x="216217" y="215265"/>
                  </a:lnTo>
                  <a:lnTo>
                    <a:pt x="196215" y="213360"/>
                  </a:lnTo>
                  <a:lnTo>
                    <a:pt x="177165" y="194310"/>
                  </a:lnTo>
                  <a:lnTo>
                    <a:pt x="160020" y="177165"/>
                  </a:lnTo>
                  <a:lnTo>
                    <a:pt x="131445" y="177165"/>
                  </a:lnTo>
                  <a:lnTo>
                    <a:pt x="123825" y="185738"/>
                  </a:lnTo>
                  <a:lnTo>
                    <a:pt x="95250" y="159067"/>
                  </a:lnTo>
                  <a:lnTo>
                    <a:pt x="95250" y="132397"/>
                  </a:lnTo>
                  <a:lnTo>
                    <a:pt x="72390" y="109538"/>
                  </a:lnTo>
                  <a:lnTo>
                    <a:pt x="55245" y="109538"/>
                  </a:lnTo>
                  <a:lnTo>
                    <a:pt x="30480" y="99060"/>
                  </a:lnTo>
                  <a:lnTo>
                    <a:pt x="18098" y="86678"/>
                  </a:lnTo>
                  <a:lnTo>
                    <a:pt x="1905" y="92392"/>
                  </a:lnTo>
                  <a:lnTo>
                    <a:pt x="0" y="74295"/>
                  </a:lnTo>
                  <a:lnTo>
                    <a:pt x="16192" y="62865"/>
                  </a:lnTo>
                  <a:lnTo>
                    <a:pt x="28575" y="50482"/>
                  </a:lnTo>
                  <a:lnTo>
                    <a:pt x="28575" y="40005"/>
                  </a:lnTo>
                  <a:lnTo>
                    <a:pt x="44767" y="40005"/>
                  </a:lnTo>
                  <a:lnTo>
                    <a:pt x="66675" y="18097"/>
                  </a:lnTo>
                  <a:lnTo>
                    <a:pt x="83820" y="1333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0" name="Полилиния: фигура 80">
              <a:extLst>
                <a:ext uri="{FF2B5EF4-FFF2-40B4-BE49-F238E27FC236}">
                  <a16:creationId xmlns:a16="http://schemas.microsoft.com/office/drawing/2014/main" id="{DF19F559-5294-4F04-91FB-8900A74BF0DD}"/>
                </a:ext>
              </a:extLst>
            </p:cNvPr>
            <p:cNvSpPr/>
            <p:nvPr/>
          </p:nvSpPr>
          <p:spPr>
            <a:xfrm>
              <a:off x="3893402" y="5025077"/>
              <a:ext cx="190388" cy="177909"/>
            </a:xfrm>
            <a:custGeom>
              <a:avLst/>
              <a:gdLst>
                <a:gd name="connsiteX0" fmla="*/ 52388 w 295275"/>
                <a:gd name="connsiteY0" fmla="*/ 0 h 317182"/>
                <a:gd name="connsiteX1" fmla="*/ 65722 w 295275"/>
                <a:gd name="connsiteY1" fmla="*/ 6667 h 317182"/>
                <a:gd name="connsiteX2" fmla="*/ 67627 w 295275"/>
                <a:gd name="connsiteY2" fmla="*/ 24765 h 317182"/>
                <a:gd name="connsiteX3" fmla="*/ 83820 w 295275"/>
                <a:gd name="connsiteY3" fmla="*/ 19050 h 317182"/>
                <a:gd name="connsiteX4" fmla="*/ 96202 w 295275"/>
                <a:gd name="connsiteY4" fmla="*/ 31432 h 317182"/>
                <a:gd name="connsiteX5" fmla="*/ 120967 w 295275"/>
                <a:gd name="connsiteY5" fmla="*/ 41910 h 317182"/>
                <a:gd name="connsiteX6" fmla="*/ 138113 w 295275"/>
                <a:gd name="connsiteY6" fmla="*/ 41910 h 317182"/>
                <a:gd name="connsiteX7" fmla="*/ 160972 w 295275"/>
                <a:gd name="connsiteY7" fmla="*/ 64770 h 317182"/>
                <a:gd name="connsiteX8" fmla="*/ 160972 w 295275"/>
                <a:gd name="connsiteY8" fmla="*/ 91440 h 317182"/>
                <a:gd name="connsiteX9" fmla="*/ 189547 w 295275"/>
                <a:gd name="connsiteY9" fmla="*/ 118110 h 317182"/>
                <a:gd name="connsiteX10" fmla="*/ 197167 w 295275"/>
                <a:gd name="connsiteY10" fmla="*/ 109538 h 317182"/>
                <a:gd name="connsiteX11" fmla="*/ 225742 w 295275"/>
                <a:gd name="connsiteY11" fmla="*/ 109538 h 317182"/>
                <a:gd name="connsiteX12" fmla="*/ 261938 w 295275"/>
                <a:gd name="connsiteY12" fmla="*/ 145732 h 317182"/>
                <a:gd name="connsiteX13" fmla="*/ 281940 w 295275"/>
                <a:gd name="connsiteY13" fmla="*/ 147638 h 317182"/>
                <a:gd name="connsiteX14" fmla="*/ 295275 w 295275"/>
                <a:gd name="connsiteY14" fmla="*/ 168592 h 317182"/>
                <a:gd name="connsiteX15" fmla="*/ 295275 w 295275"/>
                <a:gd name="connsiteY15" fmla="*/ 203835 h 317182"/>
                <a:gd name="connsiteX16" fmla="*/ 280988 w 295275"/>
                <a:gd name="connsiteY16" fmla="*/ 217170 h 317182"/>
                <a:gd name="connsiteX17" fmla="*/ 280988 w 295275"/>
                <a:gd name="connsiteY17" fmla="*/ 236220 h 317182"/>
                <a:gd name="connsiteX18" fmla="*/ 292417 w 295275"/>
                <a:gd name="connsiteY18" fmla="*/ 247650 h 317182"/>
                <a:gd name="connsiteX19" fmla="*/ 286702 w 295275"/>
                <a:gd name="connsiteY19" fmla="*/ 262890 h 317182"/>
                <a:gd name="connsiteX20" fmla="*/ 276225 w 295275"/>
                <a:gd name="connsiteY20" fmla="*/ 267652 h 317182"/>
                <a:gd name="connsiteX21" fmla="*/ 262890 w 295275"/>
                <a:gd name="connsiteY21" fmla="*/ 293370 h 317182"/>
                <a:gd name="connsiteX22" fmla="*/ 245745 w 295275"/>
                <a:gd name="connsiteY22" fmla="*/ 317182 h 317182"/>
                <a:gd name="connsiteX23" fmla="*/ 229552 w 295275"/>
                <a:gd name="connsiteY23" fmla="*/ 297180 h 317182"/>
                <a:gd name="connsiteX24" fmla="*/ 208597 w 295275"/>
                <a:gd name="connsiteY24" fmla="*/ 302895 h 317182"/>
                <a:gd name="connsiteX25" fmla="*/ 190500 w 295275"/>
                <a:gd name="connsiteY25" fmla="*/ 302895 h 317182"/>
                <a:gd name="connsiteX26" fmla="*/ 160972 w 295275"/>
                <a:gd name="connsiteY26" fmla="*/ 287655 h 317182"/>
                <a:gd name="connsiteX27" fmla="*/ 129540 w 295275"/>
                <a:gd name="connsiteY27" fmla="*/ 273367 h 317182"/>
                <a:gd name="connsiteX28" fmla="*/ 109538 w 295275"/>
                <a:gd name="connsiteY28" fmla="*/ 260985 h 317182"/>
                <a:gd name="connsiteX29" fmla="*/ 102870 w 295275"/>
                <a:gd name="connsiteY29" fmla="*/ 236220 h 317182"/>
                <a:gd name="connsiteX30" fmla="*/ 72390 w 295275"/>
                <a:gd name="connsiteY30" fmla="*/ 237172 h 317182"/>
                <a:gd name="connsiteX31" fmla="*/ 51435 w 295275"/>
                <a:gd name="connsiteY31" fmla="*/ 217170 h 317182"/>
                <a:gd name="connsiteX32" fmla="*/ 35242 w 295275"/>
                <a:gd name="connsiteY32" fmla="*/ 211455 h 317182"/>
                <a:gd name="connsiteX33" fmla="*/ 22860 w 295275"/>
                <a:gd name="connsiteY33" fmla="*/ 199072 h 317182"/>
                <a:gd name="connsiteX34" fmla="*/ 20002 w 295275"/>
                <a:gd name="connsiteY34" fmla="*/ 181927 h 317182"/>
                <a:gd name="connsiteX35" fmla="*/ 0 w 295275"/>
                <a:gd name="connsiteY35" fmla="*/ 170497 h 317182"/>
                <a:gd name="connsiteX36" fmla="*/ 7620 w 295275"/>
                <a:gd name="connsiteY36" fmla="*/ 156210 h 317182"/>
                <a:gd name="connsiteX37" fmla="*/ 31433 w 295275"/>
                <a:gd name="connsiteY37" fmla="*/ 156210 h 317182"/>
                <a:gd name="connsiteX38" fmla="*/ 34290 w 295275"/>
                <a:gd name="connsiteY38" fmla="*/ 111442 h 317182"/>
                <a:gd name="connsiteX39" fmla="*/ 22860 w 295275"/>
                <a:gd name="connsiteY39" fmla="*/ 91440 h 317182"/>
                <a:gd name="connsiteX40" fmla="*/ 27622 w 295275"/>
                <a:gd name="connsiteY40" fmla="*/ 54292 h 317182"/>
                <a:gd name="connsiteX41" fmla="*/ 22860 w 295275"/>
                <a:gd name="connsiteY41" fmla="*/ 31432 h 317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95275" h="317182">
                  <a:moveTo>
                    <a:pt x="52388" y="0"/>
                  </a:moveTo>
                  <a:lnTo>
                    <a:pt x="65722" y="6667"/>
                  </a:lnTo>
                  <a:lnTo>
                    <a:pt x="67627" y="24765"/>
                  </a:lnTo>
                  <a:lnTo>
                    <a:pt x="83820" y="19050"/>
                  </a:lnTo>
                  <a:lnTo>
                    <a:pt x="96202" y="31432"/>
                  </a:lnTo>
                  <a:lnTo>
                    <a:pt x="120967" y="41910"/>
                  </a:lnTo>
                  <a:lnTo>
                    <a:pt x="138113" y="41910"/>
                  </a:lnTo>
                  <a:lnTo>
                    <a:pt x="160972" y="64770"/>
                  </a:lnTo>
                  <a:lnTo>
                    <a:pt x="160972" y="91440"/>
                  </a:lnTo>
                  <a:lnTo>
                    <a:pt x="189547" y="118110"/>
                  </a:lnTo>
                  <a:lnTo>
                    <a:pt x="197167" y="109538"/>
                  </a:lnTo>
                  <a:lnTo>
                    <a:pt x="225742" y="109538"/>
                  </a:lnTo>
                  <a:lnTo>
                    <a:pt x="261938" y="145732"/>
                  </a:lnTo>
                  <a:lnTo>
                    <a:pt x="281940" y="147638"/>
                  </a:lnTo>
                  <a:lnTo>
                    <a:pt x="295275" y="168592"/>
                  </a:lnTo>
                  <a:lnTo>
                    <a:pt x="295275" y="203835"/>
                  </a:lnTo>
                  <a:lnTo>
                    <a:pt x="280988" y="217170"/>
                  </a:lnTo>
                  <a:lnTo>
                    <a:pt x="280988" y="236220"/>
                  </a:lnTo>
                  <a:lnTo>
                    <a:pt x="292417" y="247650"/>
                  </a:lnTo>
                  <a:lnTo>
                    <a:pt x="286702" y="262890"/>
                  </a:lnTo>
                  <a:lnTo>
                    <a:pt x="276225" y="267652"/>
                  </a:lnTo>
                  <a:lnTo>
                    <a:pt x="262890" y="293370"/>
                  </a:lnTo>
                  <a:lnTo>
                    <a:pt x="245745" y="317182"/>
                  </a:lnTo>
                  <a:lnTo>
                    <a:pt x="229552" y="297180"/>
                  </a:lnTo>
                  <a:lnTo>
                    <a:pt x="208597" y="302895"/>
                  </a:lnTo>
                  <a:lnTo>
                    <a:pt x="190500" y="302895"/>
                  </a:lnTo>
                  <a:lnTo>
                    <a:pt x="160972" y="287655"/>
                  </a:lnTo>
                  <a:lnTo>
                    <a:pt x="129540" y="273367"/>
                  </a:lnTo>
                  <a:lnTo>
                    <a:pt x="109538" y="260985"/>
                  </a:lnTo>
                  <a:lnTo>
                    <a:pt x="102870" y="236220"/>
                  </a:lnTo>
                  <a:lnTo>
                    <a:pt x="72390" y="237172"/>
                  </a:lnTo>
                  <a:lnTo>
                    <a:pt x="51435" y="217170"/>
                  </a:lnTo>
                  <a:lnTo>
                    <a:pt x="35242" y="211455"/>
                  </a:lnTo>
                  <a:lnTo>
                    <a:pt x="22860" y="199072"/>
                  </a:lnTo>
                  <a:lnTo>
                    <a:pt x="20002" y="181927"/>
                  </a:lnTo>
                  <a:lnTo>
                    <a:pt x="0" y="170497"/>
                  </a:lnTo>
                  <a:lnTo>
                    <a:pt x="7620" y="156210"/>
                  </a:lnTo>
                  <a:lnTo>
                    <a:pt x="31433" y="156210"/>
                  </a:lnTo>
                  <a:lnTo>
                    <a:pt x="34290" y="111442"/>
                  </a:lnTo>
                  <a:lnTo>
                    <a:pt x="22860" y="91440"/>
                  </a:lnTo>
                  <a:lnTo>
                    <a:pt x="27622" y="54292"/>
                  </a:lnTo>
                  <a:lnTo>
                    <a:pt x="22860" y="31432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1" name="Полилиния: фигура 81">
              <a:extLst>
                <a:ext uri="{FF2B5EF4-FFF2-40B4-BE49-F238E27FC236}">
                  <a16:creationId xmlns:a16="http://schemas.microsoft.com/office/drawing/2014/main" id="{7D4957A1-66DF-45FC-A05B-B99E73FBF8B0}"/>
                </a:ext>
              </a:extLst>
            </p:cNvPr>
            <p:cNvSpPr/>
            <p:nvPr/>
          </p:nvSpPr>
          <p:spPr>
            <a:xfrm>
              <a:off x="3828300" y="5120711"/>
              <a:ext cx="349454" cy="279419"/>
            </a:xfrm>
            <a:custGeom>
              <a:avLst/>
              <a:gdLst>
                <a:gd name="connsiteX0" fmla="*/ 346710 w 541972"/>
                <a:gd name="connsiteY0" fmla="*/ 146685 h 498157"/>
                <a:gd name="connsiteX1" fmla="*/ 357188 w 541972"/>
                <a:gd name="connsiteY1" fmla="*/ 169545 h 498157"/>
                <a:gd name="connsiteX2" fmla="*/ 375285 w 541972"/>
                <a:gd name="connsiteY2" fmla="*/ 186690 h 498157"/>
                <a:gd name="connsiteX3" fmla="*/ 424815 w 541972"/>
                <a:gd name="connsiteY3" fmla="*/ 186690 h 498157"/>
                <a:gd name="connsiteX4" fmla="*/ 441960 w 541972"/>
                <a:gd name="connsiteY4" fmla="*/ 203835 h 498157"/>
                <a:gd name="connsiteX5" fmla="*/ 454342 w 541972"/>
                <a:gd name="connsiteY5" fmla="*/ 229553 h 498157"/>
                <a:gd name="connsiteX6" fmla="*/ 454342 w 541972"/>
                <a:gd name="connsiteY6" fmla="*/ 254317 h 498157"/>
                <a:gd name="connsiteX7" fmla="*/ 483870 w 541972"/>
                <a:gd name="connsiteY7" fmla="*/ 262890 h 498157"/>
                <a:gd name="connsiteX8" fmla="*/ 492442 w 541972"/>
                <a:gd name="connsiteY8" fmla="*/ 300990 h 498157"/>
                <a:gd name="connsiteX9" fmla="*/ 518160 w 541972"/>
                <a:gd name="connsiteY9" fmla="*/ 326707 h 498157"/>
                <a:gd name="connsiteX10" fmla="*/ 512445 w 541972"/>
                <a:gd name="connsiteY10" fmla="*/ 357188 h 498157"/>
                <a:gd name="connsiteX11" fmla="*/ 532448 w 541972"/>
                <a:gd name="connsiteY11" fmla="*/ 378142 h 498157"/>
                <a:gd name="connsiteX12" fmla="*/ 541973 w 541972"/>
                <a:gd name="connsiteY12" fmla="*/ 393382 h 498157"/>
                <a:gd name="connsiteX13" fmla="*/ 541020 w 541972"/>
                <a:gd name="connsiteY13" fmla="*/ 409575 h 498157"/>
                <a:gd name="connsiteX14" fmla="*/ 506730 w 541972"/>
                <a:gd name="connsiteY14" fmla="*/ 402907 h 498157"/>
                <a:gd name="connsiteX15" fmla="*/ 488633 w 541972"/>
                <a:gd name="connsiteY15" fmla="*/ 420053 h 498157"/>
                <a:gd name="connsiteX16" fmla="*/ 456248 w 541972"/>
                <a:gd name="connsiteY16" fmla="*/ 431482 h 498157"/>
                <a:gd name="connsiteX17" fmla="*/ 428625 w 541972"/>
                <a:gd name="connsiteY17" fmla="*/ 416242 h 498157"/>
                <a:gd name="connsiteX18" fmla="*/ 399098 w 541972"/>
                <a:gd name="connsiteY18" fmla="*/ 416242 h 498157"/>
                <a:gd name="connsiteX19" fmla="*/ 384810 w 541972"/>
                <a:gd name="connsiteY19" fmla="*/ 437197 h 498157"/>
                <a:gd name="connsiteX20" fmla="*/ 355283 w 541972"/>
                <a:gd name="connsiteY20" fmla="*/ 437197 h 498157"/>
                <a:gd name="connsiteX21" fmla="*/ 322898 w 541972"/>
                <a:gd name="connsiteY21" fmla="*/ 437197 h 498157"/>
                <a:gd name="connsiteX22" fmla="*/ 315278 w 541972"/>
                <a:gd name="connsiteY22" fmla="*/ 452438 h 498157"/>
                <a:gd name="connsiteX23" fmla="*/ 297180 w 541972"/>
                <a:gd name="connsiteY23" fmla="*/ 471488 h 498157"/>
                <a:gd name="connsiteX24" fmla="*/ 294323 w 541972"/>
                <a:gd name="connsiteY24" fmla="*/ 498157 h 498157"/>
                <a:gd name="connsiteX25" fmla="*/ 260033 w 541972"/>
                <a:gd name="connsiteY25" fmla="*/ 491490 h 498157"/>
                <a:gd name="connsiteX26" fmla="*/ 239078 w 541972"/>
                <a:gd name="connsiteY26" fmla="*/ 471488 h 498157"/>
                <a:gd name="connsiteX27" fmla="*/ 239078 w 541972"/>
                <a:gd name="connsiteY27" fmla="*/ 442913 h 498157"/>
                <a:gd name="connsiteX28" fmla="*/ 248603 w 541972"/>
                <a:gd name="connsiteY28" fmla="*/ 415290 h 498157"/>
                <a:gd name="connsiteX29" fmla="*/ 233363 w 541972"/>
                <a:gd name="connsiteY29" fmla="*/ 401003 h 498157"/>
                <a:gd name="connsiteX30" fmla="*/ 209550 w 541972"/>
                <a:gd name="connsiteY30" fmla="*/ 401003 h 498157"/>
                <a:gd name="connsiteX31" fmla="*/ 208598 w 541972"/>
                <a:gd name="connsiteY31" fmla="*/ 372428 h 498157"/>
                <a:gd name="connsiteX32" fmla="*/ 191453 w 541972"/>
                <a:gd name="connsiteY32" fmla="*/ 355282 h 498157"/>
                <a:gd name="connsiteX33" fmla="*/ 187642 w 541972"/>
                <a:gd name="connsiteY33" fmla="*/ 334328 h 498157"/>
                <a:gd name="connsiteX34" fmla="*/ 167640 w 541972"/>
                <a:gd name="connsiteY34" fmla="*/ 334328 h 498157"/>
                <a:gd name="connsiteX35" fmla="*/ 154305 w 541972"/>
                <a:gd name="connsiteY35" fmla="*/ 320992 h 498157"/>
                <a:gd name="connsiteX36" fmla="*/ 148590 w 541972"/>
                <a:gd name="connsiteY36" fmla="*/ 292417 h 498157"/>
                <a:gd name="connsiteX37" fmla="*/ 127635 w 541972"/>
                <a:gd name="connsiteY37" fmla="*/ 284797 h 498157"/>
                <a:gd name="connsiteX38" fmla="*/ 117158 w 541972"/>
                <a:gd name="connsiteY38" fmla="*/ 295275 h 498157"/>
                <a:gd name="connsiteX39" fmla="*/ 99060 w 541972"/>
                <a:gd name="connsiteY39" fmla="*/ 277178 h 498157"/>
                <a:gd name="connsiteX40" fmla="*/ 124778 w 541972"/>
                <a:gd name="connsiteY40" fmla="*/ 252413 h 498157"/>
                <a:gd name="connsiteX41" fmla="*/ 120967 w 541972"/>
                <a:gd name="connsiteY41" fmla="*/ 213360 h 498157"/>
                <a:gd name="connsiteX42" fmla="*/ 86678 w 541972"/>
                <a:gd name="connsiteY42" fmla="*/ 180975 h 498157"/>
                <a:gd name="connsiteX43" fmla="*/ 59055 w 541972"/>
                <a:gd name="connsiteY43" fmla="*/ 181928 h 498157"/>
                <a:gd name="connsiteX44" fmla="*/ 59055 w 541972"/>
                <a:gd name="connsiteY44" fmla="*/ 165735 h 498157"/>
                <a:gd name="connsiteX45" fmla="*/ 40005 w 541972"/>
                <a:gd name="connsiteY45" fmla="*/ 155257 h 498157"/>
                <a:gd name="connsiteX46" fmla="*/ 8573 w 541972"/>
                <a:gd name="connsiteY46" fmla="*/ 151447 h 498157"/>
                <a:gd name="connsiteX47" fmla="*/ 0 w 541972"/>
                <a:gd name="connsiteY47" fmla="*/ 118110 h 498157"/>
                <a:gd name="connsiteX48" fmla="*/ 1905 w 541972"/>
                <a:gd name="connsiteY48" fmla="*/ 93345 h 498157"/>
                <a:gd name="connsiteX49" fmla="*/ 11430 w 541972"/>
                <a:gd name="connsiteY49" fmla="*/ 82867 h 498157"/>
                <a:gd name="connsiteX50" fmla="*/ 953 w 541972"/>
                <a:gd name="connsiteY50" fmla="*/ 54292 h 498157"/>
                <a:gd name="connsiteX51" fmla="*/ 20003 w 541972"/>
                <a:gd name="connsiteY51" fmla="*/ 44767 h 498157"/>
                <a:gd name="connsiteX52" fmla="*/ 34290 w 541972"/>
                <a:gd name="connsiteY52" fmla="*/ 44767 h 498157"/>
                <a:gd name="connsiteX53" fmla="*/ 47625 w 541972"/>
                <a:gd name="connsiteY53" fmla="*/ 30480 h 498157"/>
                <a:gd name="connsiteX54" fmla="*/ 72390 w 541972"/>
                <a:gd name="connsiteY54" fmla="*/ 17145 h 498157"/>
                <a:gd name="connsiteX55" fmla="*/ 100965 w 541972"/>
                <a:gd name="connsiteY55" fmla="*/ 0 h 498157"/>
                <a:gd name="connsiteX56" fmla="*/ 120967 w 541972"/>
                <a:gd name="connsiteY56" fmla="*/ 11430 h 498157"/>
                <a:gd name="connsiteX57" fmla="*/ 123825 w 541972"/>
                <a:gd name="connsiteY57" fmla="*/ 28575 h 498157"/>
                <a:gd name="connsiteX58" fmla="*/ 136208 w 541972"/>
                <a:gd name="connsiteY58" fmla="*/ 40957 h 498157"/>
                <a:gd name="connsiteX59" fmla="*/ 152400 w 541972"/>
                <a:gd name="connsiteY59" fmla="*/ 46672 h 498157"/>
                <a:gd name="connsiteX60" fmla="*/ 173355 w 541972"/>
                <a:gd name="connsiteY60" fmla="*/ 66675 h 498157"/>
                <a:gd name="connsiteX61" fmla="*/ 203835 w 541972"/>
                <a:gd name="connsiteY61" fmla="*/ 65722 h 498157"/>
                <a:gd name="connsiteX62" fmla="*/ 210503 w 541972"/>
                <a:gd name="connsiteY62" fmla="*/ 90488 h 498157"/>
                <a:gd name="connsiteX63" fmla="*/ 230505 w 541972"/>
                <a:gd name="connsiteY63" fmla="*/ 102870 h 498157"/>
                <a:gd name="connsiteX64" fmla="*/ 261938 w 541972"/>
                <a:gd name="connsiteY64" fmla="*/ 117157 h 498157"/>
                <a:gd name="connsiteX65" fmla="*/ 291465 w 541972"/>
                <a:gd name="connsiteY65" fmla="*/ 132397 h 498157"/>
                <a:gd name="connsiteX66" fmla="*/ 309563 w 541972"/>
                <a:gd name="connsiteY66" fmla="*/ 132397 h 498157"/>
                <a:gd name="connsiteX67" fmla="*/ 330517 w 541972"/>
                <a:gd name="connsiteY67" fmla="*/ 126682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541972" h="498157">
                  <a:moveTo>
                    <a:pt x="346710" y="146685"/>
                  </a:moveTo>
                  <a:lnTo>
                    <a:pt x="357188" y="169545"/>
                  </a:lnTo>
                  <a:lnTo>
                    <a:pt x="375285" y="186690"/>
                  </a:lnTo>
                  <a:lnTo>
                    <a:pt x="424815" y="186690"/>
                  </a:lnTo>
                  <a:lnTo>
                    <a:pt x="441960" y="203835"/>
                  </a:lnTo>
                  <a:lnTo>
                    <a:pt x="454342" y="229553"/>
                  </a:lnTo>
                  <a:lnTo>
                    <a:pt x="454342" y="254317"/>
                  </a:lnTo>
                  <a:lnTo>
                    <a:pt x="483870" y="262890"/>
                  </a:lnTo>
                  <a:lnTo>
                    <a:pt x="492442" y="300990"/>
                  </a:lnTo>
                  <a:lnTo>
                    <a:pt x="518160" y="326707"/>
                  </a:lnTo>
                  <a:lnTo>
                    <a:pt x="512445" y="357188"/>
                  </a:lnTo>
                  <a:lnTo>
                    <a:pt x="532448" y="378142"/>
                  </a:lnTo>
                  <a:lnTo>
                    <a:pt x="541973" y="393382"/>
                  </a:lnTo>
                  <a:lnTo>
                    <a:pt x="541020" y="409575"/>
                  </a:lnTo>
                  <a:lnTo>
                    <a:pt x="506730" y="402907"/>
                  </a:lnTo>
                  <a:lnTo>
                    <a:pt x="488633" y="420053"/>
                  </a:lnTo>
                  <a:lnTo>
                    <a:pt x="456248" y="431482"/>
                  </a:lnTo>
                  <a:lnTo>
                    <a:pt x="428625" y="416242"/>
                  </a:lnTo>
                  <a:lnTo>
                    <a:pt x="399098" y="416242"/>
                  </a:lnTo>
                  <a:lnTo>
                    <a:pt x="384810" y="437197"/>
                  </a:lnTo>
                  <a:lnTo>
                    <a:pt x="355283" y="437197"/>
                  </a:lnTo>
                  <a:lnTo>
                    <a:pt x="322898" y="437197"/>
                  </a:lnTo>
                  <a:lnTo>
                    <a:pt x="315278" y="452438"/>
                  </a:lnTo>
                  <a:lnTo>
                    <a:pt x="297180" y="471488"/>
                  </a:lnTo>
                  <a:lnTo>
                    <a:pt x="294323" y="498157"/>
                  </a:lnTo>
                  <a:lnTo>
                    <a:pt x="260033" y="491490"/>
                  </a:lnTo>
                  <a:lnTo>
                    <a:pt x="239078" y="471488"/>
                  </a:lnTo>
                  <a:lnTo>
                    <a:pt x="239078" y="442913"/>
                  </a:lnTo>
                  <a:lnTo>
                    <a:pt x="248603" y="415290"/>
                  </a:lnTo>
                  <a:lnTo>
                    <a:pt x="233363" y="401003"/>
                  </a:lnTo>
                  <a:lnTo>
                    <a:pt x="209550" y="401003"/>
                  </a:lnTo>
                  <a:lnTo>
                    <a:pt x="208598" y="372428"/>
                  </a:lnTo>
                  <a:lnTo>
                    <a:pt x="191453" y="355282"/>
                  </a:lnTo>
                  <a:lnTo>
                    <a:pt x="187642" y="334328"/>
                  </a:lnTo>
                  <a:lnTo>
                    <a:pt x="167640" y="334328"/>
                  </a:lnTo>
                  <a:lnTo>
                    <a:pt x="154305" y="320992"/>
                  </a:lnTo>
                  <a:lnTo>
                    <a:pt x="148590" y="292417"/>
                  </a:lnTo>
                  <a:lnTo>
                    <a:pt x="127635" y="284797"/>
                  </a:lnTo>
                  <a:lnTo>
                    <a:pt x="117158" y="295275"/>
                  </a:lnTo>
                  <a:lnTo>
                    <a:pt x="99060" y="277178"/>
                  </a:lnTo>
                  <a:lnTo>
                    <a:pt x="124778" y="252413"/>
                  </a:lnTo>
                  <a:lnTo>
                    <a:pt x="120967" y="213360"/>
                  </a:lnTo>
                  <a:lnTo>
                    <a:pt x="86678" y="180975"/>
                  </a:lnTo>
                  <a:lnTo>
                    <a:pt x="59055" y="181928"/>
                  </a:lnTo>
                  <a:lnTo>
                    <a:pt x="59055" y="165735"/>
                  </a:lnTo>
                  <a:lnTo>
                    <a:pt x="40005" y="155257"/>
                  </a:lnTo>
                  <a:lnTo>
                    <a:pt x="8573" y="151447"/>
                  </a:lnTo>
                  <a:lnTo>
                    <a:pt x="0" y="118110"/>
                  </a:lnTo>
                  <a:lnTo>
                    <a:pt x="1905" y="93345"/>
                  </a:lnTo>
                  <a:lnTo>
                    <a:pt x="11430" y="82867"/>
                  </a:lnTo>
                  <a:lnTo>
                    <a:pt x="953" y="54292"/>
                  </a:lnTo>
                  <a:lnTo>
                    <a:pt x="20003" y="44767"/>
                  </a:lnTo>
                  <a:lnTo>
                    <a:pt x="34290" y="44767"/>
                  </a:lnTo>
                  <a:lnTo>
                    <a:pt x="47625" y="30480"/>
                  </a:lnTo>
                  <a:lnTo>
                    <a:pt x="72390" y="17145"/>
                  </a:lnTo>
                  <a:lnTo>
                    <a:pt x="100965" y="0"/>
                  </a:lnTo>
                  <a:lnTo>
                    <a:pt x="120967" y="11430"/>
                  </a:lnTo>
                  <a:lnTo>
                    <a:pt x="123825" y="28575"/>
                  </a:lnTo>
                  <a:lnTo>
                    <a:pt x="136208" y="40957"/>
                  </a:lnTo>
                  <a:lnTo>
                    <a:pt x="152400" y="46672"/>
                  </a:lnTo>
                  <a:lnTo>
                    <a:pt x="173355" y="66675"/>
                  </a:lnTo>
                  <a:lnTo>
                    <a:pt x="203835" y="65722"/>
                  </a:lnTo>
                  <a:lnTo>
                    <a:pt x="210503" y="90488"/>
                  </a:lnTo>
                  <a:lnTo>
                    <a:pt x="230505" y="102870"/>
                  </a:lnTo>
                  <a:lnTo>
                    <a:pt x="261938" y="117157"/>
                  </a:lnTo>
                  <a:lnTo>
                    <a:pt x="291465" y="132397"/>
                  </a:lnTo>
                  <a:lnTo>
                    <a:pt x="309563" y="132397"/>
                  </a:lnTo>
                  <a:lnTo>
                    <a:pt x="330517" y="126682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2" name="Полилиния: фигура 82">
              <a:extLst>
                <a:ext uri="{FF2B5EF4-FFF2-40B4-BE49-F238E27FC236}">
                  <a16:creationId xmlns:a16="http://schemas.microsoft.com/office/drawing/2014/main" id="{BE0036F5-1A25-4B8C-949E-50BC85D9D041}"/>
                </a:ext>
              </a:extLst>
            </p:cNvPr>
            <p:cNvSpPr/>
            <p:nvPr/>
          </p:nvSpPr>
          <p:spPr>
            <a:xfrm>
              <a:off x="4051854" y="5085983"/>
              <a:ext cx="207584" cy="149059"/>
            </a:xfrm>
            <a:custGeom>
              <a:avLst/>
              <a:gdLst>
                <a:gd name="connsiteX0" fmla="*/ 123825 w 321944"/>
                <a:gd name="connsiteY0" fmla="*/ 0 h 265747"/>
                <a:gd name="connsiteX1" fmla="*/ 160972 w 321944"/>
                <a:gd name="connsiteY1" fmla="*/ 25717 h 265747"/>
                <a:gd name="connsiteX2" fmla="*/ 160972 w 321944"/>
                <a:gd name="connsiteY2" fmla="*/ 49530 h 265747"/>
                <a:gd name="connsiteX3" fmla="*/ 189547 w 321944"/>
                <a:gd name="connsiteY3" fmla="*/ 42863 h 265747"/>
                <a:gd name="connsiteX4" fmla="*/ 211455 w 321944"/>
                <a:gd name="connsiteY4" fmla="*/ 52388 h 265747"/>
                <a:gd name="connsiteX5" fmla="*/ 233363 w 321944"/>
                <a:gd name="connsiteY5" fmla="*/ 74295 h 265747"/>
                <a:gd name="connsiteX6" fmla="*/ 253365 w 321944"/>
                <a:gd name="connsiteY6" fmla="*/ 91440 h 265747"/>
                <a:gd name="connsiteX7" fmla="*/ 275272 w 321944"/>
                <a:gd name="connsiteY7" fmla="*/ 83820 h 265747"/>
                <a:gd name="connsiteX8" fmla="*/ 286702 w 321944"/>
                <a:gd name="connsiteY8" fmla="*/ 95250 h 265747"/>
                <a:gd name="connsiteX9" fmla="*/ 294322 w 321944"/>
                <a:gd name="connsiteY9" fmla="*/ 127635 h 265747"/>
                <a:gd name="connsiteX10" fmla="*/ 314325 w 321944"/>
                <a:gd name="connsiteY10" fmla="*/ 148590 h 265747"/>
                <a:gd name="connsiteX11" fmla="*/ 321945 w 321944"/>
                <a:gd name="connsiteY11" fmla="*/ 166688 h 265747"/>
                <a:gd name="connsiteX12" fmla="*/ 302895 w 321944"/>
                <a:gd name="connsiteY12" fmla="*/ 196215 h 265747"/>
                <a:gd name="connsiteX13" fmla="*/ 276225 w 321944"/>
                <a:gd name="connsiteY13" fmla="*/ 208597 h 265747"/>
                <a:gd name="connsiteX14" fmla="*/ 263842 w 321944"/>
                <a:gd name="connsiteY14" fmla="*/ 220980 h 265747"/>
                <a:gd name="connsiteX15" fmla="*/ 242888 w 321944"/>
                <a:gd name="connsiteY15" fmla="*/ 191453 h 265747"/>
                <a:gd name="connsiteX16" fmla="*/ 212407 w 321944"/>
                <a:gd name="connsiteY16" fmla="*/ 179070 h 265747"/>
                <a:gd name="connsiteX17" fmla="*/ 199072 w 321944"/>
                <a:gd name="connsiteY17" fmla="*/ 193357 h 265747"/>
                <a:gd name="connsiteX18" fmla="*/ 173355 w 321944"/>
                <a:gd name="connsiteY18" fmla="*/ 164782 h 265747"/>
                <a:gd name="connsiteX19" fmla="*/ 155257 w 321944"/>
                <a:gd name="connsiteY19" fmla="*/ 182880 h 265747"/>
                <a:gd name="connsiteX20" fmla="*/ 130492 w 321944"/>
                <a:gd name="connsiteY20" fmla="*/ 177165 h 265747"/>
                <a:gd name="connsiteX21" fmla="*/ 112395 w 321944"/>
                <a:gd name="connsiteY21" fmla="*/ 195263 h 265747"/>
                <a:gd name="connsiteX22" fmla="*/ 112395 w 321944"/>
                <a:gd name="connsiteY22" fmla="*/ 227647 h 265747"/>
                <a:gd name="connsiteX23" fmla="*/ 124777 w 321944"/>
                <a:gd name="connsiteY23" fmla="*/ 240030 h 265747"/>
                <a:gd name="connsiteX24" fmla="*/ 120015 w 321944"/>
                <a:gd name="connsiteY24" fmla="*/ 261938 h 265747"/>
                <a:gd name="connsiteX25" fmla="*/ 95250 w 321944"/>
                <a:gd name="connsiteY25" fmla="*/ 265747 h 265747"/>
                <a:gd name="connsiteX26" fmla="*/ 78105 w 321944"/>
                <a:gd name="connsiteY26" fmla="*/ 248603 h 265747"/>
                <a:gd name="connsiteX27" fmla="*/ 28575 w 321944"/>
                <a:gd name="connsiteY27" fmla="*/ 248603 h 265747"/>
                <a:gd name="connsiteX28" fmla="*/ 10477 w 321944"/>
                <a:gd name="connsiteY28" fmla="*/ 231457 h 265747"/>
                <a:gd name="connsiteX29" fmla="*/ 0 w 321944"/>
                <a:gd name="connsiteY29" fmla="*/ 208597 h 265747"/>
                <a:gd name="connsiteX30" fmla="*/ 17145 w 321944"/>
                <a:gd name="connsiteY30" fmla="*/ 184785 h 265747"/>
                <a:gd name="connsiteX31" fmla="*/ 30480 w 321944"/>
                <a:gd name="connsiteY31" fmla="*/ 159067 h 265747"/>
                <a:gd name="connsiteX32" fmla="*/ 40957 w 321944"/>
                <a:gd name="connsiteY32" fmla="*/ 154305 h 265747"/>
                <a:gd name="connsiteX33" fmla="*/ 46672 w 321944"/>
                <a:gd name="connsiteY33" fmla="*/ 139065 h 265747"/>
                <a:gd name="connsiteX34" fmla="*/ 35242 w 321944"/>
                <a:gd name="connsiteY34" fmla="*/ 127635 h 265747"/>
                <a:gd name="connsiteX35" fmla="*/ 35242 w 321944"/>
                <a:gd name="connsiteY35" fmla="*/ 108585 h 265747"/>
                <a:gd name="connsiteX36" fmla="*/ 49530 w 321944"/>
                <a:gd name="connsiteY36" fmla="*/ 95250 h 265747"/>
                <a:gd name="connsiteX37" fmla="*/ 49530 w 321944"/>
                <a:gd name="connsiteY37" fmla="*/ 60007 h 265747"/>
                <a:gd name="connsiteX38" fmla="*/ 36195 w 321944"/>
                <a:gd name="connsiteY38" fmla="*/ 39053 h 265747"/>
                <a:gd name="connsiteX39" fmla="*/ 58102 w 321944"/>
                <a:gd name="connsiteY39" fmla="*/ 23813 h 265747"/>
                <a:gd name="connsiteX40" fmla="*/ 71438 w 321944"/>
                <a:gd name="connsiteY40" fmla="*/ 38100 h 265747"/>
                <a:gd name="connsiteX41" fmla="*/ 108585 w 321944"/>
                <a:gd name="connsiteY41" fmla="*/ 32385 h 265747"/>
                <a:gd name="connsiteX42" fmla="*/ 112395 w 321944"/>
                <a:gd name="connsiteY42" fmla="*/ 12382 h 265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21944" h="265747">
                  <a:moveTo>
                    <a:pt x="123825" y="0"/>
                  </a:moveTo>
                  <a:lnTo>
                    <a:pt x="160972" y="25717"/>
                  </a:lnTo>
                  <a:lnTo>
                    <a:pt x="160972" y="49530"/>
                  </a:lnTo>
                  <a:lnTo>
                    <a:pt x="189547" y="42863"/>
                  </a:lnTo>
                  <a:lnTo>
                    <a:pt x="211455" y="52388"/>
                  </a:lnTo>
                  <a:lnTo>
                    <a:pt x="233363" y="74295"/>
                  </a:lnTo>
                  <a:lnTo>
                    <a:pt x="253365" y="91440"/>
                  </a:lnTo>
                  <a:lnTo>
                    <a:pt x="275272" y="83820"/>
                  </a:lnTo>
                  <a:lnTo>
                    <a:pt x="286702" y="95250"/>
                  </a:lnTo>
                  <a:lnTo>
                    <a:pt x="294322" y="127635"/>
                  </a:lnTo>
                  <a:lnTo>
                    <a:pt x="314325" y="148590"/>
                  </a:lnTo>
                  <a:lnTo>
                    <a:pt x="321945" y="166688"/>
                  </a:lnTo>
                  <a:lnTo>
                    <a:pt x="302895" y="196215"/>
                  </a:lnTo>
                  <a:lnTo>
                    <a:pt x="276225" y="208597"/>
                  </a:lnTo>
                  <a:lnTo>
                    <a:pt x="263842" y="220980"/>
                  </a:lnTo>
                  <a:lnTo>
                    <a:pt x="242888" y="191453"/>
                  </a:lnTo>
                  <a:lnTo>
                    <a:pt x="212407" y="179070"/>
                  </a:lnTo>
                  <a:lnTo>
                    <a:pt x="199072" y="193357"/>
                  </a:lnTo>
                  <a:lnTo>
                    <a:pt x="173355" y="164782"/>
                  </a:lnTo>
                  <a:lnTo>
                    <a:pt x="155257" y="182880"/>
                  </a:lnTo>
                  <a:lnTo>
                    <a:pt x="130492" y="177165"/>
                  </a:lnTo>
                  <a:lnTo>
                    <a:pt x="112395" y="195263"/>
                  </a:lnTo>
                  <a:lnTo>
                    <a:pt x="112395" y="227647"/>
                  </a:lnTo>
                  <a:lnTo>
                    <a:pt x="124777" y="240030"/>
                  </a:lnTo>
                  <a:lnTo>
                    <a:pt x="120015" y="261938"/>
                  </a:lnTo>
                  <a:lnTo>
                    <a:pt x="95250" y="265747"/>
                  </a:lnTo>
                  <a:lnTo>
                    <a:pt x="78105" y="248603"/>
                  </a:lnTo>
                  <a:lnTo>
                    <a:pt x="28575" y="248603"/>
                  </a:lnTo>
                  <a:lnTo>
                    <a:pt x="10477" y="231457"/>
                  </a:lnTo>
                  <a:lnTo>
                    <a:pt x="0" y="208597"/>
                  </a:lnTo>
                  <a:lnTo>
                    <a:pt x="17145" y="184785"/>
                  </a:lnTo>
                  <a:lnTo>
                    <a:pt x="30480" y="159067"/>
                  </a:lnTo>
                  <a:lnTo>
                    <a:pt x="40957" y="154305"/>
                  </a:lnTo>
                  <a:lnTo>
                    <a:pt x="46672" y="139065"/>
                  </a:lnTo>
                  <a:lnTo>
                    <a:pt x="35242" y="127635"/>
                  </a:lnTo>
                  <a:lnTo>
                    <a:pt x="35242" y="108585"/>
                  </a:lnTo>
                  <a:lnTo>
                    <a:pt x="49530" y="95250"/>
                  </a:lnTo>
                  <a:lnTo>
                    <a:pt x="49530" y="60007"/>
                  </a:lnTo>
                  <a:lnTo>
                    <a:pt x="36195" y="39053"/>
                  </a:lnTo>
                  <a:lnTo>
                    <a:pt x="58102" y="23813"/>
                  </a:lnTo>
                  <a:lnTo>
                    <a:pt x="71438" y="38100"/>
                  </a:lnTo>
                  <a:lnTo>
                    <a:pt x="108585" y="32385"/>
                  </a:lnTo>
                  <a:lnTo>
                    <a:pt x="112395" y="12382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3" name="Полилиния: фигура 83">
              <a:extLst>
                <a:ext uri="{FF2B5EF4-FFF2-40B4-BE49-F238E27FC236}">
                  <a16:creationId xmlns:a16="http://schemas.microsoft.com/office/drawing/2014/main" id="{8E1FE6BA-3D56-4D77-A608-D85C4A1B8B2B}"/>
                </a:ext>
              </a:extLst>
            </p:cNvPr>
            <p:cNvSpPr/>
            <p:nvPr/>
          </p:nvSpPr>
          <p:spPr>
            <a:xfrm>
              <a:off x="4113270" y="5178410"/>
              <a:ext cx="219253" cy="162950"/>
            </a:xfrm>
            <a:custGeom>
              <a:avLst/>
              <a:gdLst>
                <a:gd name="connsiteX0" fmla="*/ 340042 w 340042"/>
                <a:gd name="connsiteY0" fmla="*/ 93345 h 290512"/>
                <a:gd name="connsiteX1" fmla="*/ 329565 w 340042"/>
                <a:gd name="connsiteY1" fmla="*/ 69533 h 290512"/>
                <a:gd name="connsiteX2" fmla="*/ 337185 w 340042"/>
                <a:gd name="connsiteY2" fmla="*/ 51435 h 290512"/>
                <a:gd name="connsiteX3" fmla="*/ 301942 w 340042"/>
                <a:gd name="connsiteY3" fmla="*/ 21908 h 290512"/>
                <a:gd name="connsiteX4" fmla="*/ 279082 w 340042"/>
                <a:gd name="connsiteY4" fmla="*/ 21908 h 290512"/>
                <a:gd name="connsiteX5" fmla="*/ 262890 w 340042"/>
                <a:gd name="connsiteY5" fmla="*/ 38100 h 290512"/>
                <a:gd name="connsiteX6" fmla="*/ 226695 w 340042"/>
                <a:gd name="connsiteY6" fmla="*/ 1905 h 290512"/>
                <a:gd name="connsiteX7" fmla="*/ 207645 w 340042"/>
                <a:gd name="connsiteY7" fmla="*/ 31433 h 290512"/>
                <a:gd name="connsiteX8" fmla="*/ 180975 w 340042"/>
                <a:gd name="connsiteY8" fmla="*/ 43815 h 290512"/>
                <a:gd name="connsiteX9" fmla="*/ 168592 w 340042"/>
                <a:gd name="connsiteY9" fmla="*/ 56197 h 290512"/>
                <a:gd name="connsiteX10" fmla="*/ 147638 w 340042"/>
                <a:gd name="connsiteY10" fmla="*/ 26670 h 290512"/>
                <a:gd name="connsiteX11" fmla="*/ 117157 w 340042"/>
                <a:gd name="connsiteY11" fmla="*/ 14288 h 290512"/>
                <a:gd name="connsiteX12" fmla="*/ 103822 w 340042"/>
                <a:gd name="connsiteY12" fmla="*/ 28575 h 290512"/>
                <a:gd name="connsiteX13" fmla="*/ 78105 w 340042"/>
                <a:gd name="connsiteY13" fmla="*/ 0 h 290512"/>
                <a:gd name="connsiteX14" fmla="*/ 60007 w 340042"/>
                <a:gd name="connsiteY14" fmla="*/ 18097 h 290512"/>
                <a:gd name="connsiteX15" fmla="*/ 35242 w 340042"/>
                <a:gd name="connsiteY15" fmla="*/ 12383 h 290512"/>
                <a:gd name="connsiteX16" fmla="*/ 17145 w 340042"/>
                <a:gd name="connsiteY16" fmla="*/ 30480 h 290512"/>
                <a:gd name="connsiteX17" fmla="*/ 17145 w 340042"/>
                <a:gd name="connsiteY17" fmla="*/ 62865 h 290512"/>
                <a:gd name="connsiteX18" fmla="*/ 29527 w 340042"/>
                <a:gd name="connsiteY18" fmla="*/ 75247 h 290512"/>
                <a:gd name="connsiteX19" fmla="*/ 24765 w 340042"/>
                <a:gd name="connsiteY19" fmla="*/ 97155 h 290512"/>
                <a:gd name="connsiteX20" fmla="*/ 0 w 340042"/>
                <a:gd name="connsiteY20" fmla="*/ 100965 h 290512"/>
                <a:gd name="connsiteX21" fmla="*/ 12382 w 340042"/>
                <a:gd name="connsiteY21" fmla="*/ 126683 h 290512"/>
                <a:gd name="connsiteX22" fmla="*/ 12382 w 340042"/>
                <a:gd name="connsiteY22" fmla="*/ 151447 h 290512"/>
                <a:gd name="connsiteX23" fmla="*/ 41910 w 340042"/>
                <a:gd name="connsiteY23" fmla="*/ 160020 h 290512"/>
                <a:gd name="connsiteX24" fmla="*/ 50482 w 340042"/>
                <a:gd name="connsiteY24" fmla="*/ 198120 h 290512"/>
                <a:gd name="connsiteX25" fmla="*/ 76200 w 340042"/>
                <a:gd name="connsiteY25" fmla="*/ 223838 h 290512"/>
                <a:gd name="connsiteX26" fmla="*/ 70485 w 340042"/>
                <a:gd name="connsiteY26" fmla="*/ 254318 h 290512"/>
                <a:gd name="connsiteX27" fmla="*/ 90488 w 340042"/>
                <a:gd name="connsiteY27" fmla="*/ 275272 h 290512"/>
                <a:gd name="connsiteX28" fmla="*/ 100013 w 340042"/>
                <a:gd name="connsiteY28" fmla="*/ 290513 h 290512"/>
                <a:gd name="connsiteX29" fmla="*/ 150495 w 340042"/>
                <a:gd name="connsiteY29" fmla="*/ 290513 h 290512"/>
                <a:gd name="connsiteX30" fmla="*/ 164782 w 340042"/>
                <a:gd name="connsiteY30" fmla="*/ 260985 h 290512"/>
                <a:gd name="connsiteX31" fmla="*/ 192405 w 340042"/>
                <a:gd name="connsiteY31" fmla="*/ 241935 h 290512"/>
                <a:gd name="connsiteX32" fmla="*/ 207645 w 340042"/>
                <a:gd name="connsiteY32" fmla="*/ 245745 h 290512"/>
                <a:gd name="connsiteX33" fmla="*/ 216217 w 340042"/>
                <a:gd name="connsiteY33" fmla="*/ 227647 h 290512"/>
                <a:gd name="connsiteX34" fmla="*/ 255270 w 340042"/>
                <a:gd name="connsiteY34" fmla="*/ 220028 h 290512"/>
                <a:gd name="connsiteX35" fmla="*/ 274320 w 340042"/>
                <a:gd name="connsiteY35" fmla="*/ 175260 h 290512"/>
                <a:gd name="connsiteX36" fmla="*/ 306705 w 340042"/>
                <a:gd name="connsiteY36" fmla="*/ 157163 h 290512"/>
                <a:gd name="connsiteX37" fmla="*/ 330517 w 340042"/>
                <a:gd name="connsiteY37" fmla="*/ 132397 h 290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40042" h="290512">
                  <a:moveTo>
                    <a:pt x="340042" y="93345"/>
                  </a:moveTo>
                  <a:lnTo>
                    <a:pt x="329565" y="69533"/>
                  </a:lnTo>
                  <a:lnTo>
                    <a:pt x="337185" y="51435"/>
                  </a:lnTo>
                  <a:lnTo>
                    <a:pt x="301942" y="21908"/>
                  </a:lnTo>
                  <a:lnTo>
                    <a:pt x="279082" y="21908"/>
                  </a:lnTo>
                  <a:lnTo>
                    <a:pt x="262890" y="38100"/>
                  </a:lnTo>
                  <a:lnTo>
                    <a:pt x="226695" y="1905"/>
                  </a:lnTo>
                  <a:lnTo>
                    <a:pt x="207645" y="31433"/>
                  </a:lnTo>
                  <a:lnTo>
                    <a:pt x="180975" y="43815"/>
                  </a:lnTo>
                  <a:lnTo>
                    <a:pt x="168592" y="56197"/>
                  </a:lnTo>
                  <a:lnTo>
                    <a:pt x="147638" y="26670"/>
                  </a:lnTo>
                  <a:lnTo>
                    <a:pt x="117157" y="14288"/>
                  </a:lnTo>
                  <a:lnTo>
                    <a:pt x="103822" y="28575"/>
                  </a:lnTo>
                  <a:lnTo>
                    <a:pt x="78105" y="0"/>
                  </a:lnTo>
                  <a:lnTo>
                    <a:pt x="60007" y="18097"/>
                  </a:lnTo>
                  <a:lnTo>
                    <a:pt x="35242" y="12383"/>
                  </a:lnTo>
                  <a:lnTo>
                    <a:pt x="17145" y="30480"/>
                  </a:lnTo>
                  <a:lnTo>
                    <a:pt x="17145" y="62865"/>
                  </a:lnTo>
                  <a:lnTo>
                    <a:pt x="29527" y="75247"/>
                  </a:lnTo>
                  <a:lnTo>
                    <a:pt x="24765" y="97155"/>
                  </a:lnTo>
                  <a:lnTo>
                    <a:pt x="0" y="100965"/>
                  </a:lnTo>
                  <a:lnTo>
                    <a:pt x="12382" y="126683"/>
                  </a:lnTo>
                  <a:lnTo>
                    <a:pt x="12382" y="151447"/>
                  </a:lnTo>
                  <a:lnTo>
                    <a:pt x="41910" y="160020"/>
                  </a:lnTo>
                  <a:lnTo>
                    <a:pt x="50482" y="198120"/>
                  </a:lnTo>
                  <a:lnTo>
                    <a:pt x="76200" y="223838"/>
                  </a:lnTo>
                  <a:lnTo>
                    <a:pt x="70485" y="254318"/>
                  </a:lnTo>
                  <a:lnTo>
                    <a:pt x="90488" y="275272"/>
                  </a:lnTo>
                  <a:lnTo>
                    <a:pt x="100013" y="290513"/>
                  </a:lnTo>
                  <a:lnTo>
                    <a:pt x="150495" y="290513"/>
                  </a:lnTo>
                  <a:lnTo>
                    <a:pt x="164782" y="260985"/>
                  </a:lnTo>
                  <a:lnTo>
                    <a:pt x="192405" y="241935"/>
                  </a:lnTo>
                  <a:lnTo>
                    <a:pt x="207645" y="245745"/>
                  </a:lnTo>
                  <a:lnTo>
                    <a:pt x="216217" y="227647"/>
                  </a:lnTo>
                  <a:lnTo>
                    <a:pt x="255270" y="220028"/>
                  </a:lnTo>
                  <a:lnTo>
                    <a:pt x="274320" y="175260"/>
                  </a:lnTo>
                  <a:lnTo>
                    <a:pt x="306705" y="157163"/>
                  </a:lnTo>
                  <a:lnTo>
                    <a:pt x="330517" y="132397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4" name="Полилиния: фигура 84">
              <a:extLst>
                <a:ext uri="{FF2B5EF4-FFF2-40B4-BE49-F238E27FC236}">
                  <a16:creationId xmlns:a16="http://schemas.microsoft.com/office/drawing/2014/main" id="{CBBED7EF-73C3-486A-BE2D-32FCA269817D}"/>
                </a:ext>
              </a:extLst>
            </p:cNvPr>
            <p:cNvSpPr/>
            <p:nvPr/>
          </p:nvSpPr>
          <p:spPr>
            <a:xfrm>
              <a:off x="4745236" y="5272975"/>
              <a:ext cx="292952" cy="176307"/>
            </a:xfrm>
            <a:custGeom>
              <a:avLst/>
              <a:gdLst>
                <a:gd name="connsiteX0" fmla="*/ 76200 w 454342"/>
                <a:gd name="connsiteY0" fmla="*/ 24765 h 314325"/>
                <a:gd name="connsiteX1" fmla="*/ 112395 w 454342"/>
                <a:gd name="connsiteY1" fmla="*/ 0 h 314325"/>
                <a:gd name="connsiteX2" fmla="*/ 134303 w 454342"/>
                <a:gd name="connsiteY2" fmla="*/ 10478 h 314325"/>
                <a:gd name="connsiteX3" fmla="*/ 152400 w 454342"/>
                <a:gd name="connsiteY3" fmla="*/ 10478 h 314325"/>
                <a:gd name="connsiteX4" fmla="*/ 174307 w 454342"/>
                <a:gd name="connsiteY4" fmla="*/ 19050 h 314325"/>
                <a:gd name="connsiteX5" fmla="*/ 188595 w 454342"/>
                <a:gd name="connsiteY5" fmla="*/ 13335 h 314325"/>
                <a:gd name="connsiteX6" fmla="*/ 208597 w 454342"/>
                <a:gd name="connsiteY6" fmla="*/ 46672 h 314325"/>
                <a:gd name="connsiteX7" fmla="*/ 241935 w 454342"/>
                <a:gd name="connsiteY7" fmla="*/ 20955 h 314325"/>
                <a:gd name="connsiteX8" fmla="*/ 272415 w 454342"/>
                <a:gd name="connsiteY8" fmla="*/ 20955 h 314325"/>
                <a:gd name="connsiteX9" fmla="*/ 282893 w 454342"/>
                <a:gd name="connsiteY9" fmla="*/ 35242 h 314325"/>
                <a:gd name="connsiteX10" fmla="*/ 266700 w 454342"/>
                <a:gd name="connsiteY10" fmla="*/ 64770 h 314325"/>
                <a:gd name="connsiteX11" fmla="*/ 291465 w 454342"/>
                <a:gd name="connsiteY11" fmla="*/ 100013 h 314325"/>
                <a:gd name="connsiteX12" fmla="*/ 308610 w 454342"/>
                <a:gd name="connsiteY12" fmla="*/ 104775 h 314325"/>
                <a:gd name="connsiteX13" fmla="*/ 308610 w 454342"/>
                <a:gd name="connsiteY13" fmla="*/ 137160 h 314325"/>
                <a:gd name="connsiteX14" fmla="*/ 330518 w 454342"/>
                <a:gd name="connsiteY14" fmla="*/ 140970 h 314325"/>
                <a:gd name="connsiteX15" fmla="*/ 346710 w 454342"/>
                <a:gd name="connsiteY15" fmla="*/ 157163 h 314325"/>
                <a:gd name="connsiteX16" fmla="*/ 371475 w 454342"/>
                <a:gd name="connsiteY16" fmla="*/ 157163 h 314325"/>
                <a:gd name="connsiteX17" fmla="*/ 380047 w 454342"/>
                <a:gd name="connsiteY17" fmla="*/ 175260 h 314325"/>
                <a:gd name="connsiteX18" fmla="*/ 399097 w 454342"/>
                <a:gd name="connsiteY18" fmla="*/ 178117 h 314325"/>
                <a:gd name="connsiteX19" fmla="*/ 394335 w 454342"/>
                <a:gd name="connsiteY19" fmla="*/ 204788 h 314325"/>
                <a:gd name="connsiteX20" fmla="*/ 450532 w 454342"/>
                <a:gd name="connsiteY20" fmla="*/ 239078 h 314325"/>
                <a:gd name="connsiteX21" fmla="*/ 454343 w 454342"/>
                <a:gd name="connsiteY21" fmla="*/ 281940 h 314325"/>
                <a:gd name="connsiteX22" fmla="*/ 437197 w 454342"/>
                <a:gd name="connsiteY22" fmla="*/ 305753 h 314325"/>
                <a:gd name="connsiteX23" fmla="*/ 401955 w 454342"/>
                <a:gd name="connsiteY23" fmla="*/ 305753 h 314325"/>
                <a:gd name="connsiteX24" fmla="*/ 371475 w 454342"/>
                <a:gd name="connsiteY24" fmla="*/ 314325 h 314325"/>
                <a:gd name="connsiteX25" fmla="*/ 345757 w 454342"/>
                <a:gd name="connsiteY25" fmla="*/ 300038 h 314325"/>
                <a:gd name="connsiteX26" fmla="*/ 314325 w 454342"/>
                <a:gd name="connsiteY26" fmla="*/ 305753 h 314325"/>
                <a:gd name="connsiteX27" fmla="*/ 276225 w 454342"/>
                <a:gd name="connsiteY27" fmla="*/ 305753 h 314325"/>
                <a:gd name="connsiteX28" fmla="*/ 240030 w 454342"/>
                <a:gd name="connsiteY28" fmla="*/ 286703 h 314325"/>
                <a:gd name="connsiteX29" fmla="*/ 224790 w 454342"/>
                <a:gd name="connsiteY29" fmla="*/ 286703 h 314325"/>
                <a:gd name="connsiteX30" fmla="*/ 208597 w 454342"/>
                <a:gd name="connsiteY30" fmla="*/ 302895 h 314325"/>
                <a:gd name="connsiteX31" fmla="*/ 180022 w 454342"/>
                <a:gd name="connsiteY31" fmla="*/ 308610 h 314325"/>
                <a:gd name="connsiteX32" fmla="*/ 153353 w 454342"/>
                <a:gd name="connsiteY32" fmla="*/ 294322 h 314325"/>
                <a:gd name="connsiteX33" fmla="*/ 129540 w 454342"/>
                <a:gd name="connsiteY33" fmla="*/ 294322 h 314325"/>
                <a:gd name="connsiteX34" fmla="*/ 97155 w 454342"/>
                <a:gd name="connsiteY34" fmla="*/ 284797 h 314325"/>
                <a:gd name="connsiteX35" fmla="*/ 49530 w 454342"/>
                <a:gd name="connsiteY35" fmla="*/ 285750 h 314325"/>
                <a:gd name="connsiteX36" fmla="*/ 56197 w 454342"/>
                <a:gd name="connsiteY36" fmla="*/ 265747 h 314325"/>
                <a:gd name="connsiteX37" fmla="*/ 77153 w 454342"/>
                <a:gd name="connsiteY37" fmla="*/ 244792 h 314325"/>
                <a:gd name="connsiteX38" fmla="*/ 65722 w 454342"/>
                <a:gd name="connsiteY38" fmla="*/ 217170 h 314325"/>
                <a:gd name="connsiteX39" fmla="*/ 38100 w 454342"/>
                <a:gd name="connsiteY39" fmla="*/ 217170 h 314325"/>
                <a:gd name="connsiteX40" fmla="*/ 34290 w 454342"/>
                <a:gd name="connsiteY40" fmla="*/ 203835 h 314325"/>
                <a:gd name="connsiteX41" fmla="*/ 16193 w 454342"/>
                <a:gd name="connsiteY41" fmla="*/ 202882 h 314325"/>
                <a:gd name="connsiteX42" fmla="*/ 0 w 454342"/>
                <a:gd name="connsiteY42" fmla="*/ 186690 h 314325"/>
                <a:gd name="connsiteX43" fmla="*/ 4763 w 454342"/>
                <a:gd name="connsiteY43" fmla="*/ 167640 h 314325"/>
                <a:gd name="connsiteX44" fmla="*/ 23813 w 454342"/>
                <a:gd name="connsiteY44" fmla="*/ 167640 h 314325"/>
                <a:gd name="connsiteX45" fmla="*/ 37147 w 454342"/>
                <a:gd name="connsiteY45" fmla="*/ 153353 h 314325"/>
                <a:gd name="connsiteX46" fmla="*/ 28575 w 454342"/>
                <a:gd name="connsiteY46" fmla="*/ 126682 h 314325"/>
                <a:gd name="connsiteX47" fmla="*/ 42863 w 454342"/>
                <a:gd name="connsiteY47" fmla="*/ 113347 h 314325"/>
                <a:gd name="connsiteX48" fmla="*/ 67628 w 454342"/>
                <a:gd name="connsiteY48" fmla="*/ 113347 h 314325"/>
                <a:gd name="connsiteX49" fmla="*/ 80963 w 454342"/>
                <a:gd name="connsiteY49" fmla="*/ 92392 h 314325"/>
                <a:gd name="connsiteX50" fmla="*/ 76200 w 454342"/>
                <a:gd name="connsiteY50" fmla="*/ 56197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454342" h="314325">
                  <a:moveTo>
                    <a:pt x="76200" y="24765"/>
                  </a:moveTo>
                  <a:lnTo>
                    <a:pt x="112395" y="0"/>
                  </a:lnTo>
                  <a:lnTo>
                    <a:pt x="134303" y="10478"/>
                  </a:lnTo>
                  <a:lnTo>
                    <a:pt x="152400" y="10478"/>
                  </a:lnTo>
                  <a:lnTo>
                    <a:pt x="174307" y="19050"/>
                  </a:lnTo>
                  <a:lnTo>
                    <a:pt x="188595" y="13335"/>
                  </a:lnTo>
                  <a:lnTo>
                    <a:pt x="208597" y="46672"/>
                  </a:lnTo>
                  <a:lnTo>
                    <a:pt x="241935" y="20955"/>
                  </a:lnTo>
                  <a:lnTo>
                    <a:pt x="272415" y="20955"/>
                  </a:lnTo>
                  <a:lnTo>
                    <a:pt x="282893" y="35242"/>
                  </a:lnTo>
                  <a:lnTo>
                    <a:pt x="266700" y="64770"/>
                  </a:lnTo>
                  <a:lnTo>
                    <a:pt x="291465" y="100013"/>
                  </a:lnTo>
                  <a:lnTo>
                    <a:pt x="308610" y="104775"/>
                  </a:lnTo>
                  <a:lnTo>
                    <a:pt x="308610" y="137160"/>
                  </a:lnTo>
                  <a:lnTo>
                    <a:pt x="330518" y="140970"/>
                  </a:lnTo>
                  <a:lnTo>
                    <a:pt x="346710" y="157163"/>
                  </a:lnTo>
                  <a:lnTo>
                    <a:pt x="371475" y="157163"/>
                  </a:lnTo>
                  <a:lnTo>
                    <a:pt x="380047" y="175260"/>
                  </a:lnTo>
                  <a:lnTo>
                    <a:pt x="399097" y="178117"/>
                  </a:lnTo>
                  <a:lnTo>
                    <a:pt x="394335" y="204788"/>
                  </a:lnTo>
                  <a:lnTo>
                    <a:pt x="450532" y="239078"/>
                  </a:lnTo>
                  <a:lnTo>
                    <a:pt x="454343" y="281940"/>
                  </a:lnTo>
                  <a:lnTo>
                    <a:pt x="437197" y="305753"/>
                  </a:lnTo>
                  <a:lnTo>
                    <a:pt x="401955" y="305753"/>
                  </a:lnTo>
                  <a:lnTo>
                    <a:pt x="371475" y="314325"/>
                  </a:lnTo>
                  <a:lnTo>
                    <a:pt x="345757" y="300038"/>
                  </a:lnTo>
                  <a:lnTo>
                    <a:pt x="314325" y="305753"/>
                  </a:lnTo>
                  <a:lnTo>
                    <a:pt x="276225" y="305753"/>
                  </a:lnTo>
                  <a:lnTo>
                    <a:pt x="240030" y="286703"/>
                  </a:lnTo>
                  <a:lnTo>
                    <a:pt x="224790" y="286703"/>
                  </a:lnTo>
                  <a:lnTo>
                    <a:pt x="208597" y="302895"/>
                  </a:lnTo>
                  <a:lnTo>
                    <a:pt x="180022" y="308610"/>
                  </a:lnTo>
                  <a:lnTo>
                    <a:pt x="153353" y="294322"/>
                  </a:lnTo>
                  <a:lnTo>
                    <a:pt x="129540" y="294322"/>
                  </a:lnTo>
                  <a:lnTo>
                    <a:pt x="97155" y="284797"/>
                  </a:lnTo>
                  <a:lnTo>
                    <a:pt x="49530" y="285750"/>
                  </a:lnTo>
                  <a:lnTo>
                    <a:pt x="56197" y="265747"/>
                  </a:lnTo>
                  <a:lnTo>
                    <a:pt x="77153" y="244792"/>
                  </a:lnTo>
                  <a:lnTo>
                    <a:pt x="65722" y="217170"/>
                  </a:lnTo>
                  <a:lnTo>
                    <a:pt x="38100" y="217170"/>
                  </a:lnTo>
                  <a:lnTo>
                    <a:pt x="34290" y="203835"/>
                  </a:lnTo>
                  <a:lnTo>
                    <a:pt x="16193" y="202882"/>
                  </a:lnTo>
                  <a:lnTo>
                    <a:pt x="0" y="186690"/>
                  </a:lnTo>
                  <a:lnTo>
                    <a:pt x="4763" y="167640"/>
                  </a:lnTo>
                  <a:lnTo>
                    <a:pt x="23813" y="167640"/>
                  </a:lnTo>
                  <a:lnTo>
                    <a:pt x="37147" y="153353"/>
                  </a:lnTo>
                  <a:lnTo>
                    <a:pt x="28575" y="126682"/>
                  </a:lnTo>
                  <a:lnTo>
                    <a:pt x="42863" y="113347"/>
                  </a:lnTo>
                  <a:lnTo>
                    <a:pt x="67628" y="113347"/>
                  </a:lnTo>
                  <a:lnTo>
                    <a:pt x="80963" y="92392"/>
                  </a:lnTo>
                  <a:lnTo>
                    <a:pt x="76200" y="56197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5" name="Полилиния: фигура 85">
              <a:extLst>
                <a:ext uri="{FF2B5EF4-FFF2-40B4-BE49-F238E27FC236}">
                  <a16:creationId xmlns:a16="http://schemas.microsoft.com/office/drawing/2014/main" id="{C0D026C0-5BD7-47AE-87F5-890216B4072E}"/>
                </a:ext>
              </a:extLst>
            </p:cNvPr>
            <p:cNvSpPr/>
            <p:nvPr/>
          </p:nvSpPr>
          <p:spPr>
            <a:xfrm>
              <a:off x="4362616" y="5143149"/>
              <a:ext cx="314447" cy="359559"/>
            </a:xfrm>
            <a:custGeom>
              <a:avLst/>
              <a:gdLst>
                <a:gd name="connsiteX0" fmla="*/ 481965 w 487679"/>
                <a:gd name="connsiteY0" fmla="*/ 169545 h 641032"/>
                <a:gd name="connsiteX1" fmla="*/ 463867 w 487679"/>
                <a:gd name="connsiteY1" fmla="*/ 187643 h 641032"/>
                <a:gd name="connsiteX2" fmla="*/ 446723 w 487679"/>
                <a:gd name="connsiteY2" fmla="*/ 163830 h 641032"/>
                <a:gd name="connsiteX3" fmla="*/ 426720 w 487679"/>
                <a:gd name="connsiteY3" fmla="*/ 163830 h 641032"/>
                <a:gd name="connsiteX4" fmla="*/ 394335 w 487679"/>
                <a:gd name="connsiteY4" fmla="*/ 140018 h 641032"/>
                <a:gd name="connsiteX5" fmla="*/ 376238 w 487679"/>
                <a:gd name="connsiteY5" fmla="*/ 114300 h 641032"/>
                <a:gd name="connsiteX6" fmla="*/ 360045 w 487679"/>
                <a:gd name="connsiteY6" fmla="*/ 121920 h 641032"/>
                <a:gd name="connsiteX7" fmla="*/ 341948 w 487679"/>
                <a:gd name="connsiteY7" fmla="*/ 115253 h 641032"/>
                <a:gd name="connsiteX8" fmla="*/ 330517 w 487679"/>
                <a:gd name="connsiteY8" fmla="*/ 77153 h 641032"/>
                <a:gd name="connsiteX9" fmla="*/ 307658 w 487679"/>
                <a:gd name="connsiteY9" fmla="*/ 72390 h 641032"/>
                <a:gd name="connsiteX10" fmla="*/ 295275 w 487679"/>
                <a:gd name="connsiteY10" fmla="*/ 46673 h 641032"/>
                <a:gd name="connsiteX11" fmla="*/ 266700 w 487679"/>
                <a:gd name="connsiteY11" fmla="*/ 46673 h 641032"/>
                <a:gd name="connsiteX12" fmla="*/ 237173 w 487679"/>
                <a:gd name="connsiteY12" fmla="*/ 23813 h 641032"/>
                <a:gd name="connsiteX13" fmla="*/ 237173 w 487679"/>
                <a:gd name="connsiteY13" fmla="*/ 7620 h 641032"/>
                <a:gd name="connsiteX14" fmla="*/ 220028 w 487679"/>
                <a:gd name="connsiteY14" fmla="*/ 0 h 641032"/>
                <a:gd name="connsiteX15" fmla="*/ 204788 w 487679"/>
                <a:gd name="connsiteY15" fmla="*/ 15240 h 641032"/>
                <a:gd name="connsiteX16" fmla="*/ 150495 w 487679"/>
                <a:gd name="connsiteY16" fmla="*/ 30480 h 641032"/>
                <a:gd name="connsiteX17" fmla="*/ 140970 w 487679"/>
                <a:gd name="connsiteY17" fmla="*/ 40005 h 641032"/>
                <a:gd name="connsiteX18" fmla="*/ 153353 w 487679"/>
                <a:gd name="connsiteY18" fmla="*/ 58103 h 641032"/>
                <a:gd name="connsiteX19" fmla="*/ 153353 w 487679"/>
                <a:gd name="connsiteY19" fmla="*/ 77153 h 641032"/>
                <a:gd name="connsiteX20" fmla="*/ 123825 w 487679"/>
                <a:gd name="connsiteY20" fmla="*/ 99060 h 641032"/>
                <a:gd name="connsiteX21" fmla="*/ 102870 w 487679"/>
                <a:gd name="connsiteY21" fmla="*/ 99060 h 641032"/>
                <a:gd name="connsiteX22" fmla="*/ 85725 w 487679"/>
                <a:gd name="connsiteY22" fmla="*/ 106680 h 641032"/>
                <a:gd name="connsiteX23" fmla="*/ 77153 w 487679"/>
                <a:gd name="connsiteY23" fmla="*/ 98108 h 641032"/>
                <a:gd name="connsiteX24" fmla="*/ 62865 w 487679"/>
                <a:gd name="connsiteY24" fmla="*/ 106680 h 641032"/>
                <a:gd name="connsiteX25" fmla="*/ 67628 w 487679"/>
                <a:gd name="connsiteY25" fmla="*/ 124778 h 641032"/>
                <a:gd name="connsiteX26" fmla="*/ 67628 w 487679"/>
                <a:gd name="connsiteY26" fmla="*/ 137160 h 641032"/>
                <a:gd name="connsiteX27" fmla="*/ 77153 w 487679"/>
                <a:gd name="connsiteY27" fmla="*/ 146685 h 641032"/>
                <a:gd name="connsiteX28" fmla="*/ 65723 w 487679"/>
                <a:gd name="connsiteY28" fmla="*/ 158115 h 641032"/>
                <a:gd name="connsiteX29" fmla="*/ 48578 w 487679"/>
                <a:gd name="connsiteY29" fmla="*/ 176213 h 641032"/>
                <a:gd name="connsiteX30" fmla="*/ 32385 w 487679"/>
                <a:gd name="connsiteY30" fmla="*/ 176213 h 641032"/>
                <a:gd name="connsiteX31" fmla="*/ 27623 w 487679"/>
                <a:gd name="connsiteY31" fmla="*/ 189548 h 641032"/>
                <a:gd name="connsiteX32" fmla="*/ 17145 w 487679"/>
                <a:gd name="connsiteY32" fmla="*/ 205740 h 641032"/>
                <a:gd name="connsiteX33" fmla="*/ 0 w 487679"/>
                <a:gd name="connsiteY33" fmla="*/ 212408 h 641032"/>
                <a:gd name="connsiteX34" fmla="*/ 6667 w 487679"/>
                <a:gd name="connsiteY34" fmla="*/ 225743 h 641032"/>
                <a:gd name="connsiteX35" fmla="*/ 5715 w 487679"/>
                <a:gd name="connsiteY35" fmla="*/ 261938 h 641032"/>
                <a:gd name="connsiteX36" fmla="*/ 16192 w 487679"/>
                <a:gd name="connsiteY36" fmla="*/ 272415 h 641032"/>
                <a:gd name="connsiteX37" fmla="*/ 8573 w 487679"/>
                <a:gd name="connsiteY37" fmla="*/ 311468 h 641032"/>
                <a:gd name="connsiteX38" fmla="*/ 23813 w 487679"/>
                <a:gd name="connsiteY38" fmla="*/ 321945 h 641032"/>
                <a:gd name="connsiteX39" fmla="*/ 42863 w 487679"/>
                <a:gd name="connsiteY39" fmla="*/ 340043 h 641032"/>
                <a:gd name="connsiteX40" fmla="*/ 55245 w 487679"/>
                <a:gd name="connsiteY40" fmla="*/ 371475 h 641032"/>
                <a:gd name="connsiteX41" fmla="*/ 55245 w 487679"/>
                <a:gd name="connsiteY41" fmla="*/ 401955 h 641032"/>
                <a:gd name="connsiteX42" fmla="*/ 64770 w 487679"/>
                <a:gd name="connsiteY42" fmla="*/ 421958 h 641032"/>
                <a:gd name="connsiteX43" fmla="*/ 56198 w 487679"/>
                <a:gd name="connsiteY43" fmla="*/ 441008 h 641032"/>
                <a:gd name="connsiteX44" fmla="*/ 56198 w 487679"/>
                <a:gd name="connsiteY44" fmla="*/ 468630 h 641032"/>
                <a:gd name="connsiteX45" fmla="*/ 50483 w 487679"/>
                <a:gd name="connsiteY45" fmla="*/ 481965 h 641032"/>
                <a:gd name="connsiteX46" fmla="*/ 67628 w 487679"/>
                <a:gd name="connsiteY46" fmla="*/ 491490 h 641032"/>
                <a:gd name="connsiteX47" fmla="*/ 81915 w 487679"/>
                <a:gd name="connsiteY47" fmla="*/ 476250 h 641032"/>
                <a:gd name="connsiteX48" fmla="*/ 105728 w 487679"/>
                <a:gd name="connsiteY48" fmla="*/ 476250 h 641032"/>
                <a:gd name="connsiteX49" fmla="*/ 114300 w 487679"/>
                <a:gd name="connsiteY49" fmla="*/ 491490 h 641032"/>
                <a:gd name="connsiteX50" fmla="*/ 105728 w 487679"/>
                <a:gd name="connsiteY50" fmla="*/ 513398 h 641032"/>
                <a:gd name="connsiteX51" fmla="*/ 82867 w 487679"/>
                <a:gd name="connsiteY51" fmla="*/ 522923 h 641032"/>
                <a:gd name="connsiteX52" fmla="*/ 87630 w 487679"/>
                <a:gd name="connsiteY52" fmla="*/ 533400 h 641032"/>
                <a:gd name="connsiteX53" fmla="*/ 102870 w 487679"/>
                <a:gd name="connsiteY53" fmla="*/ 537210 h 641032"/>
                <a:gd name="connsiteX54" fmla="*/ 99060 w 487679"/>
                <a:gd name="connsiteY54" fmla="*/ 564833 h 641032"/>
                <a:gd name="connsiteX55" fmla="*/ 89535 w 487679"/>
                <a:gd name="connsiteY55" fmla="*/ 573405 h 641032"/>
                <a:gd name="connsiteX56" fmla="*/ 94298 w 487679"/>
                <a:gd name="connsiteY56" fmla="*/ 595313 h 641032"/>
                <a:gd name="connsiteX57" fmla="*/ 107633 w 487679"/>
                <a:gd name="connsiteY57" fmla="*/ 595313 h 641032"/>
                <a:gd name="connsiteX58" fmla="*/ 110490 w 487679"/>
                <a:gd name="connsiteY58" fmla="*/ 607695 h 641032"/>
                <a:gd name="connsiteX59" fmla="*/ 127635 w 487679"/>
                <a:gd name="connsiteY59" fmla="*/ 624840 h 641032"/>
                <a:gd name="connsiteX60" fmla="*/ 144780 w 487679"/>
                <a:gd name="connsiteY60" fmla="*/ 616268 h 641032"/>
                <a:gd name="connsiteX61" fmla="*/ 157163 w 487679"/>
                <a:gd name="connsiteY61" fmla="*/ 603885 h 641032"/>
                <a:gd name="connsiteX62" fmla="*/ 171450 w 487679"/>
                <a:gd name="connsiteY62" fmla="*/ 611505 h 641032"/>
                <a:gd name="connsiteX63" fmla="*/ 177165 w 487679"/>
                <a:gd name="connsiteY63" fmla="*/ 625793 h 641032"/>
                <a:gd name="connsiteX64" fmla="*/ 192405 w 487679"/>
                <a:gd name="connsiteY64" fmla="*/ 636270 h 641032"/>
                <a:gd name="connsiteX65" fmla="*/ 210503 w 487679"/>
                <a:gd name="connsiteY65" fmla="*/ 641033 h 641032"/>
                <a:gd name="connsiteX66" fmla="*/ 228600 w 487679"/>
                <a:gd name="connsiteY66" fmla="*/ 627698 h 641032"/>
                <a:gd name="connsiteX67" fmla="*/ 240030 w 487679"/>
                <a:gd name="connsiteY67" fmla="*/ 600075 h 641032"/>
                <a:gd name="connsiteX68" fmla="*/ 248603 w 487679"/>
                <a:gd name="connsiteY68" fmla="*/ 584835 h 641032"/>
                <a:gd name="connsiteX69" fmla="*/ 271463 w 487679"/>
                <a:gd name="connsiteY69" fmla="*/ 575310 h 641032"/>
                <a:gd name="connsiteX70" fmla="*/ 275273 w 487679"/>
                <a:gd name="connsiteY70" fmla="*/ 554355 h 641032"/>
                <a:gd name="connsiteX71" fmla="*/ 294323 w 487679"/>
                <a:gd name="connsiteY71" fmla="*/ 519113 h 641032"/>
                <a:gd name="connsiteX72" fmla="*/ 309563 w 487679"/>
                <a:gd name="connsiteY72" fmla="*/ 519113 h 641032"/>
                <a:gd name="connsiteX73" fmla="*/ 309563 w 487679"/>
                <a:gd name="connsiteY73" fmla="*/ 494348 h 641032"/>
                <a:gd name="connsiteX74" fmla="*/ 327660 w 487679"/>
                <a:gd name="connsiteY74" fmla="*/ 469583 h 641032"/>
                <a:gd name="connsiteX75" fmla="*/ 327660 w 487679"/>
                <a:gd name="connsiteY75" fmla="*/ 454343 h 641032"/>
                <a:gd name="connsiteX76" fmla="*/ 357188 w 487679"/>
                <a:gd name="connsiteY76" fmla="*/ 424815 h 641032"/>
                <a:gd name="connsiteX77" fmla="*/ 378142 w 487679"/>
                <a:gd name="connsiteY77" fmla="*/ 417195 h 641032"/>
                <a:gd name="connsiteX78" fmla="*/ 378142 w 487679"/>
                <a:gd name="connsiteY78" fmla="*/ 407670 h 641032"/>
                <a:gd name="connsiteX79" fmla="*/ 401955 w 487679"/>
                <a:gd name="connsiteY79" fmla="*/ 405765 h 641032"/>
                <a:gd name="connsiteX80" fmla="*/ 412433 w 487679"/>
                <a:gd name="connsiteY80" fmla="*/ 419100 h 641032"/>
                <a:gd name="connsiteX81" fmla="*/ 428625 w 487679"/>
                <a:gd name="connsiteY81" fmla="*/ 419100 h 641032"/>
                <a:gd name="connsiteX82" fmla="*/ 428625 w 487679"/>
                <a:gd name="connsiteY82" fmla="*/ 391478 h 641032"/>
                <a:gd name="connsiteX83" fmla="*/ 419100 w 487679"/>
                <a:gd name="connsiteY83" fmla="*/ 360998 h 641032"/>
                <a:gd name="connsiteX84" fmla="*/ 383858 w 487679"/>
                <a:gd name="connsiteY84" fmla="*/ 350520 h 641032"/>
                <a:gd name="connsiteX85" fmla="*/ 369570 w 487679"/>
                <a:gd name="connsiteY85" fmla="*/ 360045 h 641032"/>
                <a:gd name="connsiteX86" fmla="*/ 334328 w 487679"/>
                <a:gd name="connsiteY86" fmla="*/ 356235 h 641032"/>
                <a:gd name="connsiteX87" fmla="*/ 316230 w 487679"/>
                <a:gd name="connsiteY87" fmla="*/ 327660 h 641032"/>
                <a:gd name="connsiteX88" fmla="*/ 312420 w 487679"/>
                <a:gd name="connsiteY88" fmla="*/ 290513 h 641032"/>
                <a:gd name="connsiteX89" fmla="*/ 298133 w 487679"/>
                <a:gd name="connsiteY89" fmla="*/ 276225 h 641032"/>
                <a:gd name="connsiteX90" fmla="*/ 292417 w 487679"/>
                <a:gd name="connsiteY90" fmla="*/ 249555 h 641032"/>
                <a:gd name="connsiteX91" fmla="*/ 323850 w 487679"/>
                <a:gd name="connsiteY91" fmla="*/ 226695 h 641032"/>
                <a:gd name="connsiteX92" fmla="*/ 344805 w 487679"/>
                <a:gd name="connsiteY92" fmla="*/ 232410 h 641032"/>
                <a:gd name="connsiteX93" fmla="*/ 367665 w 487679"/>
                <a:gd name="connsiteY93" fmla="*/ 243840 h 641032"/>
                <a:gd name="connsiteX94" fmla="*/ 383858 w 487679"/>
                <a:gd name="connsiteY94" fmla="*/ 260033 h 641032"/>
                <a:gd name="connsiteX95" fmla="*/ 383858 w 487679"/>
                <a:gd name="connsiteY95" fmla="*/ 279083 h 641032"/>
                <a:gd name="connsiteX96" fmla="*/ 413385 w 487679"/>
                <a:gd name="connsiteY96" fmla="*/ 290513 h 641032"/>
                <a:gd name="connsiteX97" fmla="*/ 431483 w 487679"/>
                <a:gd name="connsiteY97" fmla="*/ 271463 h 641032"/>
                <a:gd name="connsiteX98" fmla="*/ 463867 w 487679"/>
                <a:gd name="connsiteY98" fmla="*/ 263843 h 641032"/>
                <a:gd name="connsiteX99" fmla="*/ 463867 w 487679"/>
                <a:gd name="connsiteY99" fmla="*/ 246698 h 641032"/>
                <a:gd name="connsiteX100" fmla="*/ 481013 w 487679"/>
                <a:gd name="connsiteY100" fmla="*/ 215265 h 641032"/>
                <a:gd name="connsiteX101" fmla="*/ 487680 w 487679"/>
                <a:gd name="connsiteY101" fmla="*/ 193358 h 641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487679" h="641032">
                  <a:moveTo>
                    <a:pt x="481965" y="169545"/>
                  </a:moveTo>
                  <a:lnTo>
                    <a:pt x="463867" y="187643"/>
                  </a:lnTo>
                  <a:lnTo>
                    <a:pt x="446723" y="163830"/>
                  </a:lnTo>
                  <a:lnTo>
                    <a:pt x="426720" y="163830"/>
                  </a:lnTo>
                  <a:lnTo>
                    <a:pt x="394335" y="140018"/>
                  </a:lnTo>
                  <a:lnTo>
                    <a:pt x="376238" y="114300"/>
                  </a:lnTo>
                  <a:lnTo>
                    <a:pt x="360045" y="121920"/>
                  </a:lnTo>
                  <a:lnTo>
                    <a:pt x="341948" y="115253"/>
                  </a:lnTo>
                  <a:lnTo>
                    <a:pt x="330517" y="77153"/>
                  </a:lnTo>
                  <a:lnTo>
                    <a:pt x="307658" y="72390"/>
                  </a:lnTo>
                  <a:lnTo>
                    <a:pt x="295275" y="46673"/>
                  </a:lnTo>
                  <a:lnTo>
                    <a:pt x="266700" y="46673"/>
                  </a:lnTo>
                  <a:lnTo>
                    <a:pt x="237173" y="23813"/>
                  </a:lnTo>
                  <a:lnTo>
                    <a:pt x="237173" y="7620"/>
                  </a:lnTo>
                  <a:lnTo>
                    <a:pt x="220028" y="0"/>
                  </a:lnTo>
                  <a:lnTo>
                    <a:pt x="204788" y="15240"/>
                  </a:lnTo>
                  <a:lnTo>
                    <a:pt x="150495" y="30480"/>
                  </a:lnTo>
                  <a:lnTo>
                    <a:pt x="140970" y="40005"/>
                  </a:lnTo>
                  <a:lnTo>
                    <a:pt x="153353" y="58103"/>
                  </a:lnTo>
                  <a:lnTo>
                    <a:pt x="153353" y="77153"/>
                  </a:lnTo>
                  <a:lnTo>
                    <a:pt x="123825" y="99060"/>
                  </a:lnTo>
                  <a:lnTo>
                    <a:pt x="102870" y="99060"/>
                  </a:lnTo>
                  <a:lnTo>
                    <a:pt x="85725" y="106680"/>
                  </a:lnTo>
                  <a:lnTo>
                    <a:pt x="77153" y="98108"/>
                  </a:lnTo>
                  <a:lnTo>
                    <a:pt x="62865" y="106680"/>
                  </a:lnTo>
                  <a:lnTo>
                    <a:pt x="67628" y="124778"/>
                  </a:lnTo>
                  <a:lnTo>
                    <a:pt x="67628" y="137160"/>
                  </a:lnTo>
                  <a:lnTo>
                    <a:pt x="77153" y="146685"/>
                  </a:lnTo>
                  <a:lnTo>
                    <a:pt x="65723" y="158115"/>
                  </a:lnTo>
                  <a:lnTo>
                    <a:pt x="48578" y="176213"/>
                  </a:lnTo>
                  <a:lnTo>
                    <a:pt x="32385" y="176213"/>
                  </a:lnTo>
                  <a:lnTo>
                    <a:pt x="27623" y="189548"/>
                  </a:lnTo>
                  <a:lnTo>
                    <a:pt x="17145" y="205740"/>
                  </a:lnTo>
                  <a:lnTo>
                    <a:pt x="0" y="212408"/>
                  </a:lnTo>
                  <a:lnTo>
                    <a:pt x="6667" y="225743"/>
                  </a:lnTo>
                  <a:lnTo>
                    <a:pt x="5715" y="261938"/>
                  </a:lnTo>
                  <a:lnTo>
                    <a:pt x="16192" y="272415"/>
                  </a:lnTo>
                  <a:lnTo>
                    <a:pt x="8573" y="311468"/>
                  </a:lnTo>
                  <a:lnTo>
                    <a:pt x="23813" y="321945"/>
                  </a:lnTo>
                  <a:lnTo>
                    <a:pt x="42863" y="340043"/>
                  </a:lnTo>
                  <a:lnTo>
                    <a:pt x="55245" y="371475"/>
                  </a:lnTo>
                  <a:lnTo>
                    <a:pt x="55245" y="401955"/>
                  </a:lnTo>
                  <a:lnTo>
                    <a:pt x="64770" y="421958"/>
                  </a:lnTo>
                  <a:lnTo>
                    <a:pt x="56198" y="441008"/>
                  </a:lnTo>
                  <a:lnTo>
                    <a:pt x="56198" y="468630"/>
                  </a:lnTo>
                  <a:lnTo>
                    <a:pt x="50483" y="481965"/>
                  </a:lnTo>
                  <a:lnTo>
                    <a:pt x="67628" y="491490"/>
                  </a:lnTo>
                  <a:lnTo>
                    <a:pt x="81915" y="476250"/>
                  </a:lnTo>
                  <a:lnTo>
                    <a:pt x="105728" y="476250"/>
                  </a:lnTo>
                  <a:lnTo>
                    <a:pt x="114300" y="491490"/>
                  </a:lnTo>
                  <a:lnTo>
                    <a:pt x="105728" y="513398"/>
                  </a:lnTo>
                  <a:lnTo>
                    <a:pt x="82867" y="522923"/>
                  </a:lnTo>
                  <a:lnTo>
                    <a:pt x="87630" y="533400"/>
                  </a:lnTo>
                  <a:lnTo>
                    <a:pt x="102870" y="537210"/>
                  </a:lnTo>
                  <a:lnTo>
                    <a:pt x="99060" y="564833"/>
                  </a:lnTo>
                  <a:lnTo>
                    <a:pt x="89535" y="573405"/>
                  </a:lnTo>
                  <a:lnTo>
                    <a:pt x="94298" y="595313"/>
                  </a:lnTo>
                  <a:lnTo>
                    <a:pt x="107633" y="595313"/>
                  </a:lnTo>
                  <a:lnTo>
                    <a:pt x="110490" y="607695"/>
                  </a:lnTo>
                  <a:lnTo>
                    <a:pt x="127635" y="624840"/>
                  </a:lnTo>
                  <a:lnTo>
                    <a:pt x="144780" y="616268"/>
                  </a:lnTo>
                  <a:lnTo>
                    <a:pt x="157163" y="603885"/>
                  </a:lnTo>
                  <a:lnTo>
                    <a:pt x="171450" y="611505"/>
                  </a:lnTo>
                  <a:lnTo>
                    <a:pt x="177165" y="625793"/>
                  </a:lnTo>
                  <a:lnTo>
                    <a:pt x="192405" y="636270"/>
                  </a:lnTo>
                  <a:lnTo>
                    <a:pt x="210503" y="641033"/>
                  </a:lnTo>
                  <a:lnTo>
                    <a:pt x="228600" y="627698"/>
                  </a:lnTo>
                  <a:lnTo>
                    <a:pt x="240030" y="600075"/>
                  </a:lnTo>
                  <a:lnTo>
                    <a:pt x="248603" y="584835"/>
                  </a:lnTo>
                  <a:lnTo>
                    <a:pt x="271463" y="575310"/>
                  </a:lnTo>
                  <a:lnTo>
                    <a:pt x="275273" y="554355"/>
                  </a:lnTo>
                  <a:lnTo>
                    <a:pt x="294323" y="519113"/>
                  </a:lnTo>
                  <a:lnTo>
                    <a:pt x="309563" y="519113"/>
                  </a:lnTo>
                  <a:lnTo>
                    <a:pt x="309563" y="494348"/>
                  </a:lnTo>
                  <a:lnTo>
                    <a:pt x="327660" y="469583"/>
                  </a:lnTo>
                  <a:lnTo>
                    <a:pt x="327660" y="454343"/>
                  </a:lnTo>
                  <a:lnTo>
                    <a:pt x="357188" y="424815"/>
                  </a:lnTo>
                  <a:lnTo>
                    <a:pt x="378142" y="417195"/>
                  </a:lnTo>
                  <a:lnTo>
                    <a:pt x="378142" y="407670"/>
                  </a:lnTo>
                  <a:lnTo>
                    <a:pt x="401955" y="405765"/>
                  </a:lnTo>
                  <a:lnTo>
                    <a:pt x="412433" y="419100"/>
                  </a:lnTo>
                  <a:lnTo>
                    <a:pt x="428625" y="419100"/>
                  </a:lnTo>
                  <a:lnTo>
                    <a:pt x="428625" y="391478"/>
                  </a:lnTo>
                  <a:lnTo>
                    <a:pt x="419100" y="360998"/>
                  </a:lnTo>
                  <a:lnTo>
                    <a:pt x="383858" y="350520"/>
                  </a:lnTo>
                  <a:lnTo>
                    <a:pt x="369570" y="360045"/>
                  </a:lnTo>
                  <a:lnTo>
                    <a:pt x="334328" y="356235"/>
                  </a:lnTo>
                  <a:lnTo>
                    <a:pt x="316230" y="327660"/>
                  </a:lnTo>
                  <a:lnTo>
                    <a:pt x="312420" y="290513"/>
                  </a:lnTo>
                  <a:lnTo>
                    <a:pt x="298133" y="276225"/>
                  </a:lnTo>
                  <a:lnTo>
                    <a:pt x="292417" y="249555"/>
                  </a:lnTo>
                  <a:lnTo>
                    <a:pt x="323850" y="226695"/>
                  </a:lnTo>
                  <a:lnTo>
                    <a:pt x="344805" y="232410"/>
                  </a:lnTo>
                  <a:lnTo>
                    <a:pt x="367665" y="243840"/>
                  </a:lnTo>
                  <a:lnTo>
                    <a:pt x="383858" y="260033"/>
                  </a:lnTo>
                  <a:lnTo>
                    <a:pt x="383858" y="279083"/>
                  </a:lnTo>
                  <a:lnTo>
                    <a:pt x="413385" y="290513"/>
                  </a:lnTo>
                  <a:lnTo>
                    <a:pt x="431483" y="271463"/>
                  </a:lnTo>
                  <a:lnTo>
                    <a:pt x="463867" y="263843"/>
                  </a:lnTo>
                  <a:lnTo>
                    <a:pt x="463867" y="246698"/>
                  </a:lnTo>
                  <a:lnTo>
                    <a:pt x="481013" y="215265"/>
                  </a:lnTo>
                  <a:lnTo>
                    <a:pt x="487680" y="193358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6" name="Полилиния: фигура 86">
              <a:extLst>
                <a:ext uri="{FF2B5EF4-FFF2-40B4-BE49-F238E27FC236}">
                  <a16:creationId xmlns:a16="http://schemas.microsoft.com/office/drawing/2014/main" id="{D235A3CC-9D1B-435D-95D7-94978797DF2A}"/>
                </a:ext>
              </a:extLst>
            </p:cNvPr>
            <p:cNvSpPr/>
            <p:nvPr/>
          </p:nvSpPr>
          <p:spPr>
            <a:xfrm>
              <a:off x="3960959" y="4491882"/>
              <a:ext cx="470443" cy="331243"/>
            </a:xfrm>
            <a:custGeom>
              <a:avLst/>
              <a:gdLst>
                <a:gd name="connsiteX0" fmla="*/ 89535 w 729614"/>
                <a:gd name="connsiteY0" fmla="*/ 320993 h 590550"/>
                <a:gd name="connsiteX1" fmla="*/ 89535 w 729614"/>
                <a:gd name="connsiteY1" fmla="*/ 293370 h 590550"/>
                <a:gd name="connsiteX2" fmla="*/ 97155 w 729614"/>
                <a:gd name="connsiteY2" fmla="*/ 269558 h 590550"/>
                <a:gd name="connsiteX3" fmla="*/ 76200 w 729614"/>
                <a:gd name="connsiteY3" fmla="*/ 262890 h 590550"/>
                <a:gd name="connsiteX4" fmla="*/ 54292 w 729614"/>
                <a:gd name="connsiteY4" fmla="*/ 267653 h 590550"/>
                <a:gd name="connsiteX5" fmla="*/ 24765 w 729614"/>
                <a:gd name="connsiteY5" fmla="*/ 253365 h 590550"/>
                <a:gd name="connsiteX6" fmla="*/ 34290 w 729614"/>
                <a:gd name="connsiteY6" fmla="*/ 243840 h 590550"/>
                <a:gd name="connsiteX7" fmla="*/ 38100 w 729614"/>
                <a:gd name="connsiteY7" fmla="*/ 222885 h 590550"/>
                <a:gd name="connsiteX8" fmla="*/ 20002 w 729614"/>
                <a:gd name="connsiteY8" fmla="*/ 193358 h 590550"/>
                <a:gd name="connsiteX9" fmla="*/ 0 w 729614"/>
                <a:gd name="connsiteY9" fmla="*/ 185738 h 590550"/>
                <a:gd name="connsiteX10" fmla="*/ 15240 w 729614"/>
                <a:gd name="connsiteY10" fmla="*/ 156210 h 590550"/>
                <a:gd name="connsiteX11" fmla="*/ 29527 w 729614"/>
                <a:gd name="connsiteY11" fmla="*/ 140970 h 590550"/>
                <a:gd name="connsiteX12" fmla="*/ 57150 w 729614"/>
                <a:gd name="connsiteY12" fmla="*/ 144780 h 590550"/>
                <a:gd name="connsiteX13" fmla="*/ 65722 w 729614"/>
                <a:gd name="connsiteY13" fmla="*/ 132397 h 590550"/>
                <a:gd name="connsiteX14" fmla="*/ 83820 w 729614"/>
                <a:gd name="connsiteY14" fmla="*/ 127635 h 590550"/>
                <a:gd name="connsiteX15" fmla="*/ 101917 w 729614"/>
                <a:gd name="connsiteY15" fmla="*/ 103822 h 590550"/>
                <a:gd name="connsiteX16" fmla="*/ 109538 w 729614"/>
                <a:gd name="connsiteY16" fmla="*/ 84772 h 590550"/>
                <a:gd name="connsiteX17" fmla="*/ 122872 w 729614"/>
                <a:gd name="connsiteY17" fmla="*/ 60960 h 590550"/>
                <a:gd name="connsiteX18" fmla="*/ 154305 w 729614"/>
                <a:gd name="connsiteY18" fmla="*/ 43815 h 590550"/>
                <a:gd name="connsiteX19" fmla="*/ 175260 w 729614"/>
                <a:gd name="connsiteY19" fmla="*/ 13335 h 590550"/>
                <a:gd name="connsiteX20" fmla="*/ 190500 w 729614"/>
                <a:gd name="connsiteY20" fmla="*/ 21908 h 590550"/>
                <a:gd name="connsiteX21" fmla="*/ 217170 w 729614"/>
                <a:gd name="connsiteY21" fmla="*/ 7620 h 590550"/>
                <a:gd name="connsiteX22" fmla="*/ 240030 w 729614"/>
                <a:gd name="connsiteY22" fmla="*/ 0 h 590550"/>
                <a:gd name="connsiteX23" fmla="*/ 263842 w 729614"/>
                <a:gd name="connsiteY23" fmla="*/ 3810 h 590550"/>
                <a:gd name="connsiteX24" fmla="*/ 283845 w 729614"/>
                <a:gd name="connsiteY24" fmla="*/ 13335 h 590550"/>
                <a:gd name="connsiteX25" fmla="*/ 307658 w 729614"/>
                <a:gd name="connsiteY25" fmla="*/ 8572 h 590550"/>
                <a:gd name="connsiteX26" fmla="*/ 325755 w 729614"/>
                <a:gd name="connsiteY26" fmla="*/ 19050 h 590550"/>
                <a:gd name="connsiteX27" fmla="*/ 326708 w 729614"/>
                <a:gd name="connsiteY27" fmla="*/ 32385 h 590550"/>
                <a:gd name="connsiteX28" fmla="*/ 346710 w 729614"/>
                <a:gd name="connsiteY28" fmla="*/ 54293 h 590550"/>
                <a:gd name="connsiteX29" fmla="*/ 325755 w 729614"/>
                <a:gd name="connsiteY29" fmla="*/ 97155 h 590550"/>
                <a:gd name="connsiteX30" fmla="*/ 328613 w 729614"/>
                <a:gd name="connsiteY30" fmla="*/ 110490 h 590550"/>
                <a:gd name="connsiteX31" fmla="*/ 317183 w 729614"/>
                <a:gd name="connsiteY31" fmla="*/ 120968 h 590550"/>
                <a:gd name="connsiteX32" fmla="*/ 324802 w 729614"/>
                <a:gd name="connsiteY32" fmla="*/ 160972 h 590550"/>
                <a:gd name="connsiteX33" fmla="*/ 340995 w 729614"/>
                <a:gd name="connsiteY33" fmla="*/ 170497 h 590550"/>
                <a:gd name="connsiteX34" fmla="*/ 340995 w 729614"/>
                <a:gd name="connsiteY34" fmla="*/ 187643 h 590550"/>
                <a:gd name="connsiteX35" fmla="*/ 362902 w 729614"/>
                <a:gd name="connsiteY35" fmla="*/ 199072 h 590550"/>
                <a:gd name="connsiteX36" fmla="*/ 368617 w 729614"/>
                <a:gd name="connsiteY36" fmla="*/ 213360 h 590550"/>
                <a:gd name="connsiteX37" fmla="*/ 378142 w 729614"/>
                <a:gd name="connsiteY37" fmla="*/ 219075 h 590550"/>
                <a:gd name="connsiteX38" fmla="*/ 390525 w 729614"/>
                <a:gd name="connsiteY38" fmla="*/ 232410 h 590550"/>
                <a:gd name="connsiteX39" fmla="*/ 405765 w 729614"/>
                <a:gd name="connsiteY39" fmla="*/ 232410 h 590550"/>
                <a:gd name="connsiteX40" fmla="*/ 417195 w 729614"/>
                <a:gd name="connsiteY40" fmla="*/ 243840 h 590550"/>
                <a:gd name="connsiteX41" fmla="*/ 421958 w 729614"/>
                <a:gd name="connsiteY41" fmla="*/ 260033 h 590550"/>
                <a:gd name="connsiteX42" fmla="*/ 450533 w 729614"/>
                <a:gd name="connsiteY42" fmla="*/ 260985 h 590550"/>
                <a:gd name="connsiteX43" fmla="*/ 471488 w 729614"/>
                <a:gd name="connsiteY43" fmla="*/ 266700 h 590550"/>
                <a:gd name="connsiteX44" fmla="*/ 481013 w 729614"/>
                <a:gd name="connsiteY44" fmla="*/ 276225 h 590550"/>
                <a:gd name="connsiteX45" fmla="*/ 499110 w 729614"/>
                <a:gd name="connsiteY45" fmla="*/ 280988 h 590550"/>
                <a:gd name="connsiteX46" fmla="*/ 506730 w 729614"/>
                <a:gd name="connsiteY46" fmla="*/ 299085 h 590550"/>
                <a:gd name="connsiteX47" fmla="*/ 522922 w 729614"/>
                <a:gd name="connsiteY47" fmla="*/ 315278 h 590550"/>
                <a:gd name="connsiteX48" fmla="*/ 533400 w 729614"/>
                <a:gd name="connsiteY48" fmla="*/ 323850 h 590550"/>
                <a:gd name="connsiteX49" fmla="*/ 533400 w 729614"/>
                <a:gd name="connsiteY49" fmla="*/ 338138 h 590550"/>
                <a:gd name="connsiteX50" fmla="*/ 545783 w 729614"/>
                <a:gd name="connsiteY50" fmla="*/ 341947 h 590550"/>
                <a:gd name="connsiteX51" fmla="*/ 569595 w 729614"/>
                <a:gd name="connsiteY51" fmla="*/ 341947 h 590550"/>
                <a:gd name="connsiteX52" fmla="*/ 569595 w 729614"/>
                <a:gd name="connsiteY52" fmla="*/ 332422 h 590550"/>
                <a:gd name="connsiteX53" fmla="*/ 581025 w 729614"/>
                <a:gd name="connsiteY53" fmla="*/ 336233 h 590550"/>
                <a:gd name="connsiteX54" fmla="*/ 596265 w 729614"/>
                <a:gd name="connsiteY54" fmla="*/ 336233 h 590550"/>
                <a:gd name="connsiteX55" fmla="*/ 596265 w 729614"/>
                <a:gd name="connsiteY55" fmla="*/ 354330 h 590550"/>
                <a:gd name="connsiteX56" fmla="*/ 605790 w 729614"/>
                <a:gd name="connsiteY56" fmla="*/ 364808 h 590550"/>
                <a:gd name="connsiteX57" fmla="*/ 614363 w 729614"/>
                <a:gd name="connsiteY57" fmla="*/ 364808 h 590550"/>
                <a:gd name="connsiteX58" fmla="*/ 614363 w 729614"/>
                <a:gd name="connsiteY58" fmla="*/ 376238 h 590550"/>
                <a:gd name="connsiteX59" fmla="*/ 631508 w 729614"/>
                <a:gd name="connsiteY59" fmla="*/ 383858 h 590550"/>
                <a:gd name="connsiteX60" fmla="*/ 641985 w 729614"/>
                <a:gd name="connsiteY60" fmla="*/ 395288 h 590550"/>
                <a:gd name="connsiteX61" fmla="*/ 656272 w 729614"/>
                <a:gd name="connsiteY61" fmla="*/ 380047 h 590550"/>
                <a:gd name="connsiteX62" fmla="*/ 661035 w 729614"/>
                <a:gd name="connsiteY62" fmla="*/ 367665 h 590550"/>
                <a:gd name="connsiteX63" fmla="*/ 676275 w 729614"/>
                <a:gd name="connsiteY63" fmla="*/ 374333 h 590550"/>
                <a:gd name="connsiteX64" fmla="*/ 686752 w 729614"/>
                <a:gd name="connsiteY64" fmla="*/ 392430 h 590550"/>
                <a:gd name="connsiteX65" fmla="*/ 675322 w 729614"/>
                <a:gd name="connsiteY65" fmla="*/ 404813 h 590550"/>
                <a:gd name="connsiteX66" fmla="*/ 691515 w 729614"/>
                <a:gd name="connsiteY66" fmla="*/ 414338 h 590550"/>
                <a:gd name="connsiteX67" fmla="*/ 691515 w 729614"/>
                <a:gd name="connsiteY67" fmla="*/ 421958 h 590550"/>
                <a:gd name="connsiteX68" fmla="*/ 702945 w 729614"/>
                <a:gd name="connsiteY68" fmla="*/ 421958 h 590550"/>
                <a:gd name="connsiteX69" fmla="*/ 719138 w 729614"/>
                <a:gd name="connsiteY69" fmla="*/ 428625 h 590550"/>
                <a:gd name="connsiteX70" fmla="*/ 711518 w 729614"/>
                <a:gd name="connsiteY70" fmla="*/ 435293 h 590550"/>
                <a:gd name="connsiteX71" fmla="*/ 729615 w 729614"/>
                <a:gd name="connsiteY71" fmla="*/ 458153 h 590550"/>
                <a:gd name="connsiteX72" fmla="*/ 698183 w 729614"/>
                <a:gd name="connsiteY72" fmla="*/ 488633 h 590550"/>
                <a:gd name="connsiteX73" fmla="*/ 679133 w 729614"/>
                <a:gd name="connsiteY73" fmla="*/ 508635 h 590550"/>
                <a:gd name="connsiteX74" fmla="*/ 652463 w 729614"/>
                <a:gd name="connsiteY74" fmla="*/ 496253 h 590550"/>
                <a:gd name="connsiteX75" fmla="*/ 638175 w 729614"/>
                <a:gd name="connsiteY75" fmla="*/ 509588 h 590550"/>
                <a:gd name="connsiteX76" fmla="*/ 668655 w 729614"/>
                <a:gd name="connsiteY76" fmla="*/ 541972 h 590550"/>
                <a:gd name="connsiteX77" fmla="*/ 648652 w 729614"/>
                <a:gd name="connsiteY77" fmla="*/ 552450 h 590550"/>
                <a:gd name="connsiteX78" fmla="*/ 648652 w 729614"/>
                <a:gd name="connsiteY78" fmla="*/ 578168 h 590550"/>
                <a:gd name="connsiteX79" fmla="*/ 640080 w 729614"/>
                <a:gd name="connsiteY79" fmla="*/ 587693 h 590550"/>
                <a:gd name="connsiteX80" fmla="*/ 606743 w 729614"/>
                <a:gd name="connsiteY80" fmla="*/ 558165 h 590550"/>
                <a:gd name="connsiteX81" fmla="*/ 589597 w 729614"/>
                <a:gd name="connsiteY81" fmla="*/ 585788 h 590550"/>
                <a:gd name="connsiteX82" fmla="*/ 558165 w 729614"/>
                <a:gd name="connsiteY82" fmla="*/ 578168 h 590550"/>
                <a:gd name="connsiteX83" fmla="*/ 545783 w 729614"/>
                <a:gd name="connsiteY83" fmla="*/ 590550 h 590550"/>
                <a:gd name="connsiteX84" fmla="*/ 526733 w 729614"/>
                <a:gd name="connsiteY84" fmla="*/ 562928 h 590550"/>
                <a:gd name="connsiteX85" fmla="*/ 498158 w 729614"/>
                <a:gd name="connsiteY85" fmla="*/ 546735 h 590550"/>
                <a:gd name="connsiteX86" fmla="*/ 474345 w 729614"/>
                <a:gd name="connsiteY86" fmla="*/ 536258 h 590550"/>
                <a:gd name="connsiteX87" fmla="*/ 464820 w 729614"/>
                <a:gd name="connsiteY87" fmla="*/ 508635 h 590550"/>
                <a:gd name="connsiteX88" fmla="*/ 436245 w 729614"/>
                <a:gd name="connsiteY88" fmla="*/ 481013 h 590550"/>
                <a:gd name="connsiteX89" fmla="*/ 400050 w 729614"/>
                <a:gd name="connsiteY89" fmla="*/ 474345 h 590550"/>
                <a:gd name="connsiteX90" fmla="*/ 381952 w 729614"/>
                <a:gd name="connsiteY90" fmla="*/ 434340 h 590550"/>
                <a:gd name="connsiteX91" fmla="*/ 353377 w 729614"/>
                <a:gd name="connsiteY91" fmla="*/ 447675 h 590550"/>
                <a:gd name="connsiteX92" fmla="*/ 321945 w 729614"/>
                <a:gd name="connsiteY92" fmla="*/ 434340 h 590550"/>
                <a:gd name="connsiteX93" fmla="*/ 287655 w 729614"/>
                <a:gd name="connsiteY93" fmla="*/ 442913 h 590550"/>
                <a:gd name="connsiteX94" fmla="*/ 256222 w 729614"/>
                <a:gd name="connsiteY94" fmla="*/ 456247 h 590550"/>
                <a:gd name="connsiteX95" fmla="*/ 222885 w 729614"/>
                <a:gd name="connsiteY95" fmla="*/ 422910 h 590550"/>
                <a:gd name="connsiteX96" fmla="*/ 222885 w 729614"/>
                <a:gd name="connsiteY96" fmla="*/ 393383 h 590550"/>
                <a:gd name="connsiteX97" fmla="*/ 222885 w 729614"/>
                <a:gd name="connsiteY97" fmla="*/ 367665 h 590550"/>
                <a:gd name="connsiteX98" fmla="*/ 196215 w 729614"/>
                <a:gd name="connsiteY98" fmla="*/ 340995 h 590550"/>
                <a:gd name="connsiteX99" fmla="*/ 182880 w 729614"/>
                <a:gd name="connsiteY99" fmla="*/ 354330 h 590550"/>
                <a:gd name="connsiteX100" fmla="*/ 147638 w 729614"/>
                <a:gd name="connsiteY100" fmla="*/ 330518 h 590550"/>
                <a:gd name="connsiteX101" fmla="*/ 132397 w 729614"/>
                <a:gd name="connsiteY101" fmla="*/ 315278 h 590550"/>
                <a:gd name="connsiteX102" fmla="*/ 106680 w 729614"/>
                <a:gd name="connsiteY102" fmla="*/ 318135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729614" h="590550">
                  <a:moveTo>
                    <a:pt x="89535" y="320993"/>
                  </a:moveTo>
                  <a:lnTo>
                    <a:pt x="89535" y="293370"/>
                  </a:lnTo>
                  <a:lnTo>
                    <a:pt x="97155" y="269558"/>
                  </a:lnTo>
                  <a:lnTo>
                    <a:pt x="76200" y="262890"/>
                  </a:lnTo>
                  <a:lnTo>
                    <a:pt x="54292" y="267653"/>
                  </a:lnTo>
                  <a:lnTo>
                    <a:pt x="24765" y="253365"/>
                  </a:lnTo>
                  <a:lnTo>
                    <a:pt x="34290" y="243840"/>
                  </a:lnTo>
                  <a:lnTo>
                    <a:pt x="38100" y="222885"/>
                  </a:lnTo>
                  <a:lnTo>
                    <a:pt x="20002" y="193358"/>
                  </a:lnTo>
                  <a:lnTo>
                    <a:pt x="0" y="185738"/>
                  </a:lnTo>
                  <a:lnTo>
                    <a:pt x="15240" y="156210"/>
                  </a:lnTo>
                  <a:lnTo>
                    <a:pt x="29527" y="140970"/>
                  </a:lnTo>
                  <a:lnTo>
                    <a:pt x="57150" y="144780"/>
                  </a:lnTo>
                  <a:lnTo>
                    <a:pt x="65722" y="132397"/>
                  </a:lnTo>
                  <a:lnTo>
                    <a:pt x="83820" y="127635"/>
                  </a:lnTo>
                  <a:lnTo>
                    <a:pt x="101917" y="103822"/>
                  </a:lnTo>
                  <a:lnTo>
                    <a:pt x="109538" y="84772"/>
                  </a:lnTo>
                  <a:lnTo>
                    <a:pt x="122872" y="60960"/>
                  </a:lnTo>
                  <a:lnTo>
                    <a:pt x="154305" y="43815"/>
                  </a:lnTo>
                  <a:lnTo>
                    <a:pt x="175260" y="13335"/>
                  </a:lnTo>
                  <a:lnTo>
                    <a:pt x="190500" y="21908"/>
                  </a:lnTo>
                  <a:lnTo>
                    <a:pt x="217170" y="7620"/>
                  </a:lnTo>
                  <a:lnTo>
                    <a:pt x="240030" y="0"/>
                  </a:lnTo>
                  <a:lnTo>
                    <a:pt x="263842" y="3810"/>
                  </a:lnTo>
                  <a:lnTo>
                    <a:pt x="283845" y="13335"/>
                  </a:lnTo>
                  <a:lnTo>
                    <a:pt x="307658" y="8572"/>
                  </a:lnTo>
                  <a:lnTo>
                    <a:pt x="325755" y="19050"/>
                  </a:lnTo>
                  <a:lnTo>
                    <a:pt x="326708" y="32385"/>
                  </a:lnTo>
                  <a:lnTo>
                    <a:pt x="346710" y="54293"/>
                  </a:lnTo>
                  <a:lnTo>
                    <a:pt x="325755" y="97155"/>
                  </a:lnTo>
                  <a:lnTo>
                    <a:pt x="328613" y="110490"/>
                  </a:lnTo>
                  <a:lnTo>
                    <a:pt x="317183" y="120968"/>
                  </a:lnTo>
                  <a:lnTo>
                    <a:pt x="324802" y="160972"/>
                  </a:lnTo>
                  <a:lnTo>
                    <a:pt x="340995" y="170497"/>
                  </a:lnTo>
                  <a:lnTo>
                    <a:pt x="340995" y="187643"/>
                  </a:lnTo>
                  <a:lnTo>
                    <a:pt x="362902" y="199072"/>
                  </a:lnTo>
                  <a:lnTo>
                    <a:pt x="368617" y="213360"/>
                  </a:lnTo>
                  <a:lnTo>
                    <a:pt x="378142" y="219075"/>
                  </a:lnTo>
                  <a:lnTo>
                    <a:pt x="390525" y="232410"/>
                  </a:lnTo>
                  <a:lnTo>
                    <a:pt x="405765" y="232410"/>
                  </a:lnTo>
                  <a:lnTo>
                    <a:pt x="417195" y="243840"/>
                  </a:lnTo>
                  <a:lnTo>
                    <a:pt x="421958" y="260033"/>
                  </a:lnTo>
                  <a:lnTo>
                    <a:pt x="450533" y="260985"/>
                  </a:lnTo>
                  <a:lnTo>
                    <a:pt x="471488" y="266700"/>
                  </a:lnTo>
                  <a:lnTo>
                    <a:pt x="481013" y="276225"/>
                  </a:lnTo>
                  <a:lnTo>
                    <a:pt x="499110" y="280988"/>
                  </a:lnTo>
                  <a:lnTo>
                    <a:pt x="506730" y="299085"/>
                  </a:lnTo>
                  <a:lnTo>
                    <a:pt x="522922" y="315278"/>
                  </a:lnTo>
                  <a:lnTo>
                    <a:pt x="533400" y="323850"/>
                  </a:lnTo>
                  <a:lnTo>
                    <a:pt x="533400" y="338138"/>
                  </a:lnTo>
                  <a:lnTo>
                    <a:pt x="545783" y="341947"/>
                  </a:lnTo>
                  <a:lnTo>
                    <a:pt x="569595" y="341947"/>
                  </a:lnTo>
                  <a:lnTo>
                    <a:pt x="569595" y="332422"/>
                  </a:lnTo>
                  <a:lnTo>
                    <a:pt x="581025" y="336233"/>
                  </a:lnTo>
                  <a:lnTo>
                    <a:pt x="596265" y="336233"/>
                  </a:lnTo>
                  <a:lnTo>
                    <a:pt x="596265" y="354330"/>
                  </a:lnTo>
                  <a:lnTo>
                    <a:pt x="605790" y="364808"/>
                  </a:lnTo>
                  <a:lnTo>
                    <a:pt x="614363" y="364808"/>
                  </a:lnTo>
                  <a:lnTo>
                    <a:pt x="614363" y="376238"/>
                  </a:lnTo>
                  <a:lnTo>
                    <a:pt x="631508" y="383858"/>
                  </a:lnTo>
                  <a:lnTo>
                    <a:pt x="641985" y="395288"/>
                  </a:lnTo>
                  <a:lnTo>
                    <a:pt x="656272" y="380047"/>
                  </a:lnTo>
                  <a:lnTo>
                    <a:pt x="661035" y="367665"/>
                  </a:lnTo>
                  <a:lnTo>
                    <a:pt x="676275" y="374333"/>
                  </a:lnTo>
                  <a:lnTo>
                    <a:pt x="686752" y="392430"/>
                  </a:lnTo>
                  <a:lnTo>
                    <a:pt x="675322" y="404813"/>
                  </a:lnTo>
                  <a:lnTo>
                    <a:pt x="691515" y="414338"/>
                  </a:lnTo>
                  <a:lnTo>
                    <a:pt x="691515" y="421958"/>
                  </a:lnTo>
                  <a:lnTo>
                    <a:pt x="702945" y="421958"/>
                  </a:lnTo>
                  <a:lnTo>
                    <a:pt x="719138" y="428625"/>
                  </a:lnTo>
                  <a:lnTo>
                    <a:pt x="711518" y="435293"/>
                  </a:lnTo>
                  <a:lnTo>
                    <a:pt x="729615" y="458153"/>
                  </a:lnTo>
                  <a:lnTo>
                    <a:pt x="698183" y="488633"/>
                  </a:lnTo>
                  <a:lnTo>
                    <a:pt x="679133" y="508635"/>
                  </a:lnTo>
                  <a:lnTo>
                    <a:pt x="652463" y="496253"/>
                  </a:lnTo>
                  <a:lnTo>
                    <a:pt x="638175" y="509588"/>
                  </a:lnTo>
                  <a:lnTo>
                    <a:pt x="668655" y="541972"/>
                  </a:lnTo>
                  <a:lnTo>
                    <a:pt x="648652" y="552450"/>
                  </a:lnTo>
                  <a:lnTo>
                    <a:pt x="648652" y="578168"/>
                  </a:lnTo>
                  <a:lnTo>
                    <a:pt x="640080" y="587693"/>
                  </a:lnTo>
                  <a:lnTo>
                    <a:pt x="606743" y="558165"/>
                  </a:lnTo>
                  <a:lnTo>
                    <a:pt x="589597" y="585788"/>
                  </a:lnTo>
                  <a:lnTo>
                    <a:pt x="558165" y="578168"/>
                  </a:lnTo>
                  <a:lnTo>
                    <a:pt x="545783" y="590550"/>
                  </a:lnTo>
                  <a:lnTo>
                    <a:pt x="526733" y="562928"/>
                  </a:lnTo>
                  <a:lnTo>
                    <a:pt x="498158" y="546735"/>
                  </a:lnTo>
                  <a:lnTo>
                    <a:pt x="474345" y="536258"/>
                  </a:lnTo>
                  <a:lnTo>
                    <a:pt x="464820" y="508635"/>
                  </a:lnTo>
                  <a:lnTo>
                    <a:pt x="436245" y="481013"/>
                  </a:lnTo>
                  <a:lnTo>
                    <a:pt x="400050" y="474345"/>
                  </a:lnTo>
                  <a:lnTo>
                    <a:pt x="381952" y="434340"/>
                  </a:lnTo>
                  <a:lnTo>
                    <a:pt x="353377" y="447675"/>
                  </a:lnTo>
                  <a:lnTo>
                    <a:pt x="321945" y="434340"/>
                  </a:lnTo>
                  <a:lnTo>
                    <a:pt x="287655" y="442913"/>
                  </a:lnTo>
                  <a:lnTo>
                    <a:pt x="256222" y="456247"/>
                  </a:lnTo>
                  <a:lnTo>
                    <a:pt x="222885" y="422910"/>
                  </a:lnTo>
                  <a:lnTo>
                    <a:pt x="222885" y="393383"/>
                  </a:lnTo>
                  <a:lnTo>
                    <a:pt x="222885" y="367665"/>
                  </a:lnTo>
                  <a:lnTo>
                    <a:pt x="196215" y="340995"/>
                  </a:lnTo>
                  <a:lnTo>
                    <a:pt x="182880" y="354330"/>
                  </a:lnTo>
                  <a:lnTo>
                    <a:pt x="147638" y="330518"/>
                  </a:lnTo>
                  <a:lnTo>
                    <a:pt x="132397" y="315278"/>
                  </a:lnTo>
                  <a:lnTo>
                    <a:pt x="106680" y="31813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7" name="Полилиния: фигура 87">
              <a:extLst>
                <a:ext uri="{FF2B5EF4-FFF2-40B4-BE49-F238E27FC236}">
                  <a16:creationId xmlns:a16="http://schemas.microsoft.com/office/drawing/2014/main" id="{64E66A49-ADED-4ACB-B901-90C4604CB7F7}"/>
                </a:ext>
              </a:extLst>
            </p:cNvPr>
            <p:cNvSpPr/>
            <p:nvPr/>
          </p:nvSpPr>
          <p:spPr>
            <a:xfrm>
              <a:off x="3942534" y="4668724"/>
              <a:ext cx="183632" cy="138908"/>
            </a:xfrm>
            <a:custGeom>
              <a:avLst/>
              <a:gdLst>
                <a:gd name="connsiteX0" fmla="*/ 90488 w 284797"/>
                <a:gd name="connsiteY0" fmla="*/ 18097 h 247650"/>
                <a:gd name="connsiteX1" fmla="*/ 118110 w 284797"/>
                <a:gd name="connsiteY1" fmla="*/ 5715 h 247650"/>
                <a:gd name="connsiteX2" fmla="*/ 135255 w 284797"/>
                <a:gd name="connsiteY2" fmla="*/ 2857 h 247650"/>
                <a:gd name="connsiteX3" fmla="*/ 160972 w 284797"/>
                <a:gd name="connsiteY3" fmla="*/ 0 h 247650"/>
                <a:gd name="connsiteX4" fmla="*/ 176213 w 284797"/>
                <a:gd name="connsiteY4" fmla="*/ 15240 h 247650"/>
                <a:gd name="connsiteX5" fmla="*/ 211455 w 284797"/>
                <a:gd name="connsiteY5" fmla="*/ 39053 h 247650"/>
                <a:gd name="connsiteX6" fmla="*/ 224790 w 284797"/>
                <a:gd name="connsiteY6" fmla="*/ 25718 h 247650"/>
                <a:gd name="connsiteX7" fmla="*/ 251460 w 284797"/>
                <a:gd name="connsiteY7" fmla="*/ 52388 h 247650"/>
                <a:gd name="connsiteX8" fmla="*/ 251460 w 284797"/>
                <a:gd name="connsiteY8" fmla="*/ 107632 h 247650"/>
                <a:gd name="connsiteX9" fmla="*/ 284797 w 284797"/>
                <a:gd name="connsiteY9" fmla="*/ 140970 h 247650"/>
                <a:gd name="connsiteX10" fmla="*/ 284797 w 284797"/>
                <a:gd name="connsiteY10" fmla="*/ 165735 h 247650"/>
                <a:gd name="connsiteX11" fmla="*/ 247650 w 284797"/>
                <a:gd name="connsiteY11" fmla="*/ 167640 h 247650"/>
                <a:gd name="connsiteX12" fmla="*/ 239077 w 284797"/>
                <a:gd name="connsiteY12" fmla="*/ 187643 h 247650"/>
                <a:gd name="connsiteX13" fmla="*/ 220980 w 284797"/>
                <a:gd name="connsiteY13" fmla="*/ 187643 h 247650"/>
                <a:gd name="connsiteX14" fmla="*/ 193358 w 284797"/>
                <a:gd name="connsiteY14" fmla="*/ 215265 h 247650"/>
                <a:gd name="connsiteX15" fmla="*/ 176213 w 284797"/>
                <a:gd name="connsiteY15" fmla="*/ 215265 h 247650"/>
                <a:gd name="connsiteX16" fmla="*/ 168592 w 284797"/>
                <a:gd name="connsiteY16" fmla="*/ 235268 h 247650"/>
                <a:gd name="connsiteX17" fmla="*/ 140017 w 284797"/>
                <a:gd name="connsiteY17" fmla="*/ 229553 h 247650"/>
                <a:gd name="connsiteX18" fmla="*/ 126683 w 284797"/>
                <a:gd name="connsiteY18" fmla="*/ 215265 h 247650"/>
                <a:gd name="connsiteX19" fmla="*/ 94297 w 284797"/>
                <a:gd name="connsiteY19" fmla="*/ 215265 h 247650"/>
                <a:gd name="connsiteX20" fmla="*/ 74295 w 284797"/>
                <a:gd name="connsiteY20" fmla="*/ 235268 h 247650"/>
                <a:gd name="connsiteX21" fmla="*/ 51435 w 284797"/>
                <a:gd name="connsiteY21" fmla="*/ 235268 h 247650"/>
                <a:gd name="connsiteX22" fmla="*/ 39052 w 284797"/>
                <a:gd name="connsiteY22" fmla="*/ 247650 h 247650"/>
                <a:gd name="connsiteX23" fmla="*/ 22860 w 284797"/>
                <a:gd name="connsiteY23" fmla="*/ 230505 h 247650"/>
                <a:gd name="connsiteX24" fmla="*/ 6667 w 284797"/>
                <a:gd name="connsiteY24" fmla="*/ 218122 h 247650"/>
                <a:gd name="connsiteX25" fmla="*/ 4763 w 284797"/>
                <a:gd name="connsiteY25" fmla="*/ 203835 h 247650"/>
                <a:gd name="connsiteX26" fmla="*/ 0 w 284797"/>
                <a:gd name="connsiteY26" fmla="*/ 186690 h 247650"/>
                <a:gd name="connsiteX27" fmla="*/ 10477 w 284797"/>
                <a:gd name="connsiteY27" fmla="*/ 175260 h 247650"/>
                <a:gd name="connsiteX28" fmla="*/ 26670 w 284797"/>
                <a:gd name="connsiteY28" fmla="*/ 159068 h 247650"/>
                <a:gd name="connsiteX29" fmla="*/ 54292 w 284797"/>
                <a:gd name="connsiteY29" fmla="*/ 141922 h 247650"/>
                <a:gd name="connsiteX30" fmla="*/ 43815 w 284797"/>
                <a:gd name="connsiteY30" fmla="*/ 119063 h 247650"/>
                <a:gd name="connsiteX31" fmla="*/ 43815 w 284797"/>
                <a:gd name="connsiteY31" fmla="*/ 105728 h 247650"/>
                <a:gd name="connsiteX32" fmla="*/ 60008 w 284797"/>
                <a:gd name="connsiteY32" fmla="*/ 89535 h 247650"/>
                <a:gd name="connsiteX33" fmla="*/ 53340 w 284797"/>
                <a:gd name="connsiteY33" fmla="*/ 65722 h 247650"/>
                <a:gd name="connsiteX34" fmla="*/ 60960 w 284797"/>
                <a:gd name="connsiteY34" fmla="*/ 46672 h 247650"/>
                <a:gd name="connsiteX35" fmla="*/ 81915 w 284797"/>
                <a:gd name="connsiteY35" fmla="*/ 46672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84797" h="247650">
                  <a:moveTo>
                    <a:pt x="90488" y="18097"/>
                  </a:moveTo>
                  <a:lnTo>
                    <a:pt x="118110" y="5715"/>
                  </a:lnTo>
                  <a:lnTo>
                    <a:pt x="135255" y="2857"/>
                  </a:lnTo>
                  <a:lnTo>
                    <a:pt x="160972" y="0"/>
                  </a:lnTo>
                  <a:lnTo>
                    <a:pt x="176213" y="15240"/>
                  </a:lnTo>
                  <a:lnTo>
                    <a:pt x="211455" y="39053"/>
                  </a:lnTo>
                  <a:lnTo>
                    <a:pt x="224790" y="25718"/>
                  </a:lnTo>
                  <a:lnTo>
                    <a:pt x="251460" y="52388"/>
                  </a:lnTo>
                  <a:lnTo>
                    <a:pt x="251460" y="107632"/>
                  </a:lnTo>
                  <a:lnTo>
                    <a:pt x="284797" y="140970"/>
                  </a:lnTo>
                  <a:lnTo>
                    <a:pt x="284797" y="165735"/>
                  </a:lnTo>
                  <a:lnTo>
                    <a:pt x="247650" y="167640"/>
                  </a:lnTo>
                  <a:lnTo>
                    <a:pt x="239077" y="187643"/>
                  </a:lnTo>
                  <a:lnTo>
                    <a:pt x="220980" y="187643"/>
                  </a:lnTo>
                  <a:lnTo>
                    <a:pt x="193358" y="215265"/>
                  </a:lnTo>
                  <a:lnTo>
                    <a:pt x="176213" y="215265"/>
                  </a:lnTo>
                  <a:lnTo>
                    <a:pt x="168592" y="235268"/>
                  </a:lnTo>
                  <a:lnTo>
                    <a:pt x="140017" y="229553"/>
                  </a:lnTo>
                  <a:lnTo>
                    <a:pt x="126683" y="215265"/>
                  </a:lnTo>
                  <a:lnTo>
                    <a:pt x="94297" y="215265"/>
                  </a:lnTo>
                  <a:lnTo>
                    <a:pt x="74295" y="235268"/>
                  </a:lnTo>
                  <a:lnTo>
                    <a:pt x="51435" y="235268"/>
                  </a:lnTo>
                  <a:lnTo>
                    <a:pt x="39052" y="247650"/>
                  </a:lnTo>
                  <a:lnTo>
                    <a:pt x="22860" y="230505"/>
                  </a:lnTo>
                  <a:lnTo>
                    <a:pt x="6667" y="218122"/>
                  </a:lnTo>
                  <a:lnTo>
                    <a:pt x="4763" y="203835"/>
                  </a:lnTo>
                  <a:lnTo>
                    <a:pt x="0" y="186690"/>
                  </a:lnTo>
                  <a:lnTo>
                    <a:pt x="10477" y="175260"/>
                  </a:lnTo>
                  <a:lnTo>
                    <a:pt x="26670" y="159068"/>
                  </a:lnTo>
                  <a:lnTo>
                    <a:pt x="54292" y="141922"/>
                  </a:lnTo>
                  <a:lnTo>
                    <a:pt x="43815" y="119063"/>
                  </a:lnTo>
                  <a:lnTo>
                    <a:pt x="43815" y="105728"/>
                  </a:lnTo>
                  <a:lnTo>
                    <a:pt x="60008" y="89535"/>
                  </a:lnTo>
                  <a:lnTo>
                    <a:pt x="53340" y="65722"/>
                  </a:lnTo>
                  <a:lnTo>
                    <a:pt x="60960" y="46672"/>
                  </a:lnTo>
                  <a:lnTo>
                    <a:pt x="81915" y="46672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8" name="Полилиния: фигура 88">
              <a:extLst>
                <a:ext uri="{FF2B5EF4-FFF2-40B4-BE49-F238E27FC236}">
                  <a16:creationId xmlns:a16="http://schemas.microsoft.com/office/drawing/2014/main" id="{B8AF2E2F-F10C-492B-A580-56D1FFACC3D5}"/>
                </a:ext>
              </a:extLst>
            </p:cNvPr>
            <p:cNvSpPr/>
            <p:nvPr/>
          </p:nvSpPr>
          <p:spPr>
            <a:xfrm>
              <a:off x="4051239" y="4735507"/>
              <a:ext cx="322432" cy="154936"/>
            </a:xfrm>
            <a:custGeom>
              <a:avLst/>
              <a:gdLst>
                <a:gd name="connsiteX0" fmla="*/ 482917 w 500062"/>
                <a:gd name="connsiteY0" fmla="*/ 172403 h 276225"/>
                <a:gd name="connsiteX1" fmla="*/ 500063 w 500062"/>
                <a:gd name="connsiteY1" fmla="*/ 153353 h 276225"/>
                <a:gd name="connsiteX2" fmla="*/ 466725 w 500062"/>
                <a:gd name="connsiteY2" fmla="*/ 123825 h 276225"/>
                <a:gd name="connsiteX3" fmla="*/ 449580 w 500062"/>
                <a:gd name="connsiteY3" fmla="*/ 151447 h 276225"/>
                <a:gd name="connsiteX4" fmla="*/ 418147 w 500062"/>
                <a:gd name="connsiteY4" fmla="*/ 143828 h 276225"/>
                <a:gd name="connsiteX5" fmla="*/ 405765 w 500062"/>
                <a:gd name="connsiteY5" fmla="*/ 156210 h 276225"/>
                <a:gd name="connsiteX6" fmla="*/ 386715 w 500062"/>
                <a:gd name="connsiteY6" fmla="*/ 128588 h 276225"/>
                <a:gd name="connsiteX7" fmla="*/ 334328 w 500062"/>
                <a:gd name="connsiteY7" fmla="*/ 101918 h 276225"/>
                <a:gd name="connsiteX8" fmla="*/ 324803 w 500062"/>
                <a:gd name="connsiteY8" fmla="*/ 74295 h 276225"/>
                <a:gd name="connsiteX9" fmla="*/ 296228 w 500062"/>
                <a:gd name="connsiteY9" fmla="*/ 46672 h 276225"/>
                <a:gd name="connsiteX10" fmla="*/ 260033 w 500062"/>
                <a:gd name="connsiteY10" fmla="*/ 40005 h 276225"/>
                <a:gd name="connsiteX11" fmla="*/ 241935 w 500062"/>
                <a:gd name="connsiteY11" fmla="*/ 0 h 276225"/>
                <a:gd name="connsiteX12" fmla="*/ 213360 w 500062"/>
                <a:gd name="connsiteY12" fmla="*/ 13335 h 276225"/>
                <a:gd name="connsiteX13" fmla="*/ 181928 w 500062"/>
                <a:gd name="connsiteY13" fmla="*/ 0 h 276225"/>
                <a:gd name="connsiteX14" fmla="*/ 147638 w 500062"/>
                <a:gd name="connsiteY14" fmla="*/ 8572 h 276225"/>
                <a:gd name="connsiteX15" fmla="*/ 116205 w 500062"/>
                <a:gd name="connsiteY15" fmla="*/ 21907 h 276225"/>
                <a:gd name="connsiteX16" fmla="*/ 116205 w 500062"/>
                <a:gd name="connsiteY16" fmla="*/ 46672 h 276225"/>
                <a:gd name="connsiteX17" fmla="*/ 79058 w 500062"/>
                <a:gd name="connsiteY17" fmla="*/ 48578 h 276225"/>
                <a:gd name="connsiteX18" fmla="*/ 70485 w 500062"/>
                <a:gd name="connsiteY18" fmla="*/ 68580 h 276225"/>
                <a:gd name="connsiteX19" fmla="*/ 52388 w 500062"/>
                <a:gd name="connsiteY19" fmla="*/ 68580 h 276225"/>
                <a:gd name="connsiteX20" fmla="*/ 24765 w 500062"/>
                <a:gd name="connsiteY20" fmla="*/ 96203 h 276225"/>
                <a:gd name="connsiteX21" fmla="*/ 7620 w 500062"/>
                <a:gd name="connsiteY21" fmla="*/ 96203 h 276225"/>
                <a:gd name="connsiteX22" fmla="*/ 0 w 500062"/>
                <a:gd name="connsiteY22" fmla="*/ 116205 h 276225"/>
                <a:gd name="connsiteX23" fmla="*/ 19050 w 500062"/>
                <a:gd name="connsiteY23" fmla="*/ 135255 h 276225"/>
                <a:gd name="connsiteX24" fmla="*/ 43815 w 500062"/>
                <a:gd name="connsiteY24" fmla="*/ 135255 h 276225"/>
                <a:gd name="connsiteX25" fmla="*/ 56197 w 500062"/>
                <a:gd name="connsiteY25" fmla="*/ 147638 h 276225"/>
                <a:gd name="connsiteX26" fmla="*/ 76200 w 500062"/>
                <a:gd name="connsiteY26" fmla="*/ 127635 h 276225"/>
                <a:gd name="connsiteX27" fmla="*/ 86678 w 500062"/>
                <a:gd name="connsiteY27" fmla="*/ 130493 h 276225"/>
                <a:gd name="connsiteX28" fmla="*/ 95250 w 500062"/>
                <a:gd name="connsiteY28" fmla="*/ 156210 h 276225"/>
                <a:gd name="connsiteX29" fmla="*/ 126683 w 500062"/>
                <a:gd name="connsiteY29" fmla="*/ 176213 h 276225"/>
                <a:gd name="connsiteX30" fmla="*/ 144780 w 500062"/>
                <a:gd name="connsiteY30" fmla="*/ 176213 h 276225"/>
                <a:gd name="connsiteX31" fmla="*/ 144780 w 500062"/>
                <a:gd name="connsiteY31" fmla="*/ 207645 h 276225"/>
                <a:gd name="connsiteX32" fmla="*/ 172403 w 500062"/>
                <a:gd name="connsiteY32" fmla="*/ 221932 h 276225"/>
                <a:gd name="connsiteX33" fmla="*/ 172403 w 500062"/>
                <a:gd name="connsiteY33" fmla="*/ 247650 h 276225"/>
                <a:gd name="connsiteX34" fmla="*/ 205740 w 500062"/>
                <a:gd name="connsiteY34" fmla="*/ 255270 h 276225"/>
                <a:gd name="connsiteX35" fmla="*/ 248603 w 500062"/>
                <a:gd name="connsiteY35" fmla="*/ 243840 h 276225"/>
                <a:gd name="connsiteX36" fmla="*/ 264795 w 500062"/>
                <a:gd name="connsiteY36" fmla="*/ 227647 h 276225"/>
                <a:gd name="connsiteX37" fmla="*/ 289560 w 500062"/>
                <a:gd name="connsiteY37" fmla="*/ 227647 h 276225"/>
                <a:gd name="connsiteX38" fmla="*/ 300038 w 500062"/>
                <a:gd name="connsiteY38" fmla="*/ 251460 h 276225"/>
                <a:gd name="connsiteX39" fmla="*/ 315278 w 500062"/>
                <a:gd name="connsiteY39" fmla="*/ 266700 h 276225"/>
                <a:gd name="connsiteX40" fmla="*/ 341947 w 500062"/>
                <a:gd name="connsiteY40" fmla="*/ 266700 h 276225"/>
                <a:gd name="connsiteX41" fmla="*/ 351472 w 500062"/>
                <a:gd name="connsiteY41" fmla="*/ 276225 h 276225"/>
                <a:gd name="connsiteX42" fmla="*/ 373380 w 500062"/>
                <a:gd name="connsiteY42" fmla="*/ 254318 h 276225"/>
                <a:gd name="connsiteX43" fmla="*/ 407670 w 500062"/>
                <a:gd name="connsiteY43" fmla="*/ 242888 h 276225"/>
                <a:gd name="connsiteX44" fmla="*/ 421958 w 500062"/>
                <a:gd name="connsiteY44" fmla="*/ 257175 h 276225"/>
                <a:gd name="connsiteX45" fmla="*/ 438150 w 500062"/>
                <a:gd name="connsiteY45" fmla="*/ 239078 h 276225"/>
                <a:gd name="connsiteX46" fmla="*/ 478155 w 500062"/>
                <a:gd name="connsiteY46" fmla="*/ 239078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500062" h="276225">
                  <a:moveTo>
                    <a:pt x="482917" y="172403"/>
                  </a:moveTo>
                  <a:lnTo>
                    <a:pt x="500063" y="153353"/>
                  </a:lnTo>
                  <a:lnTo>
                    <a:pt x="466725" y="123825"/>
                  </a:lnTo>
                  <a:lnTo>
                    <a:pt x="449580" y="151447"/>
                  </a:lnTo>
                  <a:lnTo>
                    <a:pt x="418147" y="143828"/>
                  </a:lnTo>
                  <a:lnTo>
                    <a:pt x="405765" y="156210"/>
                  </a:lnTo>
                  <a:lnTo>
                    <a:pt x="386715" y="128588"/>
                  </a:lnTo>
                  <a:lnTo>
                    <a:pt x="334328" y="101918"/>
                  </a:lnTo>
                  <a:lnTo>
                    <a:pt x="324803" y="74295"/>
                  </a:lnTo>
                  <a:lnTo>
                    <a:pt x="296228" y="46672"/>
                  </a:lnTo>
                  <a:lnTo>
                    <a:pt x="260033" y="40005"/>
                  </a:lnTo>
                  <a:lnTo>
                    <a:pt x="241935" y="0"/>
                  </a:lnTo>
                  <a:lnTo>
                    <a:pt x="213360" y="13335"/>
                  </a:lnTo>
                  <a:lnTo>
                    <a:pt x="181928" y="0"/>
                  </a:lnTo>
                  <a:lnTo>
                    <a:pt x="147638" y="8572"/>
                  </a:lnTo>
                  <a:lnTo>
                    <a:pt x="116205" y="21907"/>
                  </a:lnTo>
                  <a:lnTo>
                    <a:pt x="116205" y="46672"/>
                  </a:lnTo>
                  <a:lnTo>
                    <a:pt x="79058" y="48578"/>
                  </a:lnTo>
                  <a:lnTo>
                    <a:pt x="70485" y="68580"/>
                  </a:lnTo>
                  <a:lnTo>
                    <a:pt x="52388" y="68580"/>
                  </a:lnTo>
                  <a:lnTo>
                    <a:pt x="24765" y="96203"/>
                  </a:lnTo>
                  <a:lnTo>
                    <a:pt x="7620" y="96203"/>
                  </a:lnTo>
                  <a:lnTo>
                    <a:pt x="0" y="116205"/>
                  </a:lnTo>
                  <a:lnTo>
                    <a:pt x="19050" y="135255"/>
                  </a:lnTo>
                  <a:lnTo>
                    <a:pt x="43815" y="135255"/>
                  </a:lnTo>
                  <a:lnTo>
                    <a:pt x="56197" y="147638"/>
                  </a:lnTo>
                  <a:lnTo>
                    <a:pt x="76200" y="127635"/>
                  </a:lnTo>
                  <a:lnTo>
                    <a:pt x="86678" y="130493"/>
                  </a:lnTo>
                  <a:lnTo>
                    <a:pt x="95250" y="156210"/>
                  </a:lnTo>
                  <a:lnTo>
                    <a:pt x="126683" y="176213"/>
                  </a:lnTo>
                  <a:lnTo>
                    <a:pt x="144780" y="176213"/>
                  </a:lnTo>
                  <a:lnTo>
                    <a:pt x="144780" y="207645"/>
                  </a:lnTo>
                  <a:lnTo>
                    <a:pt x="172403" y="221932"/>
                  </a:lnTo>
                  <a:lnTo>
                    <a:pt x="172403" y="247650"/>
                  </a:lnTo>
                  <a:lnTo>
                    <a:pt x="205740" y="255270"/>
                  </a:lnTo>
                  <a:lnTo>
                    <a:pt x="248603" y="243840"/>
                  </a:lnTo>
                  <a:lnTo>
                    <a:pt x="264795" y="227647"/>
                  </a:lnTo>
                  <a:lnTo>
                    <a:pt x="289560" y="227647"/>
                  </a:lnTo>
                  <a:lnTo>
                    <a:pt x="300038" y="251460"/>
                  </a:lnTo>
                  <a:lnTo>
                    <a:pt x="315278" y="266700"/>
                  </a:lnTo>
                  <a:lnTo>
                    <a:pt x="341947" y="266700"/>
                  </a:lnTo>
                  <a:lnTo>
                    <a:pt x="351472" y="276225"/>
                  </a:lnTo>
                  <a:lnTo>
                    <a:pt x="373380" y="254318"/>
                  </a:lnTo>
                  <a:lnTo>
                    <a:pt x="407670" y="242888"/>
                  </a:lnTo>
                  <a:lnTo>
                    <a:pt x="421958" y="257175"/>
                  </a:lnTo>
                  <a:lnTo>
                    <a:pt x="438150" y="239078"/>
                  </a:lnTo>
                  <a:lnTo>
                    <a:pt x="478155" y="239078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9" name="Полилиния: фигура 89">
              <a:extLst>
                <a:ext uri="{FF2B5EF4-FFF2-40B4-BE49-F238E27FC236}">
                  <a16:creationId xmlns:a16="http://schemas.microsoft.com/office/drawing/2014/main" id="{63B60C27-B82E-4084-A58A-C74B26ABB08E}"/>
                </a:ext>
              </a:extLst>
            </p:cNvPr>
            <p:cNvSpPr/>
            <p:nvPr/>
          </p:nvSpPr>
          <p:spPr>
            <a:xfrm>
              <a:off x="3990438" y="4789467"/>
              <a:ext cx="171964" cy="133566"/>
            </a:xfrm>
            <a:custGeom>
              <a:avLst/>
              <a:gdLst>
                <a:gd name="connsiteX0" fmla="*/ 0 w 266700"/>
                <a:gd name="connsiteY0" fmla="*/ 20003 h 238125"/>
                <a:gd name="connsiteX1" fmla="*/ 20002 w 266700"/>
                <a:gd name="connsiteY1" fmla="*/ 0 h 238125"/>
                <a:gd name="connsiteX2" fmla="*/ 52388 w 266700"/>
                <a:gd name="connsiteY2" fmla="*/ 0 h 238125"/>
                <a:gd name="connsiteX3" fmla="*/ 65722 w 266700"/>
                <a:gd name="connsiteY3" fmla="*/ 14288 h 238125"/>
                <a:gd name="connsiteX4" fmla="*/ 94297 w 266700"/>
                <a:gd name="connsiteY4" fmla="*/ 20003 h 238125"/>
                <a:gd name="connsiteX5" fmla="*/ 113347 w 266700"/>
                <a:gd name="connsiteY5" fmla="*/ 39053 h 238125"/>
                <a:gd name="connsiteX6" fmla="*/ 138113 w 266700"/>
                <a:gd name="connsiteY6" fmla="*/ 39053 h 238125"/>
                <a:gd name="connsiteX7" fmla="*/ 150495 w 266700"/>
                <a:gd name="connsiteY7" fmla="*/ 51435 h 238125"/>
                <a:gd name="connsiteX8" fmla="*/ 170497 w 266700"/>
                <a:gd name="connsiteY8" fmla="*/ 31432 h 238125"/>
                <a:gd name="connsiteX9" fmla="*/ 180975 w 266700"/>
                <a:gd name="connsiteY9" fmla="*/ 34290 h 238125"/>
                <a:gd name="connsiteX10" fmla="*/ 189547 w 266700"/>
                <a:gd name="connsiteY10" fmla="*/ 60007 h 238125"/>
                <a:gd name="connsiteX11" fmla="*/ 220980 w 266700"/>
                <a:gd name="connsiteY11" fmla="*/ 80010 h 238125"/>
                <a:gd name="connsiteX12" fmla="*/ 239077 w 266700"/>
                <a:gd name="connsiteY12" fmla="*/ 80010 h 238125"/>
                <a:gd name="connsiteX13" fmla="*/ 239077 w 266700"/>
                <a:gd name="connsiteY13" fmla="*/ 111442 h 238125"/>
                <a:gd name="connsiteX14" fmla="*/ 266700 w 266700"/>
                <a:gd name="connsiteY14" fmla="*/ 125730 h 238125"/>
                <a:gd name="connsiteX15" fmla="*/ 266700 w 266700"/>
                <a:gd name="connsiteY15" fmla="*/ 151447 h 238125"/>
                <a:gd name="connsiteX16" fmla="*/ 238125 w 266700"/>
                <a:gd name="connsiteY16" fmla="*/ 151447 h 238125"/>
                <a:gd name="connsiteX17" fmla="*/ 226695 w 266700"/>
                <a:gd name="connsiteY17" fmla="*/ 180022 h 238125"/>
                <a:gd name="connsiteX18" fmla="*/ 198120 w 266700"/>
                <a:gd name="connsiteY18" fmla="*/ 180022 h 238125"/>
                <a:gd name="connsiteX19" fmla="*/ 179070 w 266700"/>
                <a:gd name="connsiteY19" fmla="*/ 160020 h 238125"/>
                <a:gd name="connsiteX20" fmla="*/ 162877 w 266700"/>
                <a:gd name="connsiteY20" fmla="*/ 176213 h 238125"/>
                <a:gd name="connsiteX21" fmla="*/ 155257 w 266700"/>
                <a:gd name="connsiteY21" fmla="*/ 205740 h 238125"/>
                <a:gd name="connsiteX22" fmla="*/ 137160 w 266700"/>
                <a:gd name="connsiteY22" fmla="*/ 223838 h 238125"/>
                <a:gd name="connsiteX23" fmla="*/ 100965 w 266700"/>
                <a:gd name="connsiteY23" fmla="*/ 228600 h 238125"/>
                <a:gd name="connsiteX24" fmla="*/ 69532 w 266700"/>
                <a:gd name="connsiteY24" fmla="*/ 238125 h 238125"/>
                <a:gd name="connsiteX25" fmla="*/ 81915 w 266700"/>
                <a:gd name="connsiteY25" fmla="*/ 193357 h 238125"/>
                <a:gd name="connsiteX26" fmla="*/ 97155 w 266700"/>
                <a:gd name="connsiteY26" fmla="*/ 156210 h 238125"/>
                <a:gd name="connsiteX27" fmla="*/ 60007 w 266700"/>
                <a:gd name="connsiteY27" fmla="*/ 119063 h 238125"/>
                <a:gd name="connsiteX28" fmla="*/ 39052 w 266700"/>
                <a:gd name="connsiteY28" fmla="*/ 98107 h 238125"/>
                <a:gd name="connsiteX29" fmla="*/ 2857 w 266700"/>
                <a:gd name="connsiteY29" fmla="*/ 85725 h 238125"/>
                <a:gd name="connsiteX30" fmla="*/ 2857 w 266700"/>
                <a:gd name="connsiteY30" fmla="*/ 65722 h 238125"/>
                <a:gd name="connsiteX31" fmla="*/ 15240 w 266700"/>
                <a:gd name="connsiteY31" fmla="*/ 4381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66700" h="238125">
                  <a:moveTo>
                    <a:pt x="0" y="20003"/>
                  </a:moveTo>
                  <a:lnTo>
                    <a:pt x="20002" y="0"/>
                  </a:lnTo>
                  <a:lnTo>
                    <a:pt x="52388" y="0"/>
                  </a:lnTo>
                  <a:lnTo>
                    <a:pt x="65722" y="14288"/>
                  </a:lnTo>
                  <a:lnTo>
                    <a:pt x="94297" y="20003"/>
                  </a:lnTo>
                  <a:lnTo>
                    <a:pt x="113347" y="39053"/>
                  </a:lnTo>
                  <a:lnTo>
                    <a:pt x="138113" y="39053"/>
                  </a:lnTo>
                  <a:lnTo>
                    <a:pt x="150495" y="51435"/>
                  </a:lnTo>
                  <a:lnTo>
                    <a:pt x="170497" y="31432"/>
                  </a:lnTo>
                  <a:lnTo>
                    <a:pt x="180975" y="34290"/>
                  </a:lnTo>
                  <a:lnTo>
                    <a:pt x="189547" y="60007"/>
                  </a:lnTo>
                  <a:lnTo>
                    <a:pt x="220980" y="80010"/>
                  </a:lnTo>
                  <a:lnTo>
                    <a:pt x="239077" y="80010"/>
                  </a:lnTo>
                  <a:lnTo>
                    <a:pt x="239077" y="111442"/>
                  </a:lnTo>
                  <a:lnTo>
                    <a:pt x="266700" y="125730"/>
                  </a:lnTo>
                  <a:lnTo>
                    <a:pt x="266700" y="151447"/>
                  </a:lnTo>
                  <a:lnTo>
                    <a:pt x="238125" y="151447"/>
                  </a:lnTo>
                  <a:lnTo>
                    <a:pt x="226695" y="180022"/>
                  </a:lnTo>
                  <a:lnTo>
                    <a:pt x="198120" y="180022"/>
                  </a:lnTo>
                  <a:lnTo>
                    <a:pt x="179070" y="160020"/>
                  </a:lnTo>
                  <a:lnTo>
                    <a:pt x="162877" y="176213"/>
                  </a:lnTo>
                  <a:lnTo>
                    <a:pt x="155257" y="205740"/>
                  </a:lnTo>
                  <a:lnTo>
                    <a:pt x="137160" y="223838"/>
                  </a:lnTo>
                  <a:lnTo>
                    <a:pt x="100965" y="228600"/>
                  </a:lnTo>
                  <a:lnTo>
                    <a:pt x="69532" y="238125"/>
                  </a:lnTo>
                  <a:lnTo>
                    <a:pt x="81915" y="193357"/>
                  </a:lnTo>
                  <a:lnTo>
                    <a:pt x="97155" y="156210"/>
                  </a:lnTo>
                  <a:lnTo>
                    <a:pt x="60007" y="119063"/>
                  </a:lnTo>
                  <a:lnTo>
                    <a:pt x="39052" y="98107"/>
                  </a:lnTo>
                  <a:lnTo>
                    <a:pt x="2857" y="85725"/>
                  </a:lnTo>
                  <a:lnTo>
                    <a:pt x="2857" y="65722"/>
                  </a:lnTo>
                  <a:lnTo>
                    <a:pt x="15240" y="4381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0" name="Полилиния: фигура 90">
              <a:extLst>
                <a:ext uri="{FF2B5EF4-FFF2-40B4-BE49-F238E27FC236}">
                  <a16:creationId xmlns:a16="http://schemas.microsoft.com/office/drawing/2014/main" id="{F7E229B7-E70A-4A37-9746-D083D1E71D7D}"/>
                </a:ext>
              </a:extLst>
            </p:cNvPr>
            <p:cNvSpPr/>
            <p:nvPr/>
          </p:nvSpPr>
          <p:spPr>
            <a:xfrm>
              <a:off x="3914282" y="4783056"/>
              <a:ext cx="138799" cy="164019"/>
            </a:xfrm>
            <a:custGeom>
              <a:avLst/>
              <a:gdLst>
                <a:gd name="connsiteX0" fmla="*/ 82867 w 215265"/>
                <a:gd name="connsiteY0" fmla="*/ 43815 h 292417"/>
                <a:gd name="connsiteX1" fmla="*/ 95250 w 215265"/>
                <a:gd name="connsiteY1" fmla="*/ 31433 h 292417"/>
                <a:gd name="connsiteX2" fmla="*/ 118110 w 215265"/>
                <a:gd name="connsiteY2" fmla="*/ 31433 h 292417"/>
                <a:gd name="connsiteX3" fmla="*/ 133350 w 215265"/>
                <a:gd name="connsiteY3" fmla="*/ 55245 h 292417"/>
                <a:gd name="connsiteX4" fmla="*/ 120967 w 215265"/>
                <a:gd name="connsiteY4" fmla="*/ 77153 h 292417"/>
                <a:gd name="connsiteX5" fmla="*/ 120967 w 215265"/>
                <a:gd name="connsiteY5" fmla="*/ 97155 h 292417"/>
                <a:gd name="connsiteX6" fmla="*/ 157163 w 215265"/>
                <a:gd name="connsiteY6" fmla="*/ 109538 h 292417"/>
                <a:gd name="connsiteX7" fmla="*/ 178117 w 215265"/>
                <a:gd name="connsiteY7" fmla="*/ 130493 h 292417"/>
                <a:gd name="connsiteX8" fmla="*/ 215265 w 215265"/>
                <a:gd name="connsiteY8" fmla="*/ 167640 h 292417"/>
                <a:gd name="connsiteX9" fmla="*/ 200025 w 215265"/>
                <a:gd name="connsiteY9" fmla="*/ 204788 h 292417"/>
                <a:gd name="connsiteX10" fmla="*/ 187642 w 215265"/>
                <a:gd name="connsiteY10" fmla="*/ 249555 h 292417"/>
                <a:gd name="connsiteX11" fmla="*/ 159067 w 215265"/>
                <a:gd name="connsiteY11" fmla="*/ 254318 h 292417"/>
                <a:gd name="connsiteX12" fmla="*/ 141923 w 215265"/>
                <a:gd name="connsiteY12" fmla="*/ 271463 h 292417"/>
                <a:gd name="connsiteX13" fmla="*/ 118110 w 215265"/>
                <a:gd name="connsiteY13" fmla="*/ 277178 h 292417"/>
                <a:gd name="connsiteX14" fmla="*/ 102870 w 215265"/>
                <a:gd name="connsiteY14" fmla="*/ 292418 h 292417"/>
                <a:gd name="connsiteX15" fmla="*/ 84773 w 215265"/>
                <a:gd name="connsiteY15" fmla="*/ 263843 h 292417"/>
                <a:gd name="connsiteX16" fmla="*/ 69533 w 215265"/>
                <a:gd name="connsiteY16" fmla="*/ 259080 h 292417"/>
                <a:gd name="connsiteX17" fmla="*/ 65723 w 215265"/>
                <a:gd name="connsiteY17" fmla="*/ 240983 h 292417"/>
                <a:gd name="connsiteX18" fmla="*/ 44767 w 215265"/>
                <a:gd name="connsiteY18" fmla="*/ 233363 h 292417"/>
                <a:gd name="connsiteX19" fmla="*/ 50483 w 215265"/>
                <a:gd name="connsiteY19" fmla="*/ 217170 h 292417"/>
                <a:gd name="connsiteX20" fmla="*/ 36195 w 215265"/>
                <a:gd name="connsiteY20" fmla="*/ 205740 h 292417"/>
                <a:gd name="connsiteX21" fmla="*/ 36195 w 215265"/>
                <a:gd name="connsiteY21" fmla="*/ 185738 h 292417"/>
                <a:gd name="connsiteX22" fmla="*/ 45720 w 215265"/>
                <a:gd name="connsiteY22" fmla="*/ 181928 h 292417"/>
                <a:gd name="connsiteX23" fmla="*/ 50483 w 215265"/>
                <a:gd name="connsiteY23" fmla="*/ 166688 h 292417"/>
                <a:gd name="connsiteX24" fmla="*/ 52388 w 215265"/>
                <a:gd name="connsiteY24" fmla="*/ 140018 h 292417"/>
                <a:gd name="connsiteX25" fmla="*/ 40958 w 215265"/>
                <a:gd name="connsiteY25" fmla="*/ 129540 h 292417"/>
                <a:gd name="connsiteX26" fmla="*/ 27623 w 215265"/>
                <a:gd name="connsiteY26" fmla="*/ 123825 h 292417"/>
                <a:gd name="connsiteX27" fmla="*/ 20955 w 215265"/>
                <a:gd name="connsiteY27" fmla="*/ 110490 h 292417"/>
                <a:gd name="connsiteX28" fmla="*/ 20955 w 215265"/>
                <a:gd name="connsiteY28" fmla="*/ 92393 h 292417"/>
                <a:gd name="connsiteX29" fmla="*/ 7620 w 215265"/>
                <a:gd name="connsiteY29" fmla="*/ 86678 h 292417"/>
                <a:gd name="connsiteX30" fmla="*/ 0 w 215265"/>
                <a:gd name="connsiteY30" fmla="*/ 67628 h 292417"/>
                <a:gd name="connsiteX31" fmla="*/ 16192 w 215265"/>
                <a:gd name="connsiteY31" fmla="*/ 56197 h 292417"/>
                <a:gd name="connsiteX32" fmla="*/ 15240 w 215265"/>
                <a:gd name="connsiteY32" fmla="*/ 37147 h 292417"/>
                <a:gd name="connsiteX33" fmla="*/ 26670 w 215265"/>
                <a:gd name="connsiteY33" fmla="*/ 25718 h 292417"/>
                <a:gd name="connsiteX34" fmla="*/ 32385 w 215265"/>
                <a:gd name="connsiteY34" fmla="*/ 7620 h 292417"/>
                <a:gd name="connsiteX35" fmla="*/ 48578 w 215265"/>
                <a:gd name="connsiteY35" fmla="*/ 0 h 292417"/>
                <a:gd name="connsiteX36" fmla="*/ 50483 w 215265"/>
                <a:gd name="connsiteY36" fmla="*/ 14288 h 292417"/>
                <a:gd name="connsiteX37" fmla="*/ 66675 w 215265"/>
                <a:gd name="connsiteY37" fmla="*/ 26670 h 29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5265" h="292417">
                  <a:moveTo>
                    <a:pt x="82867" y="43815"/>
                  </a:moveTo>
                  <a:lnTo>
                    <a:pt x="95250" y="31433"/>
                  </a:lnTo>
                  <a:lnTo>
                    <a:pt x="118110" y="31433"/>
                  </a:lnTo>
                  <a:lnTo>
                    <a:pt x="133350" y="55245"/>
                  </a:lnTo>
                  <a:lnTo>
                    <a:pt x="120967" y="77153"/>
                  </a:lnTo>
                  <a:lnTo>
                    <a:pt x="120967" y="97155"/>
                  </a:lnTo>
                  <a:lnTo>
                    <a:pt x="157163" y="109538"/>
                  </a:lnTo>
                  <a:lnTo>
                    <a:pt x="178117" y="130493"/>
                  </a:lnTo>
                  <a:lnTo>
                    <a:pt x="215265" y="167640"/>
                  </a:lnTo>
                  <a:lnTo>
                    <a:pt x="200025" y="204788"/>
                  </a:lnTo>
                  <a:lnTo>
                    <a:pt x="187642" y="249555"/>
                  </a:lnTo>
                  <a:lnTo>
                    <a:pt x="159067" y="254318"/>
                  </a:lnTo>
                  <a:lnTo>
                    <a:pt x="141923" y="271463"/>
                  </a:lnTo>
                  <a:lnTo>
                    <a:pt x="118110" y="277178"/>
                  </a:lnTo>
                  <a:lnTo>
                    <a:pt x="102870" y="292418"/>
                  </a:lnTo>
                  <a:lnTo>
                    <a:pt x="84773" y="263843"/>
                  </a:lnTo>
                  <a:lnTo>
                    <a:pt x="69533" y="259080"/>
                  </a:lnTo>
                  <a:lnTo>
                    <a:pt x="65723" y="240983"/>
                  </a:lnTo>
                  <a:lnTo>
                    <a:pt x="44767" y="233363"/>
                  </a:lnTo>
                  <a:lnTo>
                    <a:pt x="50483" y="217170"/>
                  </a:lnTo>
                  <a:lnTo>
                    <a:pt x="36195" y="205740"/>
                  </a:lnTo>
                  <a:lnTo>
                    <a:pt x="36195" y="185738"/>
                  </a:lnTo>
                  <a:lnTo>
                    <a:pt x="45720" y="181928"/>
                  </a:lnTo>
                  <a:lnTo>
                    <a:pt x="50483" y="166688"/>
                  </a:lnTo>
                  <a:lnTo>
                    <a:pt x="52388" y="140018"/>
                  </a:lnTo>
                  <a:lnTo>
                    <a:pt x="40958" y="129540"/>
                  </a:lnTo>
                  <a:lnTo>
                    <a:pt x="27623" y="123825"/>
                  </a:lnTo>
                  <a:lnTo>
                    <a:pt x="20955" y="110490"/>
                  </a:lnTo>
                  <a:lnTo>
                    <a:pt x="20955" y="92393"/>
                  </a:lnTo>
                  <a:lnTo>
                    <a:pt x="7620" y="86678"/>
                  </a:lnTo>
                  <a:lnTo>
                    <a:pt x="0" y="67628"/>
                  </a:lnTo>
                  <a:lnTo>
                    <a:pt x="16192" y="56197"/>
                  </a:lnTo>
                  <a:lnTo>
                    <a:pt x="15240" y="37147"/>
                  </a:lnTo>
                  <a:lnTo>
                    <a:pt x="26670" y="25718"/>
                  </a:lnTo>
                  <a:lnTo>
                    <a:pt x="32385" y="7620"/>
                  </a:lnTo>
                  <a:lnTo>
                    <a:pt x="48578" y="0"/>
                  </a:lnTo>
                  <a:lnTo>
                    <a:pt x="50483" y="14288"/>
                  </a:lnTo>
                  <a:lnTo>
                    <a:pt x="66675" y="2667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1" name="Полилиния: фигура 91">
              <a:extLst>
                <a:ext uri="{FF2B5EF4-FFF2-40B4-BE49-F238E27FC236}">
                  <a16:creationId xmlns:a16="http://schemas.microsoft.com/office/drawing/2014/main" id="{3BCAF77E-062F-4465-9E96-36B09997FF4A}"/>
                </a:ext>
              </a:extLst>
            </p:cNvPr>
            <p:cNvSpPr/>
            <p:nvPr/>
          </p:nvSpPr>
          <p:spPr>
            <a:xfrm>
              <a:off x="3980612" y="4863195"/>
              <a:ext cx="340242" cy="193403"/>
            </a:xfrm>
            <a:custGeom>
              <a:avLst/>
              <a:gdLst>
                <a:gd name="connsiteX0" fmla="*/ 0 w 527684"/>
                <a:gd name="connsiteY0" fmla="*/ 176213 h 344805"/>
                <a:gd name="connsiteX1" fmla="*/ 0 w 527684"/>
                <a:gd name="connsiteY1" fmla="*/ 149543 h 344805"/>
                <a:gd name="connsiteX2" fmla="*/ 15240 w 527684"/>
                <a:gd name="connsiteY2" fmla="*/ 134303 h 344805"/>
                <a:gd name="connsiteX3" fmla="*/ 39053 w 527684"/>
                <a:gd name="connsiteY3" fmla="*/ 128588 h 344805"/>
                <a:gd name="connsiteX4" fmla="*/ 56197 w 527684"/>
                <a:gd name="connsiteY4" fmla="*/ 111443 h 344805"/>
                <a:gd name="connsiteX5" fmla="*/ 84772 w 527684"/>
                <a:gd name="connsiteY5" fmla="*/ 106680 h 344805"/>
                <a:gd name="connsiteX6" fmla="*/ 116205 w 527684"/>
                <a:gd name="connsiteY6" fmla="*/ 97155 h 344805"/>
                <a:gd name="connsiteX7" fmla="*/ 152400 w 527684"/>
                <a:gd name="connsiteY7" fmla="*/ 92393 h 344805"/>
                <a:gd name="connsiteX8" fmla="*/ 170497 w 527684"/>
                <a:gd name="connsiteY8" fmla="*/ 74295 h 344805"/>
                <a:gd name="connsiteX9" fmla="*/ 178117 w 527684"/>
                <a:gd name="connsiteY9" fmla="*/ 44768 h 344805"/>
                <a:gd name="connsiteX10" fmla="*/ 194310 w 527684"/>
                <a:gd name="connsiteY10" fmla="*/ 28575 h 344805"/>
                <a:gd name="connsiteX11" fmla="*/ 213360 w 527684"/>
                <a:gd name="connsiteY11" fmla="*/ 48578 h 344805"/>
                <a:gd name="connsiteX12" fmla="*/ 241935 w 527684"/>
                <a:gd name="connsiteY12" fmla="*/ 48578 h 344805"/>
                <a:gd name="connsiteX13" fmla="*/ 253365 w 527684"/>
                <a:gd name="connsiteY13" fmla="*/ 20003 h 344805"/>
                <a:gd name="connsiteX14" fmla="*/ 281940 w 527684"/>
                <a:gd name="connsiteY14" fmla="*/ 20003 h 344805"/>
                <a:gd name="connsiteX15" fmla="*/ 315278 w 527684"/>
                <a:gd name="connsiteY15" fmla="*/ 27622 h 344805"/>
                <a:gd name="connsiteX16" fmla="*/ 358140 w 527684"/>
                <a:gd name="connsiteY16" fmla="*/ 16193 h 344805"/>
                <a:gd name="connsiteX17" fmla="*/ 374333 w 527684"/>
                <a:gd name="connsiteY17" fmla="*/ 0 h 344805"/>
                <a:gd name="connsiteX18" fmla="*/ 399097 w 527684"/>
                <a:gd name="connsiteY18" fmla="*/ 0 h 344805"/>
                <a:gd name="connsiteX19" fmla="*/ 409575 w 527684"/>
                <a:gd name="connsiteY19" fmla="*/ 23813 h 344805"/>
                <a:gd name="connsiteX20" fmla="*/ 424815 w 527684"/>
                <a:gd name="connsiteY20" fmla="*/ 39053 h 344805"/>
                <a:gd name="connsiteX21" fmla="*/ 451485 w 527684"/>
                <a:gd name="connsiteY21" fmla="*/ 39053 h 344805"/>
                <a:gd name="connsiteX22" fmla="*/ 461010 w 527684"/>
                <a:gd name="connsiteY22" fmla="*/ 48578 h 344805"/>
                <a:gd name="connsiteX23" fmla="*/ 490538 w 527684"/>
                <a:gd name="connsiteY23" fmla="*/ 70485 h 344805"/>
                <a:gd name="connsiteX24" fmla="*/ 527685 w 527684"/>
                <a:gd name="connsiteY24" fmla="*/ 107633 h 344805"/>
                <a:gd name="connsiteX25" fmla="*/ 504825 w 527684"/>
                <a:gd name="connsiteY25" fmla="*/ 129540 h 344805"/>
                <a:gd name="connsiteX26" fmla="*/ 487680 w 527684"/>
                <a:gd name="connsiteY26" fmla="*/ 146685 h 344805"/>
                <a:gd name="connsiteX27" fmla="*/ 457200 w 527684"/>
                <a:gd name="connsiteY27" fmla="*/ 128588 h 344805"/>
                <a:gd name="connsiteX28" fmla="*/ 434340 w 527684"/>
                <a:gd name="connsiteY28" fmla="*/ 134303 h 344805"/>
                <a:gd name="connsiteX29" fmla="*/ 417195 w 527684"/>
                <a:gd name="connsiteY29" fmla="*/ 150495 h 344805"/>
                <a:gd name="connsiteX30" fmla="*/ 397192 w 527684"/>
                <a:gd name="connsiteY30" fmla="*/ 180022 h 344805"/>
                <a:gd name="connsiteX31" fmla="*/ 358140 w 527684"/>
                <a:gd name="connsiteY31" fmla="*/ 156210 h 344805"/>
                <a:gd name="connsiteX32" fmla="*/ 340995 w 527684"/>
                <a:gd name="connsiteY32" fmla="*/ 174308 h 344805"/>
                <a:gd name="connsiteX33" fmla="*/ 311467 w 527684"/>
                <a:gd name="connsiteY33" fmla="*/ 173355 h 344805"/>
                <a:gd name="connsiteX34" fmla="*/ 314325 w 527684"/>
                <a:gd name="connsiteY34" fmla="*/ 204788 h 344805"/>
                <a:gd name="connsiteX35" fmla="*/ 299085 w 527684"/>
                <a:gd name="connsiteY35" fmla="*/ 219075 h 344805"/>
                <a:gd name="connsiteX36" fmla="*/ 312420 w 527684"/>
                <a:gd name="connsiteY36" fmla="*/ 243840 h 344805"/>
                <a:gd name="connsiteX37" fmla="*/ 271463 w 527684"/>
                <a:gd name="connsiteY37" fmla="*/ 267653 h 344805"/>
                <a:gd name="connsiteX38" fmla="*/ 271463 w 527684"/>
                <a:gd name="connsiteY38" fmla="*/ 301943 h 344805"/>
                <a:gd name="connsiteX39" fmla="*/ 245745 w 527684"/>
                <a:gd name="connsiteY39" fmla="*/ 324803 h 344805"/>
                <a:gd name="connsiteX40" fmla="*/ 233363 w 527684"/>
                <a:gd name="connsiteY40" fmla="*/ 344805 h 344805"/>
                <a:gd name="connsiteX41" fmla="*/ 219075 w 527684"/>
                <a:gd name="connsiteY41" fmla="*/ 344805 h 344805"/>
                <a:gd name="connsiteX42" fmla="*/ 208597 w 527684"/>
                <a:gd name="connsiteY42" fmla="*/ 334328 h 344805"/>
                <a:gd name="connsiteX43" fmla="*/ 212408 w 527684"/>
                <a:gd name="connsiteY43" fmla="*/ 317183 h 344805"/>
                <a:gd name="connsiteX44" fmla="*/ 188595 w 527684"/>
                <a:gd name="connsiteY44" fmla="*/ 319088 h 344805"/>
                <a:gd name="connsiteX45" fmla="*/ 181928 w 527684"/>
                <a:gd name="connsiteY45" fmla="*/ 325755 h 344805"/>
                <a:gd name="connsiteX46" fmla="*/ 147638 w 527684"/>
                <a:gd name="connsiteY46" fmla="*/ 326708 h 344805"/>
                <a:gd name="connsiteX47" fmla="*/ 137160 w 527684"/>
                <a:gd name="connsiteY47" fmla="*/ 343853 h 344805"/>
                <a:gd name="connsiteX48" fmla="*/ 114300 w 527684"/>
                <a:gd name="connsiteY48" fmla="*/ 337185 h 344805"/>
                <a:gd name="connsiteX49" fmla="*/ 106680 w 527684"/>
                <a:gd name="connsiteY49" fmla="*/ 314325 h 344805"/>
                <a:gd name="connsiteX50" fmla="*/ 89535 w 527684"/>
                <a:gd name="connsiteY50" fmla="*/ 297180 h 344805"/>
                <a:gd name="connsiteX51" fmla="*/ 89535 w 527684"/>
                <a:gd name="connsiteY51" fmla="*/ 269558 h 344805"/>
                <a:gd name="connsiteX52" fmla="*/ 75247 w 527684"/>
                <a:gd name="connsiteY52" fmla="*/ 256222 h 344805"/>
                <a:gd name="connsiteX53" fmla="*/ 69533 w 527684"/>
                <a:gd name="connsiteY53" fmla="*/ 236220 h 344805"/>
                <a:gd name="connsiteX54" fmla="*/ 42863 w 527684"/>
                <a:gd name="connsiteY54" fmla="*/ 236220 h 344805"/>
                <a:gd name="connsiteX55" fmla="*/ 27622 w 527684"/>
                <a:gd name="connsiteY55" fmla="*/ 220980 h 344805"/>
                <a:gd name="connsiteX56" fmla="*/ 22860 w 527684"/>
                <a:gd name="connsiteY56" fmla="*/ 207645 h 344805"/>
                <a:gd name="connsiteX57" fmla="*/ 22860 w 527684"/>
                <a:gd name="connsiteY57" fmla="*/ 194310 h 344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27684" h="344805">
                  <a:moveTo>
                    <a:pt x="0" y="176213"/>
                  </a:moveTo>
                  <a:lnTo>
                    <a:pt x="0" y="149543"/>
                  </a:lnTo>
                  <a:lnTo>
                    <a:pt x="15240" y="134303"/>
                  </a:lnTo>
                  <a:lnTo>
                    <a:pt x="39053" y="128588"/>
                  </a:lnTo>
                  <a:lnTo>
                    <a:pt x="56197" y="111443"/>
                  </a:lnTo>
                  <a:lnTo>
                    <a:pt x="84772" y="106680"/>
                  </a:lnTo>
                  <a:lnTo>
                    <a:pt x="116205" y="97155"/>
                  </a:lnTo>
                  <a:lnTo>
                    <a:pt x="152400" y="92393"/>
                  </a:lnTo>
                  <a:lnTo>
                    <a:pt x="170497" y="74295"/>
                  </a:lnTo>
                  <a:lnTo>
                    <a:pt x="178117" y="44768"/>
                  </a:lnTo>
                  <a:lnTo>
                    <a:pt x="194310" y="28575"/>
                  </a:lnTo>
                  <a:lnTo>
                    <a:pt x="213360" y="48578"/>
                  </a:lnTo>
                  <a:lnTo>
                    <a:pt x="241935" y="48578"/>
                  </a:lnTo>
                  <a:lnTo>
                    <a:pt x="253365" y="20003"/>
                  </a:lnTo>
                  <a:lnTo>
                    <a:pt x="281940" y="20003"/>
                  </a:lnTo>
                  <a:lnTo>
                    <a:pt x="315278" y="27622"/>
                  </a:lnTo>
                  <a:lnTo>
                    <a:pt x="358140" y="16193"/>
                  </a:lnTo>
                  <a:lnTo>
                    <a:pt x="374333" y="0"/>
                  </a:lnTo>
                  <a:lnTo>
                    <a:pt x="399097" y="0"/>
                  </a:lnTo>
                  <a:lnTo>
                    <a:pt x="409575" y="23813"/>
                  </a:lnTo>
                  <a:lnTo>
                    <a:pt x="424815" y="39053"/>
                  </a:lnTo>
                  <a:lnTo>
                    <a:pt x="451485" y="39053"/>
                  </a:lnTo>
                  <a:lnTo>
                    <a:pt x="461010" y="48578"/>
                  </a:lnTo>
                  <a:lnTo>
                    <a:pt x="490538" y="70485"/>
                  </a:lnTo>
                  <a:lnTo>
                    <a:pt x="527685" y="107633"/>
                  </a:lnTo>
                  <a:lnTo>
                    <a:pt x="504825" y="129540"/>
                  </a:lnTo>
                  <a:lnTo>
                    <a:pt x="487680" y="146685"/>
                  </a:lnTo>
                  <a:lnTo>
                    <a:pt x="457200" y="128588"/>
                  </a:lnTo>
                  <a:lnTo>
                    <a:pt x="434340" y="134303"/>
                  </a:lnTo>
                  <a:lnTo>
                    <a:pt x="417195" y="150495"/>
                  </a:lnTo>
                  <a:lnTo>
                    <a:pt x="397192" y="180022"/>
                  </a:lnTo>
                  <a:lnTo>
                    <a:pt x="358140" y="156210"/>
                  </a:lnTo>
                  <a:lnTo>
                    <a:pt x="340995" y="174308"/>
                  </a:lnTo>
                  <a:lnTo>
                    <a:pt x="311467" y="173355"/>
                  </a:lnTo>
                  <a:lnTo>
                    <a:pt x="314325" y="204788"/>
                  </a:lnTo>
                  <a:lnTo>
                    <a:pt x="299085" y="219075"/>
                  </a:lnTo>
                  <a:lnTo>
                    <a:pt x="312420" y="243840"/>
                  </a:lnTo>
                  <a:lnTo>
                    <a:pt x="271463" y="267653"/>
                  </a:lnTo>
                  <a:lnTo>
                    <a:pt x="271463" y="301943"/>
                  </a:lnTo>
                  <a:lnTo>
                    <a:pt x="245745" y="324803"/>
                  </a:lnTo>
                  <a:lnTo>
                    <a:pt x="233363" y="344805"/>
                  </a:lnTo>
                  <a:lnTo>
                    <a:pt x="219075" y="344805"/>
                  </a:lnTo>
                  <a:lnTo>
                    <a:pt x="208597" y="334328"/>
                  </a:lnTo>
                  <a:lnTo>
                    <a:pt x="212408" y="317183"/>
                  </a:lnTo>
                  <a:lnTo>
                    <a:pt x="188595" y="319088"/>
                  </a:lnTo>
                  <a:lnTo>
                    <a:pt x="181928" y="325755"/>
                  </a:lnTo>
                  <a:lnTo>
                    <a:pt x="147638" y="326708"/>
                  </a:lnTo>
                  <a:lnTo>
                    <a:pt x="137160" y="343853"/>
                  </a:lnTo>
                  <a:lnTo>
                    <a:pt x="114300" y="337185"/>
                  </a:lnTo>
                  <a:lnTo>
                    <a:pt x="106680" y="314325"/>
                  </a:lnTo>
                  <a:lnTo>
                    <a:pt x="89535" y="297180"/>
                  </a:lnTo>
                  <a:lnTo>
                    <a:pt x="89535" y="269558"/>
                  </a:lnTo>
                  <a:lnTo>
                    <a:pt x="75247" y="256222"/>
                  </a:lnTo>
                  <a:lnTo>
                    <a:pt x="69533" y="236220"/>
                  </a:lnTo>
                  <a:lnTo>
                    <a:pt x="42863" y="236220"/>
                  </a:lnTo>
                  <a:lnTo>
                    <a:pt x="27622" y="220980"/>
                  </a:lnTo>
                  <a:lnTo>
                    <a:pt x="22860" y="207645"/>
                  </a:lnTo>
                  <a:lnTo>
                    <a:pt x="22860" y="19431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2" name="Полилиния: фигура 92">
              <a:extLst>
                <a:ext uri="{FF2B5EF4-FFF2-40B4-BE49-F238E27FC236}">
                  <a16:creationId xmlns:a16="http://schemas.microsoft.com/office/drawing/2014/main" id="{2D739F9C-C161-41DB-89F0-A559D4388E33}"/>
                </a:ext>
              </a:extLst>
            </p:cNvPr>
            <p:cNvSpPr/>
            <p:nvPr/>
          </p:nvSpPr>
          <p:spPr>
            <a:xfrm>
              <a:off x="4127395" y="4999967"/>
              <a:ext cx="122831" cy="100441"/>
            </a:xfrm>
            <a:custGeom>
              <a:avLst/>
              <a:gdLst>
                <a:gd name="connsiteX0" fmla="*/ 14288 w 190500"/>
                <a:gd name="connsiteY0" fmla="*/ 118110 h 179069"/>
                <a:gd name="connsiteX1" fmla="*/ 5715 w 190500"/>
                <a:gd name="connsiteY1" fmla="*/ 100965 h 179069"/>
                <a:gd name="connsiteX2" fmla="*/ 18098 w 190500"/>
                <a:gd name="connsiteY2" fmla="*/ 80963 h 179069"/>
                <a:gd name="connsiteX3" fmla="*/ 43815 w 190500"/>
                <a:gd name="connsiteY3" fmla="*/ 58103 h 179069"/>
                <a:gd name="connsiteX4" fmla="*/ 43815 w 190500"/>
                <a:gd name="connsiteY4" fmla="*/ 23813 h 179069"/>
                <a:gd name="connsiteX5" fmla="*/ 84773 w 190500"/>
                <a:gd name="connsiteY5" fmla="*/ 0 h 179069"/>
                <a:gd name="connsiteX6" fmla="*/ 109538 w 190500"/>
                <a:gd name="connsiteY6" fmla="*/ 12382 h 179069"/>
                <a:gd name="connsiteX7" fmla="*/ 161925 w 190500"/>
                <a:gd name="connsiteY7" fmla="*/ 12382 h 179069"/>
                <a:gd name="connsiteX8" fmla="*/ 165735 w 190500"/>
                <a:gd name="connsiteY8" fmla="*/ 39053 h 179069"/>
                <a:gd name="connsiteX9" fmla="*/ 181928 w 190500"/>
                <a:gd name="connsiteY9" fmla="*/ 54293 h 179069"/>
                <a:gd name="connsiteX10" fmla="*/ 174308 w 190500"/>
                <a:gd name="connsiteY10" fmla="*/ 77153 h 179069"/>
                <a:gd name="connsiteX11" fmla="*/ 190500 w 190500"/>
                <a:gd name="connsiteY11" fmla="*/ 106680 h 179069"/>
                <a:gd name="connsiteX12" fmla="*/ 155258 w 190500"/>
                <a:gd name="connsiteY12" fmla="*/ 115253 h 179069"/>
                <a:gd name="connsiteX13" fmla="*/ 123825 w 190500"/>
                <a:gd name="connsiteY13" fmla="*/ 134303 h 179069"/>
                <a:gd name="connsiteX14" fmla="*/ 123825 w 190500"/>
                <a:gd name="connsiteY14" fmla="*/ 168593 h 179069"/>
                <a:gd name="connsiteX15" fmla="*/ 96203 w 190500"/>
                <a:gd name="connsiteY15" fmla="*/ 178118 h 179069"/>
                <a:gd name="connsiteX16" fmla="*/ 71438 w 190500"/>
                <a:gd name="connsiteY16" fmla="*/ 168593 h 179069"/>
                <a:gd name="connsiteX17" fmla="*/ 43815 w 190500"/>
                <a:gd name="connsiteY17" fmla="*/ 179070 h 179069"/>
                <a:gd name="connsiteX18" fmla="*/ 6668 w 190500"/>
                <a:gd name="connsiteY18" fmla="*/ 153353 h 179069"/>
                <a:gd name="connsiteX19" fmla="*/ 0 w 190500"/>
                <a:gd name="connsiteY19" fmla="*/ 139065 h 179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0500" h="179069">
                  <a:moveTo>
                    <a:pt x="14288" y="118110"/>
                  </a:moveTo>
                  <a:lnTo>
                    <a:pt x="5715" y="100965"/>
                  </a:lnTo>
                  <a:lnTo>
                    <a:pt x="18098" y="80963"/>
                  </a:lnTo>
                  <a:lnTo>
                    <a:pt x="43815" y="58103"/>
                  </a:lnTo>
                  <a:lnTo>
                    <a:pt x="43815" y="23813"/>
                  </a:lnTo>
                  <a:lnTo>
                    <a:pt x="84773" y="0"/>
                  </a:lnTo>
                  <a:lnTo>
                    <a:pt x="109538" y="12382"/>
                  </a:lnTo>
                  <a:lnTo>
                    <a:pt x="161925" y="12382"/>
                  </a:lnTo>
                  <a:lnTo>
                    <a:pt x="165735" y="39053"/>
                  </a:lnTo>
                  <a:lnTo>
                    <a:pt x="181928" y="54293"/>
                  </a:lnTo>
                  <a:lnTo>
                    <a:pt x="174308" y="77153"/>
                  </a:lnTo>
                  <a:lnTo>
                    <a:pt x="190500" y="106680"/>
                  </a:lnTo>
                  <a:lnTo>
                    <a:pt x="155258" y="115253"/>
                  </a:lnTo>
                  <a:lnTo>
                    <a:pt x="123825" y="134303"/>
                  </a:lnTo>
                  <a:lnTo>
                    <a:pt x="123825" y="168593"/>
                  </a:lnTo>
                  <a:lnTo>
                    <a:pt x="96203" y="178118"/>
                  </a:lnTo>
                  <a:lnTo>
                    <a:pt x="71438" y="168593"/>
                  </a:lnTo>
                  <a:lnTo>
                    <a:pt x="43815" y="179070"/>
                  </a:lnTo>
                  <a:lnTo>
                    <a:pt x="6668" y="153353"/>
                  </a:lnTo>
                  <a:lnTo>
                    <a:pt x="0" y="13906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3" name="Полилиния: фигура 93">
              <a:extLst>
                <a:ext uri="{FF2B5EF4-FFF2-40B4-BE49-F238E27FC236}">
                  <a16:creationId xmlns:a16="http://schemas.microsoft.com/office/drawing/2014/main" id="{2727240A-CFC5-4F65-99D6-B440EB0C97E8}"/>
                </a:ext>
              </a:extLst>
            </p:cNvPr>
            <p:cNvSpPr/>
            <p:nvPr/>
          </p:nvSpPr>
          <p:spPr>
            <a:xfrm>
              <a:off x="4236715" y="4741384"/>
              <a:ext cx="378934" cy="357422"/>
            </a:xfrm>
            <a:custGeom>
              <a:avLst/>
              <a:gdLst>
                <a:gd name="connsiteX0" fmla="*/ 0 w 587692"/>
                <a:gd name="connsiteY0" fmla="*/ 397192 h 637222"/>
                <a:gd name="connsiteX1" fmla="*/ 20003 w 587692"/>
                <a:gd name="connsiteY1" fmla="*/ 367665 h 637222"/>
                <a:gd name="connsiteX2" fmla="*/ 37148 w 587692"/>
                <a:gd name="connsiteY2" fmla="*/ 351472 h 637222"/>
                <a:gd name="connsiteX3" fmla="*/ 60008 w 587692"/>
                <a:gd name="connsiteY3" fmla="*/ 345757 h 637222"/>
                <a:gd name="connsiteX4" fmla="*/ 90488 w 587692"/>
                <a:gd name="connsiteY4" fmla="*/ 363855 h 637222"/>
                <a:gd name="connsiteX5" fmla="*/ 130492 w 587692"/>
                <a:gd name="connsiteY5" fmla="*/ 324803 h 637222"/>
                <a:gd name="connsiteX6" fmla="*/ 93345 w 587692"/>
                <a:gd name="connsiteY6" fmla="*/ 287655 h 637222"/>
                <a:gd name="connsiteX7" fmla="*/ 63817 w 587692"/>
                <a:gd name="connsiteY7" fmla="*/ 265747 h 637222"/>
                <a:gd name="connsiteX8" fmla="*/ 85725 w 587692"/>
                <a:gd name="connsiteY8" fmla="*/ 243840 h 637222"/>
                <a:gd name="connsiteX9" fmla="*/ 120015 w 587692"/>
                <a:gd name="connsiteY9" fmla="*/ 232410 h 637222"/>
                <a:gd name="connsiteX10" fmla="*/ 134303 w 587692"/>
                <a:gd name="connsiteY10" fmla="*/ 246697 h 637222"/>
                <a:gd name="connsiteX11" fmla="*/ 150495 w 587692"/>
                <a:gd name="connsiteY11" fmla="*/ 228600 h 637222"/>
                <a:gd name="connsiteX12" fmla="*/ 190500 w 587692"/>
                <a:gd name="connsiteY12" fmla="*/ 228600 h 637222"/>
                <a:gd name="connsiteX13" fmla="*/ 195263 w 587692"/>
                <a:gd name="connsiteY13" fmla="*/ 161925 h 637222"/>
                <a:gd name="connsiteX14" fmla="*/ 212408 w 587692"/>
                <a:gd name="connsiteY14" fmla="*/ 142875 h 637222"/>
                <a:gd name="connsiteX15" fmla="*/ 220980 w 587692"/>
                <a:gd name="connsiteY15" fmla="*/ 133350 h 637222"/>
                <a:gd name="connsiteX16" fmla="*/ 220980 w 587692"/>
                <a:gd name="connsiteY16" fmla="*/ 107632 h 637222"/>
                <a:gd name="connsiteX17" fmla="*/ 240983 w 587692"/>
                <a:gd name="connsiteY17" fmla="*/ 97155 h 637222"/>
                <a:gd name="connsiteX18" fmla="*/ 210503 w 587692"/>
                <a:gd name="connsiteY18" fmla="*/ 64770 h 637222"/>
                <a:gd name="connsiteX19" fmla="*/ 224790 w 587692"/>
                <a:gd name="connsiteY19" fmla="*/ 51435 h 637222"/>
                <a:gd name="connsiteX20" fmla="*/ 251460 w 587692"/>
                <a:gd name="connsiteY20" fmla="*/ 63817 h 637222"/>
                <a:gd name="connsiteX21" fmla="*/ 301942 w 587692"/>
                <a:gd name="connsiteY21" fmla="*/ 13335 h 637222"/>
                <a:gd name="connsiteX22" fmla="*/ 317183 w 587692"/>
                <a:gd name="connsiteY22" fmla="*/ 0 h 637222"/>
                <a:gd name="connsiteX23" fmla="*/ 327660 w 587692"/>
                <a:gd name="connsiteY23" fmla="*/ 3810 h 637222"/>
                <a:gd name="connsiteX24" fmla="*/ 354330 w 587692"/>
                <a:gd name="connsiteY24" fmla="*/ 35242 h 637222"/>
                <a:gd name="connsiteX25" fmla="*/ 349567 w 587692"/>
                <a:gd name="connsiteY25" fmla="*/ 50482 h 637222"/>
                <a:gd name="connsiteX26" fmla="*/ 361950 w 587692"/>
                <a:gd name="connsiteY26" fmla="*/ 57150 h 637222"/>
                <a:gd name="connsiteX27" fmla="*/ 364808 w 587692"/>
                <a:gd name="connsiteY27" fmla="*/ 79057 h 637222"/>
                <a:gd name="connsiteX28" fmla="*/ 347663 w 587692"/>
                <a:gd name="connsiteY28" fmla="*/ 96203 h 637222"/>
                <a:gd name="connsiteX29" fmla="*/ 347663 w 587692"/>
                <a:gd name="connsiteY29" fmla="*/ 124778 h 637222"/>
                <a:gd name="connsiteX30" fmla="*/ 320040 w 587692"/>
                <a:gd name="connsiteY30" fmla="*/ 130492 h 637222"/>
                <a:gd name="connsiteX31" fmla="*/ 320040 w 587692"/>
                <a:gd name="connsiteY31" fmla="*/ 149542 h 637222"/>
                <a:gd name="connsiteX32" fmla="*/ 301942 w 587692"/>
                <a:gd name="connsiteY32" fmla="*/ 167640 h 637222"/>
                <a:gd name="connsiteX33" fmla="*/ 301942 w 587692"/>
                <a:gd name="connsiteY33" fmla="*/ 188595 h 637222"/>
                <a:gd name="connsiteX34" fmla="*/ 316230 w 587692"/>
                <a:gd name="connsiteY34" fmla="*/ 203835 h 637222"/>
                <a:gd name="connsiteX35" fmla="*/ 316230 w 587692"/>
                <a:gd name="connsiteY35" fmla="*/ 224790 h 637222"/>
                <a:gd name="connsiteX36" fmla="*/ 322898 w 587692"/>
                <a:gd name="connsiteY36" fmla="*/ 246697 h 637222"/>
                <a:gd name="connsiteX37" fmla="*/ 314325 w 587692"/>
                <a:gd name="connsiteY37" fmla="*/ 266700 h 637222"/>
                <a:gd name="connsiteX38" fmla="*/ 323850 w 587692"/>
                <a:gd name="connsiteY38" fmla="*/ 277178 h 637222"/>
                <a:gd name="connsiteX39" fmla="*/ 340042 w 587692"/>
                <a:gd name="connsiteY39" fmla="*/ 257175 h 637222"/>
                <a:gd name="connsiteX40" fmla="*/ 350520 w 587692"/>
                <a:gd name="connsiteY40" fmla="*/ 228600 h 637222"/>
                <a:gd name="connsiteX41" fmla="*/ 374333 w 587692"/>
                <a:gd name="connsiteY41" fmla="*/ 221932 h 637222"/>
                <a:gd name="connsiteX42" fmla="*/ 401003 w 587692"/>
                <a:gd name="connsiteY42" fmla="*/ 234315 h 637222"/>
                <a:gd name="connsiteX43" fmla="*/ 417195 w 587692"/>
                <a:gd name="connsiteY43" fmla="*/ 250507 h 637222"/>
                <a:gd name="connsiteX44" fmla="*/ 439103 w 587692"/>
                <a:gd name="connsiteY44" fmla="*/ 229553 h 637222"/>
                <a:gd name="connsiteX45" fmla="*/ 450533 w 587692"/>
                <a:gd name="connsiteY45" fmla="*/ 241935 h 637222"/>
                <a:gd name="connsiteX46" fmla="*/ 458153 w 587692"/>
                <a:gd name="connsiteY46" fmla="*/ 257175 h 637222"/>
                <a:gd name="connsiteX47" fmla="*/ 479108 w 587692"/>
                <a:gd name="connsiteY47" fmla="*/ 254317 h 637222"/>
                <a:gd name="connsiteX48" fmla="*/ 491490 w 587692"/>
                <a:gd name="connsiteY48" fmla="*/ 241935 h 637222"/>
                <a:gd name="connsiteX49" fmla="*/ 514350 w 587692"/>
                <a:gd name="connsiteY49" fmla="*/ 241935 h 637222"/>
                <a:gd name="connsiteX50" fmla="*/ 527685 w 587692"/>
                <a:gd name="connsiteY50" fmla="*/ 254317 h 637222"/>
                <a:gd name="connsiteX51" fmla="*/ 553403 w 587692"/>
                <a:gd name="connsiteY51" fmla="*/ 266700 h 637222"/>
                <a:gd name="connsiteX52" fmla="*/ 572453 w 587692"/>
                <a:gd name="connsiteY52" fmla="*/ 285750 h 637222"/>
                <a:gd name="connsiteX53" fmla="*/ 587693 w 587692"/>
                <a:gd name="connsiteY53" fmla="*/ 299085 h 637222"/>
                <a:gd name="connsiteX54" fmla="*/ 583883 w 587692"/>
                <a:gd name="connsiteY54" fmla="*/ 323850 h 637222"/>
                <a:gd name="connsiteX55" fmla="*/ 560070 w 587692"/>
                <a:gd name="connsiteY55" fmla="*/ 343853 h 637222"/>
                <a:gd name="connsiteX56" fmla="*/ 538163 w 587692"/>
                <a:gd name="connsiteY56" fmla="*/ 352425 h 637222"/>
                <a:gd name="connsiteX57" fmla="*/ 512445 w 587692"/>
                <a:gd name="connsiteY57" fmla="*/ 377190 h 637222"/>
                <a:gd name="connsiteX58" fmla="*/ 512445 w 587692"/>
                <a:gd name="connsiteY58" fmla="*/ 401003 h 637222"/>
                <a:gd name="connsiteX59" fmla="*/ 527685 w 587692"/>
                <a:gd name="connsiteY59" fmla="*/ 415290 h 637222"/>
                <a:gd name="connsiteX60" fmla="*/ 520065 w 587692"/>
                <a:gd name="connsiteY60" fmla="*/ 438150 h 637222"/>
                <a:gd name="connsiteX61" fmla="*/ 520065 w 587692"/>
                <a:gd name="connsiteY61" fmla="*/ 461010 h 637222"/>
                <a:gd name="connsiteX62" fmla="*/ 488633 w 587692"/>
                <a:gd name="connsiteY62" fmla="*/ 481013 h 637222"/>
                <a:gd name="connsiteX63" fmla="*/ 463867 w 587692"/>
                <a:gd name="connsiteY63" fmla="*/ 481013 h 637222"/>
                <a:gd name="connsiteX64" fmla="*/ 462915 w 587692"/>
                <a:gd name="connsiteY64" fmla="*/ 452438 h 637222"/>
                <a:gd name="connsiteX65" fmla="*/ 434340 w 587692"/>
                <a:gd name="connsiteY65" fmla="*/ 453390 h 637222"/>
                <a:gd name="connsiteX66" fmla="*/ 401003 w 587692"/>
                <a:gd name="connsiteY66" fmla="*/ 421957 h 637222"/>
                <a:gd name="connsiteX67" fmla="*/ 374333 w 587692"/>
                <a:gd name="connsiteY67" fmla="*/ 440055 h 637222"/>
                <a:gd name="connsiteX68" fmla="*/ 359092 w 587692"/>
                <a:gd name="connsiteY68" fmla="*/ 467678 h 637222"/>
                <a:gd name="connsiteX69" fmla="*/ 351473 w 587692"/>
                <a:gd name="connsiteY69" fmla="*/ 492442 h 637222"/>
                <a:gd name="connsiteX70" fmla="*/ 333375 w 587692"/>
                <a:gd name="connsiteY70" fmla="*/ 510540 h 637222"/>
                <a:gd name="connsiteX71" fmla="*/ 309563 w 587692"/>
                <a:gd name="connsiteY71" fmla="*/ 510540 h 637222"/>
                <a:gd name="connsiteX72" fmla="*/ 295275 w 587692"/>
                <a:gd name="connsiteY72" fmla="*/ 496253 h 637222"/>
                <a:gd name="connsiteX73" fmla="*/ 269558 w 587692"/>
                <a:gd name="connsiteY73" fmla="*/ 522922 h 637222"/>
                <a:gd name="connsiteX74" fmla="*/ 269558 w 587692"/>
                <a:gd name="connsiteY74" fmla="*/ 563880 h 637222"/>
                <a:gd name="connsiteX75" fmla="*/ 245745 w 587692"/>
                <a:gd name="connsiteY75" fmla="*/ 587692 h 637222"/>
                <a:gd name="connsiteX76" fmla="*/ 228600 w 587692"/>
                <a:gd name="connsiteY76" fmla="*/ 604838 h 637222"/>
                <a:gd name="connsiteX77" fmla="*/ 216217 w 587692"/>
                <a:gd name="connsiteY77" fmla="*/ 637222 h 637222"/>
                <a:gd name="connsiteX78" fmla="*/ 192405 w 587692"/>
                <a:gd name="connsiteY78" fmla="*/ 609600 h 637222"/>
                <a:gd name="connsiteX79" fmla="*/ 185738 w 587692"/>
                <a:gd name="connsiteY79" fmla="*/ 575310 h 637222"/>
                <a:gd name="connsiteX80" fmla="*/ 185738 w 587692"/>
                <a:gd name="connsiteY80" fmla="*/ 552450 h 637222"/>
                <a:gd name="connsiteX81" fmla="*/ 178117 w 587692"/>
                <a:gd name="connsiteY81" fmla="*/ 531495 h 637222"/>
                <a:gd name="connsiteX82" fmla="*/ 178117 w 587692"/>
                <a:gd name="connsiteY82" fmla="*/ 486728 h 637222"/>
                <a:gd name="connsiteX83" fmla="*/ 154305 w 587692"/>
                <a:gd name="connsiteY83" fmla="*/ 473392 h 637222"/>
                <a:gd name="connsiteX84" fmla="*/ 144780 w 587692"/>
                <a:gd name="connsiteY84" fmla="*/ 440055 h 637222"/>
                <a:gd name="connsiteX85" fmla="*/ 113348 w 587692"/>
                <a:gd name="connsiteY85" fmla="*/ 434340 h 637222"/>
                <a:gd name="connsiteX86" fmla="*/ 90488 w 587692"/>
                <a:gd name="connsiteY86" fmla="*/ 420053 h 637222"/>
                <a:gd name="connsiteX87" fmla="*/ 80010 w 587692"/>
                <a:gd name="connsiteY87" fmla="*/ 438150 h 637222"/>
                <a:gd name="connsiteX88" fmla="*/ 63817 w 587692"/>
                <a:gd name="connsiteY88" fmla="*/ 421957 h 637222"/>
                <a:gd name="connsiteX89" fmla="*/ 38100 w 587692"/>
                <a:gd name="connsiteY89" fmla="*/ 436245 h 637222"/>
                <a:gd name="connsiteX90" fmla="*/ 16192 w 587692"/>
                <a:gd name="connsiteY90" fmla="*/ 421957 h 637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587692" h="637222">
                  <a:moveTo>
                    <a:pt x="0" y="397192"/>
                  </a:moveTo>
                  <a:lnTo>
                    <a:pt x="20003" y="367665"/>
                  </a:lnTo>
                  <a:lnTo>
                    <a:pt x="37148" y="351472"/>
                  </a:lnTo>
                  <a:lnTo>
                    <a:pt x="60008" y="345757"/>
                  </a:lnTo>
                  <a:lnTo>
                    <a:pt x="90488" y="363855"/>
                  </a:lnTo>
                  <a:lnTo>
                    <a:pt x="130492" y="324803"/>
                  </a:lnTo>
                  <a:lnTo>
                    <a:pt x="93345" y="287655"/>
                  </a:lnTo>
                  <a:lnTo>
                    <a:pt x="63817" y="265747"/>
                  </a:lnTo>
                  <a:lnTo>
                    <a:pt x="85725" y="243840"/>
                  </a:lnTo>
                  <a:lnTo>
                    <a:pt x="120015" y="232410"/>
                  </a:lnTo>
                  <a:lnTo>
                    <a:pt x="134303" y="246697"/>
                  </a:lnTo>
                  <a:lnTo>
                    <a:pt x="150495" y="228600"/>
                  </a:lnTo>
                  <a:lnTo>
                    <a:pt x="190500" y="228600"/>
                  </a:lnTo>
                  <a:lnTo>
                    <a:pt x="195263" y="161925"/>
                  </a:lnTo>
                  <a:lnTo>
                    <a:pt x="212408" y="142875"/>
                  </a:lnTo>
                  <a:lnTo>
                    <a:pt x="220980" y="133350"/>
                  </a:lnTo>
                  <a:lnTo>
                    <a:pt x="220980" y="107632"/>
                  </a:lnTo>
                  <a:lnTo>
                    <a:pt x="240983" y="97155"/>
                  </a:lnTo>
                  <a:lnTo>
                    <a:pt x="210503" y="64770"/>
                  </a:lnTo>
                  <a:lnTo>
                    <a:pt x="224790" y="51435"/>
                  </a:lnTo>
                  <a:lnTo>
                    <a:pt x="251460" y="63817"/>
                  </a:lnTo>
                  <a:lnTo>
                    <a:pt x="301942" y="13335"/>
                  </a:lnTo>
                  <a:lnTo>
                    <a:pt x="317183" y="0"/>
                  </a:lnTo>
                  <a:lnTo>
                    <a:pt x="327660" y="3810"/>
                  </a:lnTo>
                  <a:lnTo>
                    <a:pt x="354330" y="35242"/>
                  </a:lnTo>
                  <a:lnTo>
                    <a:pt x="349567" y="50482"/>
                  </a:lnTo>
                  <a:lnTo>
                    <a:pt x="361950" y="57150"/>
                  </a:lnTo>
                  <a:lnTo>
                    <a:pt x="364808" y="79057"/>
                  </a:lnTo>
                  <a:lnTo>
                    <a:pt x="347663" y="96203"/>
                  </a:lnTo>
                  <a:lnTo>
                    <a:pt x="347663" y="124778"/>
                  </a:lnTo>
                  <a:lnTo>
                    <a:pt x="320040" y="130492"/>
                  </a:lnTo>
                  <a:lnTo>
                    <a:pt x="320040" y="149542"/>
                  </a:lnTo>
                  <a:lnTo>
                    <a:pt x="301942" y="167640"/>
                  </a:lnTo>
                  <a:lnTo>
                    <a:pt x="301942" y="188595"/>
                  </a:lnTo>
                  <a:lnTo>
                    <a:pt x="316230" y="203835"/>
                  </a:lnTo>
                  <a:lnTo>
                    <a:pt x="316230" y="224790"/>
                  </a:lnTo>
                  <a:lnTo>
                    <a:pt x="322898" y="246697"/>
                  </a:lnTo>
                  <a:lnTo>
                    <a:pt x="314325" y="266700"/>
                  </a:lnTo>
                  <a:lnTo>
                    <a:pt x="323850" y="277178"/>
                  </a:lnTo>
                  <a:lnTo>
                    <a:pt x="340042" y="257175"/>
                  </a:lnTo>
                  <a:lnTo>
                    <a:pt x="350520" y="228600"/>
                  </a:lnTo>
                  <a:lnTo>
                    <a:pt x="374333" y="221932"/>
                  </a:lnTo>
                  <a:lnTo>
                    <a:pt x="401003" y="234315"/>
                  </a:lnTo>
                  <a:lnTo>
                    <a:pt x="417195" y="250507"/>
                  </a:lnTo>
                  <a:lnTo>
                    <a:pt x="439103" y="229553"/>
                  </a:lnTo>
                  <a:lnTo>
                    <a:pt x="450533" y="241935"/>
                  </a:lnTo>
                  <a:lnTo>
                    <a:pt x="458153" y="257175"/>
                  </a:lnTo>
                  <a:lnTo>
                    <a:pt x="479108" y="254317"/>
                  </a:lnTo>
                  <a:lnTo>
                    <a:pt x="491490" y="241935"/>
                  </a:lnTo>
                  <a:lnTo>
                    <a:pt x="514350" y="241935"/>
                  </a:lnTo>
                  <a:lnTo>
                    <a:pt x="527685" y="254317"/>
                  </a:lnTo>
                  <a:lnTo>
                    <a:pt x="553403" y="266700"/>
                  </a:lnTo>
                  <a:lnTo>
                    <a:pt x="572453" y="285750"/>
                  </a:lnTo>
                  <a:lnTo>
                    <a:pt x="587693" y="299085"/>
                  </a:lnTo>
                  <a:lnTo>
                    <a:pt x="583883" y="323850"/>
                  </a:lnTo>
                  <a:lnTo>
                    <a:pt x="560070" y="343853"/>
                  </a:lnTo>
                  <a:lnTo>
                    <a:pt x="538163" y="352425"/>
                  </a:lnTo>
                  <a:lnTo>
                    <a:pt x="512445" y="377190"/>
                  </a:lnTo>
                  <a:lnTo>
                    <a:pt x="512445" y="401003"/>
                  </a:lnTo>
                  <a:lnTo>
                    <a:pt x="527685" y="415290"/>
                  </a:lnTo>
                  <a:lnTo>
                    <a:pt x="520065" y="438150"/>
                  </a:lnTo>
                  <a:lnTo>
                    <a:pt x="520065" y="461010"/>
                  </a:lnTo>
                  <a:lnTo>
                    <a:pt x="488633" y="481013"/>
                  </a:lnTo>
                  <a:lnTo>
                    <a:pt x="463867" y="481013"/>
                  </a:lnTo>
                  <a:lnTo>
                    <a:pt x="462915" y="452438"/>
                  </a:lnTo>
                  <a:lnTo>
                    <a:pt x="434340" y="453390"/>
                  </a:lnTo>
                  <a:lnTo>
                    <a:pt x="401003" y="421957"/>
                  </a:lnTo>
                  <a:lnTo>
                    <a:pt x="374333" y="440055"/>
                  </a:lnTo>
                  <a:lnTo>
                    <a:pt x="359092" y="467678"/>
                  </a:lnTo>
                  <a:lnTo>
                    <a:pt x="351473" y="492442"/>
                  </a:lnTo>
                  <a:lnTo>
                    <a:pt x="333375" y="510540"/>
                  </a:lnTo>
                  <a:lnTo>
                    <a:pt x="309563" y="510540"/>
                  </a:lnTo>
                  <a:lnTo>
                    <a:pt x="295275" y="496253"/>
                  </a:lnTo>
                  <a:lnTo>
                    <a:pt x="269558" y="522922"/>
                  </a:lnTo>
                  <a:lnTo>
                    <a:pt x="269558" y="563880"/>
                  </a:lnTo>
                  <a:lnTo>
                    <a:pt x="245745" y="587692"/>
                  </a:lnTo>
                  <a:lnTo>
                    <a:pt x="228600" y="604838"/>
                  </a:lnTo>
                  <a:lnTo>
                    <a:pt x="216217" y="637222"/>
                  </a:lnTo>
                  <a:lnTo>
                    <a:pt x="192405" y="609600"/>
                  </a:lnTo>
                  <a:lnTo>
                    <a:pt x="185738" y="575310"/>
                  </a:lnTo>
                  <a:lnTo>
                    <a:pt x="185738" y="552450"/>
                  </a:lnTo>
                  <a:lnTo>
                    <a:pt x="178117" y="531495"/>
                  </a:lnTo>
                  <a:lnTo>
                    <a:pt x="178117" y="486728"/>
                  </a:lnTo>
                  <a:lnTo>
                    <a:pt x="154305" y="473392"/>
                  </a:lnTo>
                  <a:lnTo>
                    <a:pt x="144780" y="440055"/>
                  </a:lnTo>
                  <a:lnTo>
                    <a:pt x="113348" y="434340"/>
                  </a:lnTo>
                  <a:lnTo>
                    <a:pt x="90488" y="420053"/>
                  </a:lnTo>
                  <a:lnTo>
                    <a:pt x="80010" y="438150"/>
                  </a:lnTo>
                  <a:lnTo>
                    <a:pt x="63817" y="421957"/>
                  </a:lnTo>
                  <a:lnTo>
                    <a:pt x="38100" y="436245"/>
                  </a:lnTo>
                  <a:lnTo>
                    <a:pt x="16192" y="421957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4" name="Полилиния: фигура 94">
              <a:extLst>
                <a:ext uri="{FF2B5EF4-FFF2-40B4-BE49-F238E27FC236}">
                  <a16:creationId xmlns:a16="http://schemas.microsoft.com/office/drawing/2014/main" id="{AB6CC809-9C09-461B-91D1-47E3A22FE688}"/>
                </a:ext>
              </a:extLst>
            </p:cNvPr>
            <p:cNvSpPr/>
            <p:nvPr/>
          </p:nvSpPr>
          <p:spPr>
            <a:xfrm>
              <a:off x="4173456" y="4950814"/>
              <a:ext cx="183018" cy="108990"/>
            </a:xfrm>
            <a:custGeom>
              <a:avLst/>
              <a:gdLst>
                <a:gd name="connsiteX0" fmla="*/ 41910 w 283845"/>
                <a:gd name="connsiteY0" fmla="*/ 18098 h 194310"/>
                <a:gd name="connsiteX1" fmla="*/ 59055 w 283845"/>
                <a:gd name="connsiteY1" fmla="*/ 0 h 194310"/>
                <a:gd name="connsiteX2" fmla="*/ 98108 w 283845"/>
                <a:gd name="connsiteY2" fmla="*/ 23813 h 194310"/>
                <a:gd name="connsiteX3" fmla="*/ 114300 w 283845"/>
                <a:gd name="connsiteY3" fmla="*/ 48578 h 194310"/>
                <a:gd name="connsiteX4" fmla="*/ 136208 w 283845"/>
                <a:gd name="connsiteY4" fmla="*/ 62865 h 194310"/>
                <a:gd name="connsiteX5" fmla="*/ 161925 w 283845"/>
                <a:gd name="connsiteY5" fmla="*/ 48578 h 194310"/>
                <a:gd name="connsiteX6" fmla="*/ 178118 w 283845"/>
                <a:gd name="connsiteY6" fmla="*/ 64770 h 194310"/>
                <a:gd name="connsiteX7" fmla="*/ 188595 w 283845"/>
                <a:gd name="connsiteY7" fmla="*/ 46673 h 194310"/>
                <a:gd name="connsiteX8" fmla="*/ 211455 w 283845"/>
                <a:gd name="connsiteY8" fmla="*/ 60960 h 194310"/>
                <a:gd name="connsiteX9" fmla="*/ 242888 w 283845"/>
                <a:gd name="connsiteY9" fmla="*/ 66675 h 194310"/>
                <a:gd name="connsiteX10" fmla="*/ 252413 w 283845"/>
                <a:gd name="connsiteY10" fmla="*/ 100013 h 194310"/>
                <a:gd name="connsiteX11" fmla="*/ 276225 w 283845"/>
                <a:gd name="connsiteY11" fmla="*/ 113348 h 194310"/>
                <a:gd name="connsiteX12" fmla="*/ 276225 w 283845"/>
                <a:gd name="connsiteY12" fmla="*/ 158115 h 194310"/>
                <a:gd name="connsiteX13" fmla="*/ 283845 w 283845"/>
                <a:gd name="connsiteY13" fmla="*/ 179070 h 194310"/>
                <a:gd name="connsiteX14" fmla="*/ 259080 w 283845"/>
                <a:gd name="connsiteY14" fmla="*/ 193358 h 194310"/>
                <a:gd name="connsiteX15" fmla="*/ 240983 w 283845"/>
                <a:gd name="connsiteY15" fmla="*/ 175260 h 194310"/>
                <a:gd name="connsiteX16" fmla="*/ 210503 w 283845"/>
                <a:gd name="connsiteY16" fmla="*/ 175260 h 194310"/>
                <a:gd name="connsiteX17" fmla="*/ 197168 w 283845"/>
                <a:gd name="connsiteY17" fmla="*/ 162878 h 194310"/>
                <a:gd name="connsiteX18" fmla="*/ 164783 w 283845"/>
                <a:gd name="connsiteY18" fmla="*/ 181928 h 194310"/>
                <a:gd name="connsiteX19" fmla="*/ 119063 w 283845"/>
                <a:gd name="connsiteY19" fmla="*/ 194310 h 194310"/>
                <a:gd name="connsiteX20" fmla="*/ 102870 w 283845"/>
                <a:gd name="connsiteY20" fmla="*/ 164783 h 194310"/>
                <a:gd name="connsiteX21" fmla="*/ 110490 w 283845"/>
                <a:gd name="connsiteY21" fmla="*/ 141923 h 194310"/>
                <a:gd name="connsiteX22" fmla="*/ 94298 w 283845"/>
                <a:gd name="connsiteY22" fmla="*/ 126683 h 194310"/>
                <a:gd name="connsiteX23" fmla="*/ 90488 w 283845"/>
                <a:gd name="connsiteY23" fmla="*/ 100013 h 194310"/>
                <a:gd name="connsiteX24" fmla="*/ 38100 w 283845"/>
                <a:gd name="connsiteY24" fmla="*/ 100013 h 194310"/>
                <a:gd name="connsiteX25" fmla="*/ 13335 w 283845"/>
                <a:gd name="connsiteY25" fmla="*/ 87630 h 194310"/>
                <a:gd name="connsiteX26" fmla="*/ 0 w 283845"/>
                <a:gd name="connsiteY26" fmla="*/ 62865 h 194310"/>
                <a:gd name="connsiteX27" fmla="*/ 15240 w 283845"/>
                <a:gd name="connsiteY27" fmla="*/ 48578 h 194310"/>
                <a:gd name="connsiteX28" fmla="*/ 12383 w 283845"/>
                <a:gd name="connsiteY28" fmla="*/ 17145 h 19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3845" h="194310">
                  <a:moveTo>
                    <a:pt x="41910" y="18098"/>
                  </a:moveTo>
                  <a:lnTo>
                    <a:pt x="59055" y="0"/>
                  </a:lnTo>
                  <a:lnTo>
                    <a:pt x="98108" y="23813"/>
                  </a:lnTo>
                  <a:lnTo>
                    <a:pt x="114300" y="48578"/>
                  </a:lnTo>
                  <a:lnTo>
                    <a:pt x="136208" y="62865"/>
                  </a:lnTo>
                  <a:lnTo>
                    <a:pt x="161925" y="48578"/>
                  </a:lnTo>
                  <a:lnTo>
                    <a:pt x="178118" y="64770"/>
                  </a:lnTo>
                  <a:lnTo>
                    <a:pt x="188595" y="46673"/>
                  </a:lnTo>
                  <a:lnTo>
                    <a:pt x="211455" y="60960"/>
                  </a:lnTo>
                  <a:lnTo>
                    <a:pt x="242888" y="66675"/>
                  </a:lnTo>
                  <a:lnTo>
                    <a:pt x="252413" y="100013"/>
                  </a:lnTo>
                  <a:lnTo>
                    <a:pt x="276225" y="113348"/>
                  </a:lnTo>
                  <a:lnTo>
                    <a:pt x="276225" y="158115"/>
                  </a:lnTo>
                  <a:lnTo>
                    <a:pt x="283845" y="179070"/>
                  </a:lnTo>
                  <a:lnTo>
                    <a:pt x="259080" y="193358"/>
                  </a:lnTo>
                  <a:lnTo>
                    <a:pt x="240983" y="175260"/>
                  </a:lnTo>
                  <a:lnTo>
                    <a:pt x="210503" y="175260"/>
                  </a:lnTo>
                  <a:lnTo>
                    <a:pt x="197168" y="162878"/>
                  </a:lnTo>
                  <a:lnTo>
                    <a:pt x="164783" y="181928"/>
                  </a:lnTo>
                  <a:lnTo>
                    <a:pt x="119063" y="194310"/>
                  </a:lnTo>
                  <a:lnTo>
                    <a:pt x="102870" y="164783"/>
                  </a:lnTo>
                  <a:lnTo>
                    <a:pt x="110490" y="141923"/>
                  </a:lnTo>
                  <a:lnTo>
                    <a:pt x="94298" y="126683"/>
                  </a:lnTo>
                  <a:lnTo>
                    <a:pt x="90488" y="100013"/>
                  </a:lnTo>
                  <a:lnTo>
                    <a:pt x="38100" y="100013"/>
                  </a:lnTo>
                  <a:lnTo>
                    <a:pt x="13335" y="87630"/>
                  </a:lnTo>
                  <a:lnTo>
                    <a:pt x="0" y="62865"/>
                  </a:lnTo>
                  <a:lnTo>
                    <a:pt x="15240" y="48578"/>
                  </a:lnTo>
                  <a:lnTo>
                    <a:pt x="12383" y="1714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5" name="Полилиния: фигура 95">
              <a:extLst>
                <a:ext uri="{FF2B5EF4-FFF2-40B4-BE49-F238E27FC236}">
                  <a16:creationId xmlns:a16="http://schemas.microsoft.com/office/drawing/2014/main" id="{9F50F86D-43CD-4B2C-B3AE-122D49D15F5D}"/>
                </a:ext>
              </a:extLst>
            </p:cNvPr>
            <p:cNvSpPr/>
            <p:nvPr/>
          </p:nvSpPr>
          <p:spPr>
            <a:xfrm>
              <a:off x="4155646" y="5042174"/>
              <a:ext cx="305850" cy="220116"/>
            </a:xfrm>
            <a:custGeom>
              <a:avLst/>
              <a:gdLst>
                <a:gd name="connsiteX0" fmla="*/ 461963 w 474345"/>
                <a:gd name="connsiteY0" fmla="*/ 220028 h 392430"/>
                <a:gd name="connsiteX1" fmla="*/ 474345 w 474345"/>
                <a:gd name="connsiteY1" fmla="*/ 238125 h 392430"/>
                <a:gd name="connsiteX2" fmla="*/ 474345 w 474345"/>
                <a:gd name="connsiteY2" fmla="*/ 257175 h 392430"/>
                <a:gd name="connsiteX3" fmla="*/ 444817 w 474345"/>
                <a:gd name="connsiteY3" fmla="*/ 279083 h 392430"/>
                <a:gd name="connsiteX4" fmla="*/ 423863 w 474345"/>
                <a:gd name="connsiteY4" fmla="*/ 279083 h 392430"/>
                <a:gd name="connsiteX5" fmla="*/ 406717 w 474345"/>
                <a:gd name="connsiteY5" fmla="*/ 286703 h 392430"/>
                <a:gd name="connsiteX6" fmla="*/ 398145 w 474345"/>
                <a:gd name="connsiteY6" fmla="*/ 278130 h 392430"/>
                <a:gd name="connsiteX7" fmla="*/ 383858 w 474345"/>
                <a:gd name="connsiteY7" fmla="*/ 286703 h 392430"/>
                <a:gd name="connsiteX8" fmla="*/ 388620 w 474345"/>
                <a:gd name="connsiteY8" fmla="*/ 304800 h 392430"/>
                <a:gd name="connsiteX9" fmla="*/ 388620 w 474345"/>
                <a:gd name="connsiteY9" fmla="*/ 317183 h 392430"/>
                <a:gd name="connsiteX10" fmla="*/ 398145 w 474345"/>
                <a:gd name="connsiteY10" fmla="*/ 326708 h 392430"/>
                <a:gd name="connsiteX11" fmla="*/ 369570 w 474345"/>
                <a:gd name="connsiteY11" fmla="*/ 356235 h 392430"/>
                <a:gd name="connsiteX12" fmla="*/ 353378 w 474345"/>
                <a:gd name="connsiteY12" fmla="*/ 356235 h 392430"/>
                <a:gd name="connsiteX13" fmla="*/ 338138 w 474345"/>
                <a:gd name="connsiteY13" fmla="*/ 385763 h 392430"/>
                <a:gd name="connsiteX14" fmla="*/ 320992 w 474345"/>
                <a:gd name="connsiteY14" fmla="*/ 392430 h 392430"/>
                <a:gd name="connsiteX15" fmla="*/ 304800 w 474345"/>
                <a:gd name="connsiteY15" fmla="*/ 376238 h 392430"/>
                <a:gd name="connsiteX16" fmla="*/ 320992 w 474345"/>
                <a:gd name="connsiteY16" fmla="*/ 360045 h 392430"/>
                <a:gd name="connsiteX17" fmla="*/ 297180 w 474345"/>
                <a:gd name="connsiteY17" fmla="*/ 336233 h 392430"/>
                <a:gd name="connsiteX18" fmla="*/ 274320 w 474345"/>
                <a:gd name="connsiteY18" fmla="*/ 336233 h 392430"/>
                <a:gd name="connsiteX19" fmla="*/ 263842 w 474345"/>
                <a:gd name="connsiteY19" fmla="*/ 312420 h 392430"/>
                <a:gd name="connsiteX20" fmla="*/ 271463 w 474345"/>
                <a:gd name="connsiteY20" fmla="*/ 294322 h 392430"/>
                <a:gd name="connsiteX21" fmla="*/ 236220 w 474345"/>
                <a:gd name="connsiteY21" fmla="*/ 264795 h 392430"/>
                <a:gd name="connsiteX22" fmla="*/ 213360 w 474345"/>
                <a:gd name="connsiteY22" fmla="*/ 264795 h 392430"/>
                <a:gd name="connsiteX23" fmla="*/ 197167 w 474345"/>
                <a:gd name="connsiteY23" fmla="*/ 280988 h 392430"/>
                <a:gd name="connsiteX24" fmla="*/ 160972 w 474345"/>
                <a:gd name="connsiteY24" fmla="*/ 244793 h 392430"/>
                <a:gd name="connsiteX25" fmla="*/ 153353 w 474345"/>
                <a:gd name="connsiteY25" fmla="*/ 226695 h 392430"/>
                <a:gd name="connsiteX26" fmla="*/ 133350 w 474345"/>
                <a:gd name="connsiteY26" fmla="*/ 205740 h 392430"/>
                <a:gd name="connsiteX27" fmla="*/ 125730 w 474345"/>
                <a:gd name="connsiteY27" fmla="*/ 173355 h 392430"/>
                <a:gd name="connsiteX28" fmla="*/ 114300 w 474345"/>
                <a:gd name="connsiteY28" fmla="*/ 161925 h 392430"/>
                <a:gd name="connsiteX29" fmla="*/ 92392 w 474345"/>
                <a:gd name="connsiteY29" fmla="*/ 169545 h 392430"/>
                <a:gd name="connsiteX30" fmla="*/ 50483 w 474345"/>
                <a:gd name="connsiteY30" fmla="*/ 130493 h 392430"/>
                <a:gd name="connsiteX31" fmla="*/ 28575 w 474345"/>
                <a:gd name="connsiteY31" fmla="*/ 120968 h 392430"/>
                <a:gd name="connsiteX32" fmla="*/ 0 w 474345"/>
                <a:gd name="connsiteY32" fmla="*/ 127635 h 392430"/>
                <a:gd name="connsiteX33" fmla="*/ 0 w 474345"/>
                <a:gd name="connsiteY33" fmla="*/ 103822 h 392430"/>
                <a:gd name="connsiteX34" fmla="*/ 27622 w 474345"/>
                <a:gd name="connsiteY34" fmla="*/ 93345 h 392430"/>
                <a:gd name="connsiteX35" fmla="*/ 52388 w 474345"/>
                <a:gd name="connsiteY35" fmla="*/ 102870 h 392430"/>
                <a:gd name="connsiteX36" fmla="*/ 80010 w 474345"/>
                <a:gd name="connsiteY36" fmla="*/ 93345 h 392430"/>
                <a:gd name="connsiteX37" fmla="*/ 80010 w 474345"/>
                <a:gd name="connsiteY37" fmla="*/ 59055 h 392430"/>
                <a:gd name="connsiteX38" fmla="*/ 111442 w 474345"/>
                <a:gd name="connsiteY38" fmla="*/ 40005 h 392430"/>
                <a:gd name="connsiteX39" fmla="*/ 146685 w 474345"/>
                <a:gd name="connsiteY39" fmla="*/ 31433 h 392430"/>
                <a:gd name="connsiteX40" fmla="*/ 192405 w 474345"/>
                <a:gd name="connsiteY40" fmla="*/ 19050 h 392430"/>
                <a:gd name="connsiteX41" fmla="*/ 224790 w 474345"/>
                <a:gd name="connsiteY41" fmla="*/ 0 h 392430"/>
                <a:gd name="connsiteX42" fmla="*/ 238125 w 474345"/>
                <a:gd name="connsiteY42" fmla="*/ 12383 h 392430"/>
                <a:gd name="connsiteX43" fmla="*/ 268605 w 474345"/>
                <a:gd name="connsiteY43" fmla="*/ 12383 h 392430"/>
                <a:gd name="connsiteX44" fmla="*/ 286703 w 474345"/>
                <a:gd name="connsiteY44" fmla="*/ 30480 h 392430"/>
                <a:gd name="connsiteX45" fmla="*/ 311467 w 474345"/>
                <a:gd name="connsiteY45" fmla="*/ 16193 h 392430"/>
                <a:gd name="connsiteX46" fmla="*/ 311467 w 474345"/>
                <a:gd name="connsiteY46" fmla="*/ 39053 h 392430"/>
                <a:gd name="connsiteX47" fmla="*/ 318135 w 474345"/>
                <a:gd name="connsiteY47" fmla="*/ 73343 h 392430"/>
                <a:gd name="connsiteX48" fmla="*/ 341947 w 474345"/>
                <a:gd name="connsiteY48" fmla="*/ 100965 h 392430"/>
                <a:gd name="connsiteX49" fmla="*/ 371475 w 474345"/>
                <a:gd name="connsiteY49" fmla="*/ 103822 h 392430"/>
                <a:gd name="connsiteX50" fmla="*/ 384810 w 474345"/>
                <a:gd name="connsiteY50" fmla="*/ 122872 h 392430"/>
                <a:gd name="connsiteX51" fmla="*/ 409575 w 474345"/>
                <a:gd name="connsiteY51" fmla="*/ 133350 h 392430"/>
                <a:gd name="connsiteX52" fmla="*/ 419100 w 474345"/>
                <a:gd name="connsiteY52" fmla="*/ 147638 h 392430"/>
                <a:gd name="connsiteX53" fmla="*/ 435292 w 474345"/>
                <a:gd name="connsiteY53" fmla="*/ 147638 h 392430"/>
                <a:gd name="connsiteX54" fmla="*/ 438150 w 474345"/>
                <a:gd name="connsiteY54" fmla="*/ 173355 h 392430"/>
                <a:gd name="connsiteX55" fmla="*/ 457200 w 474345"/>
                <a:gd name="connsiteY55" fmla="*/ 188595 h 392430"/>
                <a:gd name="connsiteX56" fmla="*/ 439103 w 474345"/>
                <a:gd name="connsiteY56" fmla="*/ 199072 h 392430"/>
                <a:gd name="connsiteX57" fmla="*/ 440055 w 474345"/>
                <a:gd name="connsiteY57" fmla="*/ 211455 h 392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74345" h="392430">
                  <a:moveTo>
                    <a:pt x="461963" y="220028"/>
                  </a:moveTo>
                  <a:lnTo>
                    <a:pt x="474345" y="238125"/>
                  </a:lnTo>
                  <a:lnTo>
                    <a:pt x="474345" y="257175"/>
                  </a:lnTo>
                  <a:lnTo>
                    <a:pt x="444817" y="279083"/>
                  </a:lnTo>
                  <a:lnTo>
                    <a:pt x="423863" y="279083"/>
                  </a:lnTo>
                  <a:lnTo>
                    <a:pt x="406717" y="286703"/>
                  </a:lnTo>
                  <a:lnTo>
                    <a:pt x="398145" y="278130"/>
                  </a:lnTo>
                  <a:lnTo>
                    <a:pt x="383858" y="286703"/>
                  </a:lnTo>
                  <a:lnTo>
                    <a:pt x="388620" y="304800"/>
                  </a:lnTo>
                  <a:lnTo>
                    <a:pt x="388620" y="317183"/>
                  </a:lnTo>
                  <a:lnTo>
                    <a:pt x="398145" y="326708"/>
                  </a:lnTo>
                  <a:lnTo>
                    <a:pt x="369570" y="356235"/>
                  </a:lnTo>
                  <a:lnTo>
                    <a:pt x="353378" y="356235"/>
                  </a:lnTo>
                  <a:lnTo>
                    <a:pt x="338138" y="385763"/>
                  </a:lnTo>
                  <a:lnTo>
                    <a:pt x="320992" y="392430"/>
                  </a:lnTo>
                  <a:lnTo>
                    <a:pt x="304800" y="376238"/>
                  </a:lnTo>
                  <a:lnTo>
                    <a:pt x="320992" y="360045"/>
                  </a:lnTo>
                  <a:lnTo>
                    <a:pt x="297180" y="336233"/>
                  </a:lnTo>
                  <a:lnTo>
                    <a:pt x="274320" y="336233"/>
                  </a:lnTo>
                  <a:lnTo>
                    <a:pt x="263842" y="312420"/>
                  </a:lnTo>
                  <a:lnTo>
                    <a:pt x="271463" y="294322"/>
                  </a:lnTo>
                  <a:lnTo>
                    <a:pt x="236220" y="264795"/>
                  </a:lnTo>
                  <a:lnTo>
                    <a:pt x="213360" y="264795"/>
                  </a:lnTo>
                  <a:lnTo>
                    <a:pt x="197167" y="280988"/>
                  </a:lnTo>
                  <a:lnTo>
                    <a:pt x="160972" y="244793"/>
                  </a:lnTo>
                  <a:lnTo>
                    <a:pt x="153353" y="226695"/>
                  </a:lnTo>
                  <a:lnTo>
                    <a:pt x="133350" y="205740"/>
                  </a:lnTo>
                  <a:lnTo>
                    <a:pt x="125730" y="173355"/>
                  </a:lnTo>
                  <a:lnTo>
                    <a:pt x="114300" y="161925"/>
                  </a:lnTo>
                  <a:lnTo>
                    <a:pt x="92392" y="169545"/>
                  </a:lnTo>
                  <a:lnTo>
                    <a:pt x="50483" y="130493"/>
                  </a:lnTo>
                  <a:lnTo>
                    <a:pt x="28575" y="120968"/>
                  </a:lnTo>
                  <a:lnTo>
                    <a:pt x="0" y="127635"/>
                  </a:lnTo>
                  <a:lnTo>
                    <a:pt x="0" y="103822"/>
                  </a:lnTo>
                  <a:lnTo>
                    <a:pt x="27622" y="93345"/>
                  </a:lnTo>
                  <a:lnTo>
                    <a:pt x="52388" y="102870"/>
                  </a:lnTo>
                  <a:lnTo>
                    <a:pt x="80010" y="93345"/>
                  </a:lnTo>
                  <a:lnTo>
                    <a:pt x="80010" y="59055"/>
                  </a:lnTo>
                  <a:lnTo>
                    <a:pt x="111442" y="40005"/>
                  </a:lnTo>
                  <a:lnTo>
                    <a:pt x="146685" y="31433"/>
                  </a:lnTo>
                  <a:lnTo>
                    <a:pt x="192405" y="19050"/>
                  </a:lnTo>
                  <a:lnTo>
                    <a:pt x="224790" y="0"/>
                  </a:lnTo>
                  <a:lnTo>
                    <a:pt x="238125" y="12383"/>
                  </a:lnTo>
                  <a:lnTo>
                    <a:pt x="268605" y="12383"/>
                  </a:lnTo>
                  <a:lnTo>
                    <a:pt x="286703" y="30480"/>
                  </a:lnTo>
                  <a:lnTo>
                    <a:pt x="311467" y="16193"/>
                  </a:lnTo>
                  <a:lnTo>
                    <a:pt x="311467" y="39053"/>
                  </a:lnTo>
                  <a:lnTo>
                    <a:pt x="318135" y="73343"/>
                  </a:lnTo>
                  <a:lnTo>
                    <a:pt x="341947" y="100965"/>
                  </a:lnTo>
                  <a:lnTo>
                    <a:pt x="371475" y="103822"/>
                  </a:lnTo>
                  <a:lnTo>
                    <a:pt x="384810" y="122872"/>
                  </a:lnTo>
                  <a:lnTo>
                    <a:pt x="409575" y="133350"/>
                  </a:lnTo>
                  <a:lnTo>
                    <a:pt x="419100" y="147638"/>
                  </a:lnTo>
                  <a:lnTo>
                    <a:pt x="435292" y="147638"/>
                  </a:lnTo>
                  <a:lnTo>
                    <a:pt x="438150" y="173355"/>
                  </a:lnTo>
                  <a:lnTo>
                    <a:pt x="457200" y="188595"/>
                  </a:lnTo>
                  <a:lnTo>
                    <a:pt x="439103" y="199072"/>
                  </a:lnTo>
                  <a:lnTo>
                    <a:pt x="440055" y="21145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6" name="Полилиния: фигура 96">
              <a:extLst>
                <a:ext uri="{FF2B5EF4-FFF2-40B4-BE49-F238E27FC236}">
                  <a16:creationId xmlns:a16="http://schemas.microsoft.com/office/drawing/2014/main" id="{21FE15A9-8527-4993-80E3-54A8C4298AF6}"/>
                </a:ext>
              </a:extLst>
            </p:cNvPr>
            <p:cNvSpPr/>
            <p:nvPr/>
          </p:nvSpPr>
          <p:spPr>
            <a:xfrm>
              <a:off x="4376128" y="4978062"/>
              <a:ext cx="175649" cy="187526"/>
            </a:xfrm>
            <a:custGeom>
              <a:avLst/>
              <a:gdLst>
                <a:gd name="connsiteX0" fmla="*/ 12383 w 272415"/>
                <a:gd name="connsiteY0" fmla="*/ 182880 h 334327"/>
                <a:gd name="connsiteX1" fmla="*/ 53340 w 272415"/>
                <a:gd name="connsiteY1" fmla="*/ 141922 h 334327"/>
                <a:gd name="connsiteX2" fmla="*/ 53340 w 272415"/>
                <a:gd name="connsiteY2" fmla="*/ 100965 h 334327"/>
                <a:gd name="connsiteX3" fmla="*/ 79058 w 272415"/>
                <a:gd name="connsiteY3" fmla="*/ 74295 h 334327"/>
                <a:gd name="connsiteX4" fmla="*/ 93345 w 272415"/>
                <a:gd name="connsiteY4" fmla="*/ 88583 h 334327"/>
                <a:gd name="connsiteX5" fmla="*/ 117158 w 272415"/>
                <a:gd name="connsiteY5" fmla="*/ 88583 h 334327"/>
                <a:gd name="connsiteX6" fmla="*/ 135255 w 272415"/>
                <a:gd name="connsiteY6" fmla="*/ 70485 h 334327"/>
                <a:gd name="connsiteX7" fmla="*/ 142875 w 272415"/>
                <a:gd name="connsiteY7" fmla="*/ 45720 h 334327"/>
                <a:gd name="connsiteX8" fmla="*/ 158115 w 272415"/>
                <a:gd name="connsiteY8" fmla="*/ 18097 h 334327"/>
                <a:gd name="connsiteX9" fmla="*/ 184785 w 272415"/>
                <a:gd name="connsiteY9" fmla="*/ 0 h 334327"/>
                <a:gd name="connsiteX10" fmla="*/ 218123 w 272415"/>
                <a:gd name="connsiteY10" fmla="*/ 31433 h 334327"/>
                <a:gd name="connsiteX11" fmla="*/ 246698 w 272415"/>
                <a:gd name="connsiteY11" fmla="*/ 30480 h 334327"/>
                <a:gd name="connsiteX12" fmla="*/ 247650 w 272415"/>
                <a:gd name="connsiteY12" fmla="*/ 59055 h 334327"/>
                <a:gd name="connsiteX13" fmla="*/ 272415 w 272415"/>
                <a:gd name="connsiteY13" fmla="*/ 59055 h 334327"/>
                <a:gd name="connsiteX14" fmla="*/ 266700 w 272415"/>
                <a:gd name="connsiteY14" fmla="*/ 89535 h 334327"/>
                <a:gd name="connsiteX15" fmla="*/ 264795 w 272415"/>
                <a:gd name="connsiteY15" fmla="*/ 125730 h 334327"/>
                <a:gd name="connsiteX16" fmla="*/ 247650 w 272415"/>
                <a:gd name="connsiteY16" fmla="*/ 157163 h 334327"/>
                <a:gd name="connsiteX17" fmla="*/ 242888 w 272415"/>
                <a:gd name="connsiteY17" fmla="*/ 191453 h 334327"/>
                <a:gd name="connsiteX18" fmla="*/ 226695 w 272415"/>
                <a:gd name="connsiteY18" fmla="*/ 227647 h 334327"/>
                <a:gd name="connsiteX19" fmla="*/ 180975 w 272415"/>
                <a:gd name="connsiteY19" fmla="*/ 250508 h 334327"/>
                <a:gd name="connsiteX20" fmla="*/ 180975 w 272415"/>
                <a:gd name="connsiteY20" fmla="*/ 266700 h 334327"/>
                <a:gd name="connsiteX21" fmla="*/ 199073 w 272415"/>
                <a:gd name="connsiteY21" fmla="*/ 294322 h 334327"/>
                <a:gd name="connsiteX22" fmla="*/ 183833 w 272415"/>
                <a:gd name="connsiteY22" fmla="*/ 309563 h 334327"/>
                <a:gd name="connsiteX23" fmla="*/ 129540 w 272415"/>
                <a:gd name="connsiteY23" fmla="*/ 324803 h 334327"/>
                <a:gd name="connsiteX24" fmla="*/ 120015 w 272415"/>
                <a:gd name="connsiteY24" fmla="*/ 334328 h 334327"/>
                <a:gd name="connsiteX25" fmla="*/ 98108 w 272415"/>
                <a:gd name="connsiteY25" fmla="*/ 325755 h 334327"/>
                <a:gd name="connsiteX26" fmla="*/ 97155 w 272415"/>
                <a:gd name="connsiteY26" fmla="*/ 313372 h 334327"/>
                <a:gd name="connsiteX27" fmla="*/ 115253 w 272415"/>
                <a:gd name="connsiteY27" fmla="*/ 302895 h 334327"/>
                <a:gd name="connsiteX28" fmla="*/ 96203 w 272415"/>
                <a:gd name="connsiteY28" fmla="*/ 287655 h 334327"/>
                <a:gd name="connsiteX29" fmla="*/ 93345 w 272415"/>
                <a:gd name="connsiteY29" fmla="*/ 261938 h 334327"/>
                <a:gd name="connsiteX30" fmla="*/ 77153 w 272415"/>
                <a:gd name="connsiteY30" fmla="*/ 261938 h 334327"/>
                <a:gd name="connsiteX31" fmla="*/ 67628 w 272415"/>
                <a:gd name="connsiteY31" fmla="*/ 247650 h 334327"/>
                <a:gd name="connsiteX32" fmla="*/ 42863 w 272415"/>
                <a:gd name="connsiteY32" fmla="*/ 237172 h 334327"/>
                <a:gd name="connsiteX33" fmla="*/ 29528 w 272415"/>
                <a:gd name="connsiteY33" fmla="*/ 218122 h 334327"/>
                <a:gd name="connsiteX34" fmla="*/ 0 w 272415"/>
                <a:gd name="connsiteY34" fmla="*/ 215265 h 33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72415" h="334327">
                  <a:moveTo>
                    <a:pt x="12383" y="182880"/>
                  </a:moveTo>
                  <a:lnTo>
                    <a:pt x="53340" y="141922"/>
                  </a:lnTo>
                  <a:lnTo>
                    <a:pt x="53340" y="100965"/>
                  </a:lnTo>
                  <a:lnTo>
                    <a:pt x="79058" y="74295"/>
                  </a:lnTo>
                  <a:lnTo>
                    <a:pt x="93345" y="88583"/>
                  </a:lnTo>
                  <a:lnTo>
                    <a:pt x="117158" y="88583"/>
                  </a:lnTo>
                  <a:lnTo>
                    <a:pt x="135255" y="70485"/>
                  </a:lnTo>
                  <a:lnTo>
                    <a:pt x="142875" y="45720"/>
                  </a:lnTo>
                  <a:lnTo>
                    <a:pt x="158115" y="18097"/>
                  </a:lnTo>
                  <a:lnTo>
                    <a:pt x="184785" y="0"/>
                  </a:lnTo>
                  <a:lnTo>
                    <a:pt x="218123" y="31433"/>
                  </a:lnTo>
                  <a:lnTo>
                    <a:pt x="246698" y="30480"/>
                  </a:lnTo>
                  <a:lnTo>
                    <a:pt x="247650" y="59055"/>
                  </a:lnTo>
                  <a:lnTo>
                    <a:pt x="272415" y="59055"/>
                  </a:lnTo>
                  <a:lnTo>
                    <a:pt x="266700" y="89535"/>
                  </a:lnTo>
                  <a:lnTo>
                    <a:pt x="264795" y="125730"/>
                  </a:lnTo>
                  <a:lnTo>
                    <a:pt x="247650" y="157163"/>
                  </a:lnTo>
                  <a:lnTo>
                    <a:pt x="242888" y="191453"/>
                  </a:lnTo>
                  <a:lnTo>
                    <a:pt x="226695" y="227647"/>
                  </a:lnTo>
                  <a:lnTo>
                    <a:pt x="180975" y="250508"/>
                  </a:lnTo>
                  <a:lnTo>
                    <a:pt x="180975" y="266700"/>
                  </a:lnTo>
                  <a:lnTo>
                    <a:pt x="199073" y="294322"/>
                  </a:lnTo>
                  <a:lnTo>
                    <a:pt x="183833" y="309563"/>
                  </a:lnTo>
                  <a:lnTo>
                    <a:pt x="129540" y="324803"/>
                  </a:lnTo>
                  <a:lnTo>
                    <a:pt x="120015" y="334328"/>
                  </a:lnTo>
                  <a:lnTo>
                    <a:pt x="98108" y="325755"/>
                  </a:lnTo>
                  <a:lnTo>
                    <a:pt x="97155" y="313372"/>
                  </a:lnTo>
                  <a:lnTo>
                    <a:pt x="115253" y="302895"/>
                  </a:lnTo>
                  <a:lnTo>
                    <a:pt x="96203" y="287655"/>
                  </a:lnTo>
                  <a:lnTo>
                    <a:pt x="93345" y="261938"/>
                  </a:lnTo>
                  <a:lnTo>
                    <a:pt x="77153" y="261938"/>
                  </a:lnTo>
                  <a:lnTo>
                    <a:pt x="67628" y="247650"/>
                  </a:lnTo>
                  <a:lnTo>
                    <a:pt x="42863" y="237172"/>
                  </a:lnTo>
                  <a:lnTo>
                    <a:pt x="29528" y="218122"/>
                  </a:lnTo>
                  <a:lnTo>
                    <a:pt x="0" y="21526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7" name="Полилиния: фигура 97">
              <a:extLst>
                <a:ext uri="{FF2B5EF4-FFF2-40B4-BE49-F238E27FC236}">
                  <a16:creationId xmlns:a16="http://schemas.microsoft.com/office/drawing/2014/main" id="{6C1769CA-5102-486F-941B-9342ED8A8572}"/>
                </a:ext>
              </a:extLst>
            </p:cNvPr>
            <p:cNvSpPr/>
            <p:nvPr/>
          </p:nvSpPr>
          <p:spPr>
            <a:xfrm>
              <a:off x="4431402" y="4473183"/>
              <a:ext cx="835866" cy="433822"/>
            </a:xfrm>
            <a:custGeom>
              <a:avLst/>
              <a:gdLst>
                <a:gd name="connsiteX0" fmla="*/ 1274445 w 1296352"/>
                <a:gd name="connsiteY0" fmla="*/ 112395 h 773430"/>
                <a:gd name="connsiteX1" fmla="*/ 1258253 w 1296352"/>
                <a:gd name="connsiteY1" fmla="*/ 112395 h 773430"/>
                <a:gd name="connsiteX2" fmla="*/ 1229678 w 1296352"/>
                <a:gd name="connsiteY2" fmla="*/ 137160 h 773430"/>
                <a:gd name="connsiteX3" fmla="*/ 1204913 w 1296352"/>
                <a:gd name="connsiteY3" fmla="*/ 138113 h 773430"/>
                <a:gd name="connsiteX4" fmla="*/ 1193483 w 1296352"/>
                <a:gd name="connsiteY4" fmla="*/ 164783 h 773430"/>
                <a:gd name="connsiteX5" fmla="*/ 1156335 w 1296352"/>
                <a:gd name="connsiteY5" fmla="*/ 159068 h 773430"/>
                <a:gd name="connsiteX6" fmla="*/ 1146810 w 1296352"/>
                <a:gd name="connsiteY6" fmla="*/ 175260 h 773430"/>
                <a:gd name="connsiteX7" fmla="*/ 1129665 w 1296352"/>
                <a:gd name="connsiteY7" fmla="*/ 191453 h 773430"/>
                <a:gd name="connsiteX8" fmla="*/ 1113473 w 1296352"/>
                <a:gd name="connsiteY8" fmla="*/ 200025 h 773430"/>
                <a:gd name="connsiteX9" fmla="*/ 1082040 w 1296352"/>
                <a:gd name="connsiteY9" fmla="*/ 211455 h 773430"/>
                <a:gd name="connsiteX10" fmla="*/ 1055370 w 1296352"/>
                <a:gd name="connsiteY10" fmla="*/ 218122 h 773430"/>
                <a:gd name="connsiteX11" fmla="*/ 1023938 w 1296352"/>
                <a:gd name="connsiteY11" fmla="*/ 201930 h 773430"/>
                <a:gd name="connsiteX12" fmla="*/ 1006793 w 1296352"/>
                <a:gd name="connsiteY12" fmla="*/ 204788 h 773430"/>
                <a:gd name="connsiteX13" fmla="*/ 987743 w 1296352"/>
                <a:gd name="connsiteY13" fmla="*/ 188595 h 773430"/>
                <a:gd name="connsiteX14" fmla="*/ 950595 w 1296352"/>
                <a:gd name="connsiteY14" fmla="*/ 174308 h 773430"/>
                <a:gd name="connsiteX15" fmla="*/ 912495 w 1296352"/>
                <a:gd name="connsiteY15" fmla="*/ 149543 h 773430"/>
                <a:gd name="connsiteX16" fmla="*/ 883920 w 1296352"/>
                <a:gd name="connsiteY16" fmla="*/ 138113 h 773430"/>
                <a:gd name="connsiteX17" fmla="*/ 838200 w 1296352"/>
                <a:gd name="connsiteY17" fmla="*/ 120968 h 773430"/>
                <a:gd name="connsiteX18" fmla="*/ 815340 w 1296352"/>
                <a:gd name="connsiteY18" fmla="*/ 98108 h 773430"/>
                <a:gd name="connsiteX19" fmla="*/ 787718 w 1296352"/>
                <a:gd name="connsiteY19" fmla="*/ 95250 h 773430"/>
                <a:gd name="connsiteX20" fmla="*/ 743903 w 1296352"/>
                <a:gd name="connsiteY20" fmla="*/ 65722 h 773430"/>
                <a:gd name="connsiteX21" fmla="*/ 721043 w 1296352"/>
                <a:gd name="connsiteY21" fmla="*/ 43815 h 773430"/>
                <a:gd name="connsiteX22" fmla="*/ 686753 w 1296352"/>
                <a:gd name="connsiteY22" fmla="*/ 28575 h 773430"/>
                <a:gd name="connsiteX23" fmla="*/ 653415 w 1296352"/>
                <a:gd name="connsiteY23" fmla="*/ 0 h 773430"/>
                <a:gd name="connsiteX24" fmla="*/ 621983 w 1296352"/>
                <a:gd name="connsiteY24" fmla="*/ 3810 h 773430"/>
                <a:gd name="connsiteX25" fmla="*/ 599122 w 1296352"/>
                <a:gd name="connsiteY25" fmla="*/ 19050 h 773430"/>
                <a:gd name="connsiteX26" fmla="*/ 452438 w 1296352"/>
                <a:gd name="connsiteY26" fmla="*/ 20003 h 773430"/>
                <a:gd name="connsiteX27" fmla="*/ 436245 w 1296352"/>
                <a:gd name="connsiteY27" fmla="*/ 35243 h 773430"/>
                <a:gd name="connsiteX28" fmla="*/ 428625 w 1296352"/>
                <a:gd name="connsiteY28" fmla="*/ 56197 h 773430"/>
                <a:gd name="connsiteX29" fmla="*/ 419100 w 1296352"/>
                <a:gd name="connsiteY29" fmla="*/ 65722 h 773430"/>
                <a:gd name="connsiteX30" fmla="*/ 419100 w 1296352"/>
                <a:gd name="connsiteY30" fmla="*/ 76200 h 773430"/>
                <a:gd name="connsiteX31" fmla="*/ 408622 w 1296352"/>
                <a:gd name="connsiteY31" fmla="*/ 86678 h 773430"/>
                <a:gd name="connsiteX32" fmla="*/ 396240 w 1296352"/>
                <a:gd name="connsiteY32" fmla="*/ 99060 h 773430"/>
                <a:gd name="connsiteX33" fmla="*/ 401955 w 1296352"/>
                <a:gd name="connsiteY33" fmla="*/ 111443 h 773430"/>
                <a:gd name="connsiteX34" fmla="*/ 418147 w 1296352"/>
                <a:gd name="connsiteY34" fmla="*/ 126683 h 773430"/>
                <a:gd name="connsiteX35" fmla="*/ 424815 w 1296352"/>
                <a:gd name="connsiteY35" fmla="*/ 140018 h 773430"/>
                <a:gd name="connsiteX36" fmla="*/ 416243 w 1296352"/>
                <a:gd name="connsiteY36" fmla="*/ 159068 h 773430"/>
                <a:gd name="connsiteX37" fmla="*/ 420053 w 1296352"/>
                <a:gd name="connsiteY37" fmla="*/ 178118 h 773430"/>
                <a:gd name="connsiteX38" fmla="*/ 430530 w 1296352"/>
                <a:gd name="connsiteY38" fmla="*/ 188595 h 773430"/>
                <a:gd name="connsiteX39" fmla="*/ 418147 w 1296352"/>
                <a:gd name="connsiteY39" fmla="*/ 210503 h 773430"/>
                <a:gd name="connsiteX40" fmla="*/ 405765 w 1296352"/>
                <a:gd name="connsiteY40" fmla="*/ 222885 h 773430"/>
                <a:gd name="connsiteX41" fmla="*/ 397193 w 1296352"/>
                <a:gd name="connsiteY41" fmla="*/ 214313 h 773430"/>
                <a:gd name="connsiteX42" fmla="*/ 383858 w 1296352"/>
                <a:gd name="connsiteY42" fmla="*/ 214313 h 773430"/>
                <a:gd name="connsiteX43" fmla="*/ 366713 w 1296352"/>
                <a:gd name="connsiteY43" fmla="*/ 200025 h 773430"/>
                <a:gd name="connsiteX44" fmla="*/ 348615 w 1296352"/>
                <a:gd name="connsiteY44" fmla="*/ 196215 h 773430"/>
                <a:gd name="connsiteX45" fmla="*/ 333375 w 1296352"/>
                <a:gd name="connsiteY45" fmla="*/ 186690 h 773430"/>
                <a:gd name="connsiteX46" fmla="*/ 314325 w 1296352"/>
                <a:gd name="connsiteY46" fmla="*/ 194310 h 773430"/>
                <a:gd name="connsiteX47" fmla="*/ 298133 w 1296352"/>
                <a:gd name="connsiteY47" fmla="*/ 201930 h 773430"/>
                <a:gd name="connsiteX48" fmla="*/ 294323 w 1296352"/>
                <a:gd name="connsiteY48" fmla="*/ 180022 h 773430"/>
                <a:gd name="connsiteX49" fmla="*/ 271463 w 1296352"/>
                <a:gd name="connsiteY49" fmla="*/ 158115 h 773430"/>
                <a:gd name="connsiteX50" fmla="*/ 250508 w 1296352"/>
                <a:gd name="connsiteY50" fmla="*/ 145733 h 773430"/>
                <a:gd name="connsiteX51" fmla="*/ 226695 w 1296352"/>
                <a:gd name="connsiteY51" fmla="*/ 140970 h 773430"/>
                <a:gd name="connsiteX52" fmla="*/ 215265 w 1296352"/>
                <a:gd name="connsiteY52" fmla="*/ 128588 h 773430"/>
                <a:gd name="connsiteX53" fmla="*/ 198120 w 1296352"/>
                <a:gd name="connsiteY53" fmla="*/ 122872 h 773430"/>
                <a:gd name="connsiteX54" fmla="*/ 178118 w 1296352"/>
                <a:gd name="connsiteY54" fmla="*/ 108585 h 773430"/>
                <a:gd name="connsiteX55" fmla="*/ 160973 w 1296352"/>
                <a:gd name="connsiteY55" fmla="*/ 108585 h 773430"/>
                <a:gd name="connsiteX56" fmla="*/ 163830 w 1296352"/>
                <a:gd name="connsiteY56" fmla="*/ 127635 h 773430"/>
                <a:gd name="connsiteX57" fmla="*/ 163830 w 1296352"/>
                <a:gd name="connsiteY57" fmla="*/ 144780 h 773430"/>
                <a:gd name="connsiteX58" fmla="*/ 179070 w 1296352"/>
                <a:gd name="connsiteY58" fmla="*/ 165735 h 773430"/>
                <a:gd name="connsiteX59" fmla="*/ 193358 w 1296352"/>
                <a:gd name="connsiteY59" fmla="*/ 180022 h 773430"/>
                <a:gd name="connsiteX60" fmla="*/ 187643 w 1296352"/>
                <a:gd name="connsiteY60" fmla="*/ 200025 h 773430"/>
                <a:gd name="connsiteX61" fmla="*/ 187643 w 1296352"/>
                <a:gd name="connsiteY61" fmla="*/ 220980 h 773430"/>
                <a:gd name="connsiteX62" fmla="*/ 168593 w 1296352"/>
                <a:gd name="connsiteY62" fmla="*/ 232410 h 773430"/>
                <a:gd name="connsiteX63" fmla="*/ 163830 w 1296352"/>
                <a:gd name="connsiteY63" fmla="*/ 254318 h 773430"/>
                <a:gd name="connsiteX64" fmla="*/ 174308 w 1296352"/>
                <a:gd name="connsiteY64" fmla="*/ 264795 h 773430"/>
                <a:gd name="connsiteX65" fmla="*/ 177165 w 1296352"/>
                <a:gd name="connsiteY65" fmla="*/ 286703 h 773430"/>
                <a:gd name="connsiteX66" fmla="*/ 173355 w 1296352"/>
                <a:gd name="connsiteY66" fmla="*/ 300038 h 773430"/>
                <a:gd name="connsiteX67" fmla="*/ 153353 w 1296352"/>
                <a:gd name="connsiteY67" fmla="*/ 294322 h 773430"/>
                <a:gd name="connsiteX68" fmla="*/ 137160 w 1296352"/>
                <a:gd name="connsiteY68" fmla="*/ 299085 h 773430"/>
                <a:gd name="connsiteX69" fmla="*/ 132398 w 1296352"/>
                <a:gd name="connsiteY69" fmla="*/ 312420 h 773430"/>
                <a:gd name="connsiteX70" fmla="*/ 125730 w 1296352"/>
                <a:gd name="connsiteY70" fmla="*/ 319088 h 773430"/>
                <a:gd name="connsiteX71" fmla="*/ 127635 w 1296352"/>
                <a:gd name="connsiteY71" fmla="*/ 335280 h 773430"/>
                <a:gd name="connsiteX72" fmla="*/ 111443 w 1296352"/>
                <a:gd name="connsiteY72" fmla="*/ 343853 h 773430"/>
                <a:gd name="connsiteX73" fmla="*/ 113348 w 1296352"/>
                <a:gd name="connsiteY73" fmla="*/ 368618 h 773430"/>
                <a:gd name="connsiteX74" fmla="*/ 127635 w 1296352"/>
                <a:gd name="connsiteY74" fmla="*/ 374333 h 773430"/>
                <a:gd name="connsiteX75" fmla="*/ 140970 w 1296352"/>
                <a:gd name="connsiteY75" fmla="*/ 379095 h 773430"/>
                <a:gd name="connsiteX76" fmla="*/ 153353 w 1296352"/>
                <a:gd name="connsiteY76" fmla="*/ 391478 h 773430"/>
                <a:gd name="connsiteX77" fmla="*/ 165735 w 1296352"/>
                <a:gd name="connsiteY77" fmla="*/ 373380 h 773430"/>
                <a:gd name="connsiteX78" fmla="*/ 175260 w 1296352"/>
                <a:gd name="connsiteY78" fmla="*/ 376238 h 773430"/>
                <a:gd name="connsiteX79" fmla="*/ 182880 w 1296352"/>
                <a:gd name="connsiteY79" fmla="*/ 358140 h 773430"/>
                <a:gd name="connsiteX80" fmla="*/ 201930 w 1296352"/>
                <a:gd name="connsiteY80" fmla="*/ 354330 h 773430"/>
                <a:gd name="connsiteX81" fmla="*/ 214313 w 1296352"/>
                <a:gd name="connsiteY81" fmla="*/ 354330 h 773430"/>
                <a:gd name="connsiteX82" fmla="*/ 222885 w 1296352"/>
                <a:gd name="connsiteY82" fmla="*/ 363855 h 773430"/>
                <a:gd name="connsiteX83" fmla="*/ 237173 w 1296352"/>
                <a:gd name="connsiteY83" fmla="*/ 357188 h 773430"/>
                <a:gd name="connsiteX84" fmla="*/ 239078 w 1296352"/>
                <a:gd name="connsiteY84" fmla="*/ 376238 h 773430"/>
                <a:gd name="connsiteX85" fmla="*/ 250508 w 1296352"/>
                <a:gd name="connsiteY85" fmla="*/ 387668 h 773430"/>
                <a:gd name="connsiteX86" fmla="*/ 233363 w 1296352"/>
                <a:gd name="connsiteY86" fmla="*/ 405765 h 773430"/>
                <a:gd name="connsiteX87" fmla="*/ 220980 w 1296352"/>
                <a:gd name="connsiteY87" fmla="*/ 410528 h 773430"/>
                <a:gd name="connsiteX88" fmla="*/ 201930 w 1296352"/>
                <a:gd name="connsiteY88" fmla="*/ 429578 h 773430"/>
                <a:gd name="connsiteX89" fmla="*/ 180023 w 1296352"/>
                <a:gd name="connsiteY89" fmla="*/ 442913 h 773430"/>
                <a:gd name="connsiteX90" fmla="*/ 178118 w 1296352"/>
                <a:gd name="connsiteY90" fmla="*/ 455295 h 773430"/>
                <a:gd name="connsiteX91" fmla="*/ 160973 w 1296352"/>
                <a:gd name="connsiteY91" fmla="*/ 466725 h 773430"/>
                <a:gd name="connsiteX92" fmla="*/ 150495 w 1296352"/>
                <a:gd name="connsiteY92" fmla="*/ 477203 h 773430"/>
                <a:gd name="connsiteX93" fmla="*/ 165735 w 1296352"/>
                <a:gd name="connsiteY93" fmla="*/ 493395 h 773430"/>
                <a:gd name="connsiteX94" fmla="*/ 154305 w 1296352"/>
                <a:gd name="connsiteY94" fmla="*/ 513397 h 773430"/>
                <a:gd name="connsiteX95" fmla="*/ 140018 w 1296352"/>
                <a:gd name="connsiteY95" fmla="*/ 523875 h 773430"/>
                <a:gd name="connsiteX96" fmla="*/ 127635 w 1296352"/>
                <a:gd name="connsiteY96" fmla="*/ 538163 h 773430"/>
                <a:gd name="connsiteX97" fmla="*/ 114300 w 1296352"/>
                <a:gd name="connsiteY97" fmla="*/ 535305 h 773430"/>
                <a:gd name="connsiteX98" fmla="*/ 111443 w 1296352"/>
                <a:gd name="connsiteY98" fmla="*/ 523875 h 773430"/>
                <a:gd name="connsiteX99" fmla="*/ 88583 w 1296352"/>
                <a:gd name="connsiteY99" fmla="*/ 523875 h 773430"/>
                <a:gd name="connsiteX100" fmla="*/ 76200 w 1296352"/>
                <a:gd name="connsiteY100" fmla="*/ 521018 h 773430"/>
                <a:gd name="connsiteX101" fmla="*/ 78105 w 1296352"/>
                <a:gd name="connsiteY101" fmla="*/ 530543 h 773430"/>
                <a:gd name="connsiteX102" fmla="*/ 60008 w 1296352"/>
                <a:gd name="connsiteY102" fmla="*/ 535305 h 773430"/>
                <a:gd name="connsiteX103" fmla="*/ 62865 w 1296352"/>
                <a:gd name="connsiteY103" fmla="*/ 557213 h 773430"/>
                <a:gd name="connsiteX104" fmla="*/ 45720 w 1296352"/>
                <a:gd name="connsiteY104" fmla="*/ 574358 h 773430"/>
                <a:gd name="connsiteX105" fmla="*/ 45720 w 1296352"/>
                <a:gd name="connsiteY105" fmla="*/ 602933 h 773430"/>
                <a:gd name="connsiteX106" fmla="*/ 18098 w 1296352"/>
                <a:gd name="connsiteY106" fmla="*/ 608647 h 773430"/>
                <a:gd name="connsiteX107" fmla="*/ 18098 w 1296352"/>
                <a:gd name="connsiteY107" fmla="*/ 627697 h 773430"/>
                <a:gd name="connsiteX108" fmla="*/ 0 w 1296352"/>
                <a:gd name="connsiteY108" fmla="*/ 645795 h 773430"/>
                <a:gd name="connsiteX109" fmla="*/ 0 w 1296352"/>
                <a:gd name="connsiteY109" fmla="*/ 666750 h 773430"/>
                <a:gd name="connsiteX110" fmla="*/ 14288 w 1296352"/>
                <a:gd name="connsiteY110" fmla="*/ 681990 h 773430"/>
                <a:gd name="connsiteX111" fmla="*/ 14288 w 1296352"/>
                <a:gd name="connsiteY111" fmla="*/ 702945 h 773430"/>
                <a:gd name="connsiteX112" fmla="*/ 20955 w 1296352"/>
                <a:gd name="connsiteY112" fmla="*/ 724853 h 773430"/>
                <a:gd name="connsiteX113" fmla="*/ 12383 w 1296352"/>
                <a:gd name="connsiteY113" fmla="*/ 744855 h 773430"/>
                <a:gd name="connsiteX114" fmla="*/ 21908 w 1296352"/>
                <a:gd name="connsiteY114" fmla="*/ 755333 h 773430"/>
                <a:gd name="connsiteX115" fmla="*/ 38100 w 1296352"/>
                <a:gd name="connsiteY115" fmla="*/ 735330 h 773430"/>
                <a:gd name="connsiteX116" fmla="*/ 48578 w 1296352"/>
                <a:gd name="connsiteY116" fmla="*/ 706755 h 773430"/>
                <a:gd name="connsiteX117" fmla="*/ 72390 w 1296352"/>
                <a:gd name="connsiteY117" fmla="*/ 700088 h 773430"/>
                <a:gd name="connsiteX118" fmla="*/ 99060 w 1296352"/>
                <a:gd name="connsiteY118" fmla="*/ 712470 h 773430"/>
                <a:gd name="connsiteX119" fmla="*/ 115253 w 1296352"/>
                <a:gd name="connsiteY119" fmla="*/ 728663 h 773430"/>
                <a:gd name="connsiteX120" fmla="*/ 137160 w 1296352"/>
                <a:gd name="connsiteY120" fmla="*/ 707708 h 773430"/>
                <a:gd name="connsiteX121" fmla="*/ 148590 w 1296352"/>
                <a:gd name="connsiteY121" fmla="*/ 720090 h 773430"/>
                <a:gd name="connsiteX122" fmla="*/ 156210 w 1296352"/>
                <a:gd name="connsiteY122" fmla="*/ 735330 h 773430"/>
                <a:gd name="connsiteX123" fmla="*/ 177165 w 1296352"/>
                <a:gd name="connsiteY123" fmla="*/ 732472 h 773430"/>
                <a:gd name="connsiteX124" fmla="*/ 189548 w 1296352"/>
                <a:gd name="connsiteY124" fmla="*/ 720090 h 773430"/>
                <a:gd name="connsiteX125" fmla="*/ 212408 w 1296352"/>
                <a:gd name="connsiteY125" fmla="*/ 720090 h 773430"/>
                <a:gd name="connsiteX126" fmla="*/ 234315 w 1296352"/>
                <a:gd name="connsiteY126" fmla="*/ 711518 h 773430"/>
                <a:gd name="connsiteX127" fmla="*/ 234315 w 1296352"/>
                <a:gd name="connsiteY127" fmla="*/ 694372 h 773430"/>
                <a:gd name="connsiteX128" fmla="*/ 220028 w 1296352"/>
                <a:gd name="connsiteY128" fmla="*/ 680085 h 773430"/>
                <a:gd name="connsiteX129" fmla="*/ 233363 w 1296352"/>
                <a:gd name="connsiteY129" fmla="*/ 654368 h 773430"/>
                <a:gd name="connsiteX130" fmla="*/ 261938 w 1296352"/>
                <a:gd name="connsiteY130" fmla="*/ 669608 h 773430"/>
                <a:gd name="connsiteX131" fmla="*/ 271463 w 1296352"/>
                <a:gd name="connsiteY131" fmla="*/ 660083 h 773430"/>
                <a:gd name="connsiteX132" fmla="*/ 281940 w 1296352"/>
                <a:gd name="connsiteY132" fmla="*/ 669608 h 773430"/>
                <a:gd name="connsiteX133" fmla="*/ 295275 w 1296352"/>
                <a:gd name="connsiteY133" fmla="*/ 656272 h 773430"/>
                <a:gd name="connsiteX134" fmla="*/ 313373 w 1296352"/>
                <a:gd name="connsiteY134" fmla="*/ 661988 h 773430"/>
                <a:gd name="connsiteX135" fmla="*/ 320993 w 1296352"/>
                <a:gd name="connsiteY135" fmla="*/ 674370 h 773430"/>
                <a:gd name="connsiteX136" fmla="*/ 318135 w 1296352"/>
                <a:gd name="connsiteY136" fmla="*/ 692468 h 773430"/>
                <a:gd name="connsiteX137" fmla="*/ 332423 w 1296352"/>
                <a:gd name="connsiteY137" fmla="*/ 709613 h 773430"/>
                <a:gd name="connsiteX138" fmla="*/ 350520 w 1296352"/>
                <a:gd name="connsiteY138" fmla="*/ 703897 h 773430"/>
                <a:gd name="connsiteX139" fmla="*/ 381000 w 1296352"/>
                <a:gd name="connsiteY139" fmla="*/ 717233 h 773430"/>
                <a:gd name="connsiteX140" fmla="*/ 401955 w 1296352"/>
                <a:gd name="connsiteY140" fmla="*/ 737235 h 773430"/>
                <a:gd name="connsiteX141" fmla="*/ 423863 w 1296352"/>
                <a:gd name="connsiteY141" fmla="*/ 725805 h 773430"/>
                <a:gd name="connsiteX142" fmla="*/ 449580 w 1296352"/>
                <a:gd name="connsiteY142" fmla="*/ 735330 h 773430"/>
                <a:gd name="connsiteX143" fmla="*/ 463868 w 1296352"/>
                <a:gd name="connsiteY143" fmla="*/ 721043 h 773430"/>
                <a:gd name="connsiteX144" fmla="*/ 478155 w 1296352"/>
                <a:gd name="connsiteY144" fmla="*/ 725805 h 773430"/>
                <a:gd name="connsiteX145" fmla="*/ 487680 w 1296352"/>
                <a:gd name="connsiteY145" fmla="*/ 736283 h 773430"/>
                <a:gd name="connsiteX146" fmla="*/ 501968 w 1296352"/>
                <a:gd name="connsiteY146" fmla="*/ 731520 h 773430"/>
                <a:gd name="connsiteX147" fmla="*/ 510540 w 1296352"/>
                <a:gd name="connsiteY147" fmla="*/ 713422 h 773430"/>
                <a:gd name="connsiteX148" fmla="*/ 525780 w 1296352"/>
                <a:gd name="connsiteY148" fmla="*/ 713422 h 773430"/>
                <a:gd name="connsiteX149" fmla="*/ 558165 w 1296352"/>
                <a:gd name="connsiteY149" fmla="*/ 735330 h 773430"/>
                <a:gd name="connsiteX150" fmla="*/ 589597 w 1296352"/>
                <a:gd name="connsiteY150" fmla="*/ 752475 h 773430"/>
                <a:gd name="connsiteX151" fmla="*/ 625793 w 1296352"/>
                <a:gd name="connsiteY151" fmla="*/ 765810 h 773430"/>
                <a:gd name="connsiteX152" fmla="*/ 674370 w 1296352"/>
                <a:gd name="connsiteY152" fmla="*/ 773430 h 773430"/>
                <a:gd name="connsiteX153" fmla="*/ 681990 w 1296352"/>
                <a:gd name="connsiteY153" fmla="*/ 753428 h 773430"/>
                <a:gd name="connsiteX154" fmla="*/ 695325 w 1296352"/>
                <a:gd name="connsiteY154" fmla="*/ 740093 h 773430"/>
                <a:gd name="connsiteX155" fmla="*/ 700088 w 1296352"/>
                <a:gd name="connsiteY155" fmla="*/ 715328 h 773430"/>
                <a:gd name="connsiteX156" fmla="*/ 735330 w 1296352"/>
                <a:gd name="connsiteY156" fmla="*/ 680085 h 773430"/>
                <a:gd name="connsiteX157" fmla="*/ 735330 w 1296352"/>
                <a:gd name="connsiteY157" fmla="*/ 661035 h 773430"/>
                <a:gd name="connsiteX158" fmla="*/ 746760 w 1296352"/>
                <a:gd name="connsiteY158" fmla="*/ 639128 h 773430"/>
                <a:gd name="connsiteX159" fmla="*/ 741045 w 1296352"/>
                <a:gd name="connsiteY159" fmla="*/ 614363 h 773430"/>
                <a:gd name="connsiteX160" fmla="*/ 760095 w 1296352"/>
                <a:gd name="connsiteY160" fmla="*/ 579120 h 773430"/>
                <a:gd name="connsiteX161" fmla="*/ 788670 w 1296352"/>
                <a:gd name="connsiteY161" fmla="*/ 561022 h 773430"/>
                <a:gd name="connsiteX162" fmla="*/ 792480 w 1296352"/>
                <a:gd name="connsiteY162" fmla="*/ 535305 h 773430"/>
                <a:gd name="connsiteX163" fmla="*/ 825818 w 1296352"/>
                <a:gd name="connsiteY163" fmla="*/ 514350 h 773430"/>
                <a:gd name="connsiteX164" fmla="*/ 821055 w 1296352"/>
                <a:gd name="connsiteY164" fmla="*/ 483870 h 773430"/>
                <a:gd name="connsiteX165" fmla="*/ 833438 w 1296352"/>
                <a:gd name="connsiteY165" fmla="*/ 459105 h 773430"/>
                <a:gd name="connsiteX166" fmla="*/ 862965 w 1296352"/>
                <a:gd name="connsiteY166" fmla="*/ 430530 h 773430"/>
                <a:gd name="connsiteX167" fmla="*/ 883920 w 1296352"/>
                <a:gd name="connsiteY167" fmla="*/ 408622 h 773430"/>
                <a:gd name="connsiteX168" fmla="*/ 902018 w 1296352"/>
                <a:gd name="connsiteY168" fmla="*/ 414338 h 773430"/>
                <a:gd name="connsiteX169" fmla="*/ 902018 w 1296352"/>
                <a:gd name="connsiteY169" fmla="*/ 437197 h 773430"/>
                <a:gd name="connsiteX170" fmla="*/ 926783 w 1296352"/>
                <a:gd name="connsiteY170" fmla="*/ 433388 h 773430"/>
                <a:gd name="connsiteX171" fmla="*/ 953453 w 1296352"/>
                <a:gd name="connsiteY171" fmla="*/ 407670 h 773430"/>
                <a:gd name="connsiteX172" fmla="*/ 979170 w 1296352"/>
                <a:gd name="connsiteY172" fmla="*/ 393383 h 773430"/>
                <a:gd name="connsiteX173" fmla="*/ 994410 w 1296352"/>
                <a:gd name="connsiteY173" fmla="*/ 376238 h 773430"/>
                <a:gd name="connsiteX174" fmla="*/ 1021080 w 1296352"/>
                <a:gd name="connsiteY174" fmla="*/ 372428 h 773430"/>
                <a:gd name="connsiteX175" fmla="*/ 1058228 w 1296352"/>
                <a:gd name="connsiteY175" fmla="*/ 373380 h 773430"/>
                <a:gd name="connsiteX176" fmla="*/ 1058228 w 1296352"/>
                <a:gd name="connsiteY176" fmla="*/ 342900 h 773430"/>
                <a:gd name="connsiteX177" fmla="*/ 1102995 w 1296352"/>
                <a:gd name="connsiteY177" fmla="*/ 317183 h 773430"/>
                <a:gd name="connsiteX178" fmla="*/ 1148715 w 1296352"/>
                <a:gd name="connsiteY178" fmla="*/ 307658 h 773430"/>
                <a:gd name="connsiteX179" fmla="*/ 1196340 w 1296352"/>
                <a:gd name="connsiteY179" fmla="*/ 307658 h 773430"/>
                <a:gd name="connsiteX180" fmla="*/ 1206818 w 1296352"/>
                <a:gd name="connsiteY180" fmla="*/ 276225 h 773430"/>
                <a:gd name="connsiteX181" fmla="*/ 1233488 w 1296352"/>
                <a:gd name="connsiteY181" fmla="*/ 276225 h 773430"/>
                <a:gd name="connsiteX182" fmla="*/ 1258253 w 1296352"/>
                <a:gd name="connsiteY182" fmla="*/ 251460 h 773430"/>
                <a:gd name="connsiteX183" fmla="*/ 1292543 w 1296352"/>
                <a:gd name="connsiteY183" fmla="*/ 234315 h 773430"/>
                <a:gd name="connsiteX184" fmla="*/ 1270635 w 1296352"/>
                <a:gd name="connsiteY184" fmla="*/ 212408 h 773430"/>
                <a:gd name="connsiteX185" fmla="*/ 1296353 w 1296352"/>
                <a:gd name="connsiteY185" fmla="*/ 201930 h 773430"/>
                <a:gd name="connsiteX186" fmla="*/ 1296353 w 1296352"/>
                <a:gd name="connsiteY186" fmla="*/ 182880 h 773430"/>
                <a:gd name="connsiteX187" fmla="*/ 1268730 w 1296352"/>
                <a:gd name="connsiteY187" fmla="*/ 169545 h 773430"/>
                <a:gd name="connsiteX188" fmla="*/ 1272540 w 1296352"/>
                <a:gd name="connsiteY188" fmla="*/ 142875 h 773430"/>
                <a:gd name="connsiteX189" fmla="*/ 1283970 w 1296352"/>
                <a:gd name="connsiteY189" fmla="*/ 137160 h 773430"/>
                <a:gd name="connsiteX190" fmla="*/ 1290638 w 1296352"/>
                <a:gd name="connsiteY190" fmla="*/ 121920 h 773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</a:cxnLst>
              <a:rect l="l" t="t" r="r" b="b"/>
              <a:pathLst>
                <a:path w="1296352" h="773430">
                  <a:moveTo>
                    <a:pt x="1274445" y="112395"/>
                  </a:moveTo>
                  <a:lnTo>
                    <a:pt x="1258253" y="112395"/>
                  </a:lnTo>
                  <a:lnTo>
                    <a:pt x="1229678" y="137160"/>
                  </a:lnTo>
                  <a:lnTo>
                    <a:pt x="1204913" y="138113"/>
                  </a:lnTo>
                  <a:lnTo>
                    <a:pt x="1193483" y="164783"/>
                  </a:lnTo>
                  <a:lnTo>
                    <a:pt x="1156335" y="159068"/>
                  </a:lnTo>
                  <a:lnTo>
                    <a:pt x="1146810" y="175260"/>
                  </a:lnTo>
                  <a:lnTo>
                    <a:pt x="1129665" y="191453"/>
                  </a:lnTo>
                  <a:lnTo>
                    <a:pt x="1113473" y="200025"/>
                  </a:lnTo>
                  <a:lnTo>
                    <a:pt x="1082040" y="211455"/>
                  </a:lnTo>
                  <a:lnTo>
                    <a:pt x="1055370" y="218122"/>
                  </a:lnTo>
                  <a:lnTo>
                    <a:pt x="1023938" y="201930"/>
                  </a:lnTo>
                  <a:lnTo>
                    <a:pt x="1006793" y="204788"/>
                  </a:lnTo>
                  <a:lnTo>
                    <a:pt x="987743" y="188595"/>
                  </a:lnTo>
                  <a:lnTo>
                    <a:pt x="950595" y="174308"/>
                  </a:lnTo>
                  <a:lnTo>
                    <a:pt x="912495" y="149543"/>
                  </a:lnTo>
                  <a:lnTo>
                    <a:pt x="883920" y="138113"/>
                  </a:lnTo>
                  <a:lnTo>
                    <a:pt x="838200" y="120968"/>
                  </a:lnTo>
                  <a:lnTo>
                    <a:pt x="815340" y="98108"/>
                  </a:lnTo>
                  <a:lnTo>
                    <a:pt x="787718" y="95250"/>
                  </a:lnTo>
                  <a:lnTo>
                    <a:pt x="743903" y="65722"/>
                  </a:lnTo>
                  <a:lnTo>
                    <a:pt x="721043" y="43815"/>
                  </a:lnTo>
                  <a:lnTo>
                    <a:pt x="686753" y="28575"/>
                  </a:lnTo>
                  <a:lnTo>
                    <a:pt x="653415" y="0"/>
                  </a:lnTo>
                  <a:lnTo>
                    <a:pt x="621983" y="3810"/>
                  </a:lnTo>
                  <a:lnTo>
                    <a:pt x="599122" y="19050"/>
                  </a:lnTo>
                  <a:lnTo>
                    <a:pt x="452438" y="20003"/>
                  </a:lnTo>
                  <a:lnTo>
                    <a:pt x="436245" y="35243"/>
                  </a:lnTo>
                  <a:lnTo>
                    <a:pt x="428625" y="56197"/>
                  </a:lnTo>
                  <a:lnTo>
                    <a:pt x="419100" y="65722"/>
                  </a:lnTo>
                  <a:lnTo>
                    <a:pt x="419100" y="76200"/>
                  </a:lnTo>
                  <a:lnTo>
                    <a:pt x="408622" y="86678"/>
                  </a:lnTo>
                  <a:lnTo>
                    <a:pt x="396240" y="99060"/>
                  </a:lnTo>
                  <a:lnTo>
                    <a:pt x="401955" y="111443"/>
                  </a:lnTo>
                  <a:lnTo>
                    <a:pt x="418147" y="126683"/>
                  </a:lnTo>
                  <a:lnTo>
                    <a:pt x="424815" y="140018"/>
                  </a:lnTo>
                  <a:lnTo>
                    <a:pt x="416243" y="159068"/>
                  </a:lnTo>
                  <a:lnTo>
                    <a:pt x="420053" y="178118"/>
                  </a:lnTo>
                  <a:lnTo>
                    <a:pt x="430530" y="188595"/>
                  </a:lnTo>
                  <a:lnTo>
                    <a:pt x="418147" y="210503"/>
                  </a:lnTo>
                  <a:lnTo>
                    <a:pt x="405765" y="222885"/>
                  </a:lnTo>
                  <a:lnTo>
                    <a:pt x="397193" y="214313"/>
                  </a:lnTo>
                  <a:lnTo>
                    <a:pt x="383858" y="214313"/>
                  </a:lnTo>
                  <a:lnTo>
                    <a:pt x="366713" y="200025"/>
                  </a:lnTo>
                  <a:lnTo>
                    <a:pt x="348615" y="196215"/>
                  </a:lnTo>
                  <a:lnTo>
                    <a:pt x="333375" y="186690"/>
                  </a:lnTo>
                  <a:lnTo>
                    <a:pt x="314325" y="194310"/>
                  </a:lnTo>
                  <a:lnTo>
                    <a:pt x="298133" y="201930"/>
                  </a:lnTo>
                  <a:lnTo>
                    <a:pt x="294323" y="180022"/>
                  </a:lnTo>
                  <a:lnTo>
                    <a:pt x="271463" y="158115"/>
                  </a:lnTo>
                  <a:lnTo>
                    <a:pt x="250508" y="145733"/>
                  </a:lnTo>
                  <a:lnTo>
                    <a:pt x="226695" y="140970"/>
                  </a:lnTo>
                  <a:lnTo>
                    <a:pt x="215265" y="128588"/>
                  </a:lnTo>
                  <a:lnTo>
                    <a:pt x="198120" y="122872"/>
                  </a:lnTo>
                  <a:lnTo>
                    <a:pt x="178118" y="108585"/>
                  </a:lnTo>
                  <a:lnTo>
                    <a:pt x="160973" y="108585"/>
                  </a:lnTo>
                  <a:lnTo>
                    <a:pt x="163830" y="127635"/>
                  </a:lnTo>
                  <a:lnTo>
                    <a:pt x="163830" y="144780"/>
                  </a:lnTo>
                  <a:lnTo>
                    <a:pt x="179070" y="165735"/>
                  </a:lnTo>
                  <a:lnTo>
                    <a:pt x="193358" y="180022"/>
                  </a:lnTo>
                  <a:lnTo>
                    <a:pt x="187643" y="200025"/>
                  </a:lnTo>
                  <a:lnTo>
                    <a:pt x="187643" y="220980"/>
                  </a:lnTo>
                  <a:lnTo>
                    <a:pt x="168593" y="232410"/>
                  </a:lnTo>
                  <a:lnTo>
                    <a:pt x="163830" y="254318"/>
                  </a:lnTo>
                  <a:lnTo>
                    <a:pt x="174308" y="264795"/>
                  </a:lnTo>
                  <a:lnTo>
                    <a:pt x="177165" y="286703"/>
                  </a:lnTo>
                  <a:lnTo>
                    <a:pt x="173355" y="300038"/>
                  </a:lnTo>
                  <a:lnTo>
                    <a:pt x="153353" y="294322"/>
                  </a:lnTo>
                  <a:lnTo>
                    <a:pt x="137160" y="299085"/>
                  </a:lnTo>
                  <a:lnTo>
                    <a:pt x="132398" y="312420"/>
                  </a:lnTo>
                  <a:lnTo>
                    <a:pt x="125730" y="319088"/>
                  </a:lnTo>
                  <a:lnTo>
                    <a:pt x="127635" y="335280"/>
                  </a:lnTo>
                  <a:lnTo>
                    <a:pt x="111443" y="343853"/>
                  </a:lnTo>
                  <a:lnTo>
                    <a:pt x="113348" y="368618"/>
                  </a:lnTo>
                  <a:lnTo>
                    <a:pt x="127635" y="374333"/>
                  </a:lnTo>
                  <a:lnTo>
                    <a:pt x="140970" y="379095"/>
                  </a:lnTo>
                  <a:lnTo>
                    <a:pt x="153353" y="391478"/>
                  </a:lnTo>
                  <a:lnTo>
                    <a:pt x="165735" y="373380"/>
                  </a:lnTo>
                  <a:lnTo>
                    <a:pt x="175260" y="376238"/>
                  </a:lnTo>
                  <a:lnTo>
                    <a:pt x="182880" y="358140"/>
                  </a:lnTo>
                  <a:lnTo>
                    <a:pt x="201930" y="354330"/>
                  </a:lnTo>
                  <a:lnTo>
                    <a:pt x="214313" y="354330"/>
                  </a:lnTo>
                  <a:lnTo>
                    <a:pt x="222885" y="363855"/>
                  </a:lnTo>
                  <a:lnTo>
                    <a:pt x="237173" y="357188"/>
                  </a:lnTo>
                  <a:lnTo>
                    <a:pt x="239078" y="376238"/>
                  </a:lnTo>
                  <a:lnTo>
                    <a:pt x="250508" y="387668"/>
                  </a:lnTo>
                  <a:lnTo>
                    <a:pt x="233363" y="405765"/>
                  </a:lnTo>
                  <a:lnTo>
                    <a:pt x="220980" y="410528"/>
                  </a:lnTo>
                  <a:lnTo>
                    <a:pt x="201930" y="429578"/>
                  </a:lnTo>
                  <a:lnTo>
                    <a:pt x="180023" y="442913"/>
                  </a:lnTo>
                  <a:lnTo>
                    <a:pt x="178118" y="455295"/>
                  </a:lnTo>
                  <a:lnTo>
                    <a:pt x="160973" y="466725"/>
                  </a:lnTo>
                  <a:lnTo>
                    <a:pt x="150495" y="477203"/>
                  </a:lnTo>
                  <a:lnTo>
                    <a:pt x="165735" y="493395"/>
                  </a:lnTo>
                  <a:lnTo>
                    <a:pt x="154305" y="513397"/>
                  </a:lnTo>
                  <a:lnTo>
                    <a:pt x="140018" y="523875"/>
                  </a:lnTo>
                  <a:lnTo>
                    <a:pt x="127635" y="538163"/>
                  </a:lnTo>
                  <a:lnTo>
                    <a:pt x="114300" y="535305"/>
                  </a:lnTo>
                  <a:lnTo>
                    <a:pt x="111443" y="523875"/>
                  </a:lnTo>
                  <a:lnTo>
                    <a:pt x="88583" y="523875"/>
                  </a:lnTo>
                  <a:lnTo>
                    <a:pt x="76200" y="521018"/>
                  </a:lnTo>
                  <a:lnTo>
                    <a:pt x="78105" y="530543"/>
                  </a:lnTo>
                  <a:lnTo>
                    <a:pt x="60008" y="535305"/>
                  </a:lnTo>
                  <a:lnTo>
                    <a:pt x="62865" y="557213"/>
                  </a:lnTo>
                  <a:lnTo>
                    <a:pt x="45720" y="574358"/>
                  </a:lnTo>
                  <a:lnTo>
                    <a:pt x="45720" y="602933"/>
                  </a:lnTo>
                  <a:lnTo>
                    <a:pt x="18098" y="608647"/>
                  </a:lnTo>
                  <a:lnTo>
                    <a:pt x="18098" y="627697"/>
                  </a:lnTo>
                  <a:lnTo>
                    <a:pt x="0" y="645795"/>
                  </a:lnTo>
                  <a:lnTo>
                    <a:pt x="0" y="666750"/>
                  </a:lnTo>
                  <a:lnTo>
                    <a:pt x="14288" y="681990"/>
                  </a:lnTo>
                  <a:lnTo>
                    <a:pt x="14288" y="702945"/>
                  </a:lnTo>
                  <a:lnTo>
                    <a:pt x="20955" y="724853"/>
                  </a:lnTo>
                  <a:lnTo>
                    <a:pt x="12383" y="744855"/>
                  </a:lnTo>
                  <a:lnTo>
                    <a:pt x="21908" y="755333"/>
                  </a:lnTo>
                  <a:lnTo>
                    <a:pt x="38100" y="735330"/>
                  </a:lnTo>
                  <a:lnTo>
                    <a:pt x="48578" y="706755"/>
                  </a:lnTo>
                  <a:lnTo>
                    <a:pt x="72390" y="700088"/>
                  </a:lnTo>
                  <a:lnTo>
                    <a:pt x="99060" y="712470"/>
                  </a:lnTo>
                  <a:lnTo>
                    <a:pt x="115253" y="728663"/>
                  </a:lnTo>
                  <a:lnTo>
                    <a:pt x="137160" y="707708"/>
                  </a:lnTo>
                  <a:lnTo>
                    <a:pt x="148590" y="720090"/>
                  </a:lnTo>
                  <a:lnTo>
                    <a:pt x="156210" y="735330"/>
                  </a:lnTo>
                  <a:lnTo>
                    <a:pt x="177165" y="732472"/>
                  </a:lnTo>
                  <a:lnTo>
                    <a:pt x="189548" y="720090"/>
                  </a:lnTo>
                  <a:lnTo>
                    <a:pt x="212408" y="720090"/>
                  </a:lnTo>
                  <a:lnTo>
                    <a:pt x="234315" y="711518"/>
                  </a:lnTo>
                  <a:lnTo>
                    <a:pt x="234315" y="694372"/>
                  </a:lnTo>
                  <a:lnTo>
                    <a:pt x="220028" y="680085"/>
                  </a:lnTo>
                  <a:lnTo>
                    <a:pt x="233363" y="654368"/>
                  </a:lnTo>
                  <a:lnTo>
                    <a:pt x="261938" y="669608"/>
                  </a:lnTo>
                  <a:lnTo>
                    <a:pt x="271463" y="660083"/>
                  </a:lnTo>
                  <a:lnTo>
                    <a:pt x="281940" y="669608"/>
                  </a:lnTo>
                  <a:lnTo>
                    <a:pt x="295275" y="656272"/>
                  </a:lnTo>
                  <a:lnTo>
                    <a:pt x="313373" y="661988"/>
                  </a:lnTo>
                  <a:lnTo>
                    <a:pt x="320993" y="674370"/>
                  </a:lnTo>
                  <a:lnTo>
                    <a:pt x="318135" y="692468"/>
                  </a:lnTo>
                  <a:lnTo>
                    <a:pt x="332423" y="709613"/>
                  </a:lnTo>
                  <a:lnTo>
                    <a:pt x="350520" y="703897"/>
                  </a:lnTo>
                  <a:lnTo>
                    <a:pt x="381000" y="717233"/>
                  </a:lnTo>
                  <a:lnTo>
                    <a:pt x="401955" y="737235"/>
                  </a:lnTo>
                  <a:lnTo>
                    <a:pt x="423863" y="725805"/>
                  </a:lnTo>
                  <a:lnTo>
                    <a:pt x="449580" y="735330"/>
                  </a:lnTo>
                  <a:lnTo>
                    <a:pt x="463868" y="721043"/>
                  </a:lnTo>
                  <a:lnTo>
                    <a:pt x="478155" y="725805"/>
                  </a:lnTo>
                  <a:lnTo>
                    <a:pt x="487680" y="736283"/>
                  </a:lnTo>
                  <a:lnTo>
                    <a:pt x="501968" y="731520"/>
                  </a:lnTo>
                  <a:lnTo>
                    <a:pt x="510540" y="713422"/>
                  </a:lnTo>
                  <a:lnTo>
                    <a:pt x="525780" y="713422"/>
                  </a:lnTo>
                  <a:lnTo>
                    <a:pt x="558165" y="735330"/>
                  </a:lnTo>
                  <a:lnTo>
                    <a:pt x="589597" y="752475"/>
                  </a:lnTo>
                  <a:lnTo>
                    <a:pt x="625793" y="765810"/>
                  </a:lnTo>
                  <a:lnTo>
                    <a:pt x="674370" y="773430"/>
                  </a:lnTo>
                  <a:lnTo>
                    <a:pt x="681990" y="753428"/>
                  </a:lnTo>
                  <a:lnTo>
                    <a:pt x="695325" y="740093"/>
                  </a:lnTo>
                  <a:lnTo>
                    <a:pt x="700088" y="715328"/>
                  </a:lnTo>
                  <a:lnTo>
                    <a:pt x="735330" y="680085"/>
                  </a:lnTo>
                  <a:lnTo>
                    <a:pt x="735330" y="661035"/>
                  </a:lnTo>
                  <a:lnTo>
                    <a:pt x="746760" y="639128"/>
                  </a:lnTo>
                  <a:lnTo>
                    <a:pt x="741045" y="614363"/>
                  </a:lnTo>
                  <a:lnTo>
                    <a:pt x="760095" y="579120"/>
                  </a:lnTo>
                  <a:lnTo>
                    <a:pt x="788670" y="561022"/>
                  </a:lnTo>
                  <a:lnTo>
                    <a:pt x="792480" y="535305"/>
                  </a:lnTo>
                  <a:lnTo>
                    <a:pt x="825818" y="514350"/>
                  </a:lnTo>
                  <a:lnTo>
                    <a:pt x="821055" y="483870"/>
                  </a:lnTo>
                  <a:lnTo>
                    <a:pt x="833438" y="459105"/>
                  </a:lnTo>
                  <a:lnTo>
                    <a:pt x="862965" y="430530"/>
                  </a:lnTo>
                  <a:lnTo>
                    <a:pt x="883920" y="408622"/>
                  </a:lnTo>
                  <a:lnTo>
                    <a:pt x="902018" y="414338"/>
                  </a:lnTo>
                  <a:lnTo>
                    <a:pt x="902018" y="437197"/>
                  </a:lnTo>
                  <a:lnTo>
                    <a:pt x="926783" y="433388"/>
                  </a:lnTo>
                  <a:lnTo>
                    <a:pt x="953453" y="407670"/>
                  </a:lnTo>
                  <a:lnTo>
                    <a:pt x="979170" y="393383"/>
                  </a:lnTo>
                  <a:lnTo>
                    <a:pt x="994410" y="376238"/>
                  </a:lnTo>
                  <a:lnTo>
                    <a:pt x="1021080" y="372428"/>
                  </a:lnTo>
                  <a:lnTo>
                    <a:pt x="1058228" y="373380"/>
                  </a:lnTo>
                  <a:lnTo>
                    <a:pt x="1058228" y="342900"/>
                  </a:lnTo>
                  <a:lnTo>
                    <a:pt x="1102995" y="317183"/>
                  </a:lnTo>
                  <a:lnTo>
                    <a:pt x="1148715" y="307658"/>
                  </a:lnTo>
                  <a:lnTo>
                    <a:pt x="1196340" y="307658"/>
                  </a:lnTo>
                  <a:lnTo>
                    <a:pt x="1206818" y="276225"/>
                  </a:lnTo>
                  <a:lnTo>
                    <a:pt x="1233488" y="276225"/>
                  </a:lnTo>
                  <a:lnTo>
                    <a:pt x="1258253" y="251460"/>
                  </a:lnTo>
                  <a:lnTo>
                    <a:pt x="1292543" y="234315"/>
                  </a:lnTo>
                  <a:lnTo>
                    <a:pt x="1270635" y="212408"/>
                  </a:lnTo>
                  <a:lnTo>
                    <a:pt x="1296353" y="201930"/>
                  </a:lnTo>
                  <a:lnTo>
                    <a:pt x="1296353" y="182880"/>
                  </a:lnTo>
                  <a:lnTo>
                    <a:pt x="1268730" y="169545"/>
                  </a:lnTo>
                  <a:lnTo>
                    <a:pt x="1272540" y="142875"/>
                  </a:lnTo>
                  <a:lnTo>
                    <a:pt x="1283970" y="137160"/>
                  </a:lnTo>
                  <a:lnTo>
                    <a:pt x="1290638" y="12192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8" name="Полилиния: фигура 98">
              <a:extLst>
                <a:ext uri="{FF2B5EF4-FFF2-40B4-BE49-F238E27FC236}">
                  <a16:creationId xmlns:a16="http://schemas.microsoft.com/office/drawing/2014/main" id="{F78569BC-A117-4E52-9E97-327C4821EE30}"/>
                </a:ext>
              </a:extLst>
            </p:cNvPr>
            <p:cNvSpPr/>
            <p:nvPr/>
          </p:nvSpPr>
          <p:spPr>
            <a:xfrm>
              <a:off x="4492817" y="4840222"/>
              <a:ext cx="373407" cy="371313"/>
            </a:xfrm>
            <a:custGeom>
              <a:avLst/>
              <a:gdLst>
                <a:gd name="connsiteX0" fmla="*/ 122873 w 579120"/>
                <a:gd name="connsiteY0" fmla="*/ 284797 h 661987"/>
                <a:gd name="connsiteX1" fmla="*/ 91440 w 579120"/>
                <a:gd name="connsiteY1" fmla="*/ 304800 h 661987"/>
                <a:gd name="connsiteX2" fmla="*/ 85725 w 579120"/>
                <a:gd name="connsiteY2" fmla="*/ 335280 h 661987"/>
                <a:gd name="connsiteX3" fmla="*/ 83820 w 579120"/>
                <a:gd name="connsiteY3" fmla="*/ 371475 h 661987"/>
                <a:gd name="connsiteX4" fmla="*/ 66675 w 579120"/>
                <a:gd name="connsiteY4" fmla="*/ 402907 h 661987"/>
                <a:gd name="connsiteX5" fmla="*/ 61913 w 579120"/>
                <a:gd name="connsiteY5" fmla="*/ 437197 h 661987"/>
                <a:gd name="connsiteX6" fmla="*/ 45720 w 579120"/>
                <a:gd name="connsiteY6" fmla="*/ 473392 h 661987"/>
                <a:gd name="connsiteX7" fmla="*/ 0 w 579120"/>
                <a:gd name="connsiteY7" fmla="*/ 496253 h 661987"/>
                <a:gd name="connsiteX8" fmla="*/ 0 w 579120"/>
                <a:gd name="connsiteY8" fmla="*/ 512445 h 661987"/>
                <a:gd name="connsiteX9" fmla="*/ 18098 w 579120"/>
                <a:gd name="connsiteY9" fmla="*/ 540067 h 661987"/>
                <a:gd name="connsiteX10" fmla="*/ 35243 w 579120"/>
                <a:gd name="connsiteY10" fmla="*/ 547688 h 661987"/>
                <a:gd name="connsiteX11" fmla="*/ 35243 w 579120"/>
                <a:gd name="connsiteY11" fmla="*/ 563880 h 661987"/>
                <a:gd name="connsiteX12" fmla="*/ 64770 w 579120"/>
                <a:gd name="connsiteY12" fmla="*/ 586740 h 661987"/>
                <a:gd name="connsiteX13" fmla="*/ 93345 w 579120"/>
                <a:gd name="connsiteY13" fmla="*/ 586740 h 661987"/>
                <a:gd name="connsiteX14" fmla="*/ 105728 w 579120"/>
                <a:gd name="connsiteY14" fmla="*/ 612457 h 661987"/>
                <a:gd name="connsiteX15" fmla="*/ 128588 w 579120"/>
                <a:gd name="connsiteY15" fmla="*/ 617220 h 661987"/>
                <a:gd name="connsiteX16" fmla="*/ 140018 w 579120"/>
                <a:gd name="connsiteY16" fmla="*/ 655320 h 661987"/>
                <a:gd name="connsiteX17" fmla="*/ 158115 w 579120"/>
                <a:gd name="connsiteY17" fmla="*/ 661988 h 661987"/>
                <a:gd name="connsiteX18" fmla="*/ 174308 w 579120"/>
                <a:gd name="connsiteY18" fmla="*/ 654367 h 661987"/>
                <a:gd name="connsiteX19" fmla="*/ 192405 w 579120"/>
                <a:gd name="connsiteY19" fmla="*/ 634365 h 661987"/>
                <a:gd name="connsiteX20" fmla="*/ 203835 w 579120"/>
                <a:gd name="connsiteY20" fmla="*/ 622935 h 661987"/>
                <a:gd name="connsiteX21" fmla="*/ 203835 w 579120"/>
                <a:gd name="connsiteY21" fmla="*/ 599122 h 661987"/>
                <a:gd name="connsiteX22" fmla="*/ 213360 w 579120"/>
                <a:gd name="connsiteY22" fmla="*/ 580072 h 661987"/>
                <a:gd name="connsiteX23" fmla="*/ 221933 w 579120"/>
                <a:gd name="connsiteY23" fmla="*/ 587692 h 661987"/>
                <a:gd name="connsiteX24" fmla="*/ 249555 w 579120"/>
                <a:gd name="connsiteY24" fmla="*/ 587692 h 661987"/>
                <a:gd name="connsiteX25" fmla="*/ 272415 w 579120"/>
                <a:gd name="connsiteY25" fmla="*/ 576263 h 661987"/>
                <a:gd name="connsiteX26" fmla="*/ 279083 w 579120"/>
                <a:gd name="connsiteY26" fmla="*/ 549592 h 661987"/>
                <a:gd name="connsiteX27" fmla="*/ 293370 w 579120"/>
                <a:gd name="connsiteY27" fmla="*/ 525780 h 661987"/>
                <a:gd name="connsiteX28" fmla="*/ 312420 w 579120"/>
                <a:gd name="connsiteY28" fmla="*/ 525780 h 661987"/>
                <a:gd name="connsiteX29" fmla="*/ 329565 w 579120"/>
                <a:gd name="connsiteY29" fmla="*/ 551497 h 661987"/>
                <a:gd name="connsiteX30" fmla="*/ 340043 w 579120"/>
                <a:gd name="connsiteY30" fmla="*/ 540067 h 661987"/>
                <a:gd name="connsiteX31" fmla="*/ 355283 w 579120"/>
                <a:gd name="connsiteY31" fmla="*/ 524828 h 661987"/>
                <a:gd name="connsiteX32" fmla="*/ 344805 w 579120"/>
                <a:gd name="connsiteY32" fmla="*/ 514350 h 661987"/>
                <a:gd name="connsiteX33" fmla="*/ 342900 w 579120"/>
                <a:gd name="connsiteY33" fmla="*/ 500063 h 661987"/>
                <a:gd name="connsiteX34" fmla="*/ 368618 w 579120"/>
                <a:gd name="connsiteY34" fmla="*/ 482917 h 661987"/>
                <a:gd name="connsiteX35" fmla="*/ 393383 w 579120"/>
                <a:gd name="connsiteY35" fmla="*/ 488632 h 661987"/>
                <a:gd name="connsiteX36" fmla="*/ 410528 w 579120"/>
                <a:gd name="connsiteY36" fmla="*/ 474345 h 661987"/>
                <a:gd name="connsiteX37" fmla="*/ 427672 w 579120"/>
                <a:gd name="connsiteY37" fmla="*/ 457200 h 661987"/>
                <a:gd name="connsiteX38" fmla="*/ 412433 w 579120"/>
                <a:gd name="connsiteY38" fmla="*/ 441007 h 661987"/>
                <a:gd name="connsiteX39" fmla="*/ 412433 w 579120"/>
                <a:gd name="connsiteY39" fmla="*/ 430530 h 661987"/>
                <a:gd name="connsiteX40" fmla="*/ 426720 w 579120"/>
                <a:gd name="connsiteY40" fmla="*/ 416242 h 661987"/>
                <a:gd name="connsiteX41" fmla="*/ 436245 w 579120"/>
                <a:gd name="connsiteY41" fmla="*/ 384810 h 661987"/>
                <a:gd name="connsiteX42" fmla="*/ 418147 w 579120"/>
                <a:gd name="connsiteY42" fmla="*/ 356235 h 661987"/>
                <a:gd name="connsiteX43" fmla="*/ 418147 w 579120"/>
                <a:gd name="connsiteY43" fmla="*/ 320040 h 661987"/>
                <a:gd name="connsiteX44" fmla="*/ 441960 w 579120"/>
                <a:gd name="connsiteY44" fmla="*/ 300038 h 661987"/>
                <a:gd name="connsiteX45" fmla="*/ 465772 w 579120"/>
                <a:gd name="connsiteY45" fmla="*/ 300038 h 661987"/>
                <a:gd name="connsiteX46" fmla="*/ 484822 w 579120"/>
                <a:gd name="connsiteY46" fmla="*/ 280988 h 661987"/>
                <a:gd name="connsiteX47" fmla="*/ 506730 w 579120"/>
                <a:gd name="connsiteY47" fmla="*/ 249555 h 661987"/>
                <a:gd name="connsiteX48" fmla="*/ 535305 w 579120"/>
                <a:gd name="connsiteY48" fmla="*/ 223838 h 661987"/>
                <a:gd name="connsiteX49" fmla="*/ 550545 w 579120"/>
                <a:gd name="connsiteY49" fmla="*/ 184785 h 661987"/>
                <a:gd name="connsiteX50" fmla="*/ 550545 w 579120"/>
                <a:gd name="connsiteY50" fmla="*/ 156210 h 661987"/>
                <a:gd name="connsiteX51" fmla="*/ 579120 w 579120"/>
                <a:gd name="connsiteY51" fmla="*/ 141922 h 661987"/>
                <a:gd name="connsiteX52" fmla="*/ 579120 w 579120"/>
                <a:gd name="connsiteY52" fmla="*/ 119063 h 661987"/>
                <a:gd name="connsiteX53" fmla="*/ 530543 w 579120"/>
                <a:gd name="connsiteY53" fmla="*/ 111442 h 661987"/>
                <a:gd name="connsiteX54" fmla="*/ 494347 w 579120"/>
                <a:gd name="connsiteY54" fmla="*/ 98107 h 661987"/>
                <a:gd name="connsiteX55" fmla="*/ 462915 w 579120"/>
                <a:gd name="connsiteY55" fmla="*/ 80963 h 661987"/>
                <a:gd name="connsiteX56" fmla="*/ 430530 w 579120"/>
                <a:gd name="connsiteY56" fmla="*/ 59055 h 661987"/>
                <a:gd name="connsiteX57" fmla="*/ 415290 w 579120"/>
                <a:gd name="connsiteY57" fmla="*/ 59055 h 661987"/>
                <a:gd name="connsiteX58" fmla="*/ 406718 w 579120"/>
                <a:gd name="connsiteY58" fmla="*/ 77153 h 661987"/>
                <a:gd name="connsiteX59" fmla="*/ 392430 w 579120"/>
                <a:gd name="connsiteY59" fmla="*/ 81915 h 661987"/>
                <a:gd name="connsiteX60" fmla="*/ 382905 w 579120"/>
                <a:gd name="connsiteY60" fmla="*/ 71438 h 661987"/>
                <a:gd name="connsiteX61" fmla="*/ 368618 w 579120"/>
                <a:gd name="connsiteY61" fmla="*/ 66675 h 661987"/>
                <a:gd name="connsiteX62" fmla="*/ 354330 w 579120"/>
                <a:gd name="connsiteY62" fmla="*/ 80963 h 661987"/>
                <a:gd name="connsiteX63" fmla="*/ 328613 w 579120"/>
                <a:gd name="connsiteY63" fmla="*/ 71438 h 661987"/>
                <a:gd name="connsiteX64" fmla="*/ 306705 w 579120"/>
                <a:gd name="connsiteY64" fmla="*/ 82867 h 661987"/>
                <a:gd name="connsiteX65" fmla="*/ 285750 w 579120"/>
                <a:gd name="connsiteY65" fmla="*/ 62865 h 661987"/>
                <a:gd name="connsiteX66" fmla="*/ 255270 w 579120"/>
                <a:gd name="connsiteY66" fmla="*/ 49530 h 661987"/>
                <a:gd name="connsiteX67" fmla="*/ 237173 w 579120"/>
                <a:gd name="connsiteY67" fmla="*/ 55245 h 661987"/>
                <a:gd name="connsiteX68" fmla="*/ 222885 w 579120"/>
                <a:gd name="connsiteY68" fmla="*/ 38100 h 661987"/>
                <a:gd name="connsiteX69" fmla="*/ 225743 w 579120"/>
                <a:gd name="connsiteY69" fmla="*/ 20003 h 661987"/>
                <a:gd name="connsiteX70" fmla="*/ 218123 w 579120"/>
                <a:gd name="connsiteY70" fmla="*/ 7620 h 661987"/>
                <a:gd name="connsiteX71" fmla="*/ 200025 w 579120"/>
                <a:gd name="connsiteY71" fmla="*/ 1905 h 661987"/>
                <a:gd name="connsiteX72" fmla="*/ 186690 w 579120"/>
                <a:gd name="connsiteY72" fmla="*/ 15240 h 661987"/>
                <a:gd name="connsiteX73" fmla="*/ 176213 w 579120"/>
                <a:gd name="connsiteY73" fmla="*/ 5715 h 661987"/>
                <a:gd name="connsiteX74" fmla="*/ 166688 w 579120"/>
                <a:gd name="connsiteY74" fmla="*/ 15240 h 661987"/>
                <a:gd name="connsiteX75" fmla="*/ 138113 w 579120"/>
                <a:gd name="connsiteY75" fmla="*/ 0 h 661987"/>
                <a:gd name="connsiteX76" fmla="*/ 124778 w 579120"/>
                <a:gd name="connsiteY76" fmla="*/ 25717 h 661987"/>
                <a:gd name="connsiteX77" fmla="*/ 139065 w 579120"/>
                <a:gd name="connsiteY77" fmla="*/ 40005 h 661987"/>
                <a:gd name="connsiteX78" fmla="*/ 139065 w 579120"/>
                <a:gd name="connsiteY78" fmla="*/ 57150 h 661987"/>
                <a:gd name="connsiteX79" fmla="*/ 117158 w 579120"/>
                <a:gd name="connsiteY79" fmla="*/ 65722 h 661987"/>
                <a:gd name="connsiteX80" fmla="*/ 130493 w 579120"/>
                <a:gd name="connsiteY80" fmla="*/ 78105 h 661987"/>
                <a:gd name="connsiteX81" fmla="*/ 156210 w 579120"/>
                <a:gd name="connsiteY81" fmla="*/ 90488 h 661987"/>
                <a:gd name="connsiteX82" fmla="*/ 175260 w 579120"/>
                <a:gd name="connsiteY82" fmla="*/ 109538 h 661987"/>
                <a:gd name="connsiteX83" fmla="*/ 190500 w 579120"/>
                <a:gd name="connsiteY83" fmla="*/ 122872 h 661987"/>
                <a:gd name="connsiteX84" fmla="*/ 186690 w 579120"/>
                <a:gd name="connsiteY84" fmla="*/ 147638 h 661987"/>
                <a:gd name="connsiteX85" fmla="*/ 162878 w 579120"/>
                <a:gd name="connsiteY85" fmla="*/ 167640 h 661987"/>
                <a:gd name="connsiteX86" fmla="*/ 140970 w 579120"/>
                <a:gd name="connsiteY86" fmla="*/ 176213 h 661987"/>
                <a:gd name="connsiteX87" fmla="*/ 115253 w 579120"/>
                <a:gd name="connsiteY87" fmla="*/ 200978 h 661987"/>
                <a:gd name="connsiteX88" fmla="*/ 115253 w 579120"/>
                <a:gd name="connsiteY88" fmla="*/ 224790 h 661987"/>
                <a:gd name="connsiteX89" fmla="*/ 130493 w 579120"/>
                <a:gd name="connsiteY89" fmla="*/ 239078 h 661987"/>
                <a:gd name="connsiteX90" fmla="*/ 122873 w 579120"/>
                <a:gd name="connsiteY90" fmla="*/ 261938 h 661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579120" h="661987">
                  <a:moveTo>
                    <a:pt x="122873" y="284797"/>
                  </a:moveTo>
                  <a:lnTo>
                    <a:pt x="91440" y="304800"/>
                  </a:lnTo>
                  <a:lnTo>
                    <a:pt x="85725" y="335280"/>
                  </a:lnTo>
                  <a:lnTo>
                    <a:pt x="83820" y="371475"/>
                  </a:lnTo>
                  <a:lnTo>
                    <a:pt x="66675" y="402907"/>
                  </a:lnTo>
                  <a:lnTo>
                    <a:pt x="61913" y="437197"/>
                  </a:lnTo>
                  <a:lnTo>
                    <a:pt x="45720" y="473392"/>
                  </a:lnTo>
                  <a:lnTo>
                    <a:pt x="0" y="496253"/>
                  </a:lnTo>
                  <a:lnTo>
                    <a:pt x="0" y="512445"/>
                  </a:lnTo>
                  <a:lnTo>
                    <a:pt x="18098" y="540067"/>
                  </a:lnTo>
                  <a:lnTo>
                    <a:pt x="35243" y="547688"/>
                  </a:lnTo>
                  <a:lnTo>
                    <a:pt x="35243" y="563880"/>
                  </a:lnTo>
                  <a:lnTo>
                    <a:pt x="64770" y="586740"/>
                  </a:lnTo>
                  <a:lnTo>
                    <a:pt x="93345" y="586740"/>
                  </a:lnTo>
                  <a:lnTo>
                    <a:pt x="105728" y="612457"/>
                  </a:lnTo>
                  <a:lnTo>
                    <a:pt x="128588" y="617220"/>
                  </a:lnTo>
                  <a:lnTo>
                    <a:pt x="140018" y="655320"/>
                  </a:lnTo>
                  <a:lnTo>
                    <a:pt x="158115" y="661988"/>
                  </a:lnTo>
                  <a:lnTo>
                    <a:pt x="174308" y="654367"/>
                  </a:lnTo>
                  <a:lnTo>
                    <a:pt x="192405" y="634365"/>
                  </a:lnTo>
                  <a:lnTo>
                    <a:pt x="203835" y="622935"/>
                  </a:lnTo>
                  <a:lnTo>
                    <a:pt x="203835" y="599122"/>
                  </a:lnTo>
                  <a:lnTo>
                    <a:pt x="213360" y="580072"/>
                  </a:lnTo>
                  <a:lnTo>
                    <a:pt x="221933" y="587692"/>
                  </a:lnTo>
                  <a:lnTo>
                    <a:pt x="249555" y="587692"/>
                  </a:lnTo>
                  <a:lnTo>
                    <a:pt x="272415" y="576263"/>
                  </a:lnTo>
                  <a:lnTo>
                    <a:pt x="279083" y="549592"/>
                  </a:lnTo>
                  <a:lnTo>
                    <a:pt x="293370" y="525780"/>
                  </a:lnTo>
                  <a:lnTo>
                    <a:pt x="312420" y="525780"/>
                  </a:lnTo>
                  <a:lnTo>
                    <a:pt x="329565" y="551497"/>
                  </a:lnTo>
                  <a:lnTo>
                    <a:pt x="340043" y="540067"/>
                  </a:lnTo>
                  <a:lnTo>
                    <a:pt x="355283" y="524828"/>
                  </a:lnTo>
                  <a:lnTo>
                    <a:pt x="344805" y="514350"/>
                  </a:lnTo>
                  <a:lnTo>
                    <a:pt x="342900" y="500063"/>
                  </a:lnTo>
                  <a:lnTo>
                    <a:pt x="368618" y="482917"/>
                  </a:lnTo>
                  <a:lnTo>
                    <a:pt x="393383" y="488632"/>
                  </a:lnTo>
                  <a:lnTo>
                    <a:pt x="410528" y="474345"/>
                  </a:lnTo>
                  <a:lnTo>
                    <a:pt x="427672" y="457200"/>
                  </a:lnTo>
                  <a:lnTo>
                    <a:pt x="412433" y="441007"/>
                  </a:lnTo>
                  <a:lnTo>
                    <a:pt x="412433" y="430530"/>
                  </a:lnTo>
                  <a:lnTo>
                    <a:pt x="426720" y="416242"/>
                  </a:lnTo>
                  <a:lnTo>
                    <a:pt x="436245" y="384810"/>
                  </a:lnTo>
                  <a:lnTo>
                    <a:pt x="418147" y="356235"/>
                  </a:lnTo>
                  <a:lnTo>
                    <a:pt x="418147" y="320040"/>
                  </a:lnTo>
                  <a:lnTo>
                    <a:pt x="441960" y="300038"/>
                  </a:lnTo>
                  <a:lnTo>
                    <a:pt x="465772" y="300038"/>
                  </a:lnTo>
                  <a:lnTo>
                    <a:pt x="484822" y="280988"/>
                  </a:lnTo>
                  <a:lnTo>
                    <a:pt x="506730" y="249555"/>
                  </a:lnTo>
                  <a:lnTo>
                    <a:pt x="535305" y="223838"/>
                  </a:lnTo>
                  <a:lnTo>
                    <a:pt x="550545" y="184785"/>
                  </a:lnTo>
                  <a:lnTo>
                    <a:pt x="550545" y="156210"/>
                  </a:lnTo>
                  <a:lnTo>
                    <a:pt x="579120" y="141922"/>
                  </a:lnTo>
                  <a:lnTo>
                    <a:pt x="579120" y="119063"/>
                  </a:lnTo>
                  <a:lnTo>
                    <a:pt x="530543" y="111442"/>
                  </a:lnTo>
                  <a:lnTo>
                    <a:pt x="494347" y="98107"/>
                  </a:lnTo>
                  <a:lnTo>
                    <a:pt x="462915" y="80963"/>
                  </a:lnTo>
                  <a:lnTo>
                    <a:pt x="430530" y="59055"/>
                  </a:lnTo>
                  <a:lnTo>
                    <a:pt x="415290" y="59055"/>
                  </a:lnTo>
                  <a:lnTo>
                    <a:pt x="406718" y="77153"/>
                  </a:lnTo>
                  <a:lnTo>
                    <a:pt x="392430" y="81915"/>
                  </a:lnTo>
                  <a:lnTo>
                    <a:pt x="382905" y="71438"/>
                  </a:lnTo>
                  <a:lnTo>
                    <a:pt x="368618" y="66675"/>
                  </a:lnTo>
                  <a:lnTo>
                    <a:pt x="354330" y="80963"/>
                  </a:lnTo>
                  <a:lnTo>
                    <a:pt x="328613" y="71438"/>
                  </a:lnTo>
                  <a:lnTo>
                    <a:pt x="306705" y="82867"/>
                  </a:lnTo>
                  <a:lnTo>
                    <a:pt x="285750" y="62865"/>
                  </a:lnTo>
                  <a:lnTo>
                    <a:pt x="255270" y="49530"/>
                  </a:lnTo>
                  <a:lnTo>
                    <a:pt x="237173" y="55245"/>
                  </a:lnTo>
                  <a:lnTo>
                    <a:pt x="222885" y="38100"/>
                  </a:lnTo>
                  <a:lnTo>
                    <a:pt x="225743" y="20003"/>
                  </a:lnTo>
                  <a:lnTo>
                    <a:pt x="218123" y="7620"/>
                  </a:lnTo>
                  <a:lnTo>
                    <a:pt x="200025" y="1905"/>
                  </a:lnTo>
                  <a:lnTo>
                    <a:pt x="186690" y="15240"/>
                  </a:lnTo>
                  <a:lnTo>
                    <a:pt x="176213" y="5715"/>
                  </a:lnTo>
                  <a:lnTo>
                    <a:pt x="166688" y="15240"/>
                  </a:lnTo>
                  <a:lnTo>
                    <a:pt x="138113" y="0"/>
                  </a:lnTo>
                  <a:lnTo>
                    <a:pt x="124778" y="25717"/>
                  </a:lnTo>
                  <a:lnTo>
                    <a:pt x="139065" y="40005"/>
                  </a:lnTo>
                  <a:lnTo>
                    <a:pt x="139065" y="57150"/>
                  </a:lnTo>
                  <a:lnTo>
                    <a:pt x="117158" y="65722"/>
                  </a:lnTo>
                  <a:lnTo>
                    <a:pt x="130493" y="78105"/>
                  </a:lnTo>
                  <a:lnTo>
                    <a:pt x="156210" y="90488"/>
                  </a:lnTo>
                  <a:lnTo>
                    <a:pt x="175260" y="109538"/>
                  </a:lnTo>
                  <a:lnTo>
                    <a:pt x="190500" y="122872"/>
                  </a:lnTo>
                  <a:lnTo>
                    <a:pt x="186690" y="147638"/>
                  </a:lnTo>
                  <a:lnTo>
                    <a:pt x="162878" y="167640"/>
                  </a:lnTo>
                  <a:lnTo>
                    <a:pt x="140970" y="176213"/>
                  </a:lnTo>
                  <a:lnTo>
                    <a:pt x="115253" y="200978"/>
                  </a:lnTo>
                  <a:lnTo>
                    <a:pt x="115253" y="224790"/>
                  </a:lnTo>
                  <a:lnTo>
                    <a:pt x="130493" y="239078"/>
                  </a:lnTo>
                  <a:lnTo>
                    <a:pt x="122873" y="261938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9" name="Полилиния: фигура 99">
              <a:extLst>
                <a:ext uri="{FF2B5EF4-FFF2-40B4-BE49-F238E27FC236}">
                  <a16:creationId xmlns:a16="http://schemas.microsoft.com/office/drawing/2014/main" id="{E947A7D1-66AF-4689-811E-E6647EFDA831}"/>
                </a:ext>
              </a:extLst>
            </p:cNvPr>
            <p:cNvSpPr/>
            <p:nvPr/>
          </p:nvSpPr>
          <p:spPr>
            <a:xfrm>
              <a:off x="6402229" y="5246797"/>
              <a:ext cx="776293" cy="598375"/>
            </a:xfrm>
            <a:custGeom>
              <a:avLst/>
              <a:gdLst>
                <a:gd name="connsiteX0" fmla="*/ 697230 w 1203960"/>
                <a:gd name="connsiteY0" fmla="*/ 1025842 h 1066800"/>
                <a:gd name="connsiteX1" fmla="*/ 647700 w 1203960"/>
                <a:gd name="connsiteY1" fmla="*/ 1018222 h 1066800"/>
                <a:gd name="connsiteX2" fmla="*/ 627698 w 1203960"/>
                <a:gd name="connsiteY2" fmla="*/ 1005840 h 1066800"/>
                <a:gd name="connsiteX3" fmla="*/ 562928 w 1203960"/>
                <a:gd name="connsiteY3" fmla="*/ 1015365 h 1066800"/>
                <a:gd name="connsiteX4" fmla="*/ 522923 w 1203960"/>
                <a:gd name="connsiteY4" fmla="*/ 1015365 h 1066800"/>
                <a:gd name="connsiteX5" fmla="*/ 489585 w 1203960"/>
                <a:gd name="connsiteY5" fmla="*/ 1047750 h 1066800"/>
                <a:gd name="connsiteX6" fmla="*/ 453390 w 1203960"/>
                <a:gd name="connsiteY6" fmla="*/ 1056323 h 1066800"/>
                <a:gd name="connsiteX7" fmla="*/ 418148 w 1203960"/>
                <a:gd name="connsiteY7" fmla="*/ 1066800 h 1066800"/>
                <a:gd name="connsiteX8" fmla="*/ 366713 w 1203960"/>
                <a:gd name="connsiteY8" fmla="*/ 1062038 h 1066800"/>
                <a:gd name="connsiteX9" fmla="*/ 332423 w 1203960"/>
                <a:gd name="connsiteY9" fmla="*/ 1047750 h 1066800"/>
                <a:gd name="connsiteX10" fmla="*/ 310515 w 1203960"/>
                <a:gd name="connsiteY10" fmla="*/ 1025842 h 1066800"/>
                <a:gd name="connsiteX11" fmla="*/ 289560 w 1203960"/>
                <a:gd name="connsiteY11" fmla="*/ 982027 h 1066800"/>
                <a:gd name="connsiteX12" fmla="*/ 263843 w 1203960"/>
                <a:gd name="connsiteY12" fmla="*/ 956310 h 1066800"/>
                <a:gd name="connsiteX13" fmla="*/ 227648 w 1203960"/>
                <a:gd name="connsiteY13" fmla="*/ 942022 h 1066800"/>
                <a:gd name="connsiteX14" fmla="*/ 192405 w 1203960"/>
                <a:gd name="connsiteY14" fmla="*/ 942022 h 1066800"/>
                <a:gd name="connsiteX15" fmla="*/ 151448 w 1203960"/>
                <a:gd name="connsiteY15" fmla="*/ 952500 h 1066800"/>
                <a:gd name="connsiteX16" fmla="*/ 123825 w 1203960"/>
                <a:gd name="connsiteY16" fmla="*/ 924877 h 1066800"/>
                <a:gd name="connsiteX17" fmla="*/ 69532 w 1203960"/>
                <a:gd name="connsiteY17" fmla="*/ 924877 h 1066800"/>
                <a:gd name="connsiteX18" fmla="*/ 37148 w 1203960"/>
                <a:gd name="connsiteY18" fmla="*/ 901065 h 1066800"/>
                <a:gd name="connsiteX19" fmla="*/ 20003 w 1203960"/>
                <a:gd name="connsiteY19" fmla="*/ 917257 h 1066800"/>
                <a:gd name="connsiteX20" fmla="*/ 19050 w 1203960"/>
                <a:gd name="connsiteY20" fmla="*/ 890588 h 1066800"/>
                <a:gd name="connsiteX21" fmla="*/ 4763 w 1203960"/>
                <a:gd name="connsiteY21" fmla="*/ 877252 h 1066800"/>
                <a:gd name="connsiteX22" fmla="*/ 0 w 1203960"/>
                <a:gd name="connsiteY22" fmla="*/ 853440 h 1066800"/>
                <a:gd name="connsiteX23" fmla="*/ 15240 w 1203960"/>
                <a:gd name="connsiteY23" fmla="*/ 838200 h 1066800"/>
                <a:gd name="connsiteX24" fmla="*/ 15240 w 1203960"/>
                <a:gd name="connsiteY24" fmla="*/ 813435 h 1066800"/>
                <a:gd name="connsiteX25" fmla="*/ 31432 w 1203960"/>
                <a:gd name="connsiteY25" fmla="*/ 797242 h 1066800"/>
                <a:gd name="connsiteX26" fmla="*/ 68580 w 1203960"/>
                <a:gd name="connsiteY26" fmla="*/ 760095 h 1066800"/>
                <a:gd name="connsiteX27" fmla="*/ 78105 w 1203960"/>
                <a:gd name="connsiteY27" fmla="*/ 749617 h 1066800"/>
                <a:gd name="connsiteX28" fmla="*/ 91440 w 1203960"/>
                <a:gd name="connsiteY28" fmla="*/ 737235 h 1066800"/>
                <a:gd name="connsiteX29" fmla="*/ 110490 w 1203960"/>
                <a:gd name="connsiteY29" fmla="*/ 749617 h 1066800"/>
                <a:gd name="connsiteX30" fmla="*/ 106680 w 1203960"/>
                <a:gd name="connsiteY30" fmla="*/ 768667 h 1066800"/>
                <a:gd name="connsiteX31" fmla="*/ 133350 w 1203960"/>
                <a:gd name="connsiteY31" fmla="*/ 781050 h 1066800"/>
                <a:gd name="connsiteX32" fmla="*/ 148590 w 1203960"/>
                <a:gd name="connsiteY32" fmla="*/ 795338 h 1066800"/>
                <a:gd name="connsiteX33" fmla="*/ 183832 w 1203960"/>
                <a:gd name="connsiteY33" fmla="*/ 806767 h 1066800"/>
                <a:gd name="connsiteX34" fmla="*/ 200025 w 1203960"/>
                <a:gd name="connsiteY34" fmla="*/ 822007 h 1066800"/>
                <a:gd name="connsiteX35" fmla="*/ 218123 w 1203960"/>
                <a:gd name="connsiteY35" fmla="*/ 831532 h 1066800"/>
                <a:gd name="connsiteX36" fmla="*/ 238125 w 1203960"/>
                <a:gd name="connsiteY36" fmla="*/ 851535 h 1066800"/>
                <a:gd name="connsiteX37" fmla="*/ 282893 w 1203960"/>
                <a:gd name="connsiteY37" fmla="*/ 842010 h 1066800"/>
                <a:gd name="connsiteX38" fmla="*/ 300038 w 1203960"/>
                <a:gd name="connsiteY38" fmla="*/ 860107 h 1066800"/>
                <a:gd name="connsiteX39" fmla="*/ 320993 w 1203960"/>
                <a:gd name="connsiteY39" fmla="*/ 878205 h 1066800"/>
                <a:gd name="connsiteX40" fmla="*/ 343853 w 1203960"/>
                <a:gd name="connsiteY40" fmla="*/ 878205 h 1066800"/>
                <a:gd name="connsiteX41" fmla="*/ 343853 w 1203960"/>
                <a:gd name="connsiteY41" fmla="*/ 898207 h 1066800"/>
                <a:gd name="connsiteX42" fmla="*/ 359093 w 1203960"/>
                <a:gd name="connsiteY42" fmla="*/ 923925 h 1066800"/>
                <a:gd name="connsiteX43" fmla="*/ 382905 w 1203960"/>
                <a:gd name="connsiteY43" fmla="*/ 923925 h 1066800"/>
                <a:gd name="connsiteX44" fmla="*/ 400050 w 1203960"/>
                <a:gd name="connsiteY44" fmla="*/ 923925 h 1066800"/>
                <a:gd name="connsiteX45" fmla="*/ 406718 w 1203960"/>
                <a:gd name="connsiteY45" fmla="*/ 949642 h 1066800"/>
                <a:gd name="connsiteX46" fmla="*/ 439103 w 1203960"/>
                <a:gd name="connsiteY46" fmla="*/ 931545 h 1066800"/>
                <a:gd name="connsiteX47" fmla="*/ 461963 w 1203960"/>
                <a:gd name="connsiteY47" fmla="*/ 931545 h 1066800"/>
                <a:gd name="connsiteX48" fmla="*/ 461963 w 1203960"/>
                <a:gd name="connsiteY48" fmla="*/ 889635 h 1066800"/>
                <a:gd name="connsiteX49" fmla="*/ 495300 w 1203960"/>
                <a:gd name="connsiteY49" fmla="*/ 857250 h 1066800"/>
                <a:gd name="connsiteX50" fmla="*/ 533400 w 1203960"/>
                <a:gd name="connsiteY50" fmla="*/ 811530 h 1066800"/>
                <a:gd name="connsiteX51" fmla="*/ 552450 w 1203960"/>
                <a:gd name="connsiteY51" fmla="*/ 762952 h 1066800"/>
                <a:gd name="connsiteX52" fmla="*/ 601980 w 1203960"/>
                <a:gd name="connsiteY52" fmla="*/ 712470 h 1066800"/>
                <a:gd name="connsiteX53" fmla="*/ 659130 w 1203960"/>
                <a:gd name="connsiteY53" fmla="*/ 644842 h 1066800"/>
                <a:gd name="connsiteX54" fmla="*/ 667703 w 1203960"/>
                <a:gd name="connsiteY54" fmla="*/ 543877 h 1066800"/>
                <a:gd name="connsiteX55" fmla="*/ 687705 w 1203960"/>
                <a:gd name="connsiteY55" fmla="*/ 477202 h 1066800"/>
                <a:gd name="connsiteX56" fmla="*/ 657225 w 1203960"/>
                <a:gd name="connsiteY56" fmla="*/ 467677 h 1066800"/>
                <a:gd name="connsiteX57" fmla="*/ 641032 w 1203960"/>
                <a:gd name="connsiteY57" fmla="*/ 391477 h 1066800"/>
                <a:gd name="connsiteX58" fmla="*/ 627698 w 1203960"/>
                <a:gd name="connsiteY58" fmla="*/ 328613 h 1066800"/>
                <a:gd name="connsiteX59" fmla="*/ 638175 w 1203960"/>
                <a:gd name="connsiteY59" fmla="*/ 308610 h 1066800"/>
                <a:gd name="connsiteX60" fmla="*/ 652463 w 1203960"/>
                <a:gd name="connsiteY60" fmla="*/ 294322 h 1066800"/>
                <a:gd name="connsiteX61" fmla="*/ 628650 w 1203960"/>
                <a:gd name="connsiteY61" fmla="*/ 277177 h 1066800"/>
                <a:gd name="connsiteX62" fmla="*/ 604838 w 1203960"/>
                <a:gd name="connsiteY62" fmla="*/ 269557 h 1066800"/>
                <a:gd name="connsiteX63" fmla="*/ 596265 w 1203960"/>
                <a:gd name="connsiteY63" fmla="*/ 231457 h 1066800"/>
                <a:gd name="connsiteX64" fmla="*/ 641032 w 1203960"/>
                <a:gd name="connsiteY64" fmla="*/ 199072 h 1066800"/>
                <a:gd name="connsiteX65" fmla="*/ 662940 w 1203960"/>
                <a:gd name="connsiteY65" fmla="*/ 199072 h 1066800"/>
                <a:gd name="connsiteX66" fmla="*/ 662940 w 1203960"/>
                <a:gd name="connsiteY66" fmla="*/ 170497 h 1066800"/>
                <a:gd name="connsiteX67" fmla="*/ 684848 w 1203960"/>
                <a:gd name="connsiteY67" fmla="*/ 160972 h 1066800"/>
                <a:gd name="connsiteX68" fmla="*/ 715328 w 1203960"/>
                <a:gd name="connsiteY68" fmla="*/ 171450 h 1066800"/>
                <a:gd name="connsiteX69" fmla="*/ 746760 w 1203960"/>
                <a:gd name="connsiteY69" fmla="*/ 160020 h 1066800"/>
                <a:gd name="connsiteX70" fmla="*/ 746760 w 1203960"/>
                <a:gd name="connsiteY70" fmla="*/ 132397 h 1066800"/>
                <a:gd name="connsiteX71" fmla="*/ 769620 w 1203960"/>
                <a:gd name="connsiteY71" fmla="*/ 116205 h 1066800"/>
                <a:gd name="connsiteX72" fmla="*/ 781050 w 1203960"/>
                <a:gd name="connsiteY72" fmla="*/ 128588 h 1066800"/>
                <a:gd name="connsiteX73" fmla="*/ 817245 w 1203960"/>
                <a:gd name="connsiteY73" fmla="*/ 128588 h 1066800"/>
                <a:gd name="connsiteX74" fmla="*/ 838200 w 1203960"/>
                <a:gd name="connsiteY74" fmla="*/ 114300 h 1066800"/>
                <a:gd name="connsiteX75" fmla="*/ 851535 w 1203960"/>
                <a:gd name="connsiteY75" fmla="*/ 127635 h 1066800"/>
                <a:gd name="connsiteX76" fmla="*/ 895350 w 1203960"/>
                <a:gd name="connsiteY76" fmla="*/ 136207 h 1066800"/>
                <a:gd name="connsiteX77" fmla="*/ 913448 w 1203960"/>
                <a:gd name="connsiteY77" fmla="*/ 118110 h 1066800"/>
                <a:gd name="connsiteX78" fmla="*/ 932498 w 1203960"/>
                <a:gd name="connsiteY78" fmla="*/ 128588 h 1066800"/>
                <a:gd name="connsiteX79" fmla="*/ 960120 w 1203960"/>
                <a:gd name="connsiteY79" fmla="*/ 100965 h 1066800"/>
                <a:gd name="connsiteX80" fmla="*/ 982028 w 1203960"/>
                <a:gd name="connsiteY80" fmla="*/ 100965 h 1066800"/>
                <a:gd name="connsiteX81" fmla="*/ 982028 w 1203960"/>
                <a:gd name="connsiteY81" fmla="*/ 45720 h 1066800"/>
                <a:gd name="connsiteX82" fmla="*/ 1007745 w 1203960"/>
                <a:gd name="connsiteY82" fmla="*/ 32385 h 1066800"/>
                <a:gd name="connsiteX83" fmla="*/ 1022985 w 1203960"/>
                <a:gd name="connsiteY83" fmla="*/ 0 h 1066800"/>
                <a:gd name="connsiteX84" fmla="*/ 1049655 w 1203960"/>
                <a:gd name="connsiteY84" fmla="*/ 5715 h 1066800"/>
                <a:gd name="connsiteX85" fmla="*/ 1062038 w 1203960"/>
                <a:gd name="connsiteY85" fmla="*/ 19050 h 1066800"/>
                <a:gd name="connsiteX86" fmla="*/ 1031557 w 1203960"/>
                <a:gd name="connsiteY86" fmla="*/ 47625 h 1066800"/>
                <a:gd name="connsiteX87" fmla="*/ 1031557 w 1203960"/>
                <a:gd name="connsiteY87" fmla="*/ 85725 h 1066800"/>
                <a:gd name="connsiteX88" fmla="*/ 1058228 w 1203960"/>
                <a:gd name="connsiteY88" fmla="*/ 99060 h 1066800"/>
                <a:gd name="connsiteX89" fmla="*/ 1068705 w 1203960"/>
                <a:gd name="connsiteY89" fmla="*/ 133350 h 1066800"/>
                <a:gd name="connsiteX90" fmla="*/ 1085850 w 1203960"/>
                <a:gd name="connsiteY90" fmla="*/ 153352 h 1066800"/>
                <a:gd name="connsiteX91" fmla="*/ 1096328 w 1203960"/>
                <a:gd name="connsiteY91" fmla="*/ 189547 h 1066800"/>
                <a:gd name="connsiteX92" fmla="*/ 1120140 w 1203960"/>
                <a:gd name="connsiteY92" fmla="*/ 215265 h 1066800"/>
                <a:gd name="connsiteX93" fmla="*/ 1143000 w 1203960"/>
                <a:gd name="connsiteY93" fmla="*/ 207645 h 1066800"/>
                <a:gd name="connsiteX94" fmla="*/ 1174432 w 1203960"/>
                <a:gd name="connsiteY94" fmla="*/ 222885 h 1066800"/>
                <a:gd name="connsiteX95" fmla="*/ 1195388 w 1203960"/>
                <a:gd name="connsiteY95" fmla="*/ 244792 h 1066800"/>
                <a:gd name="connsiteX96" fmla="*/ 1203960 w 1203960"/>
                <a:gd name="connsiteY96" fmla="*/ 266700 h 1066800"/>
                <a:gd name="connsiteX97" fmla="*/ 1191578 w 1203960"/>
                <a:gd name="connsiteY97" fmla="*/ 309563 h 1066800"/>
                <a:gd name="connsiteX98" fmla="*/ 1160145 w 1203960"/>
                <a:gd name="connsiteY98" fmla="*/ 319088 h 1066800"/>
                <a:gd name="connsiteX99" fmla="*/ 1133475 w 1203960"/>
                <a:gd name="connsiteY99" fmla="*/ 345757 h 1066800"/>
                <a:gd name="connsiteX100" fmla="*/ 1113473 w 1203960"/>
                <a:gd name="connsiteY100" fmla="*/ 379095 h 1066800"/>
                <a:gd name="connsiteX101" fmla="*/ 1098232 w 1203960"/>
                <a:gd name="connsiteY101" fmla="*/ 411480 h 1066800"/>
                <a:gd name="connsiteX102" fmla="*/ 1075373 w 1203960"/>
                <a:gd name="connsiteY102" fmla="*/ 435292 h 1066800"/>
                <a:gd name="connsiteX103" fmla="*/ 1057275 w 1203960"/>
                <a:gd name="connsiteY103" fmla="*/ 469582 h 1066800"/>
                <a:gd name="connsiteX104" fmla="*/ 1067753 w 1203960"/>
                <a:gd name="connsiteY104" fmla="*/ 504825 h 1066800"/>
                <a:gd name="connsiteX105" fmla="*/ 1089660 w 1203960"/>
                <a:gd name="connsiteY105" fmla="*/ 511492 h 1066800"/>
                <a:gd name="connsiteX106" fmla="*/ 1089660 w 1203960"/>
                <a:gd name="connsiteY106" fmla="*/ 527685 h 1066800"/>
                <a:gd name="connsiteX107" fmla="*/ 1106805 w 1203960"/>
                <a:gd name="connsiteY107" fmla="*/ 544830 h 1066800"/>
                <a:gd name="connsiteX108" fmla="*/ 1097280 w 1203960"/>
                <a:gd name="connsiteY108" fmla="*/ 580072 h 1066800"/>
                <a:gd name="connsiteX109" fmla="*/ 1042988 w 1203960"/>
                <a:gd name="connsiteY109" fmla="*/ 632460 h 1066800"/>
                <a:gd name="connsiteX110" fmla="*/ 1012507 w 1203960"/>
                <a:gd name="connsiteY110" fmla="*/ 646747 h 1066800"/>
                <a:gd name="connsiteX111" fmla="*/ 993457 w 1203960"/>
                <a:gd name="connsiteY111" fmla="*/ 665797 h 1066800"/>
                <a:gd name="connsiteX112" fmla="*/ 969645 w 1203960"/>
                <a:gd name="connsiteY112" fmla="*/ 675322 h 1066800"/>
                <a:gd name="connsiteX113" fmla="*/ 962978 w 1203960"/>
                <a:gd name="connsiteY113" fmla="*/ 715327 h 1066800"/>
                <a:gd name="connsiteX114" fmla="*/ 943928 w 1203960"/>
                <a:gd name="connsiteY114" fmla="*/ 734377 h 1066800"/>
                <a:gd name="connsiteX115" fmla="*/ 922973 w 1203960"/>
                <a:gd name="connsiteY115" fmla="*/ 742950 h 1066800"/>
                <a:gd name="connsiteX116" fmla="*/ 908685 w 1203960"/>
                <a:gd name="connsiteY116" fmla="*/ 790575 h 1066800"/>
                <a:gd name="connsiteX117" fmla="*/ 886778 w 1203960"/>
                <a:gd name="connsiteY117" fmla="*/ 790575 h 1066800"/>
                <a:gd name="connsiteX118" fmla="*/ 859155 w 1203960"/>
                <a:gd name="connsiteY118" fmla="*/ 785813 h 1066800"/>
                <a:gd name="connsiteX119" fmla="*/ 822007 w 1203960"/>
                <a:gd name="connsiteY119" fmla="*/ 822960 h 1066800"/>
                <a:gd name="connsiteX120" fmla="*/ 802957 w 1203960"/>
                <a:gd name="connsiteY120" fmla="*/ 832485 h 1066800"/>
                <a:gd name="connsiteX121" fmla="*/ 786765 w 1203960"/>
                <a:gd name="connsiteY121" fmla="*/ 826770 h 1066800"/>
                <a:gd name="connsiteX122" fmla="*/ 771525 w 1203960"/>
                <a:gd name="connsiteY122" fmla="*/ 826770 h 1066800"/>
                <a:gd name="connsiteX123" fmla="*/ 755332 w 1203960"/>
                <a:gd name="connsiteY123" fmla="*/ 842010 h 1066800"/>
                <a:gd name="connsiteX124" fmla="*/ 755332 w 1203960"/>
                <a:gd name="connsiteY124" fmla="*/ 868680 h 1066800"/>
                <a:gd name="connsiteX125" fmla="*/ 766763 w 1203960"/>
                <a:gd name="connsiteY125" fmla="*/ 882967 h 1066800"/>
                <a:gd name="connsiteX126" fmla="*/ 748665 w 1203960"/>
                <a:gd name="connsiteY126" fmla="*/ 889635 h 1066800"/>
                <a:gd name="connsiteX127" fmla="*/ 748665 w 1203960"/>
                <a:gd name="connsiteY127" fmla="*/ 940117 h 1066800"/>
                <a:gd name="connsiteX128" fmla="*/ 774382 w 1203960"/>
                <a:gd name="connsiteY128" fmla="*/ 936307 h 1066800"/>
                <a:gd name="connsiteX129" fmla="*/ 790575 w 1203960"/>
                <a:gd name="connsiteY129" fmla="*/ 952500 h 1066800"/>
                <a:gd name="connsiteX130" fmla="*/ 744855 w 1203960"/>
                <a:gd name="connsiteY130" fmla="*/ 999172 h 1066800"/>
                <a:gd name="connsiteX131" fmla="*/ 750570 w 1203960"/>
                <a:gd name="connsiteY131" fmla="*/ 1025842 h 106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1203960" h="1066800">
                  <a:moveTo>
                    <a:pt x="697230" y="1025842"/>
                  </a:moveTo>
                  <a:lnTo>
                    <a:pt x="647700" y="1018222"/>
                  </a:lnTo>
                  <a:lnTo>
                    <a:pt x="627698" y="1005840"/>
                  </a:lnTo>
                  <a:lnTo>
                    <a:pt x="562928" y="1015365"/>
                  </a:lnTo>
                  <a:lnTo>
                    <a:pt x="522923" y="1015365"/>
                  </a:lnTo>
                  <a:lnTo>
                    <a:pt x="489585" y="1047750"/>
                  </a:lnTo>
                  <a:lnTo>
                    <a:pt x="453390" y="1056323"/>
                  </a:lnTo>
                  <a:lnTo>
                    <a:pt x="418148" y="1066800"/>
                  </a:lnTo>
                  <a:lnTo>
                    <a:pt x="366713" y="1062038"/>
                  </a:lnTo>
                  <a:lnTo>
                    <a:pt x="332423" y="1047750"/>
                  </a:lnTo>
                  <a:lnTo>
                    <a:pt x="310515" y="1025842"/>
                  </a:lnTo>
                  <a:lnTo>
                    <a:pt x="289560" y="982027"/>
                  </a:lnTo>
                  <a:lnTo>
                    <a:pt x="263843" y="956310"/>
                  </a:lnTo>
                  <a:lnTo>
                    <a:pt x="227648" y="942022"/>
                  </a:lnTo>
                  <a:lnTo>
                    <a:pt x="192405" y="942022"/>
                  </a:lnTo>
                  <a:lnTo>
                    <a:pt x="151448" y="952500"/>
                  </a:lnTo>
                  <a:lnTo>
                    <a:pt x="123825" y="924877"/>
                  </a:lnTo>
                  <a:lnTo>
                    <a:pt x="69532" y="924877"/>
                  </a:lnTo>
                  <a:lnTo>
                    <a:pt x="37148" y="901065"/>
                  </a:lnTo>
                  <a:lnTo>
                    <a:pt x="20003" y="917257"/>
                  </a:lnTo>
                  <a:lnTo>
                    <a:pt x="19050" y="890588"/>
                  </a:lnTo>
                  <a:lnTo>
                    <a:pt x="4763" y="877252"/>
                  </a:lnTo>
                  <a:lnTo>
                    <a:pt x="0" y="853440"/>
                  </a:lnTo>
                  <a:lnTo>
                    <a:pt x="15240" y="838200"/>
                  </a:lnTo>
                  <a:lnTo>
                    <a:pt x="15240" y="813435"/>
                  </a:lnTo>
                  <a:lnTo>
                    <a:pt x="31432" y="797242"/>
                  </a:lnTo>
                  <a:lnTo>
                    <a:pt x="68580" y="760095"/>
                  </a:lnTo>
                  <a:lnTo>
                    <a:pt x="78105" y="749617"/>
                  </a:lnTo>
                  <a:lnTo>
                    <a:pt x="91440" y="737235"/>
                  </a:lnTo>
                  <a:lnTo>
                    <a:pt x="110490" y="749617"/>
                  </a:lnTo>
                  <a:lnTo>
                    <a:pt x="106680" y="768667"/>
                  </a:lnTo>
                  <a:lnTo>
                    <a:pt x="133350" y="781050"/>
                  </a:lnTo>
                  <a:lnTo>
                    <a:pt x="148590" y="795338"/>
                  </a:lnTo>
                  <a:lnTo>
                    <a:pt x="183832" y="806767"/>
                  </a:lnTo>
                  <a:lnTo>
                    <a:pt x="200025" y="822007"/>
                  </a:lnTo>
                  <a:lnTo>
                    <a:pt x="218123" y="831532"/>
                  </a:lnTo>
                  <a:lnTo>
                    <a:pt x="238125" y="851535"/>
                  </a:lnTo>
                  <a:lnTo>
                    <a:pt x="282893" y="842010"/>
                  </a:lnTo>
                  <a:lnTo>
                    <a:pt x="300038" y="860107"/>
                  </a:lnTo>
                  <a:lnTo>
                    <a:pt x="320993" y="878205"/>
                  </a:lnTo>
                  <a:lnTo>
                    <a:pt x="343853" y="878205"/>
                  </a:lnTo>
                  <a:lnTo>
                    <a:pt x="343853" y="898207"/>
                  </a:lnTo>
                  <a:lnTo>
                    <a:pt x="359093" y="923925"/>
                  </a:lnTo>
                  <a:lnTo>
                    <a:pt x="382905" y="923925"/>
                  </a:lnTo>
                  <a:lnTo>
                    <a:pt x="400050" y="923925"/>
                  </a:lnTo>
                  <a:lnTo>
                    <a:pt x="406718" y="949642"/>
                  </a:lnTo>
                  <a:lnTo>
                    <a:pt x="439103" y="931545"/>
                  </a:lnTo>
                  <a:lnTo>
                    <a:pt x="461963" y="931545"/>
                  </a:lnTo>
                  <a:lnTo>
                    <a:pt x="461963" y="889635"/>
                  </a:lnTo>
                  <a:lnTo>
                    <a:pt x="495300" y="857250"/>
                  </a:lnTo>
                  <a:lnTo>
                    <a:pt x="533400" y="811530"/>
                  </a:lnTo>
                  <a:lnTo>
                    <a:pt x="552450" y="762952"/>
                  </a:lnTo>
                  <a:lnTo>
                    <a:pt x="601980" y="712470"/>
                  </a:lnTo>
                  <a:lnTo>
                    <a:pt x="659130" y="644842"/>
                  </a:lnTo>
                  <a:lnTo>
                    <a:pt x="667703" y="543877"/>
                  </a:lnTo>
                  <a:lnTo>
                    <a:pt x="687705" y="477202"/>
                  </a:lnTo>
                  <a:lnTo>
                    <a:pt x="657225" y="467677"/>
                  </a:lnTo>
                  <a:lnTo>
                    <a:pt x="641032" y="391477"/>
                  </a:lnTo>
                  <a:lnTo>
                    <a:pt x="627698" y="328613"/>
                  </a:lnTo>
                  <a:lnTo>
                    <a:pt x="638175" y="308610"/>
                  </a:lnTo>
                  <a:lnTo>
                    <a:pt x="652463" y="294322"/>
                  </a:lnTo>
                  <a:lnTo>
                    <a:pt x="628650" y="277177"/>
                  </a:lnTo>
                  <a:lnTo>
                    <a:pt x="604838" y="269557"/>
                  </a:lnTo>
                  <a:lnTo>
                    <a:pt x="596265" y="231457"/>
                  </a:lnTo>
                  <a:lnTo>
                    <a:pt x="641032" y="199072"/>
                  </a:lnTo>
                  <a:lnTo>
                    <a:pt x="662940" y="199072"/>
                  </a:lnTo>
                  <a:lnTo>
                    <a:pt x="662940" y="170497"/>
                  </a:lnTo>
                  <a:lnTo>
                    <a:pt x="684848" y="160972"/>
                  </a:lnTo>
                  <a:lnTo>
                    <a:pt x="715328" y="171450"/>
                  </a:lnTo>
                  <a:lnTo>
                    <a:pt x="746760" y="160020"/>
                  </a:lnTo>
                  <a:lnTo>
                    <a:pt x="746760" y="132397"/>
                  </a:lnTo>
                  <a:lnTo>
                    <a:pt x="769620" y="116205"/>
                  </a:lnTo>
                  <a:lnTo>
                    <a:pt x="781050" y="128588"/>
                  </a:lnTo>
                  <a:lnTo>
                    <a:pt x="817245" y="128588"/>
                  </a:lnTo>
                  <a:lnTo>
                    <a:pt x="838200" y="114300"/>
                  </a:lnTo>
                  <a:lnTo>
                    <a:pt x="851535" y="127635"/>
                  </a:lnTo>
                  <a:lnTo>
                    <a:pt x="895350" y="136207"/>
                  </a:lnTo>
                  <a:lnTo>
                    <a:pt x="913448" y="118110"/>
                  </a:lnTo>
                  <a:lnTo>
                    <a:pt x="932498" y="128588"/>
                  </a:lnTo>
                  <a:lnTo>
                    <a:pt x="960120" y="100965"/>
                  </a:lnTo>
                  <a:lnTo>
                    <a:pt x="982028" y="100965"/>
                  </a:lnTo>
                  <a:lnTo>
                    <a:pt x="982028" y="45720"/>
                  </a:lnTo>
                  <a:lnTo>
                    <a:pt x="1007745" y="32385"/>
                  </a:lnTo>
                  <a:lnTo>
                    <a:pt x="1022985" y="0"/>
                  </a:lnTo>
                  <a:lnTo>
                    <a:pt x="1049655" y="5715"/>
                  </a:lnTo>
                  <a:lnTo>
                    <a:pt x="1062038" y="19050"/>
                  </a:lnTo>
                  <a:lnTo>
                    <a:pt x="1031557" y="47625"/>
                  </a:lnTo>
                  <a:lnTo>
                    <a:pt x="1031557" y="85725"/>
                  </a:lnTo>
                  <a:lnTo>
                    <a:pt x="1058228" y="99060"/>
                  </a:lnTo>
                  <a:lnTo>
                    <a:pt x="1068705" y="133350"/>
                  </a:lnTo>
                  <a:lnTo>
                    <a:pt x="1085850" y="153352"/>
                  </a:lnTo>
                  <a:lnTo>
                    <a:pt x="1096328" y="189547"/>
                  </a:lnTo>
                  <a:lnTo>
                    <a:pt x="1120140" y="215265"/>
                  </a:lnTo>
                  <a:lnTo>
                    <a:pt x="1143000" y="207645"/>
                  </a:lnTo>
                  <a:lnTo>
                    <a:pt x="1174432" y="222885"/>
                  </a:lnTo>
                  <a:lnTo>
                    <a:pt x="1195388" y="244792"/>
                  </a:lnTo>
                  <a:lnTo>
                    <a:pt x="1203960" y="266700"/>
                  </a:lnTo>
                  <a:lnTo>
                    <a:pt x="1191578" y="309563"/>
                  </a:lnTo>
                  <a:lnTo>
                    <a:pt x="1160145" y="319088"/>
                  </a:lnTo>
                  <a:lnTo>
                    <a:pt x="1133475" y="345757"/>
                  </a:lnTo>
                  <a:lnTo>
                    <a:pt x="1113473" y="379095"/>
                  </a:lnTo>
                  <a:lnTo>
                    <a:pt x="1098232" y="411480"/>
                  </a:lnTo>
                  <a:lnTo>
                    <a:pt x="1075373" y="435292"/>
                  </a:lnTo>
                  <a:lnTo>
                    <a:pt x="1057275" y="469582"/>
                  </a:lnTo>
                  <a:lnTo>
                    <a:pt x="1067753" y="504825"/>
                  </a:lnTo>
                  <a:lnTo>
                    <a:pt x="1089660" y="511492"/>
                  </a:lnTo>
                  <a:lnTo>
                    <a:pt x="1089660" y="527685"/>
                  </a:lnTo>
                  <a:lnTo>
                    <a:pt x="1106805" y="544830"/>
                  </a:lnTo>
                  <a:lnTo>
                    <a:pt x="1097280" y="580072"/>
                  </a:lnTo>
                  <a:lnTo>
                    <a:pt x="1042988" y="632460"/>
                  </a:lnTo>
                  <a:lnTo>
                    <a:pt x="1012507" y="646747"/>
                  </a:lnTo>
                  <a:lnTo>
                    <a:pt x="993457" y="665797"/>
                  </a:lnTo>
                  <a:lnTo>
                    <a:pt x="969645" y="675322"/>
                  </a:lnTo>
                  <a:lnTo>
                    <a:pt x="962978" y="715327"/>
                  </a:lnTo>
                  <a:lnTo>
                    <a:pt x="943928" y="734377"/>
                  </a:lnTo>
                  <a:lnTo>
                    <a:pt x="922973" y="742950"/>
                  </a:lnTo>
                  <a:lnTo>
                    <a:pt x="908685" y="790575"/>
                  </a:lnTo>
                  <a:lnTo>
                    <a:pt x="886778" y="790575"/>
                  </a:lnTo>
                  <a:lnTo>
                    <a:pt x="859155" y="785813"/>
                  </a:lnTo>
                  <a:lnTo>
                    <a:pt x="822007" y="822960"/>
                  </a:lnTo>
                  <a:lnTo>
                    <a:pt x="802957" y="832485"/>
                  </a:lnTo>
                  <a:lnTo>
                    <a:pt x="786765" y="826770"/>
                  </a:lnTo>
                  <a:lnTo>
                    <a:pt x="771525" y="826770"/>
                  </a:lnTo>
                  <a:lnTo>
                    <a:pt x="755332" y="842010"/>
                  </a:lnTo>
                  <a:lnTo>
                    <a:pt x="755332" y="868680"/>
                  </a:lnTo>
                  <a:lnTo>
                    <a:pt x="766763" y="882967"/>
                  </a:lnTo>
                  <a:lnTo>
                    <a:pt x="748665" y="889635"/>
                  </a:lnTo>
                  <a:lnTo>
                    <a:pt x="748665" y="940117"/>
                  </a:lnTo>
                  <a:lnTo>
                    <a:pt x="774382" y="936307"/>
                  </a:lnTo>
                  <a:lnTo>
                    <a:pt x="790575" y="952500"/>
                  </a:lnTo>
                  <a:lnTo>
                    <a:pt x="744855" y="999172"/>
                  </a:lnTo>
                  <a:lnTo>
                    <a:pt x="750570" y="1025842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0" name="Полилиния: фигура 100">
              <a:extLst>
                <a:ext uri="{FF2B5EF4-FFF2-40B4-BE49-F238E27FC236}">
                  <a16:creationId xmlns:a16="http://schemas.microsoft.com/office/drawing/2014/main" id="{80C9E9D8-024B-4E11-BAF3-951AC5E5078E}"/>
                </a:ext>
              </a:extLst>
            </p:cNvPr>
            <p:cNvSpPr/>
            <p:nvPr/>
          </p:nvSpPr>
          <p:spPr>
            <a:xfrm>
              <a:off x="6882499" y="5146889"/>
              <a:ext cx="554583" cy="705227"/>
            </a:xfrm>
            <a:custGeom>
              <a:avLst/>
              <a:gdLst>
                <a:gd name="connsiteX0" fmla="*/ 833438 w 860107"/>
                <a:gd name="connsiteY0" fmla="*/ 739140 h 1257300"/>
                <a:gd name="connsiteX1" fmla="*/ 841057 w 860107"/>
                <a:gd name="connsiteY1" fmla="*/ 678180 h 1257300"/>
                <a:gd name="connsiteX2" fmla="*/ 852488 w 860107"/>
                <a:gd name="connsiteY2" fmla="*/ 654368 h 1257300"/>
                <a:gd name="connsiteX3" fmla="*/ 841057 w 860107"/>
                <a:gd name="connsiteY3" fmla="*/ 609600 h 1257300"/>
                <a:gd name="connsiteX4" fmla="*/ 822007 w 860107"/>
                <a:gd name="connsiteY4" fmla="*/ 589597 h 1257300"/>
                <a:gd name="connsiteX5" fmla="*/ 803910 w 860107"/>
                <a:gd name="connsiteY5" fmla="*/ 572453 h 1257300"/>
                <a:gd name="connsiteX6" fmla="*/ 782002 w 860107"/>
                <a:gd name="connsiteY6" fmla="*/ 589597 h 1257300"/>
                <a:gd name="connsiteX7" fmla="*/ 766763 w 860107"/>
                <a:gd name="connsiteY7" fmla="*/ 569595 h 1257300"/>
                <a:gd name="connsiteX8" fmla="*/ 778193 w 860107"/>
                <a:gd name="connsiteY8" fmla="*/ 541972 h 1257300"/>
                <a:gd name="connsiteX9" fmla="*/ 793432 w 860107"/>
                <a:gd name="connsiteY9" fmla="*/ 495300 h 1257300"/>
                <a:gd name="connsiteX10" fmla="*/ 815340 w 860107"/>
                <a:gd name="connsiteY10" fmla="*/ 473393 h 1257300"/>
                <a:gd name="connsiteX11" fmla="*/ 860107 w 860107"/>
                <a:gd name="connsiteY11" fmla="*/ 446722 h 1257300"/>
                <a:gd name="connsiteX12" fmla="*/ 839152 w 860107"/>
                <a:gd name="connsiteY12" fmla="*/ 411480 h 1257300"/>
                <a:gd name="connsiteX13" fmla="*/ 830580 w 860107"/>
                <a:gd name="connsiteY13" fmla="*/ 393382 h 1257300"/>
                <a:gd name="connsiteX14" fmla="*/ 805815 w 860107"/>
                <a:gd name="connsiteY14" fmla="*/ 393382 h 1257300"/>
                <a:gd name="connsiteX15" fmla="*/ 799148 w 860107"/>
                <a:gd name="connsiteY15" fmla="*/ 362903 h 1257300"/>
                <a:gd name="connsiteX16" fmla="*/ 786765 w 860107"/>
                <a:gd name="connsiteY16" fmla="*/ 344805 h 1257300"/>
                <a:gd name="connsiteX17" fmla="*/ 808673 w 860107"/>
                <a:gd name="connsiteY17" fmla="*/ 332422 h 1257300"/>
                <a:gd name="connsiteX18" fmla="*/ 808673 w 860107"/>
                <a:gd name="connsiteY18" fmla="*/ 321945 h 1257300"/>
                <a:gd name="connsiteX19" fmla="*/ 797243 w 860107"/>
                <a:gd name="connsiteY19" fmla="*/ 321945 h 1257300"/>
                <a:gd name="connsiteX20" fmla="*/ 778193 w 860107"/>
                <a:gd name="connsiteY20" fmla="*/ 301943 h 1257300"/>
                <a:gd name="connsiteX21" fmla="*/ 762000 w 860107"/>
                <a:gd name="connsiteY21" fmla="*/ 300038 h 1257300"/>
                <a:gd name="connsiteX22" fmla="*/ 765810 w 860107"/>
                <a:gd name="connsiteY22" fmla="*/ 263843 h 1257300"/>
                <a:gd name="connsiteX23" fmla="*/ 757238 w 860107"/>
                <a:gd name="connsiteY23" fmla="*/ 247650 h 1257300"/>
                <a:gd name="connsiteX24" fmla="*/ 746760 w 860107"/>
                <a:gd name="connsiteY24" fmla="*/ 220028 h 1257300"/>
                <a:gd name="connsiteX25" fmla="*/ 723900 w 860107"/>
                <a:gd name="connsiteY25" fmla="*/ 208597 h 1257300"/>
                <a:gd name="connsiteX26" fmla="*/ 707707 w 860107"/>
                <a:gd name="connsiteY26" fmla="*/ 231457 h 1257300"/>
                <a:gd name="connsiteX27" fmla="*/ 691515 w 860107"/>
                <a:gd name="connsiteY27" fmla="*/ 224790 h 1257300"/>
                <a:gd name="connsiteX28" fmla="*/ 689610 w 860107"/>
                <a:gd name="connsiteY28" fmla="*/ 200978 h 1257300"/>
                <a:gd name="connsiteX29" fmla="*/ 678180 w 860107"/>
                <a:gd name="connsiteY29" fmla="*/ 189547 h 1257300"/>
                <a:gd name="connsiteX30" fmla="*/ 661988 w 860107"/>
                <a:gd name="connsiteY30" fmla="*/ 184785 h 1257300"/>
                <a:gd name="connsiteX31" fmla="*/ 644843 w 860107"/>
                <a:gd name="connsiteY31" fmla="*/ 201930 h 1257300"/>
                <a:gd name="connsiteX32" fmla="*/ 636270 w 860107"/>
                <a:gd name="connsiteY32" fmla="*/ 223838 h 1257300"/>
                <a:gd name="connsiteX33" fmla="*/ 606743 w 860107"/>
                <a:gd name="connsiteY33" fmla="*/ 215265 h 1257300"/>
                <a:gd name="connsiteX34" fmla="*/ 598170 w 860107"/>
                <a:gd name="connsiteY34" fmla="*/ 198120 h 1257300"/>
                <a:gd name="connsiteX35" fmla="*/ 615315 w 860107"/>
                <a:gd name="connsiteY35" fmla="*/ 177165 h 1257300"/>
                <a:gd name="connsiteX36" fmla="*/ 604838 w 860107"/>
                <a:gd name="connsiteY36" fmla="*/ 160972 h 1257300"/>
                <a:gd name="connsiteX37" fmla="*/ 585788 w 860107"/>
                <a:gd name="connsiteY37" fmla="*/ 166688 h 1257300"/>
                <a:gd name="connsiteX38" fmla="*/ 561023 w 860107"/>
                <a:gd name="connsiteY38" fmla="*/ 160972 h 1257300"/>
                <a:gd name="connsiteX39" fmla="*/ 543877 w 860107"/>
                <a:gd name="connsiteY39" fmla="*/ 143828 h 1257300"/>
                <a:gd name="connsiteX40" fmla="*/ 543877 w 860107"/>
                <a:gd name="connsiteY40" fmla="*/ 126682 h 1257300"/>
                <a:gd name="connsiteX41" fmla="*/ 521018 w 860107"/>
                <a:gd name="connsiteY41" fmla="*/ 120015 h 1257300"/>
                <a:gd name="connsiteX42" fmla="*/ 521018 w 860107"/>
                <a:gd name="connsiteY42" fmla="*/ 95250 h 1257300"/>
                <a:gd name="connsiteX43" fmla="*/ 500063 w 860107"/>
                <a:gd name="connsiteY43" fmla="*/ 88582 h 1257300"/>
                <a:gd name="connsiteX44" fmla="*/ 478155 w 860107"/>
                <a:gd name="connsiteY44" fmla="*/ 59055 h 1257300"/>
                <a:gd name="connsiteX45" fmla="*/ 446723 w 860107"/>
                <a:gd name="connsiteY45" fmla="*/ 47625 h 1257300"/>
                <a:gd name="connsiteX46" fmla="*/ 440055 w 860107"/>
                <a:gd name="connsiteY46" fmla="*/ 16193 h 1257300"/>
                <a:gd name="connsiteX47" fmla="*/ 425768 w 860107"/>
                <a:gd name="connsiteY47" fmla="*/ 953 h 1257300"/>
                <a:gd name="connsiteX48" fmla="*/ 408623 w 860107"/>
                <a:gd name="connsiteY48" fmla="*/ 14288 h 1257300"/>
                <a:gd name="connsiteX49" fmla="*/ 391477 w 860107"/>
                <a:gd name="connsiteY49" fmla="*/ 14288 h 1257300"/>
                <a:gd name="connsiteX50" fmla="*/ 378143 w 860107"/>
                <a:gd name="connsiteY50" fmla="*/ 953 h 1257300"/>
                <a:gd name="connsiteX51" fmla="*/ 355282 w 860107"/>
                <a:gd name="connsiteY51" fmla="*/ 0 h 1257300"/>
                <a:gd name="connsiteX52" fmla="*/ 330518 w 860107"/>
                <a:gd name="connsiteY52" fmla="*/ 23813 h 1257300"/>
                <a:gd name="connsiteX53" fmla="*/ 340995 w 860107"/>
                <a:gd name="connsiteY53" fmla="*/ 34290 h 1257300"/>
                <a:gd name="connsiteX54" fmla="*/ 330518 w 860107"/>
                <a:gd name="connsiteY54" fmla="*/ 58103 h 1257300"/>
                <a:gd name="connsiteX55" fmla="*/ 342900 w 860107"/>
                <a:gd name="connsiteY55" fmla="*/ 71438 h 1257300"/>
                <a:gd name="connsiteX56" fmla="*/ 331470 w 860107"/>
                <a:gd name="connsiteY56" fmla="*/ 100013 h 1257300"/>
                <a:gd name="connsiteX57" fmla="*/ 372427 w 860107"/>
                <a:gd name="connsiteY57" fmla="*/ 140970 h 1257300"/>
                <a:gd name="connsiteX58" fmla="*/ 395288 w 860107"/>
                <a:gd name="connsiteY58" fmla="*/ 131445 h 1257300"/>
                <a:gd name="connsiteX59" fmla="*/ 395288 w 860107"/>
                <a:gd name="connsiteY59" fmla="*/ 148590 h 1257300"/>
                <a:gd name="connsiteX60" fmla="*/ 405765 w 860107"/>
                <a:gd name="connsiteY60" fmla="*/ 159068 h 1257300"/>
                <a:gd name="connsiteX61" fmla="*/ 400050 w 860107"/>
                <a:gd name="connsiteY61" fmla="*/ 186690 h 1257300"/>
                <a:gd name="connsiteX62" fmla="*/ 378143 w 860107"/>
                <a:gd name="connsiteY62" fmla="*/ 200025 h 1257300"/>
                <a:gd name="connsiteX63" fmla="*/ 364807 w 860107"/>
                <a:gd name="connsiteY63" fmla="*/ 224790 h 1257300"/>
                <a:gd name="connsiteX64" fmla="*/ 333375 w 860107"/>
                <a:gd name="connsiteY64" fmla="*/ 216218 h 1257300"/>
                <a:gd name="connsiteX65" fmla="*/ 312420 w 860107"/>
                <a:gd name="connsiteY65" fmla="*/ 227647 h 1257300"/>
                <a:gd name="connsiteX66" fmla="*/ 286702 w 860107"/>
                <a:gd name="connsiteY66" fmla="*/ 225743 h 1257300"/>
                <a:gd name="connsiteX67" fmla="*/ 286702 w 860107"/>
                <a:gd name="connsiteY67" fmla="*/ 263843 h 1257300"/>
                <a:gd name="connsiteX68" fmla="*/ 313373 w 860107"/>
                <a:gd name="connsiteY68" fmla="*/ 277178 h 1257300"/>
                <a:gd name="connsiteX69" fmla="*/ 323850 w 860107"/>
                <a:gd name="connsiteY69" fmla="*/ 311468 h 1257300"/>
                <a:gd name="connsiteX70" fmla="*/ 340995 w 860107"/>
                <a:gd name="connsiteY70" fmla="*/ 331470 h 1257300"/>
                <a:gd name="connsiteX71" fmla="*/ 351473 w 860107"/>
                <a:gd name="connsiteY71" fmla="*/ 367665 h 1257300"/>
                <a:gd name="connsiteX72" fmla="*/ 375285 w 860107"/>
                <a:gd name="connsiteY72" fmla="*/ 393382 h 1257300"/>
                <a:gd name="connsiteX73" fmla="*/ 398145 w 860107"/>
                <a:gd name="connsiteY73" fmla="*/ 385763 h 1257300"/>
                <a:gd name="connsiteX74" fmla="*/ 429577 w 860107"/>
                <a:gd name="connsiteY74" fmla="*/ 401003 h 1257300"/>
                <a:gd name="connsiteX75" fmla="*/ 450532 w 860107"/>
                <a:gd name="connsiteY75" fmla="*/ 422910 h 1257300"/>
                <a:gd name="connsiteX76" fmla="*/ 459105 w 860107"/>
                <a:gd name="connsiteY76" fmla="*/ 444818 h 1257300"/>
                <a:gd name="connsiteX77" fmla="*/ 446723 w 860107"/>
                <a:gd name="connsiteY77" fmla="*/ 487680 h 1257300"/>
                <a:gd name="connsiteX78" fmla="*/ 415290 w 860107"/>
                <a:gd name="connsiteY78" fmla="*/ 497205 h 1257300"/>
                <a:gd name="connsiteX79" fmla="*/ 388620 w 860107"/>
                <a:gd name="connsiteY79" fmla="*/ 523875 h 1257300"/>
                <a:gd name="connsiteX80" fmla="*/ 368618 w 860107"/>
                <a:gd name="connsiteY80" fmla="*/ 557213 h 1257300"/>
                <a:gd name="connsiteX81" fmla="*/ 353377 w 860107"/>
                <a:gd name="connsiteY81" fmla="*/ 589597 h 1257300"/>
                <a:gd name="connsiteX82" fmla="*/ 330518 w 860107"/>
                <a:gd name="connsiteY82" fmla="*/ 613410 h 1257300"/>
                <a:gd name="connsiteX83" fmla="*/ 312420 w 860107"/>
                <a:gd name="connsiteY83" fmla="*/ 647700 h 1257300"/>
                <a:gd name="connsiteX84" fmla="*/ 322898 w 860107"/>
                <a:gd name="connsiteY84" fmla="*/ 682943 h 1257300"/>
                <a:gd name="connsiteX85" fmla="*/ 344805 w 860107"/>
                <a:gd name="connsiteY85" fmla="*/ 689610 h 1257300"/>
                <a:gd name="connsiteX86" fmla="*/ 344805 w 860107"/>
                <a:gd name="connsiteY86" fmla="*/ 705803 h 1257300"/>
                <a:gd name="connsiteX87" fmla="*/ 361950 w 860107"/>
                <a:gd name="connsiteY87" fmla="*/ 722947 h 1257300"/>
                <a:gd name="connsiteX88" fmla="*/ 352425 w 860107"/>
                <a:gd name="connsiteY88" fmla="*/ 758190 h 1257300"/>
                <a:gd name="connsiteX89" fmla="*/ 320040 w 860107"/>
                <a:gd name="connsiteY89" fmla="*/ 789622 h 1257300"/>
                <a:gd name="connsiteX90" fmla="*/ 298132 w 860107"/>
                <a:gd name="connsiteY90" fmla="*/ 810578 h 1257300"/>
                <a:gd name="connsiteX91" fmla="*/ 267652 w 860107"/>
                <a:gd name="connsiteY91" fmla="*/ 824865 h 1257300"/>
                <a:gd name="connsiteX92" fmla="*/ 248602 w 860107"/>
                <a:gd name="connsiteY92" fmla="*/ 843915 h 1257300"/>
                <a:gd name="connsiteX93" fmla="*/ 224790 w 860107"/>
                <a:gd name="connsiteY93" fmla="*/ 853440 h 1257300"/>
                <a:gd name="connsiteX94" fmla="*/ 218123 w 860107"/>
                <a:gd name="connsiteY94" fmla="*/ 893445 h 1257300"/>
                <a:gd name="connsiteX95" fmla="*/ 199073 w 860107"/>
                <a:gd name="connsiteY95" fmla="*/ 912495 h 1257300"/>
                <a:gd name="connsiteX96" fmla="*/ 178118 w 860107"/>
                <a:gd name="connsiteY96" fmla="*/ 921068 h 1257300"/>
                <a:gd name="connsiteX97" fmla="*/ 170498 w 860107"/>
                <a:gd name="connsiteY97" fmla="*/ 947738 h 1257300"/>
                <a:gd name="connsiteX98" fmla="*/ 163830 w 860107"/>
                <a:gd name="connsiteY98" fmla="*/ 968693 h 1257300"/>
                <a:gd name="connsiteX99" fmla="*/ 141923 w 860107"/>
                <a:gd name="connsiteY99" fmla="*/ 968693 h 1257300"/>
                <a:gd name="connsiteX100" fmla="*/ 114300 w 860107"/>
                <a:gd name="connsiteY100" fmla="*/ 963930 h 1257300"/>
                <a:gd name="connsiteX101" fmla="*/ 77152 w 860107"/>
                <a:gd name="connsiteY101" fmla="*/ 1001078 h 1257300"/>
                <a:gd name="connsiteX102" fmla="*/ 58102 w 860107"/>
                <a:gd name="connsiteY102" fmla="*/ 1010603 h 1257300"/>
                <a:gd name="connsiteX103" fmla="*/ 41910 w 860107"/>
                <a:gd name="connsiteY103" fmla="*/ 1004888 h 1257300"/>
                <a:gd name="connsiteX104" fmla="*/ 26670 w 860107"/>
                <a:gd name="connsiteY104" fmla="*/ 1004888 h 1257300"/>
                <a:gd name="connsiteX105" fmla="*/ 10477 w 860107"/>
                <a:gd name="connsiteY105" fmla="*/ 1020128 h 1257300"/>
                <a:gd name="connsiteX106" fmla="*/ 10477 w 860107"/>
                <a:gd name="connsiteY106" fmla="*/ 1046797 h 1257300"/>
                <a:gd name="connsiteX107" fmla="*/ 21907 w 860107"/>
                <a:gd name="connsiteY107" fmla="*/ 1061085 h 1257300"/>
                <a:gd name="connsiteX108" fmla="*/ 3810 w 860107"/>
                <a:gd name="connsiteY108" fmla="*/ 1067753 h 1257300"/>
                <a:gd name="connsiteX109" fmla="*/ 3810 w 860107"/>
                <a:gd name="connsiteY109" fmla="*/ 1118235 h 1257300"/>
                <a:gd name="connsiteX110" fmla="*/ 29527 w 860107"/>
                <a:gd name="connsiteY110" fmla="*/ 1114425 h 1257300"/>
                <a:gd name="connsiteX111" fmla="*/ 45720 w 860107"/>
                <a:gd name="connsiteY111" fmla="*/ 1130618 h 1257300"/>
                <a:gd name="connsiteX112" fmla="*/ 0 w 860107"/>
                <a:gd name="connsiteY112" fmla="*/ 1177290 h 1257300"/>
                <a:gd name="connsiteX113" fmla="*/ 5715 w 860107"/>
                <a:gd name="connsiteY113" fmla="*/ 1203960 h 1257300"/>
                <a:gd name="connsiteX114" fmla="*/ 25718 w 860107"/>
                <a:gd name="connsiteY114" fmla="*/ 1223010 h 1257300"/>
                <a:gd name="connsiteX115" fmla="*/ 37148 w 860107"/>
                <a:gd name="connsiteY115" fmla="*/ 1244918 h 1257300"/>
                <a:gd name="connsiteX116" fmla="*/ 75248 w 860107"/>
                <a:gd name="connsiteY116" fmla="*/ 1257300 h 1257300"/>
                <a:gd name="connsiteX117" fmla="*/ 117157 w 860107"/>
                <a:gd name="connsiteY117" fmla="*/ 1251585 h 1257300"/>
                <a:gd name="connsiteX118" fmla="*/ 175260 w 860107"/>
                <a:gd name="connsiteY118" fmla="*/ 1251585 h 1257300"/>
                <a:gd name="connsiteX119" fmla="*/ 216218 w 860107"/>
                <a:gd name="connsiteY119" fmla="*/ 1239203 h 1257300"/>
                <a:gd name="connsiteX120" fmla="*/ 260985 w 860107"/>
                <a:gd name="connsiteY120" fmla="*/ 1239203 h 1257300"/>
                <a:gd name="connsiteX121" fmla="*/ 279082 w 860107"/>
                <a:gd name="connsiteY121" fmla="*/ 1221105 h 1257300"/>
                <a:gd name="connsiteX122" fmla="*/ 313373 w 860107"/>
                <a:gd name="connsiteY122" fmla="*/ 1186815 h 1257300"/>
                <a:gd name="connsiteX123" fmla="*/ 359093 w 860107"/>
                <a:gd name="connsiteY123" fmla="*/ 1165860 h 1257300"/>
                <a:gd name="connsiteX124" fmla="*/ 391477 w 860107"/>
                <a:gd name="connsiteY124" fmla="*/ 1143000 h 1257300"/>
                <a:gd name="connsiteX125" fmla="*/ 416243 w 860107"/>
                <a:gd name="connsiteY125" fmla="*/ 1118235 h 1257300"/>
                <a:gd name="connsiteX126" fmla="*/ 427673 w 860107"/>
                <a:gd name="connsiteY126" fmla="*/ 1076325 h 1257300"/>
                <a:gd name="connsiteX127" fmla="*/ 479107 w 860107"/>
                <a:gd name="connsiteY127" fmla="*/ 1025843 h 1257300"/>
                <a:gd name="connsiteX128" fmla="*/ 514350 w 860107"/>
                <a:gd name="connsiteY128" fmla="*/ 1010603 h 1257300"/>
                <a:gd name="connsiteX129" fmla="*/ 541020 w 860107"/>
                <a:gd name="connsiteY129" fmla="*/ 1020128 h 1257300"/>
                <a:gd name="connsiteX130" fmla="*/ 570548 w 860107"/>
                <a:gd name="connsiteY130" fmla="*/ 1035368 h 1257300"/>
                <a:gd name="connsiteX131" fmla="*/ 609600 w 860107"/>
                <a:gd name="connsiteY131" fmla="*/ 1013460 h 1257300"/>
                <a:gd name="connsiteX132" fmla="*/ 638175 w 860107"/>
                <a:gd name="connsiteY132" fmla="*/ 996315 h 1257300"/>
                <a:gd name="connsiteX133" fmla="*/ 676275 w 860107"/>
                <a:gd name="connsiteY133" fmla="*/ 1002982 h 1257300"/>
                <a:gd name="connsiteX134" fmla="*/ 728663 w 860107"/>
                <a:gd name="connsiteY134" fmla="*/ 1007745 h 1257300"/>
                <a:gd name="connsiteX135" fmla="*/ 775335 w 860107"/>
                <a:gd name="connsiteY135" fmla="*/ 990600 h 1257300"/>
                <a:gd name="connsiteX136" fmla="*/ 802957 w 860107"/>
                <a:gd name="connsiteY136" fmla="*/ 962978 h 1257300"/>
                <a:gd name="connsiteX137" fmla="*/ 822007 w 860107"/>
                <a:gd name="connsiteY137" fmla="*/ 918210 h 1257300"/>
                <a:gd name="connsiteX138" fmla="*/ 851535 w 860107"/>
                <a:gd name="connsiteY138" fmla="*/ 909638 h 1257300"/>
                <a:gd name="connsiteX139" fmla="*/ 851535 w 860107"/>
                <a:gd name="connsiteY139" fmla="*/ 870585 h 1257300"/>
                <a:gd name="connsiteX140" fmla="*/ 838200 w 860107"/>
                <a:gd name="connsiteY140" fmla="*/ 858203 h 1257300"/>
                <a:gd name="connsiteX141" fmla="*/ 817245 w 860107"/>
                <a:gd name="connsiteY141" fmla="*/ 817245 h 1257300"/>
                <a:gd name="connsiteX142" fmla="*/ 833438 w 860107"/>
                <a:gd name="connsiteY142" fmla="*/ 777240 h 1257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</a:cxnLst>
              <a:rect l="l" t="t" r="r" b="b"/>
              <a:pathLst>
                <a:path w="860107" h="1257300">
                  <a:moveTo>
                    <a:pt x="833438" y="739140"/>
                  </a:moveTo>
                  <a:lnTo>
                    <a:pt x="841057" y="678180"/>
                  </a:lnTo>
                  <a:lnTo>
                    <a:pt x="852488" y="654368"/>
                  </a:lnTo>
                  <a:lnTo>
                    <a:pt x="841057" y="609600"/>
                  </a:lnTo>
                  <a:lnTo>
                    <a:pt x="822007" y="589597"/>
                  </a:lnTo>
                  <a:lnTo>
                    <a:pt x="803910" y="572453"/>
                  </a:lnTo>
                  <a:lnTo>
                    <a:pt x="782002" y="589597"/>
                  </a:lnTo>
                  <a:lnTo>
                    <a:pt x="766763" y="569595"/>
                  </a:lnTo>
                  <a:lnTo>
                    <a:pt x="778193" y="541972"/>
                  </a:lnTo>
                  <a:lnTo>
                    <a:pt x="793432" y="495300"/>
                  </a:lnTo>
                  <a:lnTo>
                    <a:pt x="815340" y="473393"/>
                  </a:lnTo>
                  <a:lnTo>
                    <a:pt x="860107" y="446722"/>
                  </a:lnTo>
                  <a:lnTo>
                    <a:pt x="839152" y="411480"/>
                  </a:lnTo>
                  <a:lnTo>
                    <a:pt x="830580" y="393382"/>
                  </a:lnTo>
                  <a:lnTo>
                    <a:pt x="805815" y="393382"/>
                  </a:lnTo>
                  <a:lnTo>
                    <a:pt x="799148" y="362903"/>
                  </a:lnTo>
                  <a:lnTo>
                    <a:pt x="786765" y="344805"/>
                  </a:lnTo>
                  <a:lnTo>
                    <a:pt x="808673" y="332422"/>
                  </a:lnTo>
                  <a:lnTo>
                    <a:pt x="808673" y="321945"/>
                  </a:lnTo>
                  <a:lnTo>
                    <a:pt x="797243" y="321945"/>
                  </a:lnTo>
                  <a:lnTo>
                    <a:pt x="778193" y="301943"/>
                  </a:lnTo>
                  <a:lnTo>
                    <a:pt x="762000" y="300038"/>
                  </a:lnTo>
                  <a:lnTo>
                    <a:pt x="765810" y="263843"/>
                  </a:lnTo>
                  <a:lnTo>
                    <a:pt x="757238" y="247650"/>
                  </a:lnTo>
                  <a:lnTo>
                    <a:pt x="746760" y="220028"/>
                  </a:lnTo>
                  <a:lnTo>
                    <a:pt x="723900" y="208597"/>
                  </a:lnTo>
                  <a:lnTo>
                    <a:pt x="707707" y="231457"/>
                  </a:lnTo>
                  <a:lnTo>
                    <a:pt x="691515" y="224790"/>
                  </a:lnTo>
                  <a:lnTo>
                    <a:pt x="689610" y="200978"/>
                  </a:lnTo>
                  <a:lnTo>
                    <a:pt x="678180" y="189547"/>
                  </a:lnTo>
                  <a:lnTo>
                    <a:pt x="661988" y="184785"/>
                  </a:lnTo>
                  <a:lnTo>
                    <a:pt x="644843" y="201930"/>
                  </a:lnTo>
                  <a:lnTo>
                    <a:pt x="636270" y="223838"/>
                  </a:lnTo>
                  <a:lnTo>
                    <a:pt x="606743" y="215265"/>
                  </a:lnTo>
                  <a:lnTo>
                    <a:pt x="598170" y="198120"/>
                  </a:lnTo>
                  <a:lnTo>
                    <a:pt x="615315" y="177165"/>
                  </a:lnTo>
                  <a:lnTo>
                    <a:pt x="604838" y="160972"/>
                  </a:lnTo>
                  <a:lnTo>
                    <a:pt x="585788" y="166688"/>
                  </a:lnTo>
                  <a:lnTo>
                    <a:pt x="561023" y="160972"/>
                  </a:lnTo>
                  <a:lnTo>
                    <a:pt x="543877" y="143828"/>
                  </a:lnTo>
                  <a:lnTo>
                    <a:pt x="543877" y="126682"/>
                  </a:lnTo>
                  <a:lnTo>
                    <a:pt x="521018" y="120015"/>
                  </a:lnTo>
                  <a:lnTo>
                    <a:pt x="521018" y="95250"/>
                  </a:lnTo>
                  <a:lnTo>
                    <a:pt x="500063" y="88582"/>
                  </a:lnTo>
                  <a:lnTo>
                    <a:pt x="478155" y="59055"/>
                  </a:lnTo>
                  <a:lnTo>
                    <a:pt x="446723" y="47625"/>
                  </a:lnTo>
                  <a:lnTo>
                    <a:pt x="440055" y="16193"/>
                  </a:lnTo>
                  <a:lnTo>
                    <a:pt x="425768" y="953"/>
                  </a:lnTo>
                  <a:lnTo>
                    <a:pt x="408623" y="14288"/>
                  </a:lnTo>
                  <a:lnTo>
                    <a:pt x="391477" y="14288"/>
                  </a:lnTo>
                  <a:lnTo>
                    <a:pt x="378143" y="953"/>
                  </a:lnTo>
                  <a:lnTo>
                    <a:pt x="355282" y="0"/>
                  </a:lnTo>
                  <a:lnTo>
                    <a:pt x="330518" y="23813"/>
                  </a:lnTo>
                  <a:lnTo>
                    <a:pt x="340995" y="34290"/>
                  </a:lnTo>
                  <a:lnTo>
                    <a:pt x="330518" y="58103"/>
                  </a:lnTo>
                  <a:lnTo>
                    <a:pt x="342900" y="71438"/>
                  </a:lnTo>
                  <a:lnTo>
                    <a:pt x="331470" y="100013"/>
                  </a:lnTo>
                  <a:lnTo>
                    <a:pt x="372427" y="140970"/>
                  </a:lnTo>
                  <a:lnTo>
                    <a:pt x="395288" y="131445"/>
                  </a:lnTo>
                  <a:lnTo>
                    <a:pt x="395288" y="148590"/>
                  </a:lnTo>
                  <a:lnTo>
                    <a:pt x="405765" y="159068"/>
                  </a:lnTo>
                  <a:lnTo>
                    <a:pt x="400050" y="186690"/>
                  </a:lnTo>
                  <a:lnTo>
                    <a:pt x="378143" y="200025"/>
                  </a:lnTo>
                  <a:lnTo>
                    <a:pt x="364807" y="224790"/>
                  </a:lnTo>
                  <a:lnTo>
                    <a:pt x="333375" y="216218"/>
                  </a:lnTo>
                  <a:lnTo>
                    <a:pt x="312420" y="227647"/>
                  </a:lnTo>
                  <a:lnTo>
                    <a:pt x="286702" y="225743"/>
                  </a:lnTo>
                  <a:lnTo>
                    <a:pt x="286702" y="263843"/>
                  </a:lnTo>
                  <a:lnTo>
                    <a:pt x="313373" y="277178"/>
                  </a:lnTo>
                  <a:lnTo>
                    <a:pt x="323850" y="311468"/>
                  </a:lnTo>
                  <a:lnTo>
                    <a:pt x="340995" y="331470"/>
                  </a:lnTo>
                  <a:lnTo>
                    <a:pt x="351473" y="367665"/>
                  </a:lnTo>
                  <a:lnTo>
                    <a:pt x="375285" y="393382"/>
                  </a:lnTo>
                  <a:lnTo>
                    <a:pt x="398145" y="385763"/>
                  </a:lnTo>
                  <a:lnTo>
                    <a:pt x="429577" y="401003"/>
                  </a:lnTo>
                  <a:lnTo>
                    <a:pt x="450532" y="422910"/>
                  </a:lnTo>
                  <a:lnTo>
                    <a:pt x="459105" y="444818"/>
                  </a:lnTo>
                  <a:lnTo>
                    <a:pt x="446723" y="487680"/>
                  </a:lnTo>
                  <a:lnTo>
                    <a:pt x="415290" y="497205"/>
                  </a:lnTo>
                  <a:lnTo>
                    <a:pt x="388620" y="523875"/>
                  </a:lnTo>
                  <a:lnTo>
                    <a:pt x="368618" y="557213"/>
                  </a:lnTo>
                  <a:lnTo>
                    <a:pt x="353377" y="589597"/>
                  </a:lnTo>
                  <a:lnTo>
                    <a:pt x="330518" y="613410"/>
                  </a:lnTo>
                  <a:lnTo>
                    <a:pt x="312420" y="647700"/>
                  </a:lnTo>
                  <a:lnTo>
                    <a:pt x="322898" y="682943"/>
                  </a:lnTo>
                  <a:lnTo>
                    <a:pt x="344805" y="689610"/>
                  </a:lnTo>
                  <a:lnTo>
                    <a:pt x="344805" y="705803"/>
                  </a:lnTo>
                  <a:lnTo>
                    <a:pt x="361950" y="722947"/>
                  </a:lnTo>
                  <a:lnTo>
                    <a:pt x="352425" y="758190"/>
                  </a:lnTo>
                  <a:lnTo>
                    <a:pt x="320040" y="789622"/>
                  </a:lnTo>
                  <a:lnTo>
                    <a:pt x="298132" y="810578"/>
                  </a:lnTo>
                  <a:lnTo>
                    <a:pt x="267652" y="824865"/>
                  </a:lnTo>
                  <a:lnTo>
                    <a:pt x="248602" y="843915"/>
                  </a:lnTo>
                  <a:lnTo>
                    <a:pt x="224790" y="853440"/>
                  </a:lnTo>
                  <a:lnTo>
                    <a:pt x="218123" y="893445"/>
                  </a:lnTo>
                  <a:lnTo>
                    <a:pt x="199073" y="912495"/>
                  </a:lnTo>
                  <a:lnTo>
                    <a:pt x="178118" y="921068"/>
                  </a:lnTo>
                  <a:lnTo>
                    <a:pt x="170498" y="947738"/>
                  </a:lnTo>
                  <a:lnTo>
                    <a:pt x="163830" y="968693"/>
                  </a:lnTo>
                  <a:lnTo>
                    <a:pt x="141923" y="968693"/>
                  </a:lnTo>
                  <a:lnTo>
                    <a:pt x="114300" y="963930"/>
                  </a:lnTo>
                  <a:lnTo>
                    <a:pt x="77152" y="1001078"/>
                  </a:lnTo>
                  <a:lnTo>
                    <a:pt x="58102" y="1010603"/>
                  </a:lnTo>
                  <a:lnTo>
                    <a:pt x="41910" y="1004888"/>
                  </a:lnTo>
                  <a:lnTo>
                    <a:pt x="26670" y="1004888"/>
                  </a:lnTo>
                  <a:lnTo>
                    <a:pt x="10477" y="1020128"/>
                  </a:lnTo>
                  <a:lnTo>
                    <a:pt x="10477" y="1046797"/>
                  </a:lnTo>
                  <a:lnTo>
                    <a:pt x="21907" y="1061085"/>
                  </a:lnTo>
                  <a:lnTo>
                    <a:pt x="3810" y="1067753"/>
                  </a:lnTo>
                  <a:lnTo>
                    <a:pt x="3810" y="1118235"/>
                  </a:lnTo>
                  <a:lnTo>
                    <a:pt x="29527" y="1114425"/>
                  </a:lnTo>
                  <a:lnTo>
                    <a:pt x="45720" y="1130618"/>
                  </a:lnTo>
                  <a:lnTo>
                    <a:pt x="0" y="1177290"/>
                  </a:lnTo>
                  <a:lnTo>
                    <a:pt x="5715" y="1203960"/>
                  </a:lnTo>
                  <a:lnTo>
                    <a:pt x="25718" y="1223010"/>
                  </a:lnTo>
                  <a:lnTo>
                    <a:pt x="37148" y="1244918"/>
                  </a:lnTo>
                  <a:lnTo>
                    <a:pt x="75248" y="1257300"/>
                  </a:lnTo>
                  <a:lnTo>
                    <a:pt x="117157" y="1251585"/>
                  </a:lnTo>
                  <a:lnTo>
                    <a:pt x="175260" y="1251585"/>
                  </a:lnTo>
                  <a:lnTo>
                    <a:pt x="216218" y="1239203"/>
                  </a:lnTo>
                  <a:lnTo>
                    <a:pt x="260985" y="1239203"/>
                  </a:lnTo>
                  <a:lnTo>
                    <a:pt x="279082" y="1221105"/>
                  </a:lnTo>
                  <a:lnTo>
                    <a:pt x="313373" y="1186815"/>
                  </a:lnTo>
                  <a:lnTo>
                    <a:pt x="359093" y="1165860"/>
                  </a:lnTo>
                  <a:lnTo>
                    <a:pt x="391477" y="1143000"/>
                  </a:lnTo>
                  <a:lnTo>
                    <a:pt x="416243" y="1118235"/>
                  </a:lnTo>
                  <a:lnTo>
                    <a:pt x="427673" y="1076325"/>
                  </a:lnTo>
                  <a:lnTo>
                    <a:pt x="479107" y="1025843"/>
                  </a:lnTo>
                  <a:lnTo>
                    <a:pt x="514350" y="1010603"/>
                  </a:lnTo>
                  <a:lnTo>
                    <a:pt x="541020" y="1020128"/>
                  </a:lnTo>
                  <a:lnTo>
                    <a:pt x="570548" y="1035368"/>
                  </a:lnTo>
                  <a:lnTo>
                    <a:pt x="609600" y="1013460"/>
                  </a:lnTo>
                  <a:lnTo>
                    <a:pt x="638175" y="996315"/>
                  </a:lnTo>
                  <a:lnTo>
                    <a:pt x="676275" y="1002982"/>
                  </a:lnTo>
                  <a:lnTo>
                    <a:pt x="728663" y="1007745"/>
                  </a:lnTo>
                  <a:lnTo>
                    <a:pt x="775335" y="990600"/>
                  </a:lnTo>
                  <a:lnTo>
                    <a:pt x="802957" y="962978"/>
                  </a:lnTo>
                  <a:lnTo>
                    <a:pt x="822007" y="918210"/>
                  </a:lnTo>
                  <a:lnTo>
                    <a:pt x="851535" y="909638"/>
                  </a:lnTo>
                  <a:lnTo>
                    <a:pt x="851535" y="870585"/>
                  </a:lnTo>
                  <a:lnTo>
                    <a:pt x="838200" y="858203"/>
                  </a:lnTo>
                  <a:lnTo>
                    <a:pt x="817245" y="817245"/>
                  </a:lnTo>
                  <a:lnTo>
                    <a:pt x="833438" y="77724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31" name="Рисунок 3">
              <a:extLst>
                <a:ext uri="{FF2B5EF4-FFF2-40B4-BE49-F238E27FC236}">
                  <a16:creationId xmlns:a16="http://schemas.microsoft.com/office/drawing/2014/main" id="{67F2AA16-CDA0-4D86-8CAD-61EC9398182D}"/>
                </a:ext>
              </a:extLst>
            </p:cNvPr>
            <p:cNvGrpSpPr/>
            <p:nvPr/>
          </p:nvGrpSpPr>
          <p:grpSpPr>
            <a:xfrm>
              <a:off x="6243163" y="4878689"/>
              <a:ext cx="916935" cy="900768"/>
              <a:chOff x="6452235" y="4022407"/>
              <a:chExt cx="1422082" cy="1605915"/>
            </a:xfrm>
            <a:grpFill/>
          </p:grpSpPr>
          <p:sp>
            <p:nvSpPr>
              <p:cNvPr id="389" name="Полилиния: фигура 102">
                <a:extLst>
                  <a:ext uri="{FF2B5EF4-FFF2-40B4-BE49-F238E27FC236}">
                    <a16:creationId xmlns:a16="http://schemas.microsoft.com/office/drawing/2014/main" id="{004524C8-DA73-4E6C-8548-BD6F1098EAA3}"/>
                  </a:ext>
                </a:extLst>
              </p:cNvPr>
              <p:cNvSpPr/>
              <p:nvPr/>
            </p:nvSpPr>
            <p:spPr>
              <a:xfrm>
                <a:off x="6452235" y="4022407"/>
                <a:ext cx="1422082" cy="1605915"/>
              </a:xfrm>
              <a:custGeom>
                <a:avLst/>
                <a:gdLst>
                  <a:gd name="connsiteX0" fmla="*/ 1382077 w 1422082"/>
                  <a:gd name="connsiteY0" fmla="*/ 423863 h 1605915"/>
                  <a:gd name="connsiteX1" fmla="*/ 1370647 w 1422082"/>
                  <a:gd name="connsiteY1" fmla="*/ 392430 h 1605915"/>
                  <a:gd name="connsiteX2" fmla="*/ 1353502 w 1422082"/>
                  <a:gd name="connsiteY2" fmla="*/ 390525 h 1605915"/>
                  <a:gd name="connsiteX3" fmla="*/ 1353502 w 1422082"/>
                  <a:gd name="connsiteY3" fmla="*/ 370523 h 1605915"/>
                  <a:gd name="connsiteX4" fmla="*/ 1334452 w 1422082"/>
                  <a:gd name="connsiteY4" fmla="*/ 349568 h 1605915"/>
                  <a:gd name="connsiteX5" fmla="*/ 1318260 w 1422082"/>
                  <a:gd name="connsiteY5" fmla="*/ 334328 h 1605915"/>
                  <a:gd name="connsiteX6" fmla="*/ 1296352 w 1422082"/>
                  <a:gd name="connsiteY6" fmla="*/ 334328 h 1605915"/>
                  <a:gd name="connsiteX7" fmla="*/ 1296352 w 1422082"/>
                  <a:gd name="connsiteY7" fmla="*/ 355283 h 1605915"/>
                  <a:gd name="connsiteX8" fmla="*/ 1276350 w 1422082"/>
                  <a:gd name="connsiteY8" fmla="*/ 375285 h 1605915"/>
                  <a:gd name="connsiteX9" fmla="*/ 1245870 w 1422082"/>
                  <a:gd name="connsiteY9" fmla="*/ 371475 h 1605915"/>
                  <a:gd name="connsiteX10" fmla="*/ 1245870 w 1422082"/>
                  <a:gd name="connsiteY10" fmla="*/ 350520 h 1605915"/>
                  <a:gd name="connsiteX11" fmla="*/ 1232535 w 1422082"/>
                  <a:gd name="connsiteY11" fmla="*/ 339090 h 1605915"/>
                  <a:gd name="connsiteX12" fmla="*/ 1232535 w 1422082"/>
                  <a:gd name="connsiteY12" fmla="*/ 313373 h 1605915"/>
                  <a:gd name="connsiteX13" fmla="*/ 1204913 w 1422082"/>
                  <a:gd name="connsiteY13" fmla="*/ 310515 h 1605915"/>
                  <a:gd name="connsiteX14" fmla="*/ 1173480 w 1422082"/>
                  <a:gd name="connsiteY14" fmla="*/ 295275 h 1605915"/>
                  <a:gd name="connsiteX15" fmla="*/ 1143000 w 1422082"/>
                  <a:gd name="connsiteY15" fmla="*/ 299085 h 1605915"/>
                  <a:gd name="connsiteX16" fmla="*/ 1113472 w 1422082"/>
                  <a:gd name="connsiteY16" fmla="*/ 294323 h 1605915"/>
                  <a:gd name="connsiteX17" fmla="*/ 1096327 w 1422082"/>
                  <a:gd name="connsiteY17" fmla="*/ 314325 h 1605915"/>
                  <a:gd name="connsiteX18" fmla="*/ 1087755 w 1422082"/>
                  <a:gd name="connsiteY18" fmla="*/ 341948 h 1605915"/>
                  <a:gd name="connsiteX19" fmla="*/ 1068705 w 1422082"/>
                  <a:gd name="connsiteY19" fmla="*/ 361950 h 1605915"/>
                  <a:gd name="connsiteX20" fmla="*/ 1076325 w 1422082"/>
                  <a:gd name="connsiteY20" fmla="*/ 389573 h 1605915"/>
                  <a:gd name="connsiteX21" fmla="*/ 1065847 w 1422082"/>
                  <a:gd name="connsiteY21" fmla="*/ 421005 h 1605915"/>
                  <a:gd name="connsiteX22" fmla="*/ 1039177 w 1422082"/>
                  <a:gd name="connsiteY22" fmla="*/ 447675 h 1605915"/>
                  <a:gd name="connsiteX23" fmla="*/ 1039177 w 1422082"/>
                  <a:gd name="connsiteY23" fmla="*/ 497205 h 1605915"/>
                  <a:gd name="connsiteX24" fmla="*/ 1002030 w 1422082"/>
                  <a:gd name="connsiteY24" fmla="*/ 522923 h 1605915"/>
                  <a:gd name="connsiteX25" fmla="*/ 1002030 w 1422082"/>
                  <a:gd name="connsiteY25" fmla="*/ 551498 h 1605915"/>
                  <a:gd name="connsiteX26" fmla="*/ 986790 w 1422082"/>
                  <a:gd name="connsiteY26" fmla="*/ 529590 h 1605915"/>
                  <a:gd name="connsiteX27" fmla="*/ 986790 w 1422082"/>
                  <a:gd name="connsiteY27" fmla="*/ 504825 h 1605915"/>
                  <a:gd name="connsiteX28" fmla="*/ 967740 w 1422082"/>
                  <a:gd name="connsiteY28" fmla="*/ 486728 h 1605915"/>
                  <a:gd name="connsiteX29" fmla="*/ 950595 w 1422082"/>
                  <a:gd name="connsiteY29" fmla="*/ 494348 h 1605915"/>
                  <a:gd name="connsiteX30" fmla="*/ 945832 w 1422082"/>
                  <a:gd name="connsiteY30" fmla="*/ 517208 h 1605915"/>
                  <a:gd name="connsiteX31" fmla="*/ 899160 w 1422082"/>
                  <a:gd name="connsiteY31" fmla="*/ 535305 h 1605915"/>
                  <a:gd name="connsiteX32" fmla="*/ 877252 w 1422082"/>
                  <a:gd name="connsiteY32" fmla="*/ 535305 h 1605915"/>
                  <a:gd name="connsiteX33" fmla="*/ 868680 w 1422082"/>
                  <a:gd name="connsiteY33" fmla="*/ 561023 h 1605915"/>
                  <a:gd name="connsiteX34" fmla="*/ 854392 w 1422082"/>
                  <a:gd name="connsiteY34" fmla="*/ 582930 h 1605915"/>
                  <a:gd name="connsiteX35" fmla="*/ 823913 w 1422082"/>
                  <a:gd name="connsiteY35" fmla="*/ 584835 h 1605915"/>
                  <a:gd name="connsiteX36" fmla="*/ 789622 w 1422082"/>
                  <a:gd name="connsiteY36" fmla="*/ 550545 h 1605915"/>
                  <a:gd name="connsiteX37" fmla="*/ 785813 w 1422082"/>
                  <a:gd name="connsiteY37" fmla="*/ 480060 h 1605915"/>
                  <a:gd name="connsiteX38" fmla="*/ 790575 w 1422082"/>
                  <a:gd name="connsiteY38" fmla="*/ 438150 h 1605915"/>
                  <a:gd name="connsiteX39" fmla="*/ 790575 w 1422082"/>
                  <a:gd name="connsiteY39" fmla="*/ 398145 h 1605915"/>
                  <a:gd name="connsiteX40" fmla="*/ 796290 w 1422082"/>
                  <a:gd name="connsiteY40" fmla="*/ 362903 h 1605915"/>
                  <a:gd name="connsiteX41" fmla="*/ 796290 w 1422082"/>
                  <a:gd name="connsiteY41" fmla="*/ 328613 h 1605915"/>
                  <a:gd name="connsiteX42" fmla="*/ 771525 w 1422082"/>
                  <a:gd name="connsiteY42" fmla="*/ 318135 h 1605915"/>
                  <a:gd name="connsiteX43" fmla="*/ 753427 w 1422082"/>
                  <a:gd name="connsiteY43" fmla="*/ 312420 h 1605915"/>
                  <a:gd name="connsiteX44" fmla="*/ 750570 w 1422082"/>
                  <a:gd name="connsiteY44" fmla="*/ 295275 h 1605915"/>
                  <a:gd name="connsiteX45" fmla="*/ 742950 w 1422082"/>
                  <a:gd name="connsiteY45" fmla="*/ 276225 h 1605915"/>
                  <a:gd name="connsiteX46" fmla="*/ 726757 w 1422082"/>
                  <a:gd name="connsiteY46" fmla="*/ 260033 h 1605915"/>
                  <a:gd name="connsiteX47" fmla="*/ 726757 w 1422082"/>
                  <a:gd name="connsiteY47" fmla="*/ 240983 h 1605915"/>
                  <a:gd name="connsiteX48" fmla="*/ 738188 w 1422082"/>
                  <a:gd name="connsiteY48" fmla="*/ 229553 h 1605915"/>
                  <a:gd name="connsiteX49" fmla="*/ 741045 w 1422082"/>
                  <a:gd name="connsiteY49" fmla="*/ 203835 h 1605915"/>
                  <a:gd name="connsiteX50" fmla="*/ 725805 w 1422082"/>
                  <a:gd name="connsiteY50" fmla="*/ 188595 h 1605915"/>
                  <a:gd name="connsiteX51" fmla="*/ 704850 w 1422082"/>
                  <a:gd name="connsiteY51" fmla="*/ 188595 h 1605915"/>
                  <a:gd name="connsiteX52" fmla="*/ 682942 w 1422082"/>
                  <a:gd name="connsiteY52" fmla="*/ 178118 h 1605915"/>
                  <a:gd name="connsiteX53" fmla="*/ 682942 w 1422082"/>
                  <a:gd name="connsiteY53" fmla="*/ 158115 h 1605915"/>
                  <a:gd name="connsiteX54" fmla="*/ 691515 w 1422082"/>
                  <a:gd name="connsiteY54" fmla="*/ 148590 h 1605915"/>
                  <a:gd name="connsiteX55" fmla="*/ 681990 w 1422082"/>
                  <a:gd name="connsiteY55" fmla="*/ 139065 h 1605915"/>
                  <a:gd name="connsiteX56" fmla="*/ 674370 w 1422082"/>
                  <a:gd name="connsiteY56" fmla="*/ 108585 h 1605915"/>
                  <a:gd name="connsiteX57" fmla="*/ 656272 w 1422082"/>
                  <a:gd name="connsiteY57" fmla="*/ 76200 h 1605915"/>
                  <a:gd name="connsiteX58" fmla="*/ 635317 w 1422082"/>
                  <a:gd name="connsiteY58" fmla="*/ 61913 h 1605915"/>
                  <a:gd name="connsiteX59" fmla="*/ 611505 w 1422082"/>
                  <a:gd name="connsiteY59" fmla="*/ 68580 h 1605915"/>
                  <a:gd name="connsiteX60" fmla="*/ 588645 w 1422082"/>
                  <a:gd name="connsiteY60" fmla="*/ 70485 h 1605915"/>
                  <a:gd name="connsiteX61" fmla="*/ 588645 w 1422082"/>
                  <a:gd name="connsiteY61" fmla="*/ 42863 h 1605915"/>
                  <a:gd name="connsiteX62" fmla="*/ 607695 w 1422082"/>
                  <a:gd name="connsiteY62" fmla="*/ 38100 h 1605915"/>
                  <a:gd name="connsiteX63" fmla="*/ 607695 w 1422082"/>
                  <a:gd name="connsiteY63" fmla="*/ 20003 h 1605915"/>
                  <a:gd name="connsiteX64" fmla="*/ 587692 w 1422082"/>
                  <a:gd name="connsiteY64" fmla="*/ 0 h 1605915"/>
                  <a:gd name="connsiteX65" fmla="*/ 580072 w 1422082"/>
                  <a:gd name="connsiteY65" fmla="*/ 15240 h 1605915"/>
                  <a:gd name="connsiteX66" fmla="*/ 568642 w 1422082"/>
                  <a:gd name="connsiteY66" fmla="*/ 27623 h 1605915"/>
                  <a:gd name="connsiteX67" fmla="*/ 551497 w 1422082"/>
                  <a:gd name="connsiteY67" fmla="*/ 23813 h 1605915"/>
                  <a:gd name="connsiteX68" fmla="*/ 533400 w 1422082"/>
                  <a:gd name="connsiteY68" fmla="*/ 42863 h 1605915"/>
                  <a:gd name="connsiteX69" fmla="*/ 514350 w 1422082"/>
                  <a:gd name="connsiteY69" fmla="*/ 49530 h 1605915"/>
                  <a:gd name="connsiteX70" fmla="*/ 502920 w 1422082"/>
                  <a:gd name="connsiteY70" fmla="*/ 75248 h 1605915"/>
                  <a:gd name="connsiteX71" fmla="*/ 502920 w 1422082"/>
                  <a:gd name="connsiteY71" fmla="*/ 100965 h 1605915"/>
                  <a:gd name="connsiteX72" fmla="*/ 512445 w 1422082"/>
                  <a:gd name="connsiteY72" fmla="*/ 128588 h 1605915"/>
                  <a:gd name="connsiteX73" fmla="*/ 504825 w 1422082"/>
                  <a:gd name="connsiteY73" fmla="*/ 151448 h 1605915"/>
                  <a:gd name="connsiteX74" fmla="*/ 504825 w 1422082"/>
                  <a:gd name="connsiteY74" fmla="*/ 172403 h 1605915"/>
                  <a:gd name="connsiteX75" fmla="*/ 529590 w 1422082"/>
                  <a:gd name="connsiteY75" fmla="*/ 197168 h 1605915"/>
                  <a:gd name="connsiteX76" fmla="*/ 544830 w 1422082"/>
                  <a:gd name="connsiteY76" fmla="*/ 211455 h 1605915"/>
                  <a:gd name="connsiteX77" fmla="*/ 537210 w 1422082"/>
                  <a:gd name="connsiteY77" fmla="*/ 232410 h 1605915"/>
                  <a:gd name="connsiteX78" fmla="*/ 527685 w 1422082"/>
                  <a:gd name="connsiteY78" fmla="*/ 249555 h 1605915"/>
                  <a:gd name="connsiteX79" fmla="*/ 545782 w 1422082"/>
                  <a:gd name="connsiteY79" fmla="*/ 267653 h 1605915"/>
                  <a:gd name="connsiteX80" fmla="*/ 528638 w 1422082"/>
                  <a:gd name="connsiteY80" fmla="*/ 284798 h 1605915"/>
                  <a:gd name="connsiteX81" fmla="*/ 515302 w 1422082"/>
                  <a:gd name="connsiteY81" fmla="*/ 293370 h 1605915"/>
                  <a:gd name="connsiteX82" fmla="*/ 515302 w 1422082"/>
                  <a:gd name="connsiteY82" fmla="*/ 331470 h 1605915"/>
                  <a:gd name="connsiteX83" fmla="*/ 501015 w 1422082"/>
                  <a:gd name="connsiteY83" fmla="*/ 340043 h 1605915"/>
                  <a:gd name="connsiteX84" fmla="*/ 495300 w 1422082"/>
                  <a:gd name="connsiteY84" fmla="*/ 365760 h 1605915"/>
                  <a:gd name="connsiteX85" fmla="*/ 470535 w 1422082"/>
                  <a:gd name="connsiteY85" fmla="*/ 375285 h 1605915"/>
                  <a:gd name="connsiteX86" fmla="*/ 477202 w 1422082"/>
                  <a:gd name="connsiteY86" fmla="*/ 409575 h 1605915"/>
                  <a:gd name="connsiteX87" fmla="*/ 465772 w 1422082"/>
                  <a:gd name="connsiteY87" fmla="*/ 420053 h 1605915"/>
                  <a:gd name="connsiteX88" fmla="*/ 461963 w 1422082"/>
                  <a:gd name="connsiteY88" fmla="*/ 451485 h 1605915"/>
                  <a:gd name="connsiteX89" fmla="*/ 468630 w 1422082"/>
                  <a:gd name="connsiteY89" fmla="*/ 479108 h 1605915"/>
                  <a:gd name="connsiteX90" fmla="*/ 481965 w 1422082"/>
                  <a:gd name="connsiteY90" fmla="*/ 485775 h 1605915"/>
                  <a:gd name="connsiteX91" fmla="*/ 505777 w 1422082"/>
                  <a:gd name="connsiteY91" fmla="*/ 509588 h 1605915"/>
                  <a:gd name="connsiteX92" fmla="*/ 515302 w 1422082"/>
                  <a:gd name="connsiteY92" fmla="*/ 500063 h 1605915"/>
                  <a:gd name="connsiteX93" fmla="*/ 538163 w 1422082"/>
                  <a:gd name="connsiteY93" fmla="*/ 508635 h 1605915"/>
                  <a:gd name="connsiteX94" fmla="*/ 538163 w 1422082"/>
                  <a:gd name="connsiteY94" fmla="*/ 533400 h 1605915"/>
                  <a:gd name="connsiteX95" fmla="*/ 545782 w 1422082"/>
                  <a:gd name="connsiteY95" fmla="*/ 554355 h 1605915"/>
                  <a:gd name="connsiteX96" fmla="*/ 530542 w 1422082"/>
                  <a:gd name="connsiteY96" fmla="*/ 552450 h 1605915"/>
                  <a:gd name="connsiteX97" fmla="*/ 520065 w 1422082"/>
                  <a:gd name="connsiteY97" fmla="*/ 571500 h 1605915"/>
                  <a:gd name="connsiteX98" fmla="*/ 511492 w 1422082"/>
                  <a:gd name="connsiteY98" fmla="*/ 587693 h 1605915"/>
                  <a:gd name="connsiteX99" fmla="*/ 516255 w 1422082"/>
                  <a:gd name="connsiteY99" fmla="*/ 601028 h 1605915"/>
                  <a:gd name="connsiteX100" fmla="*/ 539115 w 1422082"/>
                  <a:gd name="connsiteY100" fmla="*/ 601028 h 1605915"/>
                  <a:gd name="connsiteX101" fmla="*/ 549592 w 1422082"/>
                  <a:gd name="connsiteY101" fmla="*/ 622935 h 1605915"/>
                  <a:gd name="connsiteX102" fmla="*/ 557213 w 1422082"/>
                  <a:gd name="connsiteY102" fmla="*/ 643890 h 1605915"/>
                  <a:gd name="connsiteX103" fmla="*/ 544830 w 1422082"/>
                  <a:gd name="connsiteY103" fmla="*/ 656273 h 1605915"/>
                  <a:gd name="connsiteX104" fmla="*/ 531495 w 1422082"/>
                  <a:gd name="connsiteY104" fmla="*/ 677228 h 1605915"/>
                  <a:gd name="connsiteX105" fmla="*/ 531495 w 1422082"/>
                  <a:gd name="connsiteY105" fmla="*/ 696278 h 1605915"/>
                  <a:gd name="connsiteX106" fmla="*/ 523875 w 1422082"/>
                  <a:gd name="connsiteY106" fmla="*/ 711518 h 1605915"/>
                  <a:gd name="connsiteX107" fmla="*/ 502920 w 1422082"/>
                  <a:gd name="connsiteY107" fmla="*/ 711518 h 1605915"/>
                  <a:gd name="connsiteX108" fmla="*/ 485775 w 1422082"/>
                  <a:gd name="connsiteY108" fmla="*/ 694373 h 1605915"/>
                  <a:gd name="connsiteX109" fmla="*/ 461963 w 1422082"/>
                  <a:gd name="connsiteY109" fmla="*/ 694373 h 1605915"/>
                  <a:gd name="connsiteX110" fmla="*/ 452438 w 1422082"/>
                  <a:gd name="connsiteY110" fmla="*/ 678180 h 1605915"/>
                  <a:gd name="connsiteX111" fmla="*/ 430530 w 1422082"/>
                  <a:gd name="connsiteY111" fmla="*/ 668655 h 1605915"/>
                  <a:gd name="connsiteX112" fmla="*/ 425767 w 1422082"/>
                  <a:gd name="connsiteY112" fmla="*/ 653415 h 1605915"/>
                  <a:gd name="connsiteX113" fmla="*/ 407670 w 1422082"/>
                  <a:gd name="connsiteY113" fmla="*/ 649605 h 1605915"/>
                  <a:gd name="connsiteX114" fmla="*/ 382905 w 1422082"/>
                  <a:gd name="connsiteY114" fmla="*/ 664845 h 1605915"/>
                  <a:gd name="connsiteX115" fmla="*/ 376238 w 1422082"/>
                  <a:gd name="connsiteY115" fmla="*/ 692468 h 1605915"/>
                  <a:gd name="connsiteX116" fmla="*/ 389572 w 1422082"/>
                  <a:gd name="connsiteY116" fmla="*/ 721995 h 1605915"/>
                  <a:gd name="connsiteX117" fmla="*/ 370522 w 1422082"/>
                  <a:gd name="connsiteY117" fmla="*/ 749618 h 1605915"/>
                  <a:gd name="connsiteX118" fmla="*/ 340042 w 1422082"/>
                  <a:gd name="connsiteY118" fmla="*/ 780098 h 1605915"/>
                  <a:gd name="connsiteX119" fmla="*/ 319088 w 1422082"/>
                  <a:gd name="connsiteY119" fmla="*/ 810578 h 1605915"/>
                  <a:gd name="connsiteX120" fmla="*/ 311467 w 1422082"/>
                  <a:gd name="connsiteY120" fmla="*/ 841058 h 1605915"/>
                  <a:gd name="connsiteX121" fmla="*/ 300990 w 1422082"/>
                  <a:gd name="connsiteY121" fmla="*/ 866775 h 1605915"/>
                  <a:gd name="connsiteX122" fmla="*/ 320040 w 1422082"/>
                  <a:gd name="connsiteY122" fmla="*/ 886778 h 1605915"/>
                  <a:gd name="connsiteX123" fmla="*/ 300990 w 1422082"/>
                  <a:gd name="connsiteY123" fmla="*/ 900113 h 1605915"/>
                  <a:gd name="connsiteX124" fmla="*/ 273367 w 1422082"/>
                  <a:gd name="connsiteY124" fmla="*/ 882015 h 1605915"/>
                  <a:gd name="connsiteX125" fmla="*/ 260032 w 1422082"/>
                  <a:gd name="connsiteY125" fmla="*/ 849630 h 1605915"/>
                  <a:gd name="connsiteX126" fmla="*/ 237172 w 1422082"/>
                  <a:gd name="connsiteY126" fmla="*/ 825818 h 1605915"/>
                  <a:gd name="connsiteX127" fmla="*/ 215265 w 1422082"/>
                  <a:gd name="connsiteY127" fmla="*/ 837248 h 1605915"/>
                  <a:gd name="connsiteX128" fmla="*/ 205740 w 1422082"/>
                  <a:gd name="connsiteY128" fmla="*/ 867728 h 1605915"/>
                  <a:gd name="connsiteX129" fmla="*/ 170497 w 1422082"/>
                  <a:gd name="connsiteY129" fmla="*/ 881063 h 1605915"/>
                  <a:gd name="connsiteX130" fmla="*/ 141922 w 1422082"/>
                  <a:gd name="connsiteY130" fmla="*/ 876300 h 1605915"/>
                  <a:gd name="connsiteX131" fmla="*/ 112395 w 1422082"/>
                  <a:gd name="connsiteY131" fmla="*/ 882968 h 1605915"/>
                  <a:gd name="connsiteX132" fmla="*/ 111442 w 1422082"/>
                  <a:gd name="connsiteY132" fmla="*/ 924878 h 1605915"/>
                  <a:gd name="connsiteX133" fmla="*/ 95250 w 1422082"/>
                  <a:gd name="connsiteY133" fmla="*/ 942023 h 1605915"/>
                  <a:gd name="connsiteX134" fmla="*/ 95250 w 1422082"/>
                  <a:gd name="connsiteY134" fmla="*/ 982028 h 1605915"/>
                  <a:gd name="connsiteX135" fmla="*/ 114300 w 1422082"/>
                  <a:gd name="connsiteY135" fmla="*/ 1001078 h 1605915"/>
                  <a:gd name="connsiteX136" fmla="*/ 128588 w 1422082"/>
                  <a:gd name="connsiteY136" fmla="*/ 1033463 h 1605915"/>
                  <a:gd name="connsiteX137" fmla="*/ 128588 w 1422082"/>
                  <a:gd name="connsiteY137" fmla="*/ 1051560 h 1605915"/>
                  <a:gd name="connsiteX138" fmla="*/ 106680 w 1422082"/>
                  <a:gd name="connsiteY138" fmla="*/ 1062990 h 1605915"/>
                  <a:gd name="connsiteX139" fmla="*/ 96202 w 1422082"/>
                  <a:gd name="connsiteY139" fmla="*/ 1088708 h 1605915"/>
                  <a:gd name="connsiteX140" fmla="*/ 76200 w 1422082"/>
                  <a:gd name="connsiteY140" fmla="*/ 1088708 h 1605915"/>
                  <a:gd name="connsiteX141" fmla="*/ 70485 w 1422082"/>
                  <a:gd name="connsiteY141" fmla="*/ 1115378 h 1605915"/>
                  <a:gd name="connsiteX142" fmla="*/ 60960 w 1422082"/>
                  <a:gd name="connsiteY142" fmla="*/ 1138238 h 1605915"/>
                  <a:gd name="connsiteX143" fmla="*/ 76200 w 1422082"/>
                  <a:gd name="connsiteY143" fmla="*/ 1160145 h 1605915"/>
                  <a:gd name="connsiteX144" fmla="*/ 77152 w 1422082"/>
                  <a:gd name="connsiteY144" fmla="*/ 1183005 h 1605915"/>
                  <a:gd name="connsiteX145" fmla="*/ 65722 w 1422082"/>
                  <a:gd name="connsiteY145" fmla="*/ 1190625 h 1605915"/>
                  <a:gd name="connsiteX146" fmla="*/ 65722 w 1422082"/>
                  <a:gd name="connsiteY146" fmla="*/ 1223963 h 1605915"/>
                  <a:gd name="connsiteX147" fmla="*/ 71438 w 1422082"/>
                  <a:gd name="connsiteY147" fmla="*/ 1242060 h 1605915"/>
                  <a:gd name="connsiteX148" fmla="*/ 61913 w 1422082"/>
                  <a:gd name="connsiteY148" fmla="*/ 1260158 h 1605915"/>
                  <a:gd name="connsiteX149" fmla="*/ 64770 w 1422082"/>
                  <a:gd name="connsiteY149" fmla="*/ 1282065 h 1605915"/>
                  <a:gd name="connsiteX150" fmla="*/ 23813 w 1422082"/>
                  <a:gd name="connsiteY150" fmla="*/ 1284923 h 1605915"/>
                  <a:gd name="connsiteX151" fmla="*/ 23813 w 1422082"/>
                  <a:gd name="connsiteY151" fmla="*/ 1303020 h 1605915"/>
                  <a:gd name="connsiteX152" fmla="*/ 6667 w 1422082"/>
                  <a:gd name="connsiteY152" fmla="*/ 1299210 h 1605915"/>
                  <a:gd name="connsiteX153" fmla="*/ 0 w 1422082"/>
                  <a:gd name="connsiteY153" fmla="*/ 1317308 h 1605915"/>
                  <a:gd name="connsiteX154" fmla="*/ 26670 w 1422082"/>
                  <a:gd name="connsiteY154" fmla="*/ 1333500 h 1605915"/>
                  <a:gd name="connsiteX155" fmla="*/ 66675 w 1422082"/>
                  <a:gd name="connsiteY155" fmla="*/ 1374458 h 1605915"/>
                  <a:gd name="connsiteX156" fmla="*/ 85725 w 1422082"/>
                  <a:gd name="connsiteY156" fmla="*/ 1384935 h 1605915"/>
                  <a:gd name="connsiteX157" fmla="*/ 110490 w 1422082"/>
                  <a:gd name="connsiteY157" fmla="*/ 1384935 h 1605915"/>
                  <a:gd name="connsiteX158" fmla="*/ 132397 w 1422082"/>
                  <a:gd name="connsiteY158" fmla="*/ 1401128 h 1605915"/>
                  <a:gd name="connsiteX159" fmla="*/ 163830 w 1422082"/>
                  <a:gd name="connsiteY159" fmla="*/ 1405890 h 1605915"/>
                  <a:gd name="connsiteX160" fmla="*/ 190500 w 1422082"/>
                  <a:gd name="connsiteY160" fmla="*/ 1430655 h 1605915"/>
                  <a:gd name="connsiteX161" fmla="*/ 208597 w 1422082"/>
                  <a:gd name="connsiteY161" fmla="*/ 1439228 h 1605915"/>
                  <a:gd name="connsiteX162" fmla="*/ 239077 w 1422082"/>
                  <a:gd name="connsiteY162" fmla="*/ 1439228 h 1605915"/>
                  <a:gd name="connsiteX163" fmla="*/ 251460 w 1422082"/>
                  <a:gd name="connsiteY163" fmla="*/ 1426845 h 1605915"/>
                  <a:gd name="connsiteX164" fmla="*/ 278130 w 1422082"/>
                  <a:gd name="connsiteY164" fmla="*/ 1453515 h 1605915"/>
                  <a:gd name="connsiteX165" fmla="*/ 338138 w 1422082"/>
                  <a:gd name="connsiteY165" fmla="*/ 1393508 h 1605915"/>
                  <a:gd name="connsiteX166" fmla="*/ 360045 w 1422082"/>
                  <a:gd name="connsiteY166" fmla="*/ 1408748 h 1605915"/>
                  <a:gd name="connsiteX167" fmla="*/ 353377 w 1422082"/>
                  <a:gd name="connsiteY167" fmla="*/ 1424940 h 1605915"/>
                  <a:gd name="connsiteX168" fmla="*/ 380047 w 1422082"/>
                  <a:gd name="connsiteY168" fmla="*/ 1437323 h 1605915"/>
                  <a:gd name="connsiteX169" fmla="*/ 395288 w 1422082"/>
                  <a:gd name="connsiteY169" fmla="*/ 1451610 h 1605915"/>
                  <a:gd name="connsiteX170" fmla="*/ 430530 w 1422082"/>
                  <a:gd name="connsiteY170" fmla="*/ 1463040 h 1605915"/>
                  <a:gd name="connsiteX171" fmla="*/ 446722 w 1422082"/>
                  <a:gd name="connsiteY171" fmla="*/ 1478280 h 1605915"/>
                  <a:gd name="connsiteX172" fmla="*/ 464820 w 1422082"/>
                  <a:gd name="connsiteY172" fmla="*/ 1487805 h 1605915"/>
                  <a:gd name="connsiteX173" fmla="*/ 484822 w 1422082"/>
                  <a:gd name="connsiteY173" fmla="*/ 1507808 h 1605915"/>
                  <a:gd name="connsiteX174" fmla="*/ 529590 w 1422082"/>
                  <a:gd name="connsiteY174" fmla="*/ 1498283 h 1605915"/>
                  <a:gd name="connsiteX175" fmla="*/ 567690 w 1422082"/>
                  <a:gd name="connsiteY175" fmla="*/ 1534478 h 1605915"/>
                  <a:gd name="connsiteX176" fmla="*/ 590550 w 1422082"/>
                  <a:gd name="connsiteY176" fmla="*/ 1534478 h 1605915"/>
                  <a:gd name="connsiteX177" fmla="*/ 590550 w 1422082"/>
                  <a:gd name="connsiteY177" fmla="*/ 1554480 h 1605915"/>
                  <a:gd name="connsiteX178" fmla="*/ 605790 w 1422082"/>
                  <a:gd name="connsiteY178" fmla="*/ 1580198 h 1605915"/>
                  <a:gd name="connsiteX179" fmla="*/ 646747 w 1422082"/>
                  <a:gd name="connsiteY179" fmla="*/ 1580198 h 1605915"/>
                  <a:gd name="connsiteX180" fmla="*/ 653415 w 1422082"/>
                  <a:gd name="connsiteY180" fmla="*/ 1605915 h 1605915"/>
                  <a:gd name="connsiteX181" fmla="*/ 685800 w 1422082"/>
                  <a:gd name="connsiteY181" fmla="*/ 1587818 h 1605915"/>
                  <a:gd name="connsiteX182" fmla="*/ 708660 w 1422082"/>
                  <a:gd name="connsiteY182" fmla="*/ 1587818 h 1605915"/>
                  <a:gd name="connsiteX183" fmla="*/ 708660 w 1422082"/>
                  <a:gd name="connsiteY183" fmla="*/ 1545908 h 1605915"/>
                  <a:gd name="connsiteX184" fmla="*/ 741997 w 1422082"/>
                  <a:gd name="connsiteY184" fmla="*/ 1513523 h 1605915"/>
                  <a:gd name="connsiteX185" fmla="*/ 780097 w 1422082"/>
                  <a:gd name="connsiteY185" fmla="*/ 1467803 h 1605915"/>
                  <a:gd name="connsiteX186" fmla="*/ 799147 w 1422082"/>
                  <a:gd name="connsiteY186" fmla="*/ 1419225 h 1605915"/>
                  <a:gd name="connsiteX187" fmla="*/ 848677 w 1422082"/>
                  <a:gd name="connsiteY187" fmla="*/ 1368743 h 1605915"/>
                  <a:gd name="connsiteX188" fmla="*/ 905827 w 1422082"/>
                  <a:gd name="connsiteY188" fmla="*/ 1301115 h 1605915"/>
                  <a:gd name="connsiteX189" fmla="*/ 914400 w 1422082"/>
                  <a:gd name="connsiteY189" fmla="*/ 1200150 h 1605915"/>
                  <a:gd name="connsiteX190" fmla="*/ 934402 w 1422082"/>
                  <a:gd name="connsiteY190" fmla="*/ 1133475 h 1605915"/>
                  <a:gd name="connsiteX191" fmla="*/ 903922 w 1422082"/>
                  <a:gd name="connsiteY191" fmla="*/ 1123950 h 1605915"/>
                  <a:gd name="connsiteX192" fmla="*/ 874395 w 1422082"/>
                  <a:gd name="connsiteY192" fmla="*/ 984885 h 1605915"/>
                  <a:gd name="connsiteX193" fmla="*/ 884872 w 1422082"/>
                  <a:gd name="connsiteY193" fmla="*/ 964883 h 1605915"/>
                  <a:gd name="connsiteX194" fmla="*/ 899160 w 1422082"/>
                  <a:gd name="connsiteY194" fmla="*/ 950595 h 1605915"/>
                  <a:gd name="connsiteX195" fmla="*/ 875347 w 1422082"/>
                  <a:gd name="connsiteY195" fmla="*/ 933450 h 1605915"/>
                  <a:gd name="connsiteX196" fmla="*/ 851535 w 1422082"/>
                  <a:gd name="connsiteY196" fmla="*/ 925830 h 1605915"/>
                  <a:gd name="connsiteX197" fmla="*/ 842963 w 1422082"/>
                  <a:gd name="connsiteY197" fmla="*/ 887730 h 1605915"/>
                  <a:gd name="connsiteX198" fmla="*/ 887730 w 1422082"/>
                  <a:gd name="connsiteY198" fmla="*/ 855345 h 1605915"/>
                  <a:gd name="connsiteX199" fmla="*/ 909638 w 1422082"/>
                  <a:gd name="connsiteY199" fmla="*/ 855345 h 1605915"/>
                  <a:gd name="connsiteX200" fmla="*/ 909638 w 1422082"/>
                  <a:gd name="connsiteY200" fmla="*/ 826770 h 1605915"/>
                  <a:gd name="connsiteX201" fmla="*/ 931545 w 1422082"/>
                  <a:gd name="connsiteY201" fmla="*/ 817245 h 1605915"/>
                  <a:gd name="connsiteX202" fmla="*/ 962025 w 1422082"/>
                  <a:gd name="connsiteY202" fmla="*/ 827723 h 1605915"/>
                  <a:gd name="connsiteX203" fmla="*/ 993457 w 1422082"/>
                  <a:gd name="connsiteY203" fmla="*/ 816293 h 1605915"/>
                  <a:gd name="connsiteX204" fmla="*/ 993457 w 1422082"/>
                  <a:gd name="connsiteY204" fmla="*/ 788670 h 1605915"/>
                  <a:gd name="connsiteX205" fmla="*/ 1016317 w 1422082"/>
                  <a:gd name="connsiteY205" fmla="*/ 772478 h 1605915"/>
                  <a:gd name="connsiteX206" fmla="*/ 1027747 w 1422082"/>
                  <a:gd name="connsiteY206" fmla="*/ 784860 h 1605915"/>
                  <a:gd name="connsiteX207" fmla="*/ 1063942 w 1422082"/>
                  <a:gd name="connsiteY207" fmla="*/ 784860 h 1605915"/>
                  <a:gd name="connsiteX208" fmla="*/ 1084897 w 1422082"/>
                  <a:gd name="connsiteY208" fmla="*/ 770573 h 1605915"/>
                  <a:gd name="connsiteX209" fmla="*/ 1098232 w 1422082"/>
                  <a:gd name="connsiteY209" fmla="*/ 783908 h 1605915"/>
                  <a:gd name="connsiteX210" fmla="*/ 1142047 w 1422082"/>
                  <a:gd name="connsiteY210" fmla="*/ 792480 h 1605915"/>
                  <a:gd name="connsiteX211" fmla="*/ 1160145 w 1422082"/>
                  <a:gd name="connsiteY211" fmla="*/ 774383 h 1605915"/>
                  <a:gd name="connsiteX212" fmla="*/ 1179195 w 1422082"/>
                  <a:gd name="connsiteY212" fmla="*/ 784860 h 1605915"/>
                  <a:gd name="connsiteX213" fmla="*/ 1206817 w 1422082"/>
                  <a:gd name="connsiteY213" fmla="*/ 757238 h 1605915"/>
                  <a:gd name="connsiteX214" fmla="*/ 1228725 w 1422082"/>
                  <a:gd name="connsiteY214" fmla="*/ 757238 h 1605915"/>
                  <a:gd name="connsiteX215" fmla="*/ 1228725 w 1422082"/>
                  <a:gd name="connsiteY215" fmla="*/ 701993 h 1605915"/>
                  <a:gd name="connsiteX216" fmla="*/ 1254442 w 1422082"/>
                  <a:gd name="connsiteY216" fmla="*/ 688658 h 1605915"/>
                  <a:gd name="connsiteX217" fmla="*/ 1269682 w 1422082"/>
                  <a:gd name="connsiteY217" fmla="*/ 656273 h 1605915"/>
                  <a:gd name="connsiteX218" fmla="*/ 1296352 w 1422082"/>
                  <a:gd name="connsiteY218" fmla="*/ 661988 h 1605915"/>
                  <a:gd name="connsiteX219" fmla="*/ 1308735 w 1422082"/>
                  <a:gd name="connsiteY219" fmla="*/ 675323 h 1605915"/>
                  <a:gd name="connsiteX220" fmla="*/ 1278255 w 1422082"/>
                  <a:gd name="connsiteY220" fmla="*/ 703898 h 1605915"/>
                  <a:gd name="connsiteX221" fmla="*/ 1303972 w 1422082"/>
                  <a:gd name="connsiteY221" fmla="*/ 705803 h 1605915"/>
                  <a:gd name="connsiteX222" fmla="*/ 1324927 w 1422082"/>
                  <a:gd name="connsiteY222" fmla="*/ 694373 h 1605915"/>
                  <a:gd name="connsiteX223" fmla="*/ 1356360 w 1422082"/>
                  <a:gd name="connsiteY223" fmla="*/ 702945 h 1605915"/>
                  <a:gd name="connsiteX224" fmla="*/ 1369695 w 1422082"/>
                  <a:gd name="connsiteY224" fmla="*/ 678180 h 1605915"/>
                  <a:gd name="connsiteX225" fmla="*/ 1391602 w 1422082"/>
                  <a:gd name="connsiteY225" fmla="*/ 664845 h 1605915"/>
                  <a:gd name="connsiteX226" fmla="*/ 1397317 w 1422082"/>
                  <a:gd name="connsiteY226" fmla="*/ 637223 h 1605915"/>
                  <a:gd name="connsiteX227" fmla="*/ 1386840 w 1422082"/>
                  <a:gd name="connsiteY227" fmla="*/ 626745 h 1605915"/>
                  <a:gd name="connsiteX228" fmla="*/ 1386840 w 1422082"/>
                  <a:gd name="connsiteY228" fmla="*/ 609600 h 1605915"/>
                  <a:gd name="connsiteX229" fmla="*/ 1363980 w 1422082"/>
                  <a:gd name="connsiteY229" fmla="*/ 619125 h 1605915"/>
                  <a:gd name="connsiteX230" fmla="*/ 1323022 w 1422082"/>
                  <a:gd name="connsiteY230" fmla="*/ 578168 h 1605915"/>
                  <a:gd name="connsiteX231" fmla="*/ 1334452 w 1422082"/>
                  <a:gd name="connsiteY231" fmla="*/ 549593 h 1605915"/>
                  <a:gd name="connsiteX232" fmla="*/ 1322070 w 1422082"/>
                  <a:gd name="connsiteY232" fmla="*/ 536258 h 1605915"/>
                  <a:gd name="connsiteX233" fmla="*/ 1332547 w 1422082"/>
                  <a:gd name="connsiteY233" fmla="*/ 512445 h 1605915"/>
                  <a:gd name="connsiteX234" fmla="*/ 1322070 w 1422082"/>
                  <a:gd name="connsiteY234" fmla="*/ 501968 h 1605915"/>
                  <a:gd name="connsiteX235" fmla="*/ 1346835 w 1422082"/>
                  <a:gd name="connsiteY235" fmla="*/ 478155 h 1605915"/>
                  <a:gd name="connsiteX236" fmla="*/ 1369695 w 1422082"/>
                  <a:gd name="connsiteY236" fmla="*/ 479108 h 1605915"/>
                  <a:gd name="connsiteX237" fmla="*/ 1383030 w 1422082"/>
                  <a:gd name="connsiteY237" fmla="*/ 492443 h 1605915"/>
                  <a:gd name="connsiteX238" fmla="*/ 1400175 w 1422082"/>
                  <a:gd name="connsiteY238" fmla="*/ 492443 h 1605915"/>
                  <a:gd name="connsiteX239" fmla="*/ 1417320 w 1422082"/>
                  <a:gd name="connsiteY239" fmla="*/ 479108 h 1605915"/>
                  <a:gd name="connsiteX240" fmla="*/ 1422082 w 1422082"/>
                  <a:gd name="connsiteY240" fmla="*/ 463868 h 1605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</a:cxnLst>
                <a:rect l="l" t="t" r="r" b="b"/>
                <a:pathLst>
                  <a:path w="1422082" h="1605915">
                    <a:moveTo>
                      <a:pt x="1382077" y="423863"/>
                    </a:moveTo>
                    <a:lnTo>
                      <a:pt x="1370647" y="392430"/>
                    </a:lnTo>
                    <a:lnTo>
                      <a:pt x="1353502" y="390525"/>
                    </a:lnTo>
                    <a:lnTo>
                      <a:pt x="1353502" y="370523"/>
                    </a:lnTo>
                    <a:lnTo>
                      <a:pt x="1334452" y="349568"/>
                    </a:lnTo>
                    <a:lnTo>
                      <a:pt x="1318260" y="334328"/>
                    </a:lnTo>
                    <a:lnTo>
                      <a:pt x="1296352" y="334328"/>
                    </a:lnTo>
                    <a:lnTo>
                      <a:pt x="1296352" y="355283"/>
                    </a:lnTo>
                    <a:lnTo>
                      <a:pt x="1276350" y="375285"/>
                    </a:lnTo>
                    <a:lnTo>
                      <a:pt x="1245870" y="371475"/>
                    </a:lnTo>
                    <a:lnTo>
                      <a:pt x="1245870" y="350520"/>
                    </a:lnTo>
                    <a:lnTo>
                      <a:pt x="1232535" y="339090"/>
                    </a:lnTo>
                    <a:lnTo>
                      <a:pt x="1232535" y="313373"/>
                    </a:lnTo>
                    <a:lnTo>
                      <a:pt x="1204913" y="310515"/>
                    </a:lnTo>
                    <a:lnTo>
                      <a:pt x="1173480" y="295275"/>
                    </a:lnTo>
                    <a:lnTo>
                      <a:pt x="1143000" y="299085"/>
                    </a:lnTo>
                    <a:lnTo>
                      <a:pt x="1113472" y="294323"/>
                    </a:lnTo>
                    <a:lnTo>
                      <a:pt x="1096327" y="314325"/>
                    </a:lnTo>
                    <a:lnTo>
                      <a:pt x="1087755" y="341948"/>
                    </a:lnTo>
                    <a:lnTo>
                      <a:pt x="1068705" y="361950"/>
                    </a:lnTo>
                    <a:lnTo>
                      <a:pt x="1076325" y="389573"/>
                    </a:lnTo>
                    <a:lnTo>
                      <a:pt x="1065847" y="421005"/>
                    </a:lnTo>
                    <a:lnTo>
                      <a:pt x="1039177" y="447675"/>
                    </a:lnTo>
                    <a:lnTo>
                      <a:pt x="1039177" y="497205"/>
                    </a:lnTo>
                    <a:lnTo>
                      <a:pt x="1002030" y="522923"/>
                    </a:lnTo>
                    <a:lnTo>
                      <a:pt x="1002030" y="551498"/>
                    </a:lnTo>
                    <a:lnTo>
                      <a:pt x="986790" y="529590"/>
                    </a:lnTo>
                    <a:lnTo>
                      <a:pt x="986790" y="504825"/>
                    </a:lnTo>
                    <a:lnTo>
                      <a:pt x="967740" y="486728"/>
                    </a:lnTo>
                    <a:lnTo>
                      <a:pt x="950595" y="494348"/>
                    </a:lnTo>
                    <a:lnTo>
                      <a:pt x="945832" y="517208"/>
                    </a:lnTo>
                    <a:lnTo>
                      <a:pt x="899160" y="535305"/>
                    </a:lnTo>
                    <a:lnTo>
                      <a:pt x="877252" y="535305"/>
                    </a:lnTo>
                    <a:lnTo>
                      <a:pt x="868680" y="561023"/>
                    </a:lnTo>
                    <a:lnTo>
                      <a:pt x="854392" y="582930"/>
                    </a:lnTo>
                    <a:lnTo>
                      <a:pt x="823913" y="584835"/>
                    </a:lnTo>
                    <a:lnTo>
                      <a:pt x="789622" y="550545"/>
                    </a:lnTo>
                    <a:lnTo>
                      <a:pt x="785813" y="480060"/>
                    </a:lnTo>
                    <a:lnTo>
                      <a:pt x="790575" y="438150"/>
                    </a:lnTo>
                    <a:lnTo>
                      <a:pt x="790575" y="398145"/>
                    </a:lnTo>
                    <a:lnTo>
                      <a:pt x="796290" y="362903"/>
                    </a:lnTo>
                    <a:lnTo>
                      <a:pt x="796290" y="328613"/>
                    </a:lnTo>
                    <a:lnTo>
                      <a:pt x="771525" y="318135"/>
                    </a:lnTo>
                    <a:lnTo>
                      <a:pt x="753427" y="312420"/>
                    </a:lnTo>
                    <a:lnTo>
                      <a:pt x="750570" y="295275"/>
                    </a:lnTo>
                    <a:lnTo>
                      <a:pt x="742950" y="276225"/>
                    </a:lnTo>
                    <a:lnTo>
                      <a:pt x="726757" y="260033"/>
                    </a:lnTo>
                    <a:lnTo>
                      <a:pt x="726757" y="240983"/>
                    </a:lnTo>
                    <a:lnTo>
                      <a:pt x="738188" y="229553"/>
                    </a:lnTo>
                    <a:lnTo>
                      <a:pt x="741045" y="203835"/>
                    </a:lnTo>
                    <a:lnTo>
                      <a:pt x="725805" y="188595"/>
                    </a:lnTo>
                    <a:lnTo>
                      <a:pt x="704850" y="188595"/>
                    </a:lnTo>
                    <a:lnTo>
                      <a:pt x="682942" y="178118"/>
                    </a:lnTo>
                    <a:lnTo>
                      <a:pt x="682942" y="158115"/>
                    </a:lnTo>
                    <a:lnTo>
                      <a:pt x="691515" y="148590"/>
                    </a:lnTo>
                    <a:lnTo>
                      <a:pt x="681990" y="139065"/>
                    </a:lnTo>
                    <a:lnTo>
                      <a:pt x="674370" y="108585"/>
                    </a:lnTo>
                    <a:lnTo>
                      <a:pt x="656272" y="76200"/>
                    </a:lnTo>
                    <a:lnTo>
                      <a:pt x="635317" y="61913"/>
                    </a:lnTo>
                    <a:lnTo>
                      <a:pt x="611505" y="68580"/>
                    </a:lnTo>
                    <a:lnTo>
                      <a:pt x="588645" y="70485"/>
                    </a:lnTo>
                    <a:lnTo>
                      <a:pt x="588645" y="42863"/>
                    </a:lnTo>
                    <a:lnTo>
                      <a:pt x="607695" y="38100"/>
                    </a:lnTo>
                    <a:lnTo>
                      <a:pt x="607695" y="20003"/>
                    </a:lnTo>
                    <a:lnTo>
                      <a:pt x="587692" y="0"/>
                    </a:lnTo>
                    <a:lnTo>
                      <a:pt x="580072" y="15240"/>
                    </a:lnTo>
                    <a:lnTo>
                      <a:pt x="568642" y="27623"/>
                    </a:lnTo>
                    <a:lnTo>
                      <a:pt x="551497" y="23813"/>
                    </a:lnTo>
                    <a:lnTo>
                      <a:pt x="533400" y="42863"/>
                    </a:lnTo>
                    <a:lnTo>
                      <a:pt x="514350" y="49530"/>
                    </a:lnTo>
                    <a:lnTo>
                      <a:pt x="502920" y="75248"/>
                    </a:lnTo>
                    <a:lnTo>
                      <a:pt x="502920" y="100965"/>
                    </a:lnTo>
                    <a:lnTo>
                      <a:pt x="512445" y="128588"/>
                    </a:lnTo>
                    <a:lnTo>
                      <a:pt x="504825" y="151448"/>
                    </a:lnTo>
                    <a:lnTo>
                      <a:pt x="504825" y="172403"/>
                    </a:lnTo>
                    <a:lnTo>
                      <a:pt x="529590" y="197168"/>
                    </a:lnTo>
                    <a:lnTo>
                      <a:pt x="544830" y="211455"/>
                    </a:lnTo>
                    <a:lnTo>
                      <a:pt x="537210" y="232410"/>
                    </a:lnTo>
                    <a:lnTo>
                      <a:pt x="527685" y="249555"/>
                    </a:lnTo>
                    <a:lnTo>
                      <a:pt x="545782" y="267653"/>
                    </a:lnTo>
                    <a:lnTo>
                      <a:pt x="528638" y="284798"/>
                    </a:lnTo>
                    <a:lnTo>
                      <a:pt x="515302" y="293370"/>
                    </a:lnTo>
                    <a:lnTo>
                      <a:pt x="515302" y="331470"/>
                    </a:lnTo>
                    <a:lnTo>
                      <a:pt x="501015" y="340043"/>
                    </a:lnTo>
                    <a:lnTo>
                      <a:pt x="495300" y="365760"/>
                    </a:lnTo>
                    <a:lnTo>
                      <a:pt x="470535" y="375285"/>
                    </a:lnTo>
                    <a:lnTo>
                      <a:pt x="477202" y="409575"/>
                    </a:lnTo>
                    <a:lnTo>
                      <a:pt x="465772" y="420053"/>
                    </a:lnTo>
                    <a:lnTo>
                      <a:pt x="461963" y="451485"/>
                    </a:lnTo>
                    <a:lnTo>
                      <a:pt x="468630" y="479108"/>
                    </a:lnTo>
                    <a:lnTo>
                      <a:pt x="481965" y="485775"/>
                    </a:lnTo>
                    <a:lnTo>
                      <a:pt x="505777" y="509588"/>
                    </a:lnTo>
                    <a:lnTo>
                      <a:pt x="515302" y="500063"/>
                    </a:lnTo>
                    <a:lnTo>
                      <a:pt x="538163" y="508635"/>
                    </a:lnTo>
                    <a:lnTo>
                      <a:pt x="538163" y="533400"/>
                    </a:lnTo>
                    <a:lnTo>
                      <a:pt x="545782" y="554355"/>
                    </a:lnTo>
                    <a:lnTo>
                      <a:pt x="530542" y="552450"/>
                    </a:lnTo>
                    <a:lnTo>
                      <a:pt x="520065" y="571500"/>
                    </a:lnTo>
                    <a:lnTo>
                      <a:pt x="511492" y="587693"/>
                    </a:lnTo>
                    <a:lnTo>
                      <a:pt x="516255" y="601028"/>
                    </a:lnTo>
                    <a:lnTo>
                      <a:pt x="539115" y="601028"/>
                    </a:lnTo>
                    <a:lnTo>
                      <a:pt x="549592" y="622935"/>
                    </a:lnTo>
                    <a:lnTo>
                      <a:pt x="557213" y="643890"/>
                    </a:lnTo>
                    <a:lnTo>
                      <a:pt x="544830" y="656273"/>
                    </a:lnTo>
                    <a:lnTo>
                      <a:pt x="531495" y="677228"/>
                    </a:lnTo>
                    <a:lnTo>
                      <a:pt x="531495" y="696278"/>
                    </a:lnTo>
                    <a:lnTo>
                      <a:pt x="523875" y="711518"/>
                    </a:lnTo>
                    <a:lnTo>
                      <a:pt x="502920" y="711518"/>
                    </a:lnTo>
                    <a:lnTo>
                      <a:pt x="485775" y="694373"/>
                    </a:lnTo>
                    <a:lnTo>
                      <a:pt x="461963" y="694373"/>
                    </a:lnTo>
                    <a:lnTo>
                      <a:pt x="452438" y="678180"/>
                    </a:lnTo>
                    <a:lnTo>
                      <a:pt x="430530" y="668655"/>
                    </a:lnTo>
                    <a:lnTo>
                      <a:pt x="425767" y="653415"/>
                    </a:lnTo>
                    <a:lnTo>
                      <a:pt x="407670" y="649605"/>
                    </a:lnTo>
                    <a:lnTo>
                      <a:pt x="382905" y="664845"/>
                    </a:lnTo>
                    <a:lnTo>
                      <a:pt x="376238" y="692468"/>
                    </a:lnTo>
                    <a:lnTo>
                      <a:pt x="389572" y="721995"/>
                    </a:lnTo>
                    <a:lnTo>
                      <a:pt x="370522" y="749618"/>
                    </a:lnTo>
                    <a:lnTo>
                      <a:pt x="340042" y="780098"/>
                    </a:lnTo>
                    <a:lnTo>
                      <a:pt x="319088" y="810578"/>
                    </a:lnTo>
                    <a:lnTo>
                      <a:pt x="311467" y="841058"/>
                    </a:lnTo>
                    <a:lnTo>
                      <a:pt x="300990" y="866775"/>
                    </a:lnTo>
                    <a:lnTo>
                      <a:pt x="320040" y="886778"/>
                    </a:lnTo>
                    <a:lnTo>
                      <a:pt x="300990" y="900113"/>
                    </a:lnTo>
                    <a:lnTo>
                      <a:pt x="273367" y="882015"/>
                    </a:lnTo>
                    <a:lnTo>
                      <a:pt x="260032" y="849630"/>
                    </a:lnTo>
                    <a:lnTo>
                      <a:pt x="237172" y="825818"/>
                    </a:lnTo>
                    <a:lnTo>
                      <a:pt x="215265" y="837248"/>
                    </a:lnTo>
                    <a:lnTo>
                      <a:pt x="205740" y="867728"/>
                    </a:lnTo>
                    <a:lnTo>
                      <a:pt x="170497" y="881063"/>
                    </a:lnTo>
                    <a:lnTo>
                      <a:pt x="141922" y="876300"/>
                    </a:lnTo>
                    <a:lnTo>
                      <a:pt x="112395" y="882968"/>
                    </a:lnTo>
                    <a:lnTo>
                      <a:pt x="111442" y="924878"/>
                    </a:lnTo>
                    <a:lnTo>
                      <a:pt x="95250" y="942023"/>
                    </a:lnTo>
                    <a:lnTo>
                      <a:pt x="95250" y="982028"/>
                    </a:lnTo>
                    <a:lnTo>
                      <a:pt x="114300" y="1001078"/>
                    </a:lnTo>
                    <a:lnTo>
                      <a:pt x="128588" y="1033463"/>
                    </a:lnTo>
                    <a:lnTo>
                      <a:pt x="128588" y="1051560"/>
                    </a:lnTo>
                    <a:lnTo>
                      <a:pt x="106680" y="1062990"/>
                    </a:lnTo>
                    <a:lnTo>
                      <a:pt x="96202" y="1088708"/>
                    </a:lnTo>
                    <a:lnTo>
                      <a:pt x="76200" y="1088708"/>
                    </a:lnTo>
                    <a:lnTo>
                      <a:pt x="70485" y="1115378"/>
                    </a:lnTo>
                    <a:lnTo>
                      <a:pt x="60960" y="1138238"/>
                    </a:lnTo>
                    <a:lnTo>
                      <a:pt x="76200" y="1160145"/>
                    </a:lnTo>
                    <a:lnTo>
                      <a:pt x="77152" y="1183005"/>
                    </a:lnTo>
                    <a:lnTo>
                      <a:pt x="65722" y="1190625"/>
                    </a:lnTo>
                    <a:lnTo>
                      <a:pt x="65722" y="1223963"/>
                    </a:lnTo>
                    <a:lnTo>
                      <a:pt x="71438" y="1242060"/>
                    </a:lnTo>
                    <a:lnTo>
                      <a:pt x="61913" y="1260158"/>
                    </a:lnTo>
                    <a:lnTo>
                      <a:pt x="64770" y="1282065"/>
                    </a:lnTo>
                    <a:lnTo>
                      <a:pt x="23813" y="1284923"/>
                    </a:lnTo>
                    <a:lnTo>
                      <a:pt x="23813" y="1303020"/>
                    </a:lnTo>
                    <a:lnTo>
                      <a:pt x="6667" y="1299210"/>
                    </a:lnTo>
                    <a:lnTo>
                      <a:pt x="0" y="1317308"/>
                    </a:lnTo>
                    <a:lnTo>
                      <a:pt x="26670" y="1333500"/>
                    </a:lnTo>
                    <a:lnTo>
                      <a:pt x="66675" y="1374458"/>
                    </a:lnTo>
                    <a:lnTo>
                      <a:pt x="85725" y="1384935"/>
                    </a:lnTo>
                    <a:lnTo>
                      <a:pt x="110490" y="1384935"/>
                    </a:lnTo>
                    <a:lnTo>
                      <a:pt x="132397" y="1401128"/>
                    </a:lnTo>
                    <a:lnTo>
                      <a:pt x="163830" y="1405890"/>
                    </a:lnTo>
                    <a:lnTo>
                      <a:pt x="190500" y="1430655"/>
                    </a:lnTo>
                    <a:lnTo>
                      <a:pt x="208597" y="1439228"/>
                    </a:lnTo>
                    <a:lnTo>
                      <a:pt x="239077" y="1439228"/>
                    </a:lnTo>
                    <a:lnTo>
                      <a:pt x="251460" y="1426845"/>
                    </a:lnTo>
                    <a:lnTo>
                      <a:pt x="278130" y="1453515"/>
                    </a:lnTo>
                    <a:lnTo>
                      <a:pt x="338138" y="1393508"/>
                    </a:lnTo>
                    <a:lnTo>
                      <a:pt x="360045" y="1408748"/>
                    </a:lnTo>
                    <a:lnTo>
                      <a:pt x="353377" y="1424940"/>
                    </a:lnTo>
                    <a:lnTo>
                      <a:pt x="380047" y="1437323"/>
                    </a:lnTo>
                    <a:lnTo>
                      <a:pt x="395288" y="1451610"/>
                    </a:lnTo>
                    <a:lnTo>
                      <a:pt x="430530" y="1463040"/>
                    </a:lnTo>
                    <a:lnTo>
                      <a:pt x="446722" y="1478280"/>
                    </a:lnTo>
                    <a:lnTo>
                      <a:pt x="464820" y="1487805"/>
                    </a:lnTo>
                    <a:lnTo>
                      <a:pt x="484822" y="1507808"/>
                    </a:lnTo>
                    <a:lnTo>
                      <a:pt x="529590" y="1498283"/>
                    </a:lnTo>
                    <a:lnTo>
                      <a:pt x="567690" y="1534478"/>
                    </a:lnTo>
                    <a:lnTo>
                      <a:pt x="590550" y="1534478"/>
                    </a:lnTo>
                    <a:lnTo>
                      <a:pt x="590550" y="1554480"/>
                    </a:lnTo>
                    <a:lnTo>
                      <a:pt x="605790" y="1580198"/>
                    </a:lnTo>
                    <a:lnTo>
                      <a:pt x="646747" y="1580198"/>
                    </a:lnTo>
                    <a:lnTo>
                      <a:pt x="653415" y="1605915"/>
                    </a:lnTo>
                    <a:lnTo>
                      <a:pt x="685800" y="1587818"/>
                    </a:lnTo>
                    <a:lnTo>
                      <a:pt x="708660" y="1587818"/>
                    </a:lnTo>
                    <a:lnTo>
                      <a:pt x="708660" y="1545908"/>
                    </a:lnTo>
                    <a:lnTo>
                      <a:pt x="741997" y="1513523"/>
                    </a:lnTo>
                    <a:lnTo>
                      <a:pt x="780097" y="1467803"/>
                    </a:lnTo>
                    <a:lnTo>
                      <a:pt x="799147" y="1419225"/>
                    </a:lnTo>
                    <a:lnTo>
                      <a:pt x="848677" y="1368743"/>
                    </a:lnTo>
                    <a:lnTo>
                      <a:pt x="905827" y="1301115"/>
                    </a:lnTo>
                    <a:lnTo>
                      <a:pt x="914400" y="1200150"/>
                    </a:lnTo>
                    <a:lnTo>
                      <a:pt x="934402" y="1133475"/>
                    </a:lnTo>
                    <a:lnTo>
                      <a:pt x="903922" y="1123950"/>
                    </a:lnTo>
                    <a:lnTo>
                      <a:pt x="874395" y="984885"/>
                    </a:lnTo>
                    <a:lnTo>
                      <a:pt x="884872" y="964883"/>
                    </a:lnTo>
                    <a:lnTo>
                      <a:pt x="899160" y="950595"/>
                    </a:lnTo>
                    <a:lnTo>
                      <a:pt x="875347" y="933450"/>
                    </a:lnTo>
                    <a:lnTo>
                      <a:pt x="851535" y="925830"/>
                    </a:lnTo>
                    <a:lnTo>
                      <a:pt x="842963" y="887730"/>
                    </a:lnTo>
                    <a:lnTo>
                      <a:pt x="887730" y="855345"/>
                    </a:lnTo>
                    <a:lnTo>
                      <a:pt x="909638" y="855345"/>
                    </a:lnTo>
                    <a:lnTo>
                      <a:pt x="909638" y="826770"/>
                    </a:lnTo>
                    <a:lnTo>
                      <a:pt x="931545" y="817245"/>
                    </a:lnTo>
                    <a:lnTo>
                      <a:pt x="962025" y="827723"/>
                    </a:lnTo>
                    <a:lnTo>
                      <a:pt x="993457" y="816293"/>
                    </a:lnTo>
                    <a:lnTo>
                      <a:pt x="993457" y="788670"/>
                    </a:lnTo>
                    <a:lnTo>
                      <a:pt x="1016317" y="772478"/>
                    </a:lnTo>
                    <a:lnTo>
                      <a:pt x="1027747" y="784860"/>
                    </a:lnTo>
                    <a:lnTo>
                      <a:pt x="1063942" y="784860"/>
                    </a:lnTo>
                    <a:lnTo>
                      <a:pt x="1084897" y="770573"/>
                    </a:lnTo>
                    <a:lnTo>
                      <a:pt x="1098232" y="783908"/>
                    </a:lnTo>
                    <a:lnTo>
                      <a:pt x="1142047" y="792480"/>
                    </a:lnTo>
                    <a:lnTo>
                      <a:pt x="1160145" y="774383"/>
                    </a:lnTo>
                    <a:lnTo>
                      <a:pt x="1179195" y="784860"/>
                    </a:lnTo>
                    <a:lnTo>
                      <a:pt x="1206817" y="757238"/>
                    </a:lnTo>
                    <a:lnTo>
                      <a:pt x="1228725" y="757238"/>
                    </a:lnTo>
                    <a:lnTo>
                      <a:pt x="1228725" y="701993"/>
                    </a:lnTo>
                    <a:lnTo>
                      <a:pt x="1254442" y="688658"/>
                    </a:lnTo>
                    <a:lnTo>
                      <a:pt x="1269682" y="656273"/>
                    </a:lnTo>
                    <a:lnTo>
                      <a:pt x="1296352" y="661988"/>
                    </a:lnTo>
                    <a:lnTo>
                      <a:pt x="1308735" y="675323"/>
                    </a:lnTo>
                    <a:lnTo>
                      <a:pt x="1278255" y="703898"/>
                    </a:lnTo>
                    <a:lnTo>
                      <a:pt x="1303972" y="705803"/>
                    </a:lnTo>
                    <a:lnTo>
                      <a:pt x="1324927" y="694373"/>
                    </a:lnTo>
                    <a:lnTo>
                      <a:pt x="1356360" y="702945"/>
                    </a:lnTo>
                    <a:lnTo>
                      <a:pt x="1369695" y="678180"/>
                    </a:lnTo>
                    <a:lnTo>
                      <a:pt x="1391602" y="664845"/>
                    </a:lnTo>
                    <a:lnTo>
                      <a:pt x="1397317" y="637223"/>
                    </a:lnTo>
                    <a:lnTo>
                      <a:pt x="1386840" y="626745"/>
                    </a:lnTo>
                    <a:lnTo>
                      <a:pt x="1386840" y="609600"/>
                    </a:lnTo>
                    <a:lnTo>
                      <a:pt x="1363980" y="619125"/>
                    </a:lnTo>
                    <a:lnTo>
                      <a:pt x="1323022" y="578168"/>
                    </a:lnTo>
                    <a:lnTo>
                      <a:pt x="1334452" y="549593"/>
                    </a:lnTo>
                    <a:lnTo>
                      <a:pt x="1322070" y="536258"/>
                    </a:lnTo>
                    <a:lnTo>
                      <a:pt x="1332547" y="512445"/>
                    </a:lnTo>
                    <a:lnTo>
                      <a:pt x="1322070" y="501968"/>
                    </a:lnTo>
                    <a:lnTo>
                      <a:pt x="1346835" y="478155"/>
                    </a:lnTo>
                    <a:lnTo>
                      <a:pt x="1369695" y="479108"/>
                    </a:lnTo>
                    <a:lnTo>
                      <a:pt x="1383030" y="492443"/>
                    </a:lnTo>
                    <a:lnTo>
                      <a:pt x="1400175" y="492443"/>
                    </a:lnTo>
                    <a:lnTo>
                      <a:pt x="1417320" y="479108"/>
                    </a:lnTo>
                    <a:lnTo>
                      <a:pt x="1422082" y="463868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0" name="Полилиния: фигура 103">
                <a:extLst>
                  <a:ext uri="{FF2B5EF4-FFF2-40B4-BE49-F238E27FC236}">
                    <a16:creationId xmlns:a16="http://schemas.microsoft.com/office/drawing/2014/main" id="{DF0D0E5B-8A88-40E4-81B5-CA942E791637}"/>
                  </a:ext>
                </a:extLst>
              </p:cNvPr>
              <p:cNvSpPr/>
              <p:nvPr/>
            </p:nvSpPr>
            <p:spPr>
              <a:xfrm>
                <a:off x="6452235" y="4022407"/>
                <a:ext cx="1422082" cy="1605915"/>
              </a:xfrm>
              <a:custGeom>
                <a:avLst/>
                <a:gdLst>
                  <a:gd name="connsiteX0" fmla="*/ 1382077 w 1422082"/>
                  <a:gd name="connsiteY0" fmla="*/ 423863 h 1605915"/>
                  <a:gd name="connsiteX1" fmla="*/ 1370647 w 1422082"/>
                  <a:gd name="connsiteY1" fmla="*/ 392430 h 1605915"/>
                  <a:gd name="connsiteX2" fmla="*/ 1353502 w 1422082"/>
                  <a:gd name="connsiteY2" fmla="*/ 390525 h 1605915"/>
                  <a:gd name="connsiteX3" fmla="*/ 1353502 w 1422082"/>
                  <a:gd name="connsiteY3" fmla="*/ 370523 h 1605915"/>
                  <a:gd name="connsiteX4" fmla="*/ 1334452 w 1422082"/>
                  <a:gd name="connsiteY4" fmla="*/ 349568 h 1605915"/>
                  <a:gd name="connsiteX5" fmla="*/ 1318260 w 1422082"/>
                  <a:gd name="connsiteY5" fmla="*/ 334328 h 1605915"/>
                  <a:gd name="connsiteX6" fmla="*/ 1296352 w 1422082"/>
                  <a:gd name="connsiteY6" fmla="*/ 334328 h 1605915"/>
                  <a:gd name="connsiteX7" fmla="*/ 1296352 w 1422082"/>
                  <a:gd name="connsiteY7" fmla="*/ 355283 h 1605915"/>
                  <a:gd name="connsiteX8" fmla="*/ 1276350 w 1422082"/>
                  <a:gd name="connsiteY8" fmla="*/ 375285 h 1605915"/>
                  <a:gd name="connsiteX9" fmla="*/ 1245870 w 1422082"/>
                  <a:gd name="connsiteY9" fmla="*/ 371475 h 1605915"/>
                  <a:gd name="connsiteX10" fmla="*/ 1245870 w 1422082"/>
                  <a:gd name="connsiteY10" fmla="*/ 350520 h 1605915"/>
                  <a:gd name="connsiteX11" fmla="*/ 1232535 w 1422082"/>
                  <a:gd name="connsiteY11" fmla="*/ 339090 h 1605915"/>
                  <a:gd name="connsiteX12" fmla="*/ 1232535 w 1422082"/>
                  <a:gd name="connsiteY12" fmla="*/ 313373 h 1605915"/>
                  <a:gd name="connsiteX13" fmla="*/ 1204913 w 1422082"/>
                  <a:gd name="connsiteY13" fmla="*/ 310515 h 1605915"/>
                  <a:gd name="connsiteX14" fmla="*/ 1173480 w 1422082"/>
                  <a:gd name="connsiteY14" fmla="*/ 295275 h 1605915"/>
                  <a:gd name="connsiteX15" fmla="*/ 1143000 w 1422082"/>
                  <a:gd name="connsiteY15" fmla="*/ 299085 h 1605915"/>
                  <a:gd name="connsiteX16" fmla="*/ 1113472 w 1422082"/>
                  <a:gd name="connsiteY16" fmla="*/ 294323 h 1605915"/>
                  <a:gd name="connsiteX17" fmla="*/ 1096327 w 1422082"/>
                  <a:gd name="connsiteY17" fmla="*/ 314325 h 1605915"/>
                  <a:gd name="connsiteX18" fmla="*/ 1087755 w 1422082"/>
                  <a:gd name="connsiteY18" fmla="*/ 341948 h 1605915"/>
                  <a:gd name="connsiteX19" fmla="*/ 1068705 w 1422082"/>
                  <a:gd name="connsiteY19" fmla="*/ 361950 h 1605915"/>
                  <a:gd name="connsiteX20" fmla="*/ 1076325 w 1422082"/>
                  <a:gd name="connsiteY20" fmla="*/ 389573 h 1605915"/>
                  <a:gd name="connsiteX21" fmla="*/ 1065847 w 1422082"/>
                  <a:gd name="connsiteY21" fmla="*/ 421005 h 1605915"/>
                  <a:gd name="connsiteX22" fmla="*/ 1039177 w 1422082"/>
                  <a:gd name="connsiteY22" fmla="*/ 447675 h 1605915"/>
                  <a:gd name="connsiteX23" fmla="*/ 1039177 w 1422082"/>
                  <a:gd name="connsiteY23" fmla="*/ 497205 h 1605915"/>
                  <a:gd name="connsiteX24" fmla="*/ 1002030 w 1422082"/>
                  <a:gd name="connsiteY24" fmla="*/ 522923 h 1605915"/>
                  <a:gd name="connsiteX25" fmla="*/ 1002030 w 1422082"/>
                  <a:gd name="connsiteY25" fmla="*/ 551498 h 1605915"/>
                  <a:gd name="connsiteX26" fmla="*/ 986790 w 1422082"/>
                  <a:gd name="connsiteY26" fmla="*/ 529590 h 1605915"/>
                  <a:gd name="connsiteX27" fmla="*/ 986790 w 1422082"/>
                  <a:gd name="connsiteY27" fmla="*/ 504825 h 1605915"/>
                  <a:gd name="connsiteX28" fmla="*/ 967740 w 1422082"/>
                  <a:gd name="connsiteY28" fmla="*/ 486728 h 1605915"/>
                  <a:gd name="connsiteX29" fmla="*/ 950595 w 1422082"/>
                  <a:gd name="connsiteY29" fmla="*/ 494348 h 1605915"/>
                  <a:gd name="connsiteX30" fmla="*/ 945832 w 1422082"/>
                  <a:gd name="connsiteY30" fmla="*/ 517208 h 1605915"/>
                  <a:gd name="connsiteX31" fmla="*/ 899160 w 1422082"/>
                  <a:gd name="connsiteY31" fmla="*/ 535305 h 1605915"/>
                  <a:gd name="connsiteX32" fmla="*/ 877252 w 1422082"/>
                  <a:gd name="connsiteY32" fmla="*/ 535305 h 1605915"/>
                  <a:gd name="connsiteX33" fmla="*/ 868680 w 1422082"/>
                  <a:gd name="connsiteY33" fmla="*/ 561023 h 1605915"/>
                  <a:gd name="connsiteX34" fmla="*/ 854392 w 1422082"/>
                  <a:gd name="connsiteY34" fmla="*/ 582930 h 1605915"/>
                  <a:gd name="connsiteX35" fmla="*/ 823913 w 1422082"/>
                  <a:gd name="connsiteY35" fmla="*/ 584835 h 1605915"/>
                  <a:gd name="connsiteX36" fmla="*/ 789622 w 1422082"/>
                  <a:gd name="connsiteY36" fmla="*/ 550545 h 1605915"/>
                  <a:gd name="connsiteX37" fmla="*/ 785813 w 1422082"/>
                  <a:gd name="connsiteY37" fmla="*/ 480060 h 1605915"/>
                  <a:gd name="connsiteX38" fmla="*/ 790575 w 1422082"/>
                  <a:gd name="connsiteY38" fmla="*/ 438150 h 1605915"/>
                  <a:gd name="connsiteX39" fmla="*/ 790575 w 1422082"/>
                  <a:gd name="connsiteY39" fmla="*/ 398145 h 1605915"/>
                  <a:gd name="connsiteX40" fmla="*/ 796290 w 1422082"/>
                  <a:gd name="connsiteY40" fmla="*/ 362903 h 1605915"/>
                  <a:gd name="connsiteX41" fmla="*/ 796290 w 1422082"/>
                  <a:gd name="connsiteY41" fmla="*/ 328613 h 1605915"/>
                  <a:gd name="connsiteX42" fmla="*/ 771525 w 1422082"/>
                  <a:gd name="connsiteY42" fmla="*/ 318135 h 1605915"/>
                  <a:gd name="connsiteX43" fmla="*/ 753427 w 1422082"/>
                  <a:gd name="connsiteY43" fmla="*/ 312420 h 1605915"/>
                  <a:gd name="connsiteX44" fmla="*/ 750570 w 1422082"/>
                  <a:gd name="connsiteY44" fmla="*/ 295275 h 1605915"/>
                  <a:gd name="connsiteX45" fmla="*/ 742950 w 1422082"/>
                  <a:gd name="connsiteY45" fmla="*/ 276225 h 1605915"/>
                  <a:gd name="connsiteX46" fmla="*/ 726757 w 1422082"/>
                  <a:gd name="connsiteY46" fmla="*/ 260033 h 1605915"/>
                  <a:gd name="connsiteX47" fmla="*/ 726757 w 1422082"/>
                  <a:gd name="connsiteY47" fmla="*/ 240983 h 1605915"/>
                  <a:gd name="connsiteX48" fmla="*/ 738188 w 1422082"/>
                  <a:gd name="connsiteY48" fmla="*/ 229553 h 1605915"/>
                  <a:gd name="connsiteX49" fmla="*/ 741045 w 1422082"/>
                  <a:gd name="connsiteY49" fmla="*/ 203835 h 1605915"/>
                  <a:gd name="connsiteX50" fmla="*/ 725805 w 1422082"/>
                  <a:gd name="connsiteY50" fmla="*/ 188595 h 1605915"/>
                  <a:gd name="connsiteX51" fmla="*/ 704850 w 1422082"/>
                  <a:gd name="connsiteY51" fmla="*/ 188595 h 1605915"/>
                  <a:gd name="connsiteX52" fmla="*/ 682942 w 1422082"/>
                  <a:gd name="connsiteY52" fmla="*/ 178118 h 1605915"/>
                  <a:gd name="connsiteX53" fmla="*/ 682942 w 1422082"/>
                  <a:gd name="connsiteY53" fmla="*/ 158115 h 1605915"/>
                  <a:gd name="connsiteX54" fmla="*/ 691515 w 1422082"/>
                  <a:gd name="connsiteY54" fmla="*/ 148590 h 1605915"/>
                  <a:gd name="connsiteX55" fmla="*/ 681990 w 1422082"/>
                  <a:gd name="connsiteY55" fmla="*/ 139065 h 1605915"/>
                  <a:gd name="connsiteX56" fmla="*/ 674370 w 1422082"/>
                  <a:gd name="connsiteY56" fmla="*/ 108585 h 1605915"/>
                  <a:gd name="connsiteX57" fmla="*/ 656272 w 1422082"/>
                  <a:gd name="connsiteY57" fmla="*/ 76200 h 1605915"/>
                  <a:gd name="connsiteX58" fmla="*/ 635317 w 1422082"/>
                  <a:gd name="connsiteY58" fmla="*/ 61913 h 1605915"/>
                  <a:gd name="connsiteX59" fmla="*/ 611505 w 1422082"/>
                  <a:gd name="connsiteY59" fmla="*/ 68580 h 1605915"/>
                  <a:gd name="connsiteX60" fmla="*/ 588645 w 1422082"/>
                  <a:gd name="connsiteY60" fmla="*/ 70485 h 1605915"/>
                  <a:gd name="connsiteX61" fmla="*/ 588645 w 1422082"/>
                  <a:gd name="connsiteY61" fmla="*/ 42863 h 1605915"/>
                  <a:gd name="connsiteX62" fmla="*/ 607695 w 1422082"/>
                  <a:gd name="connsiteY62" fmla="*/ 38100 h 1605915"/>
                  <a:gd name="connsiteX63" fmla="*/ 607695 w 1422082"/>
                  <a:gd name="connsiteY63" fmla="*/ 20003 h 1605915"/>
                  <a:gd name="connsiteX64" fmla="*/ 587692 w 1422082"/>
                  <a:gd name="connsiteY64" fmla="*/ 0 h 1605915"/>
                  <a:gd name="connsiteX65" fmla="*/ 580072 w 1422082"/>
                  <a:gd name="connsiteY65" fmla="*/ 15240 h 1605915"/>
                  <a:gd name="connsiteX66" fmla="*/ 568642 w 1422082"/>
                  <a:gd name="connsiteY66" fmla="*/ 27623 h 1605915"/>
                  <a:gd name="connsiteX67" fmla="*/ 551497 w 1422082"/>
                  <a:gd name="connsiteY67" fmla="*/ 23813 h 1605915"/>
                  <a:gd name="connsiteX68" fmla="*/ 533400 w 1422082"/>
                  <a:gd name="connsiteY68" fmla="*/ 42863 h 1605915"/>
                  <a:gd name="connsiteX69" fmla="*/ 514350 w 1422082"/>
                  <a:gd name="connsiteY69" fmla="*/ 49530 h 1605915"/>
                  <a:gd name="connsiteX70" fmla="*/ 502920 w 1422082"/>
                  <a:gd name="connsiteY70" fmla="*/ 75248 h 1605915"/>
                  <a:gd name="connsiteX71" fmla="*/ 502920 w 1422082"/>
                  <a:gd name="connsiteY71" fmla="*/ 100965 h 1605915"/>
                  <a:gd name="connsiteX72" fmla="*/ 512445 w 1422082"/>
                  <a:gd name="connsiteY72" fmla="*/ 128588 h 1605915"/>
                  <a:gd name="connsiteX73" fmla="*/ 504825 w 1422082"/>
                  <a:gd name="connsiteY73" fmla="*/ 151448 h 1605915"/>
                  <a:gd name="connsiteX74" fmla="*/ 504825 w 1422082"/>
                  <a:gd name="connsiteY74" fmla="*/ 172403 h 1605915"/>
                  <a:gd name="connsiteX75" fmla="*/ 529590 w 1422082"/>
                  <a:gd name="connsiteY75" fmla="*/ 197168 h 1605915"/>
                  <a:gd name="connsiteX76" fmla="*/ 544830 w 1422082"/>
                  <a:gd name="connsiteY76" fmla="*/ 211455 h 1605915"/>
                  <a:gd name="connsiteX77" fmla="*/ 537210 w 1422082"/>
                  <a:gd name="connsiteY77" fmla="*/ 232410 h 1605915"/>
                  <a:gd name="connsiteX78" fmla="*/ 527685 w 1422082"/>
                  <a:gd name="connsiteY78" fmla="*/ 249555 h 1605915"/>
                  <a:gd name="connsiteX79" fmla="*/ 545782 w 1422082"/>
                  <a:gd name="connsiteY79" fmla="*/ 267653 h 1605915"/>
                  <a:gd name="connsiteX80" fmla="*/ 528638 w 1422082"/>
                  <a:gd name="connsiteY80" fmla="*/ 284798 h 1605915"/>
                  <a:gd name="connsiteX81" fmla="*/ 515302 w 1422082"/>
                  <a:gd name="connsiteY81" fmla="*/ 293370 h 1605915"/>
                  <a:gd name="connsiteX82" fmla="*/ 515302 w 1422082"/>
                  <a:gd name="connsiteY82" fmla="*/ 331470 h 1605915"/>
                  <a:gd name="connsiteX83" fmla="*/ 501015 w 1422082"/>
                  <a:gd name="connsiteY83" fmla="*/ 340043 h 1605915"/>
                  <a:gd name="connsiteX84" fmla="*/ 495300 w 1422082"/>
                  <a:gd name="connsiteY84" fmla="*/ 365760 h 1605915"/>
                  <a:gd name="connsiteX85" fmla="*/ 470535 w 1422082"/>
                  <a:gd name="connsiteY85" fmla="*/ 375285 h 1605915"/>
                  <a:gd name="connsiteX86" fmla="*/ 477202 w 1422082"/>
                  <a:gd name="connsiteY86" fmla="*/ 409575 h 1605915"/>
                  <a:gd name="connsiteX87" fmla="*/ 465772 w 1422082"/>
                  <a:gd name="connsiteY87" fmla="*/ 420053 h 1605915"/>
                  <a:gd name="connsiteX88" fmla="*/ 461963 w 1422082"/>
                  <a:gd name="connsiteY88" fmla="*/ 451485 h 1605915"/>
                  <a:gd name="connsiteX89" fmla="*/ 468630 w 1422082"/>
                  <a:gd name="connsiteY89" fmla="*/ 479108 h 1605915"/>
                  <a:gd name="connsiteX90" fmla="*/ 481965 w 1422082"/>
                  <a:gd name="connsiteY90" fmla="*/ 485775 h 1605915"/>
                  <a:gd name="connsiteX91" fmla="*/ 505777 w 1422082"/>
                  <a:gd name="connsiteY91" fmla="*/ 509588 h 1605915"/>
                  <a:gd name="connsiteX92" fmla="*/ 515302 w 1422082"/>
                  <a:gd name="connsiteY92" fmla="*/ 500063 h 1605915"/>
                  <a:gd name="connsiteX93" fmla="*/ 538163 w 1422082"/>
                  <a:gd name="connsiteY93" fmla="*/ 508635 h 1605915"/>
                  <a:gd name="connsiteX94" fmla="*/ 538163 w 1422082"/>
                  <a:gd name="connsiteY94" fmla="*/ 533400 h 1605915"/>
                  <a:gd name="connsiteX95" fmla="*/ 545782 w 1422082"/>
                  <a:gd name="connsiteY95" fmla="*/ 554355 h 1605915"/>
                  <a:gd name="connsiteX96" fmla="*/ 530542 w 1422082"/>
                  <a:gd name="connsiteY96" fmla="*/ 552450 h 1605915"/>
                  <a:gd name="connsiteX97" fmla="*/ 520065 w 1422082"/>
                  <a:gd name="connsiteY97" fmla="*/ 571500 h 1605915"/>
                  <a:gd name="connsiteX98" fmla="*/ 511492 w 1422082"/>
                  <a:gd name="connsiteY98" fmla="*/ 587693 h 1605915"/>
                  <a:gd name="connsiteX99" fmla="*/ 516255 w 1422082"/>
                  <a:gd name="connsiteY99" fmla="*/ 601028 h 1605915"/>
                  <a:gd name="connsiteX100" fmla="*/ 539115 w 1422082"/>
                  <a:gd name="connsiteY100" fmla="*/ 601028 h 1605915"/>
                  <a:gd name="connsiteX101" fmla="*/ 549592 w 1422082"/>
                  <a:gd name="connsiteY101" fmla="*/ 622935 h 1605915"/>
                  <a:gd name="connsiteX102" fmla="*/ 557213 w 1422082"/>
                  <a:gd name="connsiteY102" fmla="*/ 643890 h 1605915"/>
                  <a:gd name="connsiteX103" fmla="*/ 544830 w 1422082"/>
                  <a:gd name="connsiteY103" fmla="*/ 656273 h 1605915"/>
                  <a:gd name="connsiteX104" fmla="*/ 531495 w 1422082"/>
                  <a:gd name="connsiteY104" fmla="*/ 677228 h 1605915"/>
                  <a:gd name="connsiteX105" fmla="*/ 531495 w 1422082"/>
                  <a:gd name="connsiteY105" fmla="*/ 696278 h 1605915"/>
                  <a:gd name="connsiteX106" fmla="*/ 523875 w 1422082"/>
                  <a:gd name="connsiteY106" fmla="*/ 711518 h 1605915"/>
                  <a:gd name="connsiteX107" fmla="*/ 502920 w 1422082"/>
                  <a:gd name="connsiteY107" fmla="*/ 711518 h 1605915"/>
                  <a:gd name="connsiteX108" fmla="*/ 485775 w 1422082"/>
                  <a:gd name="connsiteY108" fmla="*/ 694373 h 1605915"/>
                  <a:gd name="connsiteX109" fmla="*/ 461963 w 1422082"/>
                  <a:gd name="connsiteY109" fmla="*/ 694373 h 1605915"/>
                  <a:gd name="connsiteX110" fmla="*/ 452438 w 1422082"/>
                  <a:gd name="connsiteY110" fmla="*/ 678180 h 1605915"/>
                  <a:gd name="connsiteX111" fmla="*/ 430530 w 1422082"/>
                  <a:gd name="connsiteY111" fmla="*/ 668655 h 1605915"/>
                  <a:gd name="connsiteX112" fmla="*/ 425767 w 1422082"/>
                  <a:gd name="connsiteY112" fmla="*/ 653415 h 1605915"/>
                  <a:gd name="connsiteX113" fmla="*/ 407670 w 1422082"/>
                  <a:gd name="connsiteY113" fmla="*/ 649605 h 1605915"/>
                  <a:gd name="connsiteX114" fmla="*/ 382905 w 1422082"/>
                  <a:gd name="connsiteY114" fmla="*/ 664845 h 1605915"/>
                  <a:gd name="connsiteX115" fmla="*/ 376238 w 1422082"/>
                  <a:gd name="connsiteY115" fmla="*/ 692468 h 1605915"/>
                  <a:gd name="connsiteX116" fmla="*/ 389572 w 1422082"/>
                  <a:gd name="connsiteY116" fmla="*/ 721995 h 1605915"/>
                  <a:gd name="connsiteX117" fmla="*/ 370522 w 1422082"/>
                  <a:gd name="connsiteY117" fmla="*/ 749618 h 1605915"/>
                  <a:gd name="connsiteX118" fmla="*/ 340042 w 1422082"/>
                  <a:gd name="connsiteY118" fmla="*/ 780098 h 1605915"/>
                  <a:gd name="connsiteX119" fmla="*/ 319088 w 1422082"/>
                  <a:gd name="connsiteY119" fmla="*/ 810578 h 1605915"/>
                  <a:gd name="connsiteX120" fmla="*/ 311467 w 1422082"/>
                  <a:gd name="connsiteY120" fmla="*/ 841058 h 1605915"/>
                  <a:gd name="connsiteX121" fmla="*/ 300990 w 1422082"/>
                  <a:gd name="connsiteY121" fmla="*/ 866775 h 1605915"/>
                  <a:gd name="connsiteX122" fmla="*/ 320040 w 1422082"/>
                  <a:gd name="connsiteY122" fmla="*/ 886778 h 1605915"/>
                  <a:gd name="connsiteX123" fmla="*/ 300990 w 1422082"/>
                  <a:gd name="connsiteY123" fmla="*/ 900113 h 1605915"/>
                  <a:gd name="connsiteX124" fmla="*/ 273367 w 1422082"/>
                  <a:gd name="connsiteY124" fmla="*/ 882015 h 1605915"/>
                  <a:gd name="connsiteX125" fmla="*/ 260032 w 1422082"/>
                  <a:gd name="connsiteY125" fmla="*/ 849630 h 1605915"/>
                  <a:gd name="connsiteX126" fmla="*/ 237172 w 1422082"/>
                  <a:gd name="connsiteY126" fmla="*/ 825818 h 1605915"/>
                  <a:gd name="connsiteX127" fmla="*/ 215265 w 1422082"/>
                  <a:gd name="connsiteY127" fmla="*/ 837248 h 1605915"/>
                  <a:gd name="connsiteX128" fmla="*/ 205740 w 1422082"/>
                  <a:gd name="connsiteY128" fmla="*/ 867728 h 1605915"/>
                  <a:gd name="connsiteX129" fmla="*/ 170497 w 1422082"/>
                  <a:gd name="connsiteY129" fmla="*/ 881063 h 1605915"/>
                  <a:gd name="connsiteX130" fmla="*/ 141922 w 1422082"/>
                  <a:gd name="connsiteY130" fmla="*/ 876300 h 1605915"/>
                  <a:gd name="connsiteX131" fmla="*/ 112395 w 1422082"/>
                  <a:gd name="connsiteY131" fmla="*/ 882968 h 1605915"/>
                  <a:gd name="connsiteX132" fmla="*/ 111442 w 1422082"/>
                  <a:gd name="connsiteY132" fmla="*/ 924878 h 1605915"/>
                  <a:gd name="connsiteX133" fmla="*/ 95250 w 1422082"/>
                  <a:gd name="connsiteY133" fmla="*/ 942023 h 1605915"/>
                  <a:gd name="connsiteX134" fmla="*/ 95250 w 1422082"/>
                  <a:gd name="connsiteY134" fmla="*/ 982028 h 1605915"/>
                  <a:gd name="connsiteX135" fmla="*/ 114300 w 1422082"/>
                  <a:gd name="connsiteY135" fmla="*/ 1001078 h 1605915"/>
                  <a:gd name="connsiteX136" fmla="*/ 128588 w 1422082"/>
                  <a:gd name="connsiteY136" fmla="*/ 1033463 h 1605915"/>
                  <a:gd name="connsiteX137" fmla="*/ 128588 w 1422082"/>
                  <a:gd name="connsiteY137" fmla="*/ 1051560 h 1605915"/>
                  <a:gd name="connsiteX138" fmla="*/ 106680 w 1422082"/>
                  <a:gd name="connsiteY138" fmla="*/ 1062990 h 1605915"/>
                  <a:gd name="connsiteX139" fmla="*/ 96202 w 1422082"/>
                  <a:gd name="connsiteY139" fmla="*/ 1088708 h 1605915"/>
                  <a:gd name="connsiteX140" fmla="*/ 76200 w 1422082"/>
                  <a:gd name="connsiteY140" fmla="*/ 1088708 h 1605915"/>
                  <a:gd name="connsiteX141" fmla="*/ 70485 w 1422082"/>
                  <a:gd name="connsiteY141" fmla="*/ 1115378 h 1605915"/>
                  <a:gd name="connsiteX142" fmla="*/ 60960 w 1422082"/>
                  <a:gd name="connsiteY142" fmla="*/ 1138238 h 1605915"/>
                  <a:gd name="connsiteX143" fmla="*/ 76200 w 1422082"/>
                  <a:gd name="connsiteY143" fmla="*/ 1160145 h 1605915"/>
                  <a:gd name="connsiteX144" fmla="*/ 77152 w 1422082"/>
                  <a:gd name="connsiteY144" fmla="*/ 1183005 h 1605915"/>
                  <a:gd name="connsiteX145" fmla="*/ 65722 w 1422082"/>
                  <a:gd name="connsiteY145" fmla="*/ 1190625 h 1605915"/>
                  <a:gd name="connsiteX146" fmla="*/ 65722 w 1422082"/>
                  <a:gd name="connsiteY146" fmla="*/ 1223963 h 1605915"/>
                  <a:gd name="connsiteX147" fmla="*/ 71438 w 1422082"/>
                  <a:gd name="connsiteY147" fmla="*/ 1242060 h 1605915"/>
                  <a:gd name="connsiteX148" fmla="*/ 61913 w 1422082"/>
                  <a:gd name="connsiteY148" fmla="*/ 1260158 h 1605915"/>
                  <a:gd name="connsiteX149" fmla="*/ 64770 w 1422082"/>
                  <a:gd name="connsiteY149" fmla="*/ 1282065 h 1605915"/>
                  <a:gd name="connsiteX150" fmla="*/ 23813 w 1422082"/>
                  <a:gd name="connsiteY150" fmla="*/ 1284923 h 1605915"/>
                  <a:gd name="connsiteX151" fmla="*/ 23813 w 1422082"/>
                  <a:gd name="connsiteY151" fmla="*/ 1303020 h 1605915"/>
                  <a:gd name="connsiteX152" fmla="*/ 6667 w 1422082"/>
                  <a:gd name="connsiteY152" fmla="*/ 1299210 h 1605915"/>
                  <a:gd name="connsiteX153" fmla="*/ 0 w 1422082"/>
                  <a:gd name="connsiteY153" fmla="*/ 1317308 h 1605915"/>
                  <a:gd name="connsiteX154" fmla="*/ 26670 w 1422082"/>
                  <a:gd name="connsiteY154" fmla="*/ 1333500 h 1605915"/>
                  <a:gd name="connsiteX155" fmla="*/ 66675 w 1422082"/>
                  <a:gd name="connsiteY155" fmla="*/ 1374458 h 1605915"/>
                  <a:gd name="connsiteX156" fmla="*/ 85725 w 1422082"/>
                  <a:gd name="connsiteY156" fmla="*/ 1384935 h 1605915"/>
                  <a:gd name="connsiteX157" fmla="*/ 110490 w 1422082"/>
                  <a:gd name="connsiteY157" fmla="*/ 1384935 h 1605915"/>
                  <a:gd name="connsiteX158" fmla="*/ 132397 w 1422082"/>
                  <a:gd name="connsiteY158" fmla="*/ 1401128 h 1605915"/>
                  <a:gd name="connsiteX159" fmla="*/ 163830 w 1422082"/>
                  <a:gd name="connsiteY159" fmla="*/ 1405890 h 1605915"/>
                  <a:gd name="connsiteX160" fmla="*/ 190500 w 1422082"/>
                  <a:gd name="connsiteY160" fmla="*/ 1430655 h 1605915"/>
                  <a:gd name="connsiteX161" fmla="*/ 208597 w 1422082"/>
                  <a:gd name="connsiteY161" fmla="*/ 1439228 h 1605915"/>
                  <a:gd name="connsiteX162" fmla="*/ 239077 w 1422082"/>
                  <a:gd name="connsiteY162" fmla="*/ 1439228 h 1605915"/>
                  <a:gd name="connsiteX163" fmla="*/ 251460 w 1422082"/>
                  <a:gd name="connsiteY163" fmla="*/ 1426845 h 1605915"/>
                  <a:gd name="connsiteX164" fmla="*/ 278130 w 1422082"/>
                  <a:gd name="connsiteY164" fmla="*/ 1453515 h 1605915"/>
                  <a:gd name="connsiteX165" fmla="*/ 338138 w 1422082"/>
                  <a:gd name="connsiteY165" fmla="*/ 1393508 h 1605915"/>
                  <a:gd name="connsiteX166" fmla="*/ 360045 w 1422082"/>
                  <a:gd name="connsiteY166" fmla="*/ 1408748 h 1605915"/>
                  <a:gd name="connsiteX167" fmla="*/ 353377 w 1422082"/>
                  <a:gd name="connsiteY167" fmla="*/ 1424940 h 1605915"/>
                  <a:gd name="connsiteX168" fmla="*/ 380047 w 1422082"/>
                  <a:gd name="connsiteY168" fmla="*/ 1437323 h 1605915"/>
                  <a:gd name="connsiteX169" fmla="*/ 395288 w 1422082"/>
                  <a:gd name="connsiteY169" fmla="*/ 1451610 h 1605915"/>
                  <a:gd name="connsiteX170" fmla="*/ 430530 w 1422082"/>
                  <a:gd name="connsiteY170" fmla="*/ 1463040 h 1605915"/>
                  <a:gd name="connsiteX171" fmla="*/ 446722 w 1422082"/>
                  <a:gd name="connsiteY171" fmla="*/ 1478280 h 1605915"/>
                  <a:gd name="connsiteX172" fmla="*/ 464820 w 1422082"/>
                  <a:gd name="connsiteY172" fmla="*/ 1487805 h 1605915"/>
                  <a:gd name="connsiteX173" fmla="*/ 484822 w 1422082"/>
                  <a:gd name="connsiteY173" fmla="*/ 1507808 h 1605915"/>
                  <a:gd name="connsiteX174" fmla="*/ 529590 w 1422082"/>
                  <a:gd name="connsiteY174" fmla="*/ 1498283 h 1605915"/>
                  <a:gd name="connsiteX175" fmla="*/ 567690 w 1422082"/>
                  <a:gd name="connsiteY175" fmla="*/ 1534478 h 1605915"/>
                  <a:gd name="connsiteX176" fmla="*/ 590550 w 1422082"/>
                  <a:gd name="connsiteY176" fmla="*/ 1534478 h 1605915"/>
                  <a:gd name="connsiteX177" fmla="*/ 590550 w 1422082"/>
                  <a:gd name="connsiteY177" fmla="*/ 1554480 h 1605915"/>
                  <a:gd name="connsiteX178" fmla="*/ 605790 w 1422082"/>
                  <a:gd name="connsiteY178" fmla="*/ 1580198 h 1605915"/>
                  <a:gd name="connsiteX179" fmla="*/ 646747 w 1422082"/>
                  <a:gd name="connsiteY179" fmla="*/ 1580198 h 1605915"/>
                  <a:gd name="connsiteX180" fmla="*/ 653415 w 1422082"/>
                  <a:gd name="connsiteY180" fmla="*/ 1605915 h 1605915"/>
                  <a:gd name="connsiteX181" fmla="*/ 685800 w 1422082"/>
                  <a:gd name="connsiteY181" fmla="*/ 1587818 h 1605915"/>
                  <a:gd name="connsiteX182" fmla="*/ 708660 w 1422082"/>
                  <a:gd name="connsiteY182" fmla="*/ 1587818 h 1605915"/>
                  <a:gd name="connsiteX183" fmla="*/ 708660 w 1422082"/>
                  <a:gd name="connsiteY183" fmla="*/ 1545908 h 1605915"/>
                  <a:gd name="connsiteX184" fmla="*/ 741997 w 1422082"/>
                  <a:gd name="connsiteY184" fmla="*/ 1513523 h 1605915"/>
                  <a:gd name="connsiteX185" fmla="*/ 780097 w 1422082"/>
                  <a:gd name="connsiteY185" fmla="*/ 1467803 h 1605915"/>
                  <a:gd name="connsiteX186" fmla="*/ 799147 w 1422082"/>
                  <a:gd name="connsiteY186" fmla="*/ 1419225 h 1605915"/>
                  <a:gd name="connsiteX187" fmla="*/ 848677 w 1422082"/>
                  <a:gd name="connsiteY187" fmla="*/ 1368743 h 1605915"/>
                  <a:gd name="connsiteX188" fmla="*/ 905827 w 1422082"/>
                  <a:gd name="connsiteY188" fmla="*/ 1301115 h 1605915"/>
                  <a:gd name="connsiteX189" fmla="*/ 914400 w 1422082"/>
                  <a:gd name="connsiteY189" fmla="*/ 1200150 h 1605915"/>
                  <a:gd name="connsiteX190" fmla="*/ 934402 w 1422082"/>
                  <a:gd name="connsiteY190" fmla="*/ 1133475 h 1605915"/>
                  <a:gd name="connsiteX191" fmla="*/ 903922 w 1422082"/>
                  <a:gd name="connsiteY191" fmla="*/ 1123950 h 1605915"/>
                  <a:gd name="connsiteX192" fmla="*/ 874395 w 1422082"/>
                  <a:gd name="connsiteY192" fmla="*/ 984885 h 1605915"/>
                  <a:gd name="connsiteX193" fmla="*/ 884872 w 1422082"/>
                  <a:gd name="connsiteY193" fmla="*/ 964883 h 1605915"/>
                  <a:gd name="connsiteX194" fmla="*/ 899160 w 1422082"/>
                  <a:gd name="connsiteY194" fmla="*/ 950595 h 1605915"/>
                  <a:gd name="connsiteX195" fmla="*/ 875347 w 1422082"/>
                  <a:gd name="connsiteY195" fmla="*/ 933450 h 1605915"/>
                  <a:gd name="connsiteX196" fmla="*/ 851535 w 1422082"/>
                  <a:gd name="connsiteY196" fmla="*/ 925830 h 1605915"/>
                  <a:gd name="connsiteX197" fmla="*/ 842963 w 1422082"/>
                  <a:gd name="connsiteY197" fmla="*/ 887730 h 1605915"/>
                  <a:gd name="connsiteX198" fmla="*/ 887730 w 1422082"/>
                  <a:gd name="connsiteY198" fmla="*/ 855345 h 1605915"/>
                  <a:gd name="connsiteX199" fmla="*/ 909638 w 1422082"/>
                  <a:gd name="connsiteY199" fmla="*/ 855345 h 1605915"/>
                  <a:gd name="connsiteX200" fmla="*/ 909638 w 1422082"/>
                  <a:gd name="connsiteY200" fmla="*/ 826770 h 1605915"/>
                  <a:gd name="connsiteX201" fmla="*/ 931545 w 1422082"/>
                  <a:gd name="connsiteY201" fmla="*/ 817245 h 1605915"/>
                  <a:gd name="connsiteX202" fmla="*/ 962025 w 1422082"/>
                  <a:gd name="connsiteY202" fmla="*/ 827723 h 1605915"/>
                  <a:gd name="connsiteX203" fmla="*/ 993457 w 1422082"/>
                  <a:gd name="connsiteY203" fmla="*/ 816293 h 1605915"/>
                  <a:gd name="connsiteX204" fmla="*/ 993457 w 1422082"/>
                  <a:gd name="connsiteY204" fmla="*/ 788670 h 1605915"/>
                  <a:gd name="connsiteX205" fmla="*/ 1016317 w 1422082"/>
                  <a:gd name="connsiteY205" fmla="*/ 772478 h 1605915"/>
                  <a:gd name="connsiteX206" fmla="*/ 1027747 w 1422082"/>
                  <a:gd name="connsiteY206" fmla="*/ 784860 h 1605915"/>
                  <a:gd name="connsiteX207" fmla="*/ 1063942 w 1422082"/>
                  <a:gd name="connsiteY207" fmla="*/ 784860 h 1605915"/>
                  <a:gd name="connsiteX208" fmla="*/ 1084897 w 1422082"/>
                  <a:gd name="connsiteY208" fmla="*/ 770573 h 1605915"/>
                  <a:gd name="connsiteX209" fmla="*/ 1098232 w 1422082"/>
                  <a:gd name="connsiteY209" fmla="*/ 783908 h 1605915"/>
                  <a:gd name="connsiteX210" fmla="*/ 1142047 w 1422082"/>
                  <a:gd name="connsiteY210" fmla="*/ 792480 h 1605915"/>
                  <a:gd name="connsiteX211" fmla="*/ 1160145 w 1422082"/>
                  <a:gd name="connsiteY211" fmla="*/ 774383 h 1605915"/>
                  <a:gd name="connsiteX212" fmla="*/ 1179195 w 1422082"/>
                  <a:gd name="connsiteY212" fmla="*/ 784860 h 1605915"/>
                  <a:gd name="connsiteX213" fmla="*/ 1206817 w 1422082"/>
                  <a:gd name="connsiteY213" fmla="*/ 757238 h 1605915"/>
                  <a:gd name="connsiteX214" fmla="*/ 1228725 w 1422082"/>
                  <a:gd name="connsiteY214" fmla="*/ 757238 h 1605915"/>
                  <a:gd name="connsiteX215" fmla="*/ 1228725 w 1422082"/>
                  <a:gd name="connsiteY215" fmla="*/ 701993 h 1605915"/>
                  <a:gd name="connsiteX216" fmla="*/ 1254442 w 1422082"/>
                  <a:gd name="connsiteY216" fmla="*/ 688658 h 1605915"/>
                  <a:gd name="connsiteX217" fmla="*/ 1269682 w 1422082"/>
                  <a:gd name="connsiteY217" fmla="*/ 656273 h 1605915"/>
                  <a:gd name="connsiteX218" fmla="*/ 1296352 w 1422082"/>
                  <a:gd name="connsiteY218" fmla="*/ 661988 h 1605915"/>
                  <a:gd name="connsiteX219" fmla="*/ 1308735 w 1422082"/>
                  <a:gd name="connsiteY219" fmla="*/ 675323 h 1605915"/>
                  <a:gd name="connsiteX220" fmla="*/ 1278255 w 1422082"/>
                  <a:gd name="connsiteY220" fmla="*/ 703898 h 1605915"/>
                  <a:gd name="connsiteX221" fmla="*/ 1303972 w 1422082"/>
                  <a:gd name="connsiteY221" fmla="*/ 705803 h 1605915"/>
                  <a:gd name="connsiteX222" fmla="*/ 1324927 w 1422082"/>
                  <a:gd name="connsiteY222" fmla="*/ 694373 h 1605915"/>
                  <a:gd name="connsiteX223" fmla="*/ 1356360 w 1422082"/>
                  <a:gd name="connsiteY223" fmla="*/ 702945 h 1605915"/>
                  <a:gd name="connsiteX224" fmla="*/ 1369695 w 1422082"/>
                  <a:gd name="connsiteY224" fmla="*/ 678180 h 1605915"/>
                  <a:gd name="connsiteX225" fmla="*/ 1391602 w 1422082"/>
                  <a:gd name="connsiteY225" fmla="*/ 664845 h 1605915"/>
                  <a:gd name="connsiteX226" fmla="*/ 1397317 w 1422082"/>
                  <a:gd name="connsiteY226" fmla="*/ 637223 h 1605915"/>
                  <a:gd name="connsiteX227" fmla="*/ 1386840 w 1422082"/>
                  <a:gd name="connsiteY227" fmla="*/ 626745 h 1605915"/>
                  <a:gd name="connsiteX228" fmla="*/ 1386840 w 1422082"/>
                  <a:gd name="connsiteY228" fmla="*/ 609600 h 1605915"/>
                  <a:gd name="connsiteX229" fmla="*/ 1363980 w 1422082"/>
                  <a:gd name="connsiteY229" fmla="*/ 619125 h 1605915"/>
                  <a:gd name="connsiteX230" fmla="*/ 1323022 w 1422082"/>
                  <a:gd name="connsiteY230" fmla="*/ 578168 h 1605915"/>
                  <a:gd name="connsiteX231" fmla="*/ 1334452 w 1422082"/>
                  <a:gd name="connsiteY231" fmla="*/ 549593 h 1605915"/>
                  <a:gd name="connsiteX232" fmla="*/ 1322070 w 1422082"/>
                  <a:gd name="connsiteY232" fmla="*/ 536258 h 1605915"/>
                  <a:gd name="connsiteX233" fmla="*/ 1332547 w 1422082"/>
                  <a:gd name="connsiteY233" fmla="*/ 512445 h 1605915"/>
                  <a:gd name="connsiteX234" fmla="*/ 1322070 w 1422082"/>
                  <a:gd name="connsiteY234" fmla="*/ 501968 h 1605915"/>
                  <a:gd name="connsiteX235" fmla="*/ 1346835 w 1422082"/>
                  <a:gd name="connsiteY235" fmla="*/ 478155 h 1605915"/>
                  <a:gd name="connsiteX236" fmla="*/ 1369695 w 1422082"/>
                  <a:gd name="connsiteY236" fmla="*/ 479108 h 1605915"/>
                  <a:gd name="connsiteX237" fmla="*/ 1383030 w 1422082"/>
                  <a:gd name="connsiteY237" fmla="*/ 492443 h 1605915"/>
                  <a:gd name="connsiteX238" fmla="*/ 1400175 w 1422082"/>
                  <a:gd name="connsiteY238" fmla="*/ 492443 h 1605915"/>
                  <a:gd name="connsiteX239" fmla="*/ 1417320 w 1422082"/>
                  <a:gd name="connsiteY239" fmla="*/ 479108 h 1605915"/>
                  <a:gd name="connsiteX240" fmla="*/ 1422082 w 1422082"/>
                  <a:gd name="connsiteY240" fmla="*/ 463868 h 1605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</a:cxnLst>
                <a:rect l="l" t="t" r="r" b="b"/>
                <a:pathLst>
                  <a:path w="1422082" h="1605915">
                    <a:moveTo>
                      <a:pt x="1382077" y="423863"/>
                    </a:moveTo>
                    <a:lnTo>
                      <a:pt x="1370647" y="392430"/>
                    </a:lnTo>
                    <a:lnTo>
                      <a:pt x="1353502" y="390525"/>
                    </a:lnTo>
                    <a:lnTo>
                      <a:pt x="1353502" y="370523"/>
                    </a:lnTo>
                    <a:lnTo>
                      <a:pt x="1334452" y="349568"/>
                    </a:lnTo>
                    <a:lnTo>
                      <a:pt x="1318260" y="334328"/>
                    </a:lnTo>
                    <a:lnTo>
                      <a:pt x="1296352" y="334328"/>
                    </a:lnTo>
                    <a:lnTo>
                      <a:pt x="1296352" y="355283"/>
                    </a:lnTo>
                    <a:lnTo>
                      <a:pt x="1276350" y="375285"/>
                    </a:lnTo>
                    <a:lnTo>
                      <a:pt x="1245870" y="371475"/>
                    </a:lnTo>
                    <a:lnTo>
                      <a:pt x="1245870" y="350520"/>
                    </a:lnTo>
                    <a:lnTo>
                      <a:pt x="1232535" y="339090"/>
                    </a:lnTo>
                    <a:lnTo>
                      <a:pt x="1232535" y="313373"/>
                    </a:lnTo>
                    <a:lnTo>
                      <a:pt x="1204913" y="310515"/>
                    </a:lnTo>
                    <a:lnTo>
                      <a:pt x="1173480" y="295275"/>
                    </a:lnTo>
                    <a:lnTo>
                      <a:pt x="1143000" y="299085"/>
                    </a:lnTo>
                    <a:lnTo>
                      <a:pt x="1113472" y="294323"/>
                    </a:lnTo>
                    <a:lnTo>
                      <a:pt x="1096327" y="314325"/>
                    </a:lnTo>
                    <a:lnTo>
                      <a:pt x="1087755" y="341948"/>
                    </a:lnTo>
                    <a:lnTo>
                      <a:pt x="1068705" y="361950"/>
                    </a:lnTo>
                    <a:lnTo>
                      <a:pt x="1076325" y="389573"/>
                    </a:lnTo>
                    <a:lnTo>
                      <a:pt x="1065847" y="421005"/>
                    </a:lnTo>
                    <a:lnTo>
                      <a:pt x="1039177" y="447675"/>
                    </a:lnTo>
                    <a:lnTo>
                      <a:pt x="1039177" y="497205"/>
                    </a:lnTo>
                    <a:lnTo>
                      <a:pt x="1002030" y="522923"/>
                    </a:lnTo>
                    <a:lnTo>
                      <a:pt x="1002030" y="551498"/>
                    </a:lnTo>
                    <a:lnTo>
                      <a:pt x="986790" y="529590"/>
                    </a:lnTo>
                    <a:lnTo>
                      <a:pt x="986790" y="504825"/>
                    </a:lnTo>
                    <a:lnTo>
                      <a:pt x="967740" y="486728"/>
                    </a:lnTo>
                    <a:lnTo>
                      <a:pt x="950595" y="494348"/>
                    </a:lnTo>
                    <a:lnTo>
                      <a:pt x="945832" y="517208"/>
                    </a:lnTo>
                    <a:lnTo>
                      <a:pt x="899160" y="535305"/>
                    </a:lnTo>
                    <a:lnTo>
                      <a:pt x="877252" y="535305"/>
                    </a:lnTo>
                    <a:lnTo>
                      <a:pt x="868680" y="561023"/>
                    </a:lnTo>
                    <a:lnTo>
                      <a:pt x="854392" y="582930"/>
                    </a:lnTo>
                    <a:lnTo>
                      <a:pt x="823913" y="584835"/>
                    </a:lnTo>
                    <a:lnTo>
                      <a:pt x="789622" y="550545"/>
                    </a:lnTo>
                    <a:lnTo>
                      <a:pt x="785813" y="480060"/>
                    </a:lnTo>
                    <a:lnTo>
                      <a:pt x="790575" y="438150"/>
                    </a:lnTo>
                    <a:lnTo>
                      <a:pt x="790575" y="398145"/>
                    </a:lnTo>
                    <a:lnTo>
                      <a:pt x="796290" y="362903"/>
                    </a:lnTo>
                    <a:lnTo>
                      <a:pt x="796290" y="328613"/>
                    </a:lnTo>
                    <a:lnTo>
                      <a:pt x="771525" y="318135"/>
                    </a:lnTo>
                    <a:lnTo>
                      <a:pt x="753427" y="312420"/>
                    </a:lnTo>
                    <a:lnTo>
                      <a:pt x="750570" y="295275"/>
                    </a:lnTo>
                    <a:lnTo>
                      <a:pt x="742950" y="276225"/>
                    </a:lnTo>
                    <a:lnTo>
                      <a:pt x="726757" y="260033"/>
                    </a:lnTo>
                    <a:lnTo>
                      <a:pt x="726757" y="240983"/>
                    </a:lnTo>
                    <a:lnTo>
                      <a:pt x="738188" y="229553"/>
                    </a:lnTo>
                    <a:lnTo>
                      <a:pt x="741045" y="203835"/>
                    </a:lnTo>
                    <a:lnTo>
                      <a:pt x="725805" y="188595"/>
                    </a:lnTo>
                    <a:lnTo>
                      <a:pt x="704850" y="188595"/>
                    </a:lnTo>
                    <a:lnTo>
                      <a:pt x="682942" y="178118"/>
                    </a:lnTo>
                    <a:lnTo>
                      <a:pt x="682942" y="158115"/>
                    </a:lnTo>
                    <a:lnTo>
                      <a:pt x="691515" y="148590"/>
                    </a:lnTo>
                    <a:lnTo>
                      <a:pt x="681990" y="139065"/>
                    </a:lnTo>
                    <a:lnTo>
                      <a:pt x="674370" y="108585"/>
                    </a:lnTo>
                    <a:lnTo>
                      <a:pt x="656272" y="76200"/>
                    </a:lnTo>
                    <a:lnTo>
                      <a:pt x="635317" y="61913"/>
                    </a:lnTo>
                    <a:lnTo>
                      <a:pt x="611505" y="68580"/>
                    </a:lnTo>
                    <a:lnTo>
                      <a:pt x="588645" y="70485"/>
                    </a:lnTo>
                    <a:lnTo>
                      <a:pt x="588645" y="42863"/>
                    </a:lnTo>
                    <a:lnTo>
                      <a:pt x="607695" y="38100"/>
                    </a:lnTo>
                    <a:lnTo>
                      <a:pt x="607695" y="20003"/>
                    </a:lnTo>
                    <a:lnTo>
                      <a:pt x="587692" y="0"/>
                    </a:lnTo>
                    <a:lnTo>
                      <a:pt x="580072" y="15240"/>
                    </a:lnTo>
                    <a:lnTo>
                      <a:pt x="568642" y="27623"/>
                    </a:lnTo>
                    <a:lnTo>
                      <a:pt x="551497" y="23813"/>
                    </a:lnTo>
                    <a:lnTo>
                      <a:pt x="533400" y="42863"/>
                    </a:lnTo>
                    <a:lnTo>
                      <a:pt x="514350" y="49530"/>
                    </a:lnTo>
                    <a:lnTo>
                      <a:pt x="502920" y="75248"/>
                    </a:lnTo>
                    <a:lnTo>
                      <a:pt x="502920" y="100965"/>
                    </a:lnTo>
                    <a:lnTo>
                      <a:pt x="512445" y="128588"/>
                    </a:lnTo>
                    <a:lnTo>
                      <a:pt x="504825" y="151448"/>
                    </a:lnTo>
                    <a:lnTo>
                      <a:pt x="504825" y="172403"/>
                    </a:lnTo>
                    <a:lnTo>
                      <a:pt x="529590" y="197168"/>
                    </a:lnTo>
                    <a:lnTo>
                      <a:pt x="544830" y="211455"/>
                    </a:lnTo>
                    <a:lnTo>
                      <a:pt x="537210" y="232410"/>
                    </a:lnTo>
                    <a:lnTo>
                      <a:pt x="527685" y="249555"/>
                    </a:lnTo>
                    <a:lnTo>
                      <a:pt x="545782" y="267653"/>
                    </a:lnTo>
                    <a:lnTo>
                      <a:pt x="528638" y="284798"/>
                    </a:lnTo>
                    <a:lnTo>
                      <a:pt x="515302" y="293370"/>
                    </a:lnTo>
                    <a:lnTo>
                      <a:pt x="515302" y="331470"/>
                    </a:lnTo>
                    <a:lnTo>
                      <a:pt x="501015" y="340043"/>
                    </a:lnTo>
                    <a:lnTo>
                      <a:pt x="495300" y="365760"/>
                    </a:lnTo>
                    <a:lnTo>
                      <a:pt x="470535" y="375285"/>
                    </a:lnTo>
                    <a:lnTo>
                      <a:pt x="477202" y="409575"/>
                    </a:lnTo>
                    <a:lnTo>
                      <a:pt x="465772" y="420053"/>
                    </a:lnTo>
                    <a:lnTo>
                      <a:pt x="461963" y="451485"/>
                    </a:lnTo>
                    <a:lnTo>
                      <a:pt x="468630" y="479108"/>
                    </a:lnTo>
                    <a:lnTo>
                      <a:pt x="481965" y="485775"/>
                    </a:lnTo>
                    <a:lnTo>
                      <a:pt x="505777" y="509588"/>
                    </a:lnTo>
                    <a:lnTo>
                      <a:pt x="515302" y="500063"/>
                    </a:lnTo>
                    <a:lnTo>
                      <a:pt x="538163" y="508635"/>
                    </a:lnTo>
                    <a:lnTo>
                      <a:pt x="538163" y="533400"/>
                    </a:lnTo>
                    <a:lnTo>
                      <a:pt x="545782" y="554355"/>
                    </a:lnTo>
                    <a:lnTo>
                      <a:pt x="530542" y="552450"/>
                    </a:lnTo>
                    <a:lnTo>
                      <a:pt x="520065" y="571500"/>
                    </a:lnTo>
                    <a:lnTo>
                      <a:pt x="511492" y="587693"/>
                    </a:lnTo>
                    <a:lnTo>
                      <a:pt x="516255" y="601028"/>
                    </a:lnTo>
                    <a:lnTo>
                      <a:pt x="539115" y="601028"/>
                    </a:lnTo>
                    <a:lnTo>
                      <a:pt x="549592" y="622935"/>
                    </a:lnTo>
                    <a:lnTo>
                      <a:pt x="557213" y="643890"/>
                    </a:lnTo>
                    <a:lnTo>
                      <a:pt x="544830" y="656273"/>
                    </a:lnTo>
                    <a:lnTo>
                      <a:pt x="531495" y="677228"/>
                    </a:lnTo>
                    <a:lnTo>
                      <a:pt x="531495" y="696278"/>
                    </a:lnTo>
                    <a:lnTo>
                      <a:pt x="523875" y="711518"/>
                    </a:lnTo>
                    <a:lnTo>
                      <a:pt x="502920" y="711518"/>
                    </a:lnTo>
                    <a:lnTo>
                      <a:pt x="485775" y="694373"/>
                    </a:lnTo>
                    <a:lnTo>
                      <a:pt x="461963" y="694373"/>
                    </a:lnTo>
                    <a:lnTo>
                      <a:pt x="452438" y="678180"/>
                    </a:lnTo>
                    <a:lnTo>
                      <a:pt x="430530" y="668655"/>
                    </a:lnTo>
                    <a:lnTo>
                      <a:pt x="425767" y="653415"/>
                    </a:lnTo>
                    <a:lnTo>
                      <a:pt x="407670" y="649605"/>
                    </a:lnTo>
                    <a:lnTo>
                      <a:pt x="382905" y="664845"/>
                    </a:lnTo>
                    <a:lnTo>
                      <a:pt x="376238" y="692468"/>
                    </a:lnTo>
                    <a:lnTo>
                      <a:pt x="389572" y="721995"/>
                    </a:lnTo>
                    <a:lnTo>
                      <a:pt x="370522" y="749618"/>
                    </a:lnTo>
                    <a:lnTo>
                      <a:pt x="340042" y="780098"/>
                    </a:lnTo>
                    <a:lnTo>
                      <a:pt x="319088" y="810578"/>
                    </a:lnTo>
                    <a:lnTo>
                      <a:pt x="311467" y="841058"/>
                    </a:lnTo>
                    <a:lnTo>
                      <a:pt x="300990" y="866775"/>
                    </a:lnTo>
                    <a:lnTo>
                      <a:pt x="320040" y="886778"/>
                    </a:lnTo>
                    <a:lnTo>
                      <a:pt x="300990" y="900113"/>
                    </a:lnTo>
                    <a:lnTo>
                      <a:pt x="273367" y="882015"/>
                    </a:lnTo>
                    <a:lnTo>
                      <a:pt x="260032" y="849630"/>
                    </a:lnTo>
                    <a:lnTo>
                      <a:pt x="237172" y="825818"/>
                    </a:lnTo>
                    <a:lnTo>
                      <a:pt x="215265" y="837248"/>
                    </a:lnTo>
                    <a:lnTo>
                      <a:pt x="205740" y="867728"/>
                    </a:lnTo>
                    <a:lnTo>
                      <a:pt x="170497" y="881063"/>
                    </a:lnTo>
                    <a:lnTo>
                      <a:pt x="141922" y="876300"/>
                    </a:lnTo>
                    <a:lnTo>
                      <a:pt x="112395" y="882968"/>
                    </a:lnTo>
                    <a:lnTo>
                      <a:pt x="111442" y="924878"/>
                    </a:lnTo>
                    <a:lnTo>
                      <a:pt x="95250" y="942023"/>
                    </a:lnTo>
                    <a:lnTo>
                      <a:pt x="95250" y="982028"/>
                    </a:lnTo>
                    <a:lnTo>
                      <a:pt x="114300" y="1001078"/>
                    </a:lnTo>
                    <a:lnTo>
                      <a:pt x="128588" y="1033463"/>
                    </a:lnTo>
                    <a:lnTo>
                      <a:pt x="128588" y="1051560"/>
                    </a:lnTo>
                    <a:lnTo>
                      <a:pt x="106680" y="1062990"/>
                    </a:lnTo>
                    <a:lnTo>
                      <a:pt x="96202" y="1088708"/>
                    </a:lnTo>
                    <a:lnTo>
                      <a:pt x="76200" y="1088708"/>
                    </a:lnTo>
                    <a:lnTo>
                      <a:pt x="70485" y="1115378"/>
                    </a:lnTo>
                    <a:lnTo>
                      <a:pt x="60960" y="1138238"/>
                    </a:lnTo>
                    <a:lnTo>
                      <a:pt x="76200" y="1160145"/>
                    </a:lnTo>
                    <a:lnTo>
                      <a:pt x="77152" y="1183005"/>
                    </a:lnTo>
                    <a:lnTo>
                      <a:pt x="65722" y="1190625"/>
                    </a:lnTo>
                    <a:lnTo>
                      <a:pt x="65722" y="1223963"/>
                    </a:lnTo>
                    <a:lnTo>
                      <a:pt x="71438" y="1242060"/>
                    </a:lnTo>
                    <a:lnTo>
                      <a:pt x="61913" y="1260158"/>
                    </a:lnTo>
                    <a:lnTo>
                      <a:pt x="64770" y="1282065"/>
                    </a:lnTo>
                    <a:lnTo>
                      <a:pt x="23813" y="1284923"/>
                    </a:lnTo>
                    <a:lnTo>
                      <a:pt x="23813" y="1303020"/>
                    </a:lnTo>
                    <a:lnTo>
                      <a:pt x="6667" y="1299210"/>
                    </a:lnTo>
                    <a:lnTo>
                      <a:pt x="0" y="1317308"/>
                    </a:lnTo>
                    <a:lnTo>
                      <a:pt x="26670" y="1333500"/>
                    </a:lnTo>
                    <a:lnTo>
                      <a:pt x="66675" y="1374458"/>
                    </a:lnTo>
                    <a:lnTo>
                      <a:pt x="85725" y="1384935"/>
                    </a:lnTo>
                    <a:lnTo>
                      <a:pt x="110490" y="1384935"/>
                    </a:lnTo>
                    <a:lnTo>
                      <a:pt x="132397" y="1401128"/>
                    </a:lnTo>
                    <a:lnTo>
                      <a:pt x="163830" y="1405890"/>
                    </a:lnTo>
                    <a:lnTo>
                      <a:pt x="190500" y="1430655"/>
                    </a:lnTo>
                    <a:lnTo>
                      <a:pt x="208597" y="1439228"/>
                    </a:lnTo>
                    <a:lnTo>
                      <a:pt x="239077" y="1439228"/>
                    </a:lnTo>
                    <a:lnTo>
                      <a:pt x="251460" y="1426845"/>
                    </a:lnTo>
                    <a:lnTo>
                      <a:pt x="278130" y="1453515"/>
                    </a:lnTo>
                    <a:lnTo>
                      <a:pt x="338138" y="1393508"/>
                    </a:lnTo>
                    <a:lnTo>
                      <a:pt x="360045" y="1408748"/>
                    </a:lnTo>
                    <a:lnTo>
                      <a:pt x="353377" y="1424940"/>
                    </a:lnTo>
                    <a:lnTo>
                      <a:pt x="380047" y="1437323"/>
                    </a:lnTo>
                    <a:lnTo>
                      <a:pt x="395288" y="1451610"/>
                    </a:lnTo>
                    <a:lnTo>
                      <a:pt x="430530" y="1463040"/>
                    </a:lnTo>
                    <a:lnTo>
                      <a:pt x="446722" y="1478280"/>
                    </a:lnTo>
                    <a:lnTo>
                      <a:pt x="464820" y="1487805"/>
                    </a:lnTo>
                    <a:lnTo>
                      <a:pt x="484822" y="1507808"/>
                    </a:lnTo>
                    <a:lnTo>
                      <a:pt x="529590" y="1498283"/>
                    </a:lnTo>
                    <a:lnTo>
                      <a:pt x="567690" y="1534478"/>
                    </a:lnTo>
                    <a:lnTo>
                      <a:pt x="590550" y="1534478"/>
                    </a:lnTo>
                    <a:lnTo>
                      <a:pt x="590550" y="1554480"/>
                    </a:lnTo>
                    <a:lnTo>
                      <a:pt x="605790" y="1580198"/>
                    </a:lnTo>
                    <a:lnTo>
                      <a:pt x="646747" y="1580198"/>
                    </a:lnTo>
                    <a:lnTo>
                      <a:pt x="653415" y="1605915"/>
                    </a:lnTo>
                    <a:lnTo>
                      <a:pt x="685800" y="1587818"/>
                    </a:lnTo>
                    <a:lnTo>
                      <a:pt x="708660" y="1587818"/>
                    </a:lnTo>
                    <a:lnTo>
                      <a:pt x="708660" y="1545908"/>
                    </a:lnTo>
                    <a:lnTo>
                      <a:pt x="741997" y="1513523"/>
                    </a:lnTo>
                    <a:lnTo>
                      <a:pt x="780097" y="1467803"/>
                    </a:lnTo>
                    <a:lnTo>
                      <a:pt x="799147" y="1419225"/>
                    </a:lnTo>
                    <a:lnTo>
                      <a:pt x="848677" y="1368743"/>
                    </a:lnTo>
                    <a:lnTo>
                      <a:pt x="905827" y="1301115"/>
                    </a:lnTo>
                    <a:lnTo>
                      <a:pt x="914400" y="1200150"/>
                    </a:lnTo>
                    <a:lnTo>
                      <a:pt x="934402" y="1133475"/>
                    </a:lnTo>
                    <a:lnTo>
                      <a:pt x="903922" y="1123950"/>
                    </a:lnTo>
                    <a:lnTo>
                      <a:pt x="874395" y="984885"/>
                    </a:lnTo>
                    <a:lnTo>
                      <a:pt x="884872" y="964883"/>
                    </a:lnTo>
                    <a:lnTo>
                      <a:pt x="899160" y="950595"/>
                    </a:lnTo>
                    <a:lnTo>
                      <a:pt x="875347" y="933450"/>
                    </a:lnTo>
                    <a:lnTo>
                      <a:pt x="851535" y="925830"/>
                    </a:lnTo>
                    <a:lnTo>
                      <a:pt x="842963" y="887730"/>
                    </a:lnTo>
                    <a:lnTo>
                      <a:pt x="887730" y="855345"/>
                    </a:lnTo>
                    <a:lnTo>
                      <a:pt x="909638" y="855345"/>
                    </a:lnTo>
                    <a:lnTo>
                      <a:pt x="909638" y="826770"/>
                    </a:lnTo>
                    <a:lnTo>
                      <a:pt x="931545" y="817245"/>
                    </a:lnTo>
                    <a:lnTo>
                      <a:pt x="962025" y="827723"/>
                    </a:lnTo>
                    <a:lnTo>
                      <a:pt x="993457" y="816293"/>
                    </a:lnTo>
                    <a:lnTo>
                      <a:pt x="993457" y="788670"/>
                    </a:lnTo>
                    <a:lnTo>
                      <a:pt x="1016317" y="772478"/>
                    </a:lnTo>
                    <a:lnTo>
                      <a:pt x="1027747" y="784860"/>
                    </a:lnTo>
                    <a:lnTo>
                      <a:pt x="1063942" y="784860"/>
                    </a:lnTo>
                    <a:lnTo>
                      <a:pt x="1084897" y="770573"/>
                    </a:lnTo>
                    <a:lnTo>
                      <a:pt x="1098232" y="783908"/>
                    </a:lnTo>
                    <a:lnTo>
                      <a:pt x="1142047" y="792480"/>
                    </a:lnTo>
                    <a:lnTo>
                      <a:pt x="1160145" y="774383"/>
                    </a:lnTo>
                    <a:lnTo>
                      <a:pt x="1179195" y="784860"/>
                    </a:lnTo>
                    <a:lnTo>
                      <a:pt x="1206817" y="757238"/>
                    </a:lnTo>
                    <a:lnTo>
                      <a:pt x="1228725" y="757238"/>
                    </a:lnTo>
                    <a:lnTo>
                      <a:pt x="1228725" y="701993"/>
                    </a:lnTo>
                    <a:lnTo>
                      <a:pt x="1254442" y="688658"/>
                    </a:lnTo>
                    <a:lnTo>
                      <a:pt x="1269682" y="656273"/>
                    </a:lnTo>
                    <a:lnTo>
                      <a:pt x="1296352" y="661988"/>
                    </a:lnTo>
                    <a:lnTo>
                      <a:pt x="1308735" y="675323"/>
                    </a:lnTo>
                    <a:lnTo>
                      <a:pt x="1278255" y="703898"/>
                    </a:lnTo>
                    <a:lnTo>
                      <a:pt x="1303972" y="705803"/>
                    </a:lnTo>
                    <a:lnTo>
                      <a:pt x="1324927" y="694373"/>
                    </a:lnTo>
                    <a:lnTo>
                      <a:pt x="1356360" y="702945"/>
                    </a:lnTo>
                    <a:lnTo>
                      <a:pt x="1369695" y="678180"/>
                    </a:lnTo>
                    <a:lnTo>
                      <a:pt x="1391602" y="664845"/>
                    </a:lnTo>
                    <a:lnTo>
                      <a:pt x="1397317" y="637223"/>
                    </a:lnTo>
                    <a:lnTo>
                      <a:pt x="1386840" y="626745"/>
                    </a:lnTo>
                    <a:lnTo>
                      <a:pt x="1386840" y="609600"/>
                    </a:lnTo>
                    <a:lnTo>
                      <a:pt x="1363980" y="619125"/>
                    </a:lnTo>
                    <a:lnTo>
                      <a:pt x="1323022" y="578168"/>
                    </a:lnTo>
                    <a:lnTo>
                      <a:pt x="1334452" y="549593"/>
                    </a:lnTo>
                    <a:lnTo>
                      <a:pt x="1322070" y="536258"/>
                    </a:lnTo>
                    <a:lnTo>
                      <a:pt x="1332547" y="512445"/>
                    </a:lnTo>
                    <a:lnTo>
                      <a:pt x="1322070" y="501968"/>
                    </a:lnTo>
                    <a:lnTo>
                      <a:pt x="1346835" y="478155"/>
                    </a:lnTo>
                    <a:lnTo>
                      <a:pt x="1369695" y="479108"/>
                    </a:lnTo>
                    <a:lnTo>
                      <a:pt x="1383030" y="492443"/>
                    </a:lnTo>
                    <a:lnTo>
                      <a:pt x="1400175" y="492443"/>
                    </a:lnTo>
                    <a:lnTo>
                      <a:pt x="1417320" y="479108"/>
                    </a:lnTo>
                    <a:lnTo>
                      <a:pt x="1422082" y="463868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32" name="Полилиния: фигура 104">
              <a:extLst>
                <a:ext uri="{FF2B5EF4-FFF2-40B4-BE49-F238E27FC236}">
                  <a16:creationId xmlns:a16="http://schemas.microsoft.com/office/drawing/2014/main" id="{C5AD033D-CAA3-4244-96BE-4A65572939D8}"/>
                </a:ext>
              </a:extLst>
            </p:cNvPr>
            <p:cNvSpPr/>
            <p:nvPr/>
          </p:nvSpPr>
          <p:spPr>
            <a:xfrm>
              <a:off x="4917199" y="5134067"/>
              <a:ext cx="463687" cy="322160"/>
            </a:xfrm>
            <a:custGeom>
              <a:avLst/>
              <a:gdLst>
                <a:gd name="connsiteX0" fmla="*/ 295275 w 719137"/>
                <a:gd name="connsiteY0" fmla="*/ 574357 h 574357"/>
                <a:gd name="connsiteX1" fmla="*/ 281940 w 719137"/>
                <a:gd name="connsiteY1" fmla="*/ 548640 h 574357"/>
                <a:gd name="connsiteX2" fmla="*/ 246697 w 719137"/>
                <a:gd name="connsiteY2" fmla="*/ 548640 h 574357"/>
                <a:gd name="connsiteX3" fmla="*/ 219075 w 719137"/>
                <a:gd name="connsiteY3" fmla="*/ 532447 h 574357"/>
                <a:gd name="connsiteX4" fmla="*/ 187643 w 719137"/>
                <a:gd name="connsiteY4" fmla="*/ 529590 h 574357"/>
                <a:gd name="connsiteX5" fmla="*/ 183832 w 719137"/>
                <a:gd name="connsiteY5" fmla="*/ 486728 h 574357"/>
                <a:gd name="connsiteX6" fmla="*/ 127635 w 719137"/>
                <a:gd name="connsiteY6" fmla="*/ 452438 h 574357"/>
                <a:gd name="connsiteX7" fmla="*/ 132397 w 719137"/>
                <a:gd name="connsiteY7" fmla="*/ 425767 h 574357"/>
                <a:gd name="connsiteX8" fmla="*/ 113347 w 719137"/>
                <a:gd name="connsiteY8" fmla="*/ 422910 h 574357"/>
                <a:gd name="connsiteX9" fmla="*/ 104775 w 719137"/>
                <a:gd name="connsiteY9" fmla="*/ 404813 h 574357"/>
                <a:gd name="connsiteX10" fmla="*/ 80010 w 719137"/>
                <a:gd name="connsiteY10" fmla="*/ 404813 h 574357"/>
                <a:gd name="connsiteX11" fmla="*/ 63818 w 719137"/>
                <a:gd name="connsiteY11" fmla="*/ 388620 h 574357"/>
                <a:gd name="connsiteX12" fmla="*/ 41910 w 719137"/>
                <a:gd name="connsiteY12" fmla="*/ 384810 h 574357"/>
                <a:gd name="connsiteX13" fmla="*/ 41910 w 719137"/>
                <a:gd name="connsiteY13" fmla="*/ 352425 h 574357"/>
                <a:gd name="connsiteX14" fmla="*/ 24765 w 719137"/>
                <a:gd name="connsiteY14" fmla="*/ 347663 h 574357"/>
                <a:gd name="connsiteX15" fmla="*/ 0 w 719137"/>
                <a:gd name="connsiteY15" fmla="*/ 312420 h 574357"/>
                <a:gd name="connsiteX16" fmla="*/ 16193 w 719137"/>
                <a:gd name="connsiteY16" fmla="*/ 282892 h 574357"/>
                <a:gd name="connsiteX17" fmla="*/ 34290 w 719137"/>
                <a:gd name="connsiteY17" fmla="*/ 269557 h 574357"/>
                <a:gd name="connsiteX18" fmla="*/ 26670 w 719137"/>
                <a:gd name="connsiteY18" fmla="*/ 244792 h 574357"/>
                <a:gd name="connsiteX19" fmla="*/ 38100 w 719137"/>
                <a:gd name="connsiteY19" fmla="*/ 233363 h 574357"/>
                <a:gd name="connsiteX20" fmla="*/ 32385 w 719137"/>
                <a:gd name="connsiteY20" fmla="*/ 201930 h 574357"/>
                <a:gd name="connsiteX21" fmla="*/ 57150 w 719137"/>
                <a:gd name="connsiteY21" fmla="*/ 178117 h 574357"/>
                <a:gd name="connsiteX22" fmla="*/ 78105 w 719137"/>
                <a:gd name="connsiteY22" fmla="*/ 183832 h 574357"/>
                <a:gd name="connsiteX23" fmla="*/ 95250 w 719137"/>
                <a:gd name="connsiteY23" fmla="*/ 166688 h 574357"/>
                <a:gd name="connsiteX24" fmla="*/ 113347 w 719137"/>
                <a:gd name="connsiteY24" fmla="*/ 174307 h 574357"/>
                <a:gd name="connsiteX25" fmla="*/ 146685 w 719137"/>
                <a:gd name="connsiteY25" fmla="*/ 158115 h 574357"/>
                <a:gd name="connsiteX26" fmla="*/ 146685 w 719137"/>
                <a:gd name="connsiteY26" fmla="*/ 133350 h 574357"/>
                <a:gd name="connsiteX27" fmla="*/ 140018 w 719137"/>
                <a:gd name="connsiteY27" fmla="*/ 115253 h 574357"/>
                <a:gd name="connsiteX28" fmla="*/ 148590 w 719137"/>
                <a:gd name="connsiteY28" fmla="*/ 87630 h 574357"/>
                <a:gd name="connsiteX29" fmla="*/ 167640 w 719137"/>
                <a:gd name="connsiteY29" fmla="*/ 103822 h 574357"/>
                <a:gd name="connsiteX30" fmla="*/ 197168 w 719137"/>
                <a:gd name="connsiteY30" fmla="*/ 103822 h 574357"/>
                <a:gd name="connsiteX31" fmla="*/ 220028 w 719137"/>
                <a:gd name="connsiteY31" fmla="*/ 97155 h 574357"/>
                <a:gd name="connsiteX32" fmla="*/ 220028 w 719137"/>
                <a:gd name="connsiteY32" fmla="*/ 78105 h 574357"/>
                <a:gd name="connsiteX33" fmla="*/ 230505 w 719137"/>
                <a:gd name="connsiteY33" fmla="*/ 67628 h 574357"/>
                <a:gd name="connsiteX34" fmla="*/ 269557 w 719137"/>
                <a:gd name="connsiteY34" fmla="*/ 78105 h 574357"/>
                <a:gd name="connsiteX35" fmla="*/ 285750 w 719137"/>
                <a:gd name="connsiteY35" fmla="*/ 61913 h 574357"/>
                <a:gd name="connsiteX36" fmla="*/ 327660 w 719137"/>
                <a:gd name="connsiteY36" fmla="*/ 61913 h 574357"/>
                <a:gd name="connsiteX37" fmla="*/ 340043 w 719137"/>
                <a:gd name="connsiteY37" fmla="*/ 49530 h 574357"/>
                <a:gd name="connsiteX38" fmla="*/ 362903 w 719137"/>
                <a:gd name="connsiteY38" fmla="*/ 41910 h 574357"/>
                <a:gd name="connsiteX39" fmla="*/ 385763 w 719137"/>
                <a:gd name="connsiteY39" fmla="*/ 33338 h 574357"/>
                <a:gd name="connsiteX40" fmla="*/ 397193 w 719137"/>
                <a:gd name="connsiteY40" fmla="*/ 22860 h 574357"/>
                <a:gd name="connsiteX41" fmla="*/ 395288 w 719137"/>
                <a:gd name="connsiteY41" fmla="*/ 0 h 574357"/>
                <a:gd name="connsiteX42" fmla="*/ 411480 w 719137"/>
                <a:gd name="connsiteY42" fmla="*/ 0 h 574357"/>
                <a:gd name="connsiteX43" fmla="*/ 430530 w 719137"/>
                <a:gd name="connsiteY43" fmla="*/ 15240 h 574357"/>
                <a:gd name="connsiteX44" fmla="*/ 447675 w 719137"/>
                <a:gd name="connsiteY44" fmla="*/ 23813 h 574357"/>
                <a:gd name="connsiteX45" fmla="*/ 466725 w 719137"/>
                <a:gd name="connsiteY45" fmla="*/ 42863 h 574357"/>
                <a:gd name="connsiteX46" fmla="*/ 487680 w 719137"/>
                <a:gd name="connsiteY46" fmla="*/ 42863 h 574357"/>
                <a:gd name="connsiteX47" fmla="*/ 515303 w 719137"/>
                <a:gd name="connsiteY47" fmla="*/ 50482 h 574357"/>
                <a:gd name="connsiteX48" fmla="*/ 537210 w 719137"/>
                <a:gd name="connsiteY48" fmla="*/ 72390 h 574357"/>
                <a:gd name="connsiteX49" fmla="*/ 553403 w 719137"/>
                <a:gd name="connsiteY49" fmla="*/ 100965 h 574357"/>
                <a:gd name="connsiteX50" fmla="*/ 572453 w 719137"/>
                <a:gd name="connsiteY50" fmla="*/ 132397 h 574357"/>
                <a:gd name="connsiteX51" fmla="*/ 572453 w 719137"/>
                <a:gd name="connsiteY51" fmla="*/ 157163 h 574357"/>
                <a:gd name="connsiteX52" fmla="*/ 601028 w 719137"/>
                <a:gd name="connsiteY52" fmla="*/ 161925 h 574357"/>
                <a:gd name="connsiteX53" fmla="*/ 601028 w 719137"/>
                <a:gd name="connsiteY53" fmla="*/ 185738 h 574357"/>
                <a:gd name="connsiteX54" fmla="*/ 615315 w 719137"/>
                <a:gd name="connsiteY54" fmla="*/ 200025 h 574357"/>
                <a:gd name="connsiteX55" fmla="*/ 639128 w 719137"/>
                <a:gd name="connsiteY55" fmla="*/ 208597 h 574357"/>
                <a:gd name="connsiteX56" fmla="*/ 652463 w 719137"/>
                <a:gd name="connsiteY56" fmla="*/ 221932 h 574357"/>
                <a:gd name="connsiteX57" fmla="*/ 678180 w 719137"/>
                <a:gd name="connsiteY57" fmla="*/ 221932 h 574357"/>
                <a:gd name="connsiteX58" fmla="*/ 696278 w 719137"/>
                <a:gd name="connsiteY58" fmla="*/ 238125 h 574357"/>
                <a:gd name="connsiteX59" fmla="*/ 719138 w 719137"/>
                <a:gd name="connsiteY59" fmla="*/ 238125 h 574357"/>
                <a:gd name="connsiteX60" fmla="*/ 706755 w 719137"/>
                <a:gd name="connsiteY60" fmla="*/ 256222 h 574357"/>
                <a:gd name="connsiteX61" fmla="*/ 683895 w 719137"/>
                <a:gd name="connsiteY61" fmla="*/ 278130 h 574357"/>
                <a:gd name="connsiteX62" fmla="*/ 655320 w 719137"/>
                <a:gd name="connsiteY62" fmla="*/ 291465 h 574357"/>
                <a:gd name="connsiteX63" fmla="*/ 621982 w 719137"/>
                <a:gd name="connsiteY63" fmla="*/ 291465 h 574357"/>
                <a:gd name="connsiteX64" fmla="*/ 601028 w 719137"/>
                <a:gd name="connsiteY64" fmla="*/ 285750 h 574357"/>
                <a:gd name="connsiteX65" fmla="*/ 576263 w 719137"/>
                <a:gd name="connsiteY65" fmla="*/ 272415 h 574357"/>
                <a:gd name="connsiteX66" fmla="*/ 561975 w 719137"/>
                <a:gd name="connsiteY66" fmla="*/ 286703 h 574357"/>
                <a:gd name="connsiteX67" fmla="*/ 538163 w 719137"/>
                <a:gd name="connsiteY67" fmla="*/ 286703 h 574357"/>
                <a:gd name="connsiteX68" fmla="*/ 520065 w 719137"/>
                <a:gd name="connsiteY68" fmla="*/ 275272 h 574357"/>
                <a:gd name="connsiteX69" fmla="*/ 504825 w 719137"/>
                <a:gd name="connsiteY69" fmla="*/ 267653 h 574357"/>
                <a:gd name="connsiteX70" fmla="*/ 480060 w 719137"/>
                <a:gd name="connsiteY70" fmla="*/ 260032 h 574357"/>
                <a:gd name="connsiteX71" fmla="*/ 461010 w 719137"/>
                <a:gd name="connsiteY71" fmla="*/ 253365 h 574357"/>
                <a:gd name="connsiteX72" fmla="*/ 461010 w 719137"/>
                <a:gd name="connsiteY72" fmla="*/ 237172 h 574357"/>
                <a:gd name="connsiteX73" fmla="*/ 474345 w 719137"/>
                <a:gd name="connsiteY73" fmla="*/ 222885 h 574357"/>
                <a:gd name="connsiteX74" fmla="*/ 452438 w 719137"/>
                <a:gd name="connsiteY74" fmla="*/ 200978 h 574357"/>
                <a:gd name="connsiteX75" fmla="*/ 431482 w 719137"/>
                <a:gd name="connsiteY75" fmla="*/ 215265 h 574357"/>
                <a:gd name="connsiteX76" fmla="*/ 419100 w 719137"/>
                <a:gd name="connsiteY76" fmla="*/ 237172 h 574357"/>
                <a:gd name="connsiteX77" fmla="*/ 401955 w 719137"/>
                <a:gd name="connsiteY77" fmla="*/ 253365 h 574357"/>
                <a:gd name="connsiteX78" fmla="*/ 400050 w 719137"/>
                <a:gd name="connsiteY78" fmla="*/ 276225 h 574357"/>
                <a:gd name="connsiteX79" fmla="*/ 409575 w 719137"/>
                <a:gd name="connsiteY79" fmla="*/ 304800 h 574357"/>
                <a:gd name="connsiteX80" fmla="*/ 386715 w 719137"/>
                <a:gd name="connsiteY80" fmla="*/ 315278 h 574357"/>
                <a:gd name="connsiteX81" fmla="*/ 386715 w 719137"/>
                <a:gd name="connsiteY81" fmla="*/ 330517 h 574357"/>
                <a:gd name="connsiteX82" fmla="*/ 405765 w 719137"/>
                <a:gd name="connsiteY82" fmla="*/ 340042 h 574357"/>
                <a:gd name="connsiteX83" fmla="*/ 419100 w 719137"/>
                <a:gd name="connsiteY83" fmla="*/ 353378 h 574357"/>
                <a:gd name="connsiteX84" fmla="*/ 425768 w 719137"/>
                <a:gd name="connsiteY84" fmla="*/ 370522 h 574357"/>
                <a:gd name="connsiteX85" fmla="*/ 447675 w 719137"/>
                <a:gd name="connsiteY85" fmla="*/ 381953 h 574357"/>
                <a:gd name="connsiteX86" fmla="*/ 447675 w 719137"/>
                <a:gd name="connsiteY86" fmla="*/ 401003 h 574357"/>
                <a:gd name="connsiteX87" fmla="*/ 437197 w 719137"/>
                <a:gd name="connsiteY87" fmla="*/ 410528 h 574357"/>
                <a:gd name="connsiteX88" fmla="*/ 410528 w 719137"/>
                <a:gd name="connsiteY88" fmla="*/ 415290 h 574357"/>
                <a:gd name="connsiteX89" fmla="*/ 395288 w 719137"/>
                <a:gd name="connsiteY89" fmla="*/ 431482 h 574357"/>
                <a:gd name="connsiteX90" fmla="*/ 374332 w 719137"/>
                <a:gd name="connsiteY90" fmla="*/ 451485 h 574357"/>
                <a:gd name="connsiteX91" fmla="*/ 374332 w 719137"/>
                <a:gd name="connsiteY91" fmla="*/ 476250 h 574357"/>
                <a:gd name="connsiteX92" fmla="*/ 368618 w 719137"/>
                <a:gd name="connsiteY92" fmla="*/ 490538 h 574357"/>
                <a:gd name="connsiteX93" fmla="*/ 354330 w 719137"/>
                <a:gd name="connsiteY93" fmla="*/ 505778 h 574357"/>
                <a:gd name="connsiteX94" fmla="*/ 342900 w 719137"/>
                <a:gd name="connsiteY94" fmla="*/ 507682 h 574357"/>
                <a:gd name="connsiteX95" fmla="*/ 342900 w 719137"/>
                <a:gd name="connsiteY95" fmla="*/ 526732 h 574357"/>
                <a:gd name="connsiteX96" fmla="*/ 328613 w 719137"/>
                <a:gd name="connsiteY96" fmla="*/ 541020 h 574357"/>
                <a:gd name="connsiteX97" fmla="*/ 320040 w 719137"/>
                <a:gd name="connsiteY97" fmla="*/ 557213 h 574357"/>
                <a:gd name="connsiteX98" fmla="*/ 320040 w 719137"/>
                <a:gd name="connsiteY98" fmla="*/ 574357 h 574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719137" h="574357">
                  <a:moveTo>
                    <a:pt x="295275" y="574357"/>
                  </a:moveTo>
                  <a:lnTo>
                    <a:pt x="281940" y="548640"/>
                  </a:lnTo>
                  <a:lnTo>
                    <a:pt x="246697" y="548640"/>
                  </a:lnTo>
                  <a:lnTo>
                    <a:pt x="219075" y="532447"/>
                  </a:lnTo>
                  <a:lnTo>
                    <a:pt x="187643" y="529590"/>
                  </a:lnTo>
                  <a:lnTo>
                    <a:pt x="183832" y="486728"/>
                  </a:lnTo>
                  <a:lnTo>
                    <a:pt x="127635" y="452438"/>
                  </a:lnTo>
                  <a:lnTo>
                    <a:pt x="132397" y="425767"/>
                  </a:lnTo>
                  <a:lnTo>
                    <a:pt x="113347" y="422910"/>
                  </a:lnTo>
                  <a:lnTo>
                    <a:pt x="104775" y="404813"/>
                  </a:lnTo>
                  <a:lnTo>
                    <a:pt x="80010" y="404813"/>
                  </a:lnTo>
                  <a:lnTo>
                    <a:pt x="63818" y="388620"/>
                  </a:lnTo>
                  <a:lnTo>
                    <a:pt x="41910" y="384810"/>
                  </a:lnTo>
                  <a:lnTo>
                    <a:pt x="41910" y="352425"/>
                  </a:lnTo>
                  <a:lnTo>
                    <a:pt x="24765" y="347663"/>
                  </a:lnTo>
                  <a:lnTo>
                    <a:pt x="0" y="312420"/>
                  </a:lnTo>
                  <a:lnTo>
                    <a:pt x="16193" y="282892"/>
                  </a:lnTo>
                  <a:lnTo>
                    <a:pt x="34290" y="269557"/>
                  </a:lnTo>
                  <a:lnTo>
                    <a:pt x="26670" y="244792"/>
                  </a:lnTo>
                  <a:lnTo>
                    <a:pt x="38100" y="233363"/>
                  </a:lnTo>
                  <a:lnTo>
                    <a:pt x="32385" y="201930"/>
                  </a:lnTo>
                  <a:lnTo>
                    <a:pt x="57150" y="178117"/>
                  </a:lnTo>
                  <a:lnTo>
                    <a:pt x="78105" y="183832"/>
                  </a:lnTo>
                  <a:lnTo>
                    <a:pt x="95250" y="166688"/>
                  </a:lnTo>
                  <a:lnTo>
                    <a:pt x="113347" y="174307"/>
                  </a:lnTo>
                  <a:lnTo>
                    <a:pt x="146685" y="158115"/>
                  </a:lnTo>
                  <a:lnTo>
                    <a:pt x="146685" y="133350"/>
                  </a:lnTo>
                  <a:lnTo>
                    <a:pt x="140018" y="115253"/>
                  </a:lnTo>
                  <a:lnTo>
                    <a:pt x="148590" y="87630"/>
                  </a:lnTo>
                  <a:lnTo>
                    <a:pt x="167640" y="103822"/>
                  </a:lnTo>
                  <a:lnTo>
                    <a:pt x="197168" y="103822"/>
                  </a:lnTo>
                  <a:lnTo>
                    <a:pt x="220028" y="97155"/>
                  </a:lnTo>
                  <a:lnTo>
                    <a:pt x="220028" y="78105"/>
                  </a:lnTo>
                  <a:lnTo>
                    <a:pt x="230505" y="67628"/>
                  </a:lnTo>
                  <a:lnTo>
                    <a:pt x="269557" y="78105"/>
                  </a:lnTo>
                  <a:lnTo>
                    <a:pt x="285750" y="61913"/>
                  </a:lnTo>
                  <a:lnTo>
                    <a:pt x="327660" y="61913"/>
                  </a:lnTo>
                  <a:lnTo>
                    <a:pt x="340043" y="49530"/>
                  </a:lnTo>
                  <a:lnTo>
                    <a:pt x="362903" y="41910"/>
                  </a:lnTo>
                  <a:lnTo>
                    <a:pt x="385763" y="33338"/>
                  </a:lnTo>
                  <a:lnTo>
                    <a:pt x="397193" y="22860"/>
                  </a:lnTo>
                  <a:lnTo>
                    <a:pt x="395288" y="0"/>
                  </a:lnTo>
                  <a:lnTo>
                    <a:pt x="411480" y="0"/>
                  </a:lnTo>
                  <a:lnTo>
                    <a:pt x="430530" y="15240"/>
                  </a:lnTo>
                  <a:lnTo>
                    <a:pt x="447675" y="23813"/>
                  </a:lnTo>
                  <a:lnTo>
                    <a:pt x="466725" y="42863"/>
                  </a:lnTo>
                  <a:lnTo>
                    <a:pt x="487680" y="42863"/>
                  </a:lnTo>
                  <a:lnTo>
                    <a:pt x="515303" y="50482"/>
                  </a:lnTo>
                  <a:lnTo>
                    <a:pt x="537210" y="72390"/>
                  </a:lnTo>
                  <a:lnTo>
                    <a:pt x="553403" y="100965"/>
                  </a:lnTo>
                  <a:lnTo>
                    <a:pt x="572453" y="132397"/>
                  </a:lnTo>
                  <a:lnTo>
                    <a:pt x="572453" y="157163"/>
                  </a:lnTo>
                  <a:lnTo>
                    <a:pt x="601028" y="161925"/>
                  </a:lnTo>
                  <a:lnTo>
                    <a:pt x="601028" y="185738"/>
                  </a:lnTo>
                  <a:lnTo>
                    <a:pt x="615315" y="200025"/>
                  </a:lnTo>
                  <a:lnTo>
                    <a:pt x="639128" y="208597"/>
                  </a:lnTo>
                  <a:lnTo>
                    <a:pt x="652463" y="221932"/>
                  </a:lnTo>
                  <a:lnTo>
                    <a:pt x="678180" y="221932"/>
                  </a:lnTo>
                  <a:lnTo>
                    <a:pt x="696278" y="238125"/>
                  </a:lnTo>
                  <a:lnTo>
                    <a:pt x="719138" y="238125"/>
                  </a:lnTo>
                  <a:lnTo>
                    <a:pt x="706755" y="256222"/>
                  </a:lnTo>
                  <a:lnTo>
                    <a:pt x="683895" y="278130"/>
                  </a:lnTo>
                  <a:lnTo>
                    <a:pt x="655320" y="291465"/>
                  </a:lnTo>
                  <a:lnTo>
                    <a:pt x="621982" y="291465"/>
                  </a:lnTo>
                  <a:lnTo>
                    <a:pt x="601028" y="285750"/>
                  </a:lnTo>
                  <a:lnTo>
                    <a:pt x="576263" y="272415"/>
                  </a:lnTo>
                  <a:lnTo>
                    <a:pt x="561975" y="286703"/>
                  </a:lnTo>
                  <a:lnTo>
                    <a:pt x="538163" y="286703"/>
                  </a:lnTo>
                  <a:lnTo>
                    <a:pt x="520065" y="275272"/>
                  </a:lnTo>
                  <a:lnTo>
                    <a:pt x="504825" y="267653"/>
                  </a:lnTo>
                  <a:lnTo>
                    <a:pt x="480060" y="260032"/>
                  </a:lnTo>
                  <a:lnTo>
                    <a:pt x="461010" y="253365"/>
                  </a:lnTo>
                  <a:lnTo>
                    <a:pt x="461010" y="237172"/>
                  </a:lnTo>
                  <a:lnTo>
                    <a:pt x="474345" y="222885"/>
                  </a:lnTo>
                  <a:lnTo>
                    <a:pt x="452438" y="200978"/>
                  </a:lnTo>
                  <a:lnTo>
                    <a:pt x="431482" y="215265"/>
                  </a:lnTo>
                  <a:lnTo>
                    <a:pt x="419100" y="237172"/>
                  </a:lnTo>
                  <a:lnTo>
                    <a:pt x="401955" y="253365"/>
                  </a:lnTo>
                  <a:lnTo>
                    <a:pt x="400050" y="276225"/>
                  </a:lnTo>
                  <a:lnTo>
                    <a:pt x="409575" y="304800"/>
                  </a:lnTo>
                  <a:lnTo>
                    <a:pt x="386715" y="315278"/>
                  </a:lnTo>
                  <a:lnTo>
                    <a:pt x="386715" y="330517"/>
                  </a:lnTo>
                  <a:lnTo>
                    <a:pt x="405765" y="340042"/>
                  </a:lnTo>
                  <a:lnTo>
                    <a:pt x="419100" y="353378"/>
                  </a:lnTo>
                  <a:lnTo>
                    <a:pt x="425768" y="370522"/>
                  </a:lnTo>
                  <a:lnTo>
                    <a:pt x="447675" y="381953"/>
                  </a:lnTo>
                  <a:lnTo>
                    <a:pt x="447675" y="401003"/>
                  </a:lnTo>
                  <a:lnTo>
                    <a:pt x="437197" y="410528"/>
                  </a:lnTo>
                  <a:lnTo>
                    <a:pt x="410528" y="415290"/>
                  </a:lnTo>
                  <a:lnTo>
                    <a:pt x="395288" y="431482"/>
                  </a:lnTo>
                  <a:lnTo>
                    <a:pt x="374332" y="451485"/>
                  </a:lnTo>
                  <a:lnTo>
                    <a:pt x="374332" y="476250"/>
                  </a:lnTo>
                  <a:lnTo>
                    <a:pt x="368618" y="490538"/>
                  </a:lnTo>
                  <a:lnTo>
                    <a:pt x="354330" y="505778"/>
                  </a:lnTo>
                  <a:lnTo>
                    <a:pt x="342900" y="507682"/>
                  </a:lnTo>
                  <a:lnTo>
                    <a:pt x="342900" y="526732"/>
                  </a:lnTo>
                  <a:lnTo>
                    <a:pt x="328613" y="541020"/>
                  </a:lnTo>
                  <a:lnTo>
                    <a:pt x="320040" y="557213"/>
                  </a:lnTo>
                  <a:lnTo>
                    <a:pt x="320040" y="574357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3" name="Полилиния: фигура 105">
              <a:extLst>
                <a:ext uri="{FF2B5EF4-FFF2-40B4-BE49-F238E27FC236}">
                  <a16:creationId xmlns:a16="http://schemas.microsoft.com/office/drawing/2014/main" id="{7CF0A7AD-730F-4D34-98D0-9DC017717D24}"/>
                </a:ext>
              </a:extLst>
            </p:cNvPr>
            <p:cNvSpPr/>
            <p:nvPr/>
          </p:nvSpPr>
          <p:spPr>
            <a:xfrm>
              <a:off x="4605208" y="4888306"/>
              <a:ext cx="407800" cy="410848"/>
            </a:xfrm>
            <a:custGeom>
              <a:avLst/>
              <a:gdLst>
                <a:gd name="connsiteX0" fmla="*/ 489585 w 632460"/>
                <a:gd name="connsiteY0" fmla="*/ 706755 h 732472"/>
                <a:gd name="connsiteX1" fmla="*/ 459105 w 632460"/>
                <a:gd name="connsiteY1" fmla="*/ 706755 h 732472"/>
                <a:gd name="connsiteX2" fmla="*/ 425767 w 632460"/>
                <a:gd name="connsiteY2" fmla="*/ 732472 h 732472"/>
                <a:gd name="connsiteX3" fmla="*/ 405765 w 632460"/>
                <a:gd name="connsiteY3" fmla="*/ 699135 h 732472"/>
                <a:gd name="connsiteX4" fmla="*/ 391477 w 632460"/>
                <a:gd name="connsiteY4" fmla="*/ 704850 h 732472"/>
                <a:gd name="connsiteX5" fmla="*/ 369570 w 632460"/>
                <a:gd name="connsiteY5" fmla="*/ 696278 h 732472"/>
                <a:gd name="connsiteX6" fmla="*/ 351473 w 632460"/>
                <a:gd name="connsiteY6" fmla="*/ 696278 h 732472"/>
                <a:gd name="connsiteX7" fmla="*/ 329565 w 632460"/>
                <a:gd name="connsiteY7" fmla="*/ 685800 h 732472"/>
                <a:gd name="connsiteX8" fmla="*/ 293370 w 632460"/>
                <a:gd name="connsiteY8" fmla="*/ 710565 h 732472"/>
                <a:gd name="connsiteX9" fmla="*/ 278130 w 632460"/>
                <a:gd name="connsiteY9" fmla="*/ 696278 h 732472"/>
                <a:gd name="connsiteX10" fmla="*/ 262890 w 632460"/>
                <a:gd name="connsiteY10" fmla="*/ 681038 h 732472"/>
                <a:gd name="connsiteX11" fmla="*/ 242888 w 632460"/>
                <a:gd name="connsiteY11" fmla="*/ 669607 h 732472"/>
                <a:gd name="connsiteX12" fmla="*/ 224790 w 632460"/>
                <a:gd name="connsiteY12" fmla="*/ 686753 h 732472"/>
                <a:gd name="connsiteX13" fmla="*/ 205740 w 632460"/>
                <a:gd name="connsiteY13" fmla="*/ 667703 h 732472"/>
                <a:gd name="connsiteX14" fmla="*/ 186690 w 632460"/>
                <a:gd name="connsiteY14" fmla="*/ 665797 h 732472"/>
                <a:gd name="connsiteX15" fmla="*/ 181927 w 632460"/>
                <a:gd name="connsiteY15" fmla="*/ 655320 h 732472"/>
                <a:gd name="connsiteX16" fmla="*/ 156210 w 632460"/>
                <a:gd name="connsiteY16" fmla="*/ 646747 h 732472"/>
                <a:gd name="connsiteX17" fmla="*/ 148590 w 632460"/>
                <a:gd name="connsiteY17" fmla="*/ 632460 h 732472"/>
                <a:gd name="connsiteX18" fmla="*/ 124777 w 632460"/>
                <a:gd name="connsiteY18" fmla="*/ 616267 h 732472"/>
                <a:gd name="connsiteX19" fmla="*/ 105727 w 632460"/>
                <a:gd name="connsiteY19" fmla="*/ 623888 h 732472"/>
                <a:gd name="connsiteX20" fmla="*/ 87630 w 632460"/>
                <a:gd name="connsiteY20" fmla="*/ 641985 h 732472"/>
                <a:gd name="connsiteX21" fmla="*/ 70485 w 632460"/>
                <a:gd name="connsiteY21" fmla="*/ 618172 h 732472"/>
                <a:gd name="connsiteX22" fmla="*/ 50483 w 632460"/>
                <a:gd name="connsiteY22" fmla="*/ 618172 h 732472"/>
                <a:gd name="connsiteX23" fmla="*/ 18098 w 632460"/>
                <a:gd name="connsiteY23" fmla="*/ 594360 h 732472"/>
                <a:gd name="connsiteX24" fmla="*/ 0 w 632460"/>
                <a:gd name="connsiteY24" fmla="*/ 568642 h 732472"/>
                <a:gd name="connsiteX25" fmla="*/ 18098 w 632460"/>
                <a:gd name="connsiteY25" fmla="*/ 548640 h 732472"/>
                <a:gd name="connsiteX26" fmla="*/ 29528 w 632460"/>
                <a:gd name="connsiteY26" fmla="*/ 537210 h 732472"/>
                <a:gd name="connsiteX27" fmla="*/ 29528 w 632460"/>
                <a:gd name="connsiteY27" fmla="*/ 513397 h 732472"/>
                <a:gd name="connsiteX28" fmla="*/ 39053 w 632460"/>
                <a:gd name="connsiteY28" fmla="*/ 494347 h 732472"/>
                <a:gd name="connsiteX29" fmla="*/ 47625 w 632460"/>
                <a:gd name="connsiteY29" fmla="*/ 501967 h 732472"/>
                <a:gd name="connsiteX30" fmla="*/ 75248 w 632460"/>
                <a:gd name="connsiteY30" fmla="*/ 501967 h 732472"/>
                <a:gd name="connsiteX31" fmla="*/ 98108 w 632460"/>
                <a:gd name="connsiteY31" fmla="*/ 490538 h 732472"/>
                <a:gd name="connsiteX32" fmla="*/ 104775 w 632460"/>
                <a:gd name="connsiteY32" fmla="*/ 463867 h 732472"/>
                <a:gd name="connsiteX33" fmla="*/ 119063 w 632460"/>
                <a:gd name="connsiteY33" fmla="*/ 440055 h 732472"/>
                <a:gd name="connsiteX34" fmla="*/ 138113 w 632460"/>
                <a:gd name="connsiteY34" fmla="*/ 440055 h 732472"/>
                <a:gd name="connsiteX35" fmla="*/ 155258 w 632460"/>
                <a:gd name="connsiteY35" fmla="*/ 465772 h 732472"/>
                <a:gd name="connsiteX36" fmla="*/ 165735 w 632460"/>
                <a:gd name="connsiteY36" fmla="*/ 454342 h 732472"/>
                <a:gd name="connsiteX37" fmla="*/ 180975 w 632460"/>
                <a:gd name="connsiteY37" fmla="*/ 439103 h 732472"/>
                <a:gd name="connsiteX38" fmla="*/ 170498 w 632460"/>
                <a:gd name="connsiteY38" fmla="*/ 428625 h 732472"/>
                <a:gd name="connsiteX39" fmla="*/ 168592 w 632460"/>
                <a:gd name="connsiteY39" fmla="*/ 414338 h 732472"/>
                <a:gd name="connsiteX40" fmla="*/ 194310 w 632460"/>
                <a:gd name="connsiteY40" fmla="*/ 397192 h 732472"/>
                <a:gd name="connsiteX41" fmla="*/ 219075 w 632460"/>
                <a:gd name="connsiteY41" fmla="*/ 402907 h 732472"/>
                <a:gd name="connsiteX42" fmla="*/ 236220 w 632460"/>
                <a:gd name="connsiteY42" fmla="*/ 388620 h 732472"/>
                <a:gd name="connsiteX43" fmla="*/ 253365 w 632460"/>
                <a:gd name="connsiteY43" fmla="*/ 371475 h 732472"/>
                <a:gd name="connsiteX44" fmla="*/ 238125 w 632460"/>
                <a:gd name="connsiteY44" fmla="*/ 355282 h 732472"/>
                <a:gd name="connsiteX45" fmla="*/ 238125 w 632460"/>
                <a:gd name="connsiteY45" fmla="*/ 344805 h 732472"/>
                <a:gd name="connsiteX46" fmla="*/ 252413 w 632460"/>
                <a:gd name="connsiteY46" fmla="*/ 330517 h 732472"/>
                <a:gd name="connsiteX47" fmla="*/ 261938 w 632460"/>
                <a:gd name="connsiteY47" fmla="*/ 299085 h 732472"/>
                <a:gd name="connsiteX48" fmla="*/ 243840 w 632460"/>
                <a:gd name="connsiteY48" fmla="*/ 270510 h 732472"/>
                <a:gd name="connsiteX49" fmla="*/ 243840 w 632460"/>
                <a:gd name="connsiteY49" fmla="*/ 234315 h 732472"/>
                <a:gd name="connsiteX50" fmla="*/ 267652 w 632460"/>
                <a:gd name="connsiteY50" fmla="*/ 214313 h 732472"/>
                <a:gd name="connsiteX51" fmla="*/ 291465 w 632460"/>
                <a:gd name="connsiteY51" fmla="*/ 214313 h 732472"/>
                <a:gd name="connsiteX52" fmla="*/ 310515 w 632460"/>
                <a:gd name="connsiteY52" fmla="*/ 195263 h 732472"/>
                <a:gd name="connsiteX53" fmla="*/ 332423 w 632460"/>
                <a:gd name="connsiteY53" fmla="*/ 163830 h 732472"/>
                <a:gd name="connsiteX54" fmla="*/ 360998 w 632460"/>
                <a:gd name="connsiteY54" fmla="*/ 138113 h 732472"/>
                <a:gd name="connsiteX55" fmla="*/ 376238 w 632460"/>
                <a:gd name="connsiteY55" fmla="*/ 99060 h 732472"/>
                <a:gd name="connsiteX56" fmla="*/ 376238 w 632460"/>
                <a:gd name="connsiteY56" fmla="*/ 70485 h 732472"/>
                <a:gd name="connsiteX57" fmla="*/ 404813 w 632460"/>
                <a:gd name="connsiteY57" fmla="*/ 56197 h 732472"/>
                <a:gd name="connsiteX58" fmla="*/ 404813 w 632460"/>
                <a:gd name="connsiteY58" fmla="*/ 33338 h 732472"/>
                <a:gd name="connsiteX59" fmla="*/ 412433 w 632460"/>
                <a:gd name="connsiteY59" fmla="*/ 13335 h 732472"/>
                <a:gd name="connsiteX60" fmla="*/ 425767 w 632460"/>
                <a:gd name="connsiteY60" fmla="*/ 0 h 732472"/>
                <a:gd name="connsiteX61" fmla="*/ 445770 w 632460"/>
                <a:gd name="connsiteY61" fmla="*/ 12382 h 732472"/>
                <a:gd name="connsiteX62" fmla="*/ 445770 w 632460"/>
                <a:gd name="connsiteY62" fmla="*/ 30480 h 732472"/>
                <a:gd name="connsiteX63" fmla="*/ 457200 w 632460"/>
                <a:gd name="connsiteY63" fmla="*/ 41910 h 732472"/>
                <a:gd name="connsiteX64" fmla="*/ 469583 w 632460"/>
                <a:gd name="connsiteY64" fmla="*/ 50482 h 732472"/>
                <a:gd name="connsiteX65" fmla="*/ 488633 w 632460"/>
                <a:gd name="connsiteY65" fmla="*/ 69532 h 732472"/>
                <a:gd name="connsiteX66" fmla="*/ 521970 w 632460"/>
                <a:gd name="connsiteY66" fmla="*/ 102870 h 732472"/>
                <a:gd name="connsiteX67" fmla="*/ 541973 w 632460"/>
                <a:gd name="connsiteY67" fmla="*/ 140970 h 732472"/>
                <a:gd name="connsiteX68" fmla="*/ 559118 w 632460"/>
                <a:gd name="connsiteY68" fmla="*/ 158115 h 732472"/>
                <a:gd name="connsiteX69" fmla="*/ 559118 w 632460"/>
                <a:gd name="connsiteY69" fmla="*/ 196215 h 732472"/>
                <a:gd name="connsiteX70" fmla="*/ 544830 w 632460"/>
                <a:gd name="connsiteY70" fmla="*/ 215265 h 732472"/>
                <a:gd name="connsiteX71" fmla="*/ 552450 w 632460"/>
                <a:gd name="connsiteY71" fmla="*/ 259080 h 732472"/>
                <a:gd name="connsiteX72" fmla="*/ 543877 w 632460"/>
                <a:gd name="connsiteY72" fmla="*/ 294322 h 732472"/>
                <a:gd name="connsiteX73" fmla="*/ 561975 w 632460"/>
                <a:gd name="connsiteY73" fmla="*/ 312420 h 732472"/>
                <a:gd name="connsiteX74" fmla="*/ 561975 w 632460"/>
                <a:gd name="connsiteY74" fmla="*/ 340995 h 732472"/>
                <a:gd name="connsiteX75" fmla="*/ 544830 w 632460"/>
                <a:gd name="connsiteY75" fmla="*/ 357188 h 732472"/>
                <a:gd name="connsiteX76" fmla="*/ 551498 w 632460"/>
                <a:gd name="connsiteY76" fmla="*/ 389572 h 732472"/>
                <a:gd name="connsiteX77" fmla="*/ 575310 w 632460"/>
                <a:gd name="connsiteY77" fmla="*/ 401955 h 732472"/>
                <a:gd name="connsiteX78" fmla="*/ 591502 w 632460"/>
                <a:gd name="connsiteY78" fmla="*/ 421957 h 732472"/>
                <a:gd name="connsiteX79" fmla="*/ 592455 w 632460"/>
                <a:gd name="connsiteY79" fmla="*/ 444817 h 732472"/>
                <a:gd name="connsiteX80" fmla="*/ 608648 w 632460"/>
                <a:gd name="connsiteY80" fmla="*/ 444817 h 732472"/>
                <a:gd name="connsiteX81" fmla="*/ 624840 w 632460"/>
                <a:gd name="connsiteY81" fmla="*/ 461010 h 732472"/>
                <a:gd name="connsiteX82" fmla="*/ 616268 w 632460"/>
                <a:gd name="connsiteY82" fmla="*/ 478155 h 732472"/>
                <a:gd name="connsiteX83" fmla="*/ 616268 w 632460"/>
                <a:gd name="connsiteY83" fmla="*/ 510540 h 732472"/>
                <a:gd name="connsiteX84" fmla="*/ 632460 w 632460"/>
                <a:gd name="connsiteY84" fmla="*/ 525780 h 732472"/>
                <a:gd name="connsiteX85" fmla="*/ 623888 w 632460"/>
                <a:gd name="connsiteY85" fmla="*/ 553403 h 732472"/>
                <a:gd name="connsiteX86" fmla="*/ 630555 w 632460"/>
                <a:gd name="connsiteY86" fmla="*/ 571500 h 732472"/>
                <a:gd name="connsiteX87" fmla="*/ 630555 w 632460"/>
                <a:gd name="connsiteY87" fmla="*/ 596265 h 732472"/>
                <a:gd name="connsiteX88" fmla="*/ 597218 w 632460"/>
                <a:gd name="connsiteY88" fmla="*/ 612457 h 732472"/>
                <a:gd name="connsiteX89" fmla="*/ 579120 w 632460"/>
                <a:gd name="connsiteY89" fmla="*/ 604838 h 732472"/>
                <a:gd name="connsiteX90" fmla="*/ 561975 w 632460"/>
                <a:gd name="connsiteY90" fmla="*/ 621982 h 732472"/>
                <a:gd name="connsiteX91" fmla="*/ 541020 w 632460"/>
                <a:gd name="connsiteY91" fmla="*/ 616267 h 732472"/>
                <a:gd name="connsiteX92" fmla="*/ 516255 w 632460"/>
                <a:gd name="connsiteY92" fmla="*/ 640080 h 732472"/>
                <a:gd name="connsiteX93" fmla="*/ 521970 w 632460"/>
                <a:gd name="connsiteY93" fmla="*/ 671513 h 732472"/>
                <a:gd name="connsiteX94" fmla="*/ 510540 w 632460"/>
                <a:gd name="connsiteY94" fmla="*/ 682942 h 732472"/>
                <a:gd name="connsiteX95" fmla="*/ 518160 w 632460"/>
                <a:gd name="connsiteY95" fmla="*/ 707707 h 732472"/>
                <a:gd name="connsiteX96" fmla="*/ 500063 w 632460"/>
                <a:gd name="connsiteY96" fmla="*/ 721042 h 732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632460" h="732472">
                  <a:moveTo>
                    <a:pt x="489585" y="706755"/>
                  </a:moveTo>
                  <a:lnTo>
                    <a:pt x="459105" y="706755"/>
                  </a:lnTo>
                  <a:lnTo>
                    <a:pt x="425767" y="732472"/>
                  </a:lnTo>
                  <a:lnTo>
                    <a:pt x="405765" y="699135"/>
                  </a:lnTo>
                  <a:lnTo>
                    <a:pt x="391477" y="704850"/>
                  </a:lnTo>
                  <a:lnTo>
                    <a:pt x="369570" y="696278"/>
                  </a:lnTo>
                  <a:lnTo>
                    <a:pt x="351473" y="696278"/>
                  </a:lnTo>
                  <a:lnTo>
                    <a:pt x="329565" y="685800"/>
                  </a:lnTo>
                  <a:lnTo>
                    <a:pt x="293370" y="710565"/>
                  </a:lnTo>
                  <a:lnTo>
                    <a:pt x="278130" y="696278"/>
                  </a:lnTo>
                  <a:lnTo>
                    <a:pt x="262890" y="681038"/>
                  </a:lnTo>
                  <a:lnTo>
                    <a:pt x="242888" y="669607"/>
                  </a:lnTo>
                  <a:lnTo>
                    <a:pt x="224790" y="686753"/>
                  </a:lnTo>
                  <a:lnTo>
                    <a:pt x="205740" y="667703"/>
                  </a:lnTo>
                  <a:lnTo>
                    <a:pt x="186690" y="665797"/>
                  </a:lnTo>
                  <a:lnTo>
                    <a:pt x="181927" y="655320"/>
                  </a:lnTo>
                  <a:lnTo>
                    <a:pt x="156210" y="646747"/>
                  </a:lnTo>
                  <a:lnTo>
                    <a:pt x="148590" y="632460"/>
                  </a:lnTo>
                  <a:lnTo>
                    <a:pt x="124777" y="616267"/>
                  </a:lnTo>
                  <a:lnTo>
                    <a:pt x="105727" y="623888"/>
                  </a:lnTo>
                  <a:lnTo>
                    <a:pt x="87630" y="641985"/>
                  </a:lnTo>
                  <a:lnTo>
                    <a:pt x="70485" y="618172"/>
                  </a:lnTo>
                  <a:lnTo>
                    <a:pt x="50483" y="618172"/>
                  </a:lnTo>
                  <a:lnTo>
                    <a:pt x="18098" y="594360"/>
                  </a:lnTo>
                  <a:lnTo>
                    <a:pt x="0" y="568642"/>
                  </a:lnTo>
                  <a:lnTo>
                    <a:pt x="18098" y="548640"/>
                  </a:lnTo>
                  <a:lnTo>
                    <a:pt x="29528" y="537210"/>
                  </a:lnTo>
                  <a:lnTo>
                    <a:pt x="29528" y="513397"/>
                  </a:lnTo>
                  <a:lnTo>
                    <a:pt x="39053" y="494347"/>
                  </a:lnTo>
                  <a:lnTo>
                    <a:pt x="47625" y="501967"/>
                  </a:lnTo>
                  <a:lnTo>
                    <a:pt x="75248" y="501967"/>
                  </a:lnTo>
                  <a:lnTo>
                    <a:pt x="98108" y="490538"/>
                  </a:lnTo>
                  <a:lnTo>
                    <a:pt x="104775" y="463867"/>
                  </a:lnTo>
                  <a:lnTo>
                    <a:pt x="119063" y="440055"/>
                  </a:lnTo>
                  <a:lnTo>
                    <a:pt x="138113" y="440055"/>
                  </a:lnTo>
                  <a:lnTo>
                    <a:pt x="155258" y="465772"/>
                  </a:lnTo>
                  <a:lnTo>
                    <a:pt x="165735" y="454342"/>
                  </a:lnTo>
                  <a:lnTo>
                    <a:pt x="180975" y="439103"/>
                  </a:lnTo>
                  <a:lnTo>
                    <a:pt x="170498" y="428625"/>
                  </a:lnTo>
                  <a:lnTo>
                    <a:pt x="168592" y="414338"/>
                  </a:lnTo>
                  <a:lnTo>
                    <a:pt x="194310" y="397192"/>
                  </a:lnTo>
                  <a:lnTo>
                    <a:pt x="219075" y="402907"/>
                  </a:lnTo>
                  <a:lnTo>
                    <a:pt x="236220" y="388620"/>
                  </a:lnTo>
                  <a:lnTo>
                    <a:pt x="253365" y="371475"/>
                  </a:lnTo>
                  <a:lnTo>
                    <a:pt x="238125" y="355282"/>
                  </a:lnTo>
                  <a:lnTo>
                    <a:pt x="238125" y="344805"/>
                  </a:lnTo>
                  <a:lnTo>
                    <a:pt x="252413" y="330517"/>
                  </a:lnTo>
                  <a:lnTo>
                    <a:pt x="261938" y="299085"/>
                  </a:lnTo>
                  <a:lnTo>
                    <a:pt x="243840" y="270510"/>
                  </a:lnTo>
                  <a:lnTo>
                    <a:pt x="243840" y="234315"/>
                  </a:lnTo>
                  <a:lnTo>
                    <a:pt x="267652" y="214313"/>
                  </a:lnTo>
                  <a:lnTo>
                    <a:pt x="291465" y="214313"/>
                  </a:lnTo>
                  <a:lnTo>
                    <a:pt x="310515" y="195263"/>
                  </a:lnTo>
                  <a:lnTo>
                    <a:pt x="332423" y="163830"/>
                  </a:lnTo>
                  <a:lnTo>
                    <a:pt x="360998" y="138113"/>
                  </a:lnTo>
                  <a:lnTo>
                    <a:pt x="376238" y="99060"/>
                  </a:lnTo>
                  <a:lnTo>
                    <a:pt x="376238" y="70485"/>
                  </a:lnTo>
                  <a:lnTo>
                    <a:pt x="404813" y="56197"/>
                  </a:lnTo>
                  <a:lnTo>
                    <a:pt x="404813" y="33338"/>
                  </a:lnTo>
                  <a:lnTo>
                    <a:pt x="412433" y="13335"/>
                  </a:lnTo>
                  <a:lnTo>
                    <a:pt x="425767" y="0"/>
                  </a:lnTo>
                  <a:lnTo>
                    <a:pt x="445770" y="12382"/>
                  </a:lnTo>
                  <a:lnTo>
                    <a:pt x="445770" y="30480"/>
                  </a:lnTo>
                  <a:lnTo>
                    <a:pt x="457200" y="41910"/>
                  </a:lnTo>
                  <a:lnTo>
                    <a:pt x="469583" y="50482"/>
                  </a:lnTo>
                  <a:lnTo>
                    <a:pt x="488633" y="69532"/>
                  </a:lnTo>
                  <a:lnTo>
                    <a:pt x="521970" y="102870"/>
                  </a:lnTo>
                  <a:lnTo>
                    <a:pt x="541973" y="140970"/>
                  </a:lnTo>
                  <a:lnTo>
                    <a:pt x="559118" y="158115"/>
                  </a:lnTo>
                  <a:lnTo>
                    <a:pt x="559118" y="196215"/>
                  </a:lnTo>
                  <a:lnTo>
                    <a:pt x="544830" y="215265"/>
                  </a:lnTo>
                  <a:lnTo>
                    <a:pt x="552450" y="259080"/>
                  </a:lnTo>
                  <a:lnTo>
                    <a:pt x="543877" y="294322"/>
                  </a:lnTo>
                  <a:lnTo>
                    <a:pt x="561975" y="312420"/>
                  </a:lnTo>
                  <a:lnTo>
                    <a:pt x="561975" y="340995"/>
                  </a:lnTo>
                  <a:lnTo>
                    <a:pt x="544830" y="357188"/>
                  </a:lnTo>
                  <a:lnTo>
                    <a:pt x="551498" y="389572"/>
                  </a:lnTo>
                  <a:lnTo>
                    <a:pt x="575310" y="401955"/>
                  </a:lnTo>
                  <a:lnTo>
                    <a:pt x="591502" y="421957"/>
                  </a:lnTo>
                  <a:lnTo>
                    <a:pt x="592455" y="444817"/>
                  </a:lnTo>
                  <a:lnTo>
                    <a:pt x="608648" y="444817"/>
                  </a:lnTo>
                  <a:lnTo>
                    <a:pt x="624840" y="461010"/>
                  </a:lnTo>
                  <a:lnTo>
                    <a:pt x="616268" y="478155"/>
                  </a:lnTo>
                  <a:lnTo>
                    <a:pt x="616268" y="510540"/>
                  </a:lnTo>
                  <a:lnTo>
                    <a:pt x="632460" y="525780"/>
                  </a:lnTo>
                  <a:lnTo>
                    <a:pt x="623888" y="553403"/>
                  </a:lnTo>
                  <a:lnTo>
                    <a:pt x="630555" y="571500"/>
                  </a:lnTo>
                  <a:lnTo>
                    <a:pt x="630555" y="596265"/>
                  </a:lnTo>
                  <a:lnTo>
                    <a:pt x="597218" y="612457"/>
                  </a:lnTo>
                  <a:lnTo>
                    <a:pt x="579120" y="604838"/>
                  </a:lnTo>
                  <a:lnTo>
                    <a:pt x="561975" y="621982"/>
                  </a:lnTo>
                  <a:lnTo>
                    <a:pt x="541020" y="616267"/>
                  </a:lnTo>
                  <a:lnTo>
                    <a:pt x="516255" y="640080"/>
                  </a:lnTo>
                  <a:lnTo>
                    <a:pt x="521970" y="671513"/>
                  </a:lnTo>
                  <a:lnTo>
                    <a:pt x="510540" y="682942"/>
                  </a:lnTo>
                  <a:lnTo>
                    <a:pt x="518160" y="707707"/>
                  </a:lnTo>
                  <a:lnTo>
                    <a:pt x="500063" y="721042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4" name="Полилиния: фигура 106">
              <a:extLst>
                <a:ext uri="{FF2B5EF4-FFF2-40B4-BE49-F238E27FC236}">
                  <a16:creationId xmlns:a16="http://schemas.microsoft.com/office/drawing/2014/main" id="{5B87D93A-F0DA-47B5-9D5B-24199364322A}"/>
                </a:ext>
              </a:extLst>
            </p:cNvPr>
            <p:cNvSpPr/>
            <p:nvPr/>
          </p:nvSpPr>
          <p:spPr>
            <a:xfrm>
              <a:off x="4880350" y="4682080"/>
              <a:ext cx="950099" cy="585552"/>
            </a:xfrm>
            <a:custGeom>
              <a:avLst/>
              <a:gdLst>
                <a:gd name="connsiteX0" fmla="*/ 324803 w 1473517"/>
                <a:gd name="connsiteY0" fmla="*/ 0 h 1043940"/>
                <a:gd name="connsiteX1" fmla="*/ 321945 w 1473517"/>
                <a:gd name="connsiteY1" fmla="*/ 46672 h 1043940"/>
                <a:gd name="connsiteX2" fmla="*/ 327660 w 1473517"/>
                <a:gd name="connsiteY2" fmla="*/ 84772 h 1043940"/>
                <a:gd name="connsiteX3" fmla="*/ 317182 w 1473517"/>
                <a:gd name="connsiteY3" fmla="*/ 119063 h 1043940"/>
                <a:gd name="connsiteX4" fmla="*/ 291465 w 1473517"/>
                <a:gd name="connsiteY4" fmla="*/ 144780 h 1043940"/>
                <a:gd name="connsiteX5" fmla="*/ 304800 w 1473517"/>
                <a:gd name="connsiteY5" fmla="*/ 158115 h 1043940"/>
                <a:gd name="connsiteX6" fmla="*/ 328613 w 1473517"/>
                <a:gd name="connsiteY6" fmla="*/ 181928 h 1043940"/>
                <a:gd name="connsiteX7" fmla="*/ 356235 w 1473517"/>
                <a:gd name="connsiteY7" fmla="*/ 209550 h 1043940"/>
                <a:gd name="connsiteX8" fmla="*/ 394335 w 1473517"/>
                <a:gd name="connsiteY8" fmla="*/ 200978 h 1043940"/>
                <a:gd name="connsiteX9" fmla="*/ 423863 w 1473517"/>
                <a:gd name="connsiteY9" fmla="*/ 213360 h 1043940"/>
                <a:gd name="connsiteX10" fmla="*/ 453390 w 1473517"/>
                <a:gd name="connsiteY10" fmla="*/ 200978 h 1043940"/>
                <a:gd name="connsiteX11" fmla="*/ 485775 w 1473517"/>
                <a:gd name="connsiteY11" fmla="*/ 218122 h 1043940"/>
                <a:gd name="connsiteX12" fmla="*/ 517207 w 1473517"/>
                <a:gd name="connsiteY12" fmla="*/ 245745 h 1043940"/>
                <a:gd name="connsiteX13" fmla="*/ 492443 w 1473517"/>
                <a:gd name="connsiteY13" fmla="*/ 270510 h 1043940"/>
                <a:gd name="connsiteX14" fmla="*/ 513397 w 1473517"/>
                <a:gd name="connsiteY14" fmla="*/ 294322 h 1043940"/>
                <a:gd name="connsiteX15" fmla="*/ 551497 w 1473517"/>
                <a:gd name="connsiteY15" fmla="*/ 300990 h 1043940"/>
                <a:gd name="connsiteX16" fmla="*/ 571500 w 1473517"/>
                <a:gd name="connsiteY16" fmla="*/ 280988 h 1043940"/>
                <a:gd name="connsiteX17" fmla="*/ 592455 w 1473517"/>
                <a:gd name="connsiteY17" fmla="*/ 301943 h 1043940"/>
                <a:gd name="connsiteX18" fmla="*/ 607695 w 1473517"/>
                <a:gd name="connsiteY18" fmla="*/ 286703 h 1043940"/>
                <a:gd name="connsiteX19" fmla="*/ 645795 w 1473517"/>
                <a:gd name="connsiteY19" fmla="*/ 286703 h 1043940"/>
                <a:gd name="connsiteX20" fmla="*/ 680085 w 1473517"/>
                <a:gd name="connsiteY20" fmla="*/ 320993 h 1043940"/>
                <a:gd name="connsiteX21" fmla="*/ 687705 w 1473517"/>
                <a:gd name="connsiteY21" fmla="*/ 359093 h 1043940"/>
                <a:gd name="connsiteX22" fmla="*/ 687705 w 1473517"/>
                <a:gd name="connsiteY22" fmla="*/ 383857 h 1043940"/>
                <a:gd name="connsiteX23" fmla="*/ 719138 w 1473517"/>
                <a:gd name="connsiteY23" fmla="*/ 415290 h 1043940"/>
                <a:gd name="connsiteX24" fmla="*/ 712470 w 1473517"/>
                <a:gd name="connsiteY24" fmla="*/ 443865 h 1043940"/>
                <a:gd name="connsiteX25" fmla="*/ 721995 w 1473517"/>
                <a:gd name="connsiteY25" fmla="*/ 472440 h 1043940"/>
                <a:gd name="connsiteX26" fmla="*/ 771525 w 1473517"/>
                <a:gd name="connsiteY26" fmla="*/ 466725 h 1043940"/>
                <a:gd name="connsiteX27" fmla="*/ 795338 w 1473517"/>
                <a:gd name="connsiteY27" fmla="*/ 466725 h 1043940"/>
                <a:gd name="connsiteX28" fmla="*/ 816293 w 1473517"/>
                <a:gd name="connsiteY28" fmla="*/ 501015 h 1043940"/>
                <a:gd name="connsiteX29" fmla="*/ 840105 w 1473517"/>
                <a:gd name="connsiteY29" fmla="*/ 501015 h 1043940"/>
                <a:gd name="connsiteX30" fmla="*/ 868680 w 1473517"/>
                <a:gd name="connsiteY30" fmla="*/ 530543 h 1043940"/>
                <a:gd name="connsiteX31" fmla="*/ 892493 w 1473517"/>
                <a:gd name="connsiteY31" fmla="*/ 524828 h 1043940"/>
                <a:gd name="connsiteX32" fmla="*/ 926782 w 1473517"/>
                <a:gd name="connsiteY32" fmla="*/ 534353 h 1043940"/>
                <a:gd name="connsiteX33" fmla="*/ 949643 w 1473517"/>
                <a:gd name="connsiteY33" fmla="*/ 557213 h 1043940"/>
                <a:gd name="connsiteX34" fmla="*/ 962978 w 1473517"/>
                <a:gd name="connsiteY34" fmla="*/ 543878 h 1043940"/>
                <a:gd name="connsiteX35" fmla="*/ 1001078 w 1473517"/>
                <a:gd name="connsiteY35" fmla="*/ 559118 h 1043940"/>
                <a:gd name="connsiteX36" fmla="*/ 991553 w 1473517"/>
                <a:gd name="connsiteY36" fmla="*/ 585788 h 1043940"/>
                <a:gd name="connsiteX37" fmla="*/ 1021080 w 1473517"/>
                <a:gd name="connsiteY37" fmla="*/ 601028 h 1043940"/>
                <a:gd name="connsiteX38" fmla="*/ 1043940 w 1473517"/>
                <a:gd name="connsiteY38" fmla="*/ 623888 h 1043940"/>
                <a:gd name="connsiteX39" fmla="*/ 1096328 w 1473517"/>
                <a:gd name="connsiteY39" fmla="*/ 623888 h 1043940"/>
                <a:gd name="connsiteX40" fmla="*/ 1145857 w 1473517"/>
                <a:gd name="connsiteY40" fmla="*/ 623888 h 1043940"/>
                <a:gd name="connsiteX41" fmla="*/ 1157288 w 1473517"/>
                <a:gd name="connsiteY41" fmla="*/ 603885 h 1043940"/>
                <a:gd name="connsiteX42" fmla="*/ 1183005 w 1473517"/>
                <a:gd name="connsiteY42" fmla="*/ 589597 h 1043940"/>
                <a:gd name="connsiteX43" fmla="*/ 1212532 w 1473517"/>
                <a:gd name="connsiteY43" fmla="*/ 569595 h 1043940"/>
                <a:gd name="connsiteX44" fmla="*/ 1223963 w 1473517"/>
                <a:gd name="connsiteY44" fmla="*/ 599122 h 1043940"/>
                <a:gd name="connsiteX45" fmla="*/ 1252538 w 1473517"/>
                <a:gd name="connsiteY45" fmla="*/ 636270 h 1043940"/>
                <a:gd name="connsiteX46" fmla="*/ 1265873 w 1473517"/>
                <a:gd name="connsiteY46" fmla="*/ 622935 h 1043940"/>
                <a:gd name="connsiteX47" fmla="*/ 1306830 w 1473517"/>
                <a:gd name="connsiteY47" fmla="*/ 635318 h 1043940"/>
                <a:gd name="connsiteX48" fmla="*/ 1327785 w 1473517"/>
                <a:gd name="connsiteY48" fmla="*/ 670560 h 1043940"/>
                <a:gd name="connsiteX49" fmla="*/ 1348740 w 1473517"/>
                <a:gd name="connsiteY49" fmla="*/ 663893 h 1043940"/>
                <a:gd name="connsiteX50" fmla="*/ 1368743 w 1473517"/>
                <a:gd name="connsiteY50" fmla="*/ 663893 h 1043940"/>
                <a:gd name="connsiteX51" fmla="*/ 1398270 w 1473517"/>
                <a:gd name="connsiteY51" fmla="*/ 701040 h 1043940"/>
                <a:gd name="connsiteX52" fmla="*/ 1398270 w 1473517"/>
                <a:gd name="connsiteY52" fmla="*/ 743903 h 1043940"/>
                <a:gd name="connsiteX53" fmla="*/ 1433513 w 1473517"/>
                <a:gd name="connsiteY53" fmla="*/ 767715 h 1043940"/>
                <a:gd name="connsiteX54" fmla="*/ 1473518 w 1473517"/>
                <a:gd name="connsiteY54" fmla="*/ 784860 h 1043940"/>
                <a:gd name="connsiteX55" fmla="*/ 1452563 w 1473517"/>
                <a:gd name="connsiteY55" fmla="*/ 819150 h 1043940"/>
                <a:gd name="connsiteX56" fmla="*/ 1402080 w 1473517"/>
                <a:gd name="connsiteY56" fmla="*/ 841057 h 1043940"/>
                <a:gd name="connsiteX57" fmla="*/ 1369695 w 1473517"/>
                <a:gd name="connsiteY57" fmla="*/ 873443 h 1043940"/>
                <a:gd name="connsiteX58" fmla="*/ 1317307 w 1473517"/>
                <a:gd name="connsiteY58" fmla="*/ 835343 h 1043940"/>
                <a:gd name="connsiteX59" fmla="*/ 1262063 w 1473517"/>
                <a:gd name="connsiteY59" fmla="*/ 859155 h 1043940"/>
                <a:gd name="connsiteX60" fmla="*/ 1251585 w 1473517"/>
                <a:gd name="connsiteY60" fmla="*/ 893445 h 1043940"/>
                <a:gd name="connsiteX61" fmla="*/ 1214438 w 1473517"/>
                <a:gd name="connsiteY61" fmla="*/ 874395 h 1043940"/>
                <a:gd name="connsiteX62" fmla="*/ 1187768 w 1473517"/>
                <a:gd name="connsiteY62" fmla="*/ 881063 h 1043940"/>
                <a:gd name="connsiteX63" fmla="*/ 1155382 w 1473517"/>
                <a:gd name="connsiteY63" fmla="*/ 848678 h 1043940"/>
                <a:gd name="connsiteX64" fmla="*/ 1120140 w 1473517"/>
                <a:gd name="connsiteY64" fmla="*/ 862013 h 1043940"/>
                <a:gd name="connsiteX65" fmla="*/ 1075373 w 1473517"/>
                <a:gd name="connsiteY65" fmla="*/ 857250 h 1043940"/>
                <a:gd name="connsiteX66" fmla="*/ 1062990 w 1473517"/>
                <a:gd name="connsiteY66" fmla="*/ 839153 h 1043940"/>
                <a:gd name="connsiteX67" fmla="*/ 1014413 w 1473517"/>
                <a:gd name="connsiteY67" fmla="*/ 839153 h 1043940"/>
                <a:gd name="connsiteX68" fmla="*/ 980122 w 1473517"/>
                <a:gd name="connsiteY68" fmla="*/ 823913 h 1043940"/>
                <a:gd name="connsiteX69" fmla="*/ 935355 w 1473517"/>
                <a:gd name="connsiteY69" fmla="*/ 830580 h 1043940"/>
                <a:gd name="connsiteX70" fmla="*/ 919163 w 1473517"/>
                <a:gd name="connsiteY70" fmla="*/ 863918 h 1043940"/>
                <a:gd name="connsiteX71" fmla="*/ 902970 w 1473517"/>
                <a:gd name="connsiteY71" fmla="*/ 904875 h 1043940"/>
                <a:gd name="connsiteX72" fmla="*/ 905828 w 1473517"/>
                <a:gd name="connsiteY72" fmla="*/ 949643 h 1043940"/>
                <a:gd name="connsiteX73" fmla="*/ 859155 w 1473517"/>
                <a:gd name="connsiteY73" fmla="*/ 962978 h 1043940"/>
                <a:gd name="connsiteX74" fmla="*/ 821055 w 1473517"/>
                <a:gd name="connsiteY74" fmla="*/ 990600 h 1043940"/>
                <a:gd name="connsiteX75" fmla="*/ 816293 w 1473517"/>
                <a:gd name="connsiteY75" fmla="*/ 1020128 h 1043940"/>
                <a:gd name="connsiteX76" fmla="*/ 776288 w 1473517"/>
                <a:gd name="connsiteY76" fmla="*/ 1043940 h 1043940"/>
                <a:gd name="connsiteX77" fmla="*/ 753428 w 1473517"/>
                <a:gd name="connsiteY77" fmla="*/ 1043940 h 1043940"/>
                <a:gd name="connsiteX78" fmla="*/ 735330 w 1473517"/>
                <a:gd name="connsiteY78" fmla="*/ 1027747 h 1043940"/>
                <a:gd name="connsiteX79" fmla="*/ 709613 w 1473517"/>
                <a:gd name="connsiteY79" fmla="*/ 1027747 h 1043940"/>
                <a:gd name="connsiteX80" fmla="*/ 696278 w 1473517"/>
                <a:gd name="connsiteY80" fmla="*/ 1014413 h 1043940"/>
                <a:gd name="connsiteX81" fmla="*/ 672465 w 1473517"/>
                <a:gd name="connsiteY81" fmla="*/ 1006793 h 1043940"/>
                <a:gd name="connsiteX82" fmla="*/ 658178 w 1473517"/>
                <a:gd name="connsiteY82" fmla="*/ 992505 h 1043940"/>
                <a:gd name="connsiteX83" fmla="*/ 658178 w 1473517"/>
                <a:gd name="connsiteY83" fmla="*/ 967740 h 1043940"/>
                <a:gd name="connsiteX84" fmla="*/ 629603 w 1473517"/>
                <a:gd name="connsiteY84" fmla="*/ 963930 h 1043940"/>
                <a:gd name="connsiteX85" fmla="*/ 629603 w 1473517"/>
                <a:gd name="connsiteY85" fmla="*/ 938213 h 1043940"/>
                <a:gd name="connsiteX86" fmla="*/ 610553 w 1473517"/>
                <a:gd name="connsiteY86" fmla="*/ 907732 h 1043940"/>
                <a:gd name="connsiteX87" fmla="*/ 594360 w 1473517"/>
                <a:gd name="connsiteY87" fmla="*/ 879157 h 1043940"/>
                <a:gd name="connsiteX88" fmla="*/ 572453 w 1473517"/>
                <a:gd name="connsiteY88" fmla="*/ 857250 h 1043940"/>
                <a:gd name="connsiteX89" fmla="*/ 544830 w 1473517"/>
                <a:gd name="connsiteY89" fmla="*/ 849630 h 1043940"/>
                <a:gd name="connsiteX90" fmla="*/ 523875 w 1473517"/>
                <a:gd name="connsiteY90" fmla="*/ 849630 h 1043940"/>
                <a:gd name="connsiteX91" fmla="*/ 504825 w 1473517"/>
                <a:gd name="connsiteY91" fmla="*/ 830580 h 1043940"/>
                <a:gd name="connsiteX92" fmla="*/ 468630 w 1473517"/>
                <a:gd name="connsiteY92" fmla="*/ 805815 h 1043940"/>
                <a:gd name="connsiteX93" fmla="*/ 452438 w 1473517"/>
                <a:gd name="connsiteY93" fmla="*/ 805815 h 1043940"/>
                <a:gd name="connsiteX94" fmla="*/ 454343 w 1473517"/>
                <a:gd name="connsiteY94" fmla="*/ 828675 h 1043940"/>
                <a:gd name="connsiteX95" fmla="*/ 442913 w 1473517"/>
                <a:gd name="connsiteY95" fmla="*/ 840105 h 1043940"/>
                <a:gd name="connsiteX96" fmla="*/ 397193 w 1473517"/>
                <a:gd name="connsiteY96" fmla="*/ 856297 h 1043940"/>
                <a:gd name="connsiteX97" fmla="*/ 384810 w 1473517"/>
                <a:gd name="connsiteY97" fmla="*/ 868680 h 1043940"/>
                <a:gd name="connsiteX98" fmla="*/ 342900 w 1473517"/>
                <a:gd name="connsiteY98" fmla="*/ 868680 h 1043940"/>
                <a:gd name="connsiteX99" fmla="*/ 326707 w 1473517"/>
                <a:gd name="connsiteY99" fmla="*/ 884872 h 1043940"/>
                <a:gd name="connsiteX100" fmla="*/ 287655 w 1473517"/>
                <a:gd name="connsiteY100" fmla="*/ 874395 h 1043940"/>
                <a:gd name="connsiteX101" fmla="*/ 277178 w 1473517"/>
                <a:gd name="connsiteY101" fmla="*/ 884872 h 1043940"/>
                <a:gd name="connsiteX102" fmla="*/ 277178 w 1473517"/>
                <a:gd name="connsiteY102" fmla="*/ 903922 h 1043940"/>
                <a:gd name="connsiteX103" fmla="*/ 255270 w 1473517"/>
                <a:gd name="connsiteY103" fmla="*/ 910590 h 1043940"/>
                <a:gd name="connsiteX104" fmla="*/ 225743 w 1473517"/>
                <a:gd name="connsiteY104" fmla="*/ 910590 h 1043940"/>
                <a:gd name="connsiteX105" fmla="*/ 205740 w 1473517"/>
                <a:gd name="connsiteY105" fmla="*/ 895350 h 1043940"/>
                <a:gd name="connsiteX106" fmla="*/ 190500 w 1473517"/>
                <a:gd name="connsiteY106" fmla="*/ 880110 h 1043940"/>
                <a:gd name="connsiteX107" fmla="*/ 190500 w 1473517"/>
                <a:gd name="connsiteY107" fmla="*/ 847725 h 1043940"/>
                <a:gd name="connsiteX108" fmla="*/ 199072 w 1473517"/>
                <a:gd name="connsiteY108" fmla="*/ 831532 h 1043940"/>
                <a:gd name="connsiteX109" fmla="*/ 182880 w 1473517"/>
                <a:gd name="connsiteY109" fmla="*/ 815340 h 1043940"/>
                <a:gd name="connsiteX110" fmla="*/ 166688 w 1473517"/>
                <a:gd name="connsiteY110" fmla="*/ 815340 h 1043940"/>
                <a:gd name="connsiteX111" fmla="*/ 165735 w 1473517"/>
                <a:gd name="connsiteY111" fmla="*/ 792480 h 1043940"/>
                <a:gd name="connsiteX112" fmla="*/ 149543 w 1473517"/>
                <a:gd name="connsiteY112" fmla="*/ 772478 h 1043940"/>
                <a:gd name="connsiteX113" fmla="*/ 125730 w 1473517"/>
                <a:gd name="connsiteY113" fmla="*/ 760095 h 1043940"/>
                <a:gd name="connsiteX114" fmla="*/ 120015 w 1473517"/>
                <a:gd name="connsiteY114" fmla="*/ 727710 h 1043940"/>
                <a:gd name="connsiteX115" fmla="*/ 136207 w 1473517"/>
                <a:gd name="connsiteY115" fmla="*/ 711518 h 1043940"/>
                <a:gd name="connsiteX116" fmla="*/ 136207 w 1473517"/>
                <a:gd name="connsiteY116" fmla="*/ 682943 h 1043940"/>
                <a:gd name="connsiteX117" fmla="*/ 118110 w 1473517"/>
                <a:gd name="connsiteY117" fmla="*/ 664845 h 1043940"/>
                <a:gd name="connsiteX118" fmla="*/ 125730 w 1473517"/>
                <a:gd name="connsiteY118" fmla="*/ 635318 h 1043940"/>
                <a:gd name="connsiteX119" fmla="*/ 120015 w 1473517"/>
                <a:gd name="connsiteY119" fmla="*/ 584835 h 1043940"/>
                <a:gd name="connsiteX120" fmla="*/ 134303 w 1473517"/>
                <a:gd name="connsiteY120" fmla="*/ 565785 h 1043940"/>
                <a:gd name="connsiteX121" fmla="*/ 134303 w 1473517"/>
                <a:gd name="connsiteY121" fmla="*/ 527685 h 1043940"/>
                <a:gd name="connsiteX122" fmla="*/ 117157 w 1473517"/>
                <a:gd name="connsiteY122" fmla="*/ 510540 h 1043940"/>
                <a:gd name="connsiteX123" fmla="*/ 96203 w 1473517"/>
                <a:gd name="connsiteY123" fmla="*/ 472440 h 1043940"/>
                <a:gd name="connsiteX124" fmla="*/ 62865 w 1473517"/>
                <a:gd name="connsiteY124" fmla="*/ 439103 h 1043940"/>
                <a:gd name="connsiteX125" fmla="*/ 43815 w 1473517"/>
                <a:gd name="connsiteY125" fmla="*/ 420053 h 1043940"/>
                <a:gd name="connsiteX126" fmla="*/ 20003 w 1473517"/>
                <a:gd name="connsiteY126" fmla="*/ 400050 h 1043940"/>
                <a:gd name="connsiteX127" fmla="*/ 20003 w 1473517"/>
                <a:gd name="connsiteY127" fmla="*/ 382905 h 1043940"/>
                <a:gd name="connsiteX128" fmla="*/ 0 w 1473517"/>
                <a:gd name="connsiteY128" fmla="*/ 370522 h 1043940"/>
                <a:gd name="connsiteX129" fmla="*/ 4763 w 1473517"/>
                <a:gd name="connsiteY129" fmla="*/ 345757 h 1043940"/>
                <a:gd name="connsiteX130" fmla="*/ 40005 w 1473517"/>
                <a:gd name="connsiteY130" fmla="*/ 310515 h 1043940"/>
                <a:gd name="connsiteX131" fmla="*/ 40005 w 1473517"/>
                <a:gd name="connsiteY131" fmla="*/ 291465 h 1043940"/>
                <a:gd name="connsiteX132" fmla="*/ 51435 w 1473517"/>
                <a:gd name="connsiteY132" fmla="*/ 269557 h 1043940"/>
                <a:gd name="connsiteX133" fmla="*/ 45720 w 1473517"/>
                <a:gd name="connsiteY133" fmla="*/ 244793 h 1043940"/>
                <a:gd name="connsiteX134" fmla="*/ 64770 w 1473517"/>
                <a:gd name="connsiteY134" fmla="*/ 208597 h 1043940"/>
                <a:gd name="connsiteX135" fmla="*/ 93345 w 1473517"/>
                <a:gd name="connsiteY135" fmla="*/ 190500 h 1043940"/>
                <a:gd name="connsiteX136" fmla="*/ 96203 w 1473517"/>
                <a:gd name="connsiteY136" fmla="*/ 164782 h 1043940"/>
                <a:gd name="connsiteX137" fmla="*/ 130493 w 1473517"/>
                <a:gd name="connsiteY137" fmla="*/ 143828 h 1043940"/>
                <a:gd name="connsiteX138" fmla="*/ 124778 w 1473517"/>
                <a:gd name="connsiteY138" fmla="*/ 113347 h 1043940"/>
                <a:gd name="connsiteX139" fmla="*/ 137160 w 1473517"/>
                <a:gd name="connsiteY139" fmla="*/ 88582 h 1043940"/>
                <a:gd name="connsiteX140" fmla="*/ 166688 w 1473517"/>
                <a:gd name="connsiteY140" fmla="*/ 59055 h 1043940"/>
                <a:gd name="connsiteX141" fmla="*/ 188595 w 1473517"/>
                <a:gd name="connsiteY141" fmla="*/ 37147 h 1043940"/>
                <a:gd name="connsiteX142" fmla="*/ 206693 w 1473517"/>
                <a:gd name="connsiteY142" fmla="*/ 43815 h 1043940"/>
                <a:gd name="connsiteX143" fmla="*/ 206693 w 1473517"/>
                <a:gd name="connsiteY143" fmla="*/ 65722 h 1043940"/>
                <a:gd name="connsiteX144" fmla="*/ 231457 w 1473517"/>
                <a:gd name="connsiteY144" fmla="*/ 62865 h 1043940"/>
                <a:gd name="connsiteX145" fmla="*/ 258128 w 1473517"/>
                <a:gd name="connsiteY145" fmla="*/ 36195 h 1043940"/>
                <a:gd name="connsiteX146" fmla="*/ 284797 w 1473517"/>
                <a:gd name="connsiteY146" fmla="*/ 22860 h 1043940"/>
                <a:gd name="connsiteX147" fmla="*/ 300038 w 1473517"/>
                <a:gd name="connsiteY147" fmla="*/ 5715 h 1043940"/>
                <a:gd name="connsiteX148" fmla="*/ 324803 w 1473517"/>
                <a:gd name="connsiteY148" fmla="*/ 0 h 104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</a:cxnLst>
              <a:rect l="l" t="t" r="r" b="b"/>
              <a:pathLst>
                <a:path w="1473517" h="1043940">
                  <a:moveTo>
                    <a:pt x="324803" y="0"/>
                  </a:moveTo>
                  <a:lnTo>
                    <a:pt x="321945" y="46672"/>
                  </a:lnTo>
                  <a:lnTo>
                    <a:pt x="327660" y="84772"/>
                  </a:lnTo>
                  <a:lnTo>
                    <a:pt x="317182" y="119063"/>
                  </a:lnTo>
                  <a:lnTo>
                    <a:pt x="291465" y="144780"/>
                  </a:lnTo>
                  <a:lnTo>
                    <a:pt x="304800" y="158115"/>
                  </a:lnTo>
                  <a:lnTo>
                    <a:pt x="328613" y="181928"/>
                  </a:lnTo>
                  <a:lnTo>
                    <a:pt x="356235" y="209550"/>
                  </a:lnTo>
                  <a:lnTo>
                    <a:pt x="394335" y="200978"/>
                  </a:lnTo>
                  <a:lnTo>
                    <a:pt x="423863" y="213360"/>
                  </a:lnTo>
                  <a:lnTo>
                    <a:pt x="453390" y="200978"/>
                  </a:lnTo>
                  <a:lnTo>
                    <a:pt x="485775" y="218122"/>
                  </a:lnTo>
                  <a:lnTo>
                    <a:pt x="517207" y="245745"/>
                  </a:lnTo>
                  <a:lnTo>
                    <a:pt x="492443" y="270510"/>
                  </a:lnTo>
                  <a:lnTo>
                    <a:pt x="513397" y="294322"/>
                  </a:lnTo>
                  <a:lnTo>
                    <a:pt x="551497" y="300990"/>
                  </a:lnTo>
                  <a:lnTo>
                    <a:pt x="571500" y="280988"/>
                  </a:lnTo>
                  <a:lnTo>
                    <a:pt x="592455" y="301943"/>
                  </a:lnTo>
                  <a:lnTo>
                    <a:pt x="607695" y="286703"/>
                  </a:lnTo>
                  <a:lnTo>
                    <a:pt x="645795" y="286703"/>
                  </a:lnTo>
                  <a:lnTo>
                    <a:pt x="680085" y="320993"/>
                  </a:lnTo>
                  <a:lnTo>
                    <a:pt x="687705" y="359093"/>
                  </a:lnTo>
                  <a:lnTo>
                    <a:pt x="687705" y="383857"/>
                  </a:lnTo>
                  <a:lnTo>
                    <a:pt x="719138" y="415290"/>
                  </a:lnTo>
                  <a:lnTo>
                    <a:pt x="712470" y="443865"/>
                  </a:lnTo>
                  <a:lnTo>
                    <a:pt x="721995" y="472440"/>
                  </a:lnTo>
                  <a:lnTo>
                    <a:pt x="771525" y="466725"/>
                  </a:lnTo>
                  <a:lnTo>
                    <a:pt x="795338" y="466725"/>
                  </a:lnTo>
                  <a:lnTo>
                    <a:pt x="816293" y="501015"/>
                  </a:lnTo>
                  <a:lnTo>
                    <a:pt x="840105" y="501015"/>
                  </a:lnTo>
                  <a:lnTo>
                    <a:pt x="868680" y="530543"/>
                  </a:lnTo>
                  <a:lnTo>
                    <a:pt x="892493" y="524828"/>
                  </a:lnTo>
                  <a:lnTo>
                    <a:pt x="926782" y="534353"/>
                  </a:lnTo>
                  <a:lnTo>
                    <a:pt x="949643" y="557213"/>
                  </a:lnTo>
                  <a:lnTo>
                    <a:pt x="962978" y="543878"/>
                  </a:lnTo>
                  <a:lnTo>
                    <a:pt x="1001078" y="559118"/>
                  </a:lnTo>
                  <a:lnTo>
                    <a:pt x="991553" y="585788"/>
                  </a:lnTo>
                  <a:lnTo>
                    <a:pt x="1021080" y="601028"/>
                  </a:lnTo>
                  <a:lnTo>
                    <a:pt x="1043940" y="623888"/>
                  </a:lnTo>
                  <a:lnTo>
                    <a:pt x="1096328" y="623888"/>
                  </a:lnTo>
                  <a:lnTo>
                    <a:pt x="1145857" y="623888"/>
                  </a:lnTo>
                  <a:lnTo>
                    <a:pt x="1157288" y="603885"/>
                  </a:lnTo>
                  <a:lnTo>
                    <a:pt x="1183005" y="589597"/>
                  </a:lnTo>
                  <a:lnTo>
                    <a:pt x="1212532" y="569595"/>
                  </a:lnTo>
                  <a:lnTo>
                    <a:pt x="1223963" y="599122"/>
                  </a:lnTo>
                  <a:lnTo>
                    <a:pt x="1252538" y="636270"/>
                  </a:lnTo>
                  <a:lnTo>
                    <a:pt x="1265873" y="622935"/>
                  </a:lnTo>
                  <a:lnTo>
                    <a:pt x="1306830" y="635318"/>
                  </a:lnTo>
                  <a:lnTo>
                    <a:pt x="1327785" y="670560"/>
                  </a:lnTo>
                  <a:lnTo>
                    <a:pt x="1348740" y="663893"/>
                  </a:lnTo>
                  <a:lnTo>
                    <a:pt x="1368743" y="663893"/>
                  </a:lnTo>
                  <a:lnTo>
                    <a:pt x="1398270" y="701040"/>
                  </a:lnTo>
                  <a:lnTo>
                    <a:pt x="1398270" y="743903"/>
                  </a:lnTo>
                  <a:lnTo>
                    <a:pt x="1433513" y="767715"/>
                  </a:lnTo>
                  <a:lnTo>
                    <a:pt x="1473518" y="784860"/>
                  </a:lnTo>
                  <a:lnTo>
                    <a:pt x="1452563" y="819150"/>
                  </a:lnTo>
                  <a:lnTo>
                    <a:pt x="1402080" y="841057"/>
                  </a:lnTo>
                  <a:lnTo>
                    <a:pt x="1369695" y="873443"/>
                  </a:lnTo>
                  <a:lnTo>
                    <a:pt x="1317307" y="835343"/>
                  </a:lnTo>
                  <a:lnTo>
                    <a:pt x="1262063" y="859155"/>
                  </a:lnTo>
                  <a:lnTo>
                    <a:pt x="1251585" y="893445"/>
                  </a:lnTo>
                  <a:lnTo>
                    <a:pt x="1214438" y="874395"/>
                  </a:lnTo>
                  <a:lnTo>
                    <a:pt x="1187768" y="881063"/>
                  </a:lnTo>
                  <a:lnTo>
                    <a:pt x="1155382" y="848678"/>
                  </a:lnTo>
                  <a:lnTo>
                    <a:pt x="1120140" y="862013"/>
                  </a:lnTo>
                  <a:lnTo>
                    <a:pt x="1075373" y="857250"/>
                  </a:lnTo>
                  <a:lnTo>
                    <a:pt x="1062990" y="839153"/>
                  </a:lnTo>
                  <a:lnTo>
                    <a:pt x="1014413" y="839153"/>
                  </a:lnTo>
                  <a:lnTo>
                    <a:pt x="980122" y="823913"/>
                  </a:lnTo>
                  <a:lnTo>
                    <a:pt x="935355" y="830580"/>
                  </a:lnTo>
                  <a:lnTo>
                    <a:pt x="919163" y="863918"/>
                  </a:lnTo>
                  <a:lnTo>
                    <a:pt x="902970" y="904875"/>
                  </a:lnTo>
                  <a:lnTo>
                    <a:pt x="905828" y="949643"/>
                  </a:lnTo>
                  <a:lnTo>
                    <a:pt x="859155" y="962978"/>
                  </a:lnTo>
                  <a:lnTo>
                    <a:pt x="821055" y="990600"/>
                  </a:lnTo>
                  <a:lnTo>
                    <a:pt x="816293" y="1020128"/>
                  </a:lnTo>
                  <a:lnTo>
                    <a:pt x="776288" y="1043940"/>
                  </a:lnTo>
                  <a:lnTo>
                    <a:pt x="753428" y="1043940"/>
                  </a:lnTo>
                  <a:lnTo>
                    <a:pt x="735330" y="1027747"/>
                  </a:lnTo>
                  <a:lnTo>
                    <a:pt x="709613" y="1027747"/>
                  </a:lnTo>
                  <a:lnTo>
                    <a:pt x="696278" y="1014413"/>
                  </a:lnTo>
                  <a:lnTo>
                    <a:pt x="672465" y="1006793"/>
                  </a:lnTo>
                  <a:lnTo>
                    <a:pt x="658178" y="992505"/>
                  </a:lnTo>
                  <a:lnTo>
                    <a:pt x="658178" y="967740"/>
                  </a:lnTo>
                  <a:lnTo>
                    <a:pt x="629603" y="963930"/>
                  </a:lnTo>
                  <a:lnTo>
                    <a:pt x="629603" y="938213"/>
                  </a:lnTo>
                  <a:lnTo>
                    <a:pt x="610553" y="907732"/>
                  </a:lnTo>
                  <a:lnTo>
                    <a:pt x="594360" y="879157"/>
                  </a:lnTo>
                  <a:lnTo>
                    <a:pt x="572453" y="857250"/>
                  </a:lnTo>
                  <a:lnTo>
                    <a:pt x="544830" y="849630"/>
                  </a:lnTo>
                  <a:lnTo>
                    <a:pt x="523875" y="849630"/>
                  </a:lnTo>
                  <a:lnTo>
                    <a:pt x="504825" y="830580"/>
                  </a:lnTo>
                  <a:lnTo>
                    <a:pt x="468630" y="805815"/>
                  </a:lnTo>
                  <a:lnTo>
                    <a:pt x="452438" y="805815"/>
                  </a:lnTo>
                  <a:lnTo>
                    <a:pt x="454343" y="828675"/>
                  </a:lnTo>
                  <a:lnTo>
                    <a:pt x="442913" y="840105"/>
                  </a:lnTo>
                  <a:lnTo>
                    <a:pt x="397193" y="856297"/>
                  </a:lnTo>
                  <a:lnTo>
                    <a:pt x="384810" y="868680"/>
                  </a:lnTo>
                  <a:lnTo>
                    <a:pt x="342900" y="868680"/>
                  </a:lnTo>
                  <a:lnTo>
                    <a:pt x="326707" y="884872"/>
                  </a:lnTo>
                  <a:lnTo>
                    <a:pt x="287655" y="874395"/>
                  </a:lnTo>
                  <a:lnTo>
                    <a:pt x="277178" y="884872"/>
                  </a:lnTo>
                  <a:lnTo>
                    <a:pt x="277178" y="903922"/>
                  </a:lnTo>
                  <a:lnTo>
                    <a:pt x="255270" y="910590"/>
                  </a:lnTo>
                  <a:lnTo>
                    <a:pt x="225743" y="910590"/>
                  </a:lnTo>
                  <a:lnTo>
                    <a:pt x="205740" y="895350"/>
                  </a:lnTo>
                  <a:lnTo>
                    <a:pt x="190500" y="880110"/>
                  </a:lnTo>
                  <a:lnTo>
                    <a:pt x="190500" y="847725"/>
                  </a:lnTo>
                  <a:lnTo>
                    <a:pt x="199072" y="831532"/>
                  </a:lnTo>
                  <a:lnTo>
                    <a:pt x="182880" y="815340"/>
                  </a:lnTo>
                  <a:lnTo>
                    <a:pt x="166688" y="815340"/>
                  </a:lnTo>
                  <a:lnTo>
                    <a:pt x="165735" y="792480"/>
                  </a:lnTo>
                  <a:lnTo>
                    <a:pt x="149543" y="772478"/>
                  </a:lnTo>
                  <a:lnTo>
                    <a:pt x="125730" y="760095"/>
                  </a:lnTo>
                  <a:lnTo>
                    <a:pt x="120015" y="727710"/>
                  </a:lnTo>
                  <a:lnTo>
                    <a:pt x="136207" y="711518"/>
                  </a:lnTo>
                  <a:cubicBezTo>
                    <a:pt x="136207" y="711518"/>
                    <a:pt x="140970" y="687705"/>
                    <a:pt x="136207" y="682943"/>
                  </a:cubicBezTo>
                  <a:cubicBezTo>
                    <a:pt x="131445" y="678180"/>
                    <a:pt x="118110" y="664845"/>
                    <a:pt x="118110" y="664845"/>
                  </a:cubicBezTo>
                  <a:lnTo>
                    <a:pt x="125730" y="635318"/>
                  </a:lnTo>
                  <a:lnTo>
                    <a:pt x="120015" y="584835"/>
                  </a:lnTo>
                  <a:cubicBezTo>
                    <a:pt x="120015" y="584835"/>
                    <a:pt x="129540" y="570547"/>
                    <a:pt x="134303" y="565785"/>
                  </a:cubicBezTo>
                  <a:cubicBezTo>
                    <a:pt x="139065" y="561022"/>
                    <a:pt x="134303" y="527685"/>
                    <a:pt x="134303" y="527685"/>
                  </a:cubicBezTo>
                  <a:lnTo>
                    <a:pt x="117157" y="510540"/>
                  </a:lnTo>
                  <a:lnTo>
                    <a:pt x="96203" y="472440"/>
                  </a:lnTo>
                  <a:lnTo>
                    <a:pt x="62865" y="439103"/>
                  </a:lnTo>
                  <a:lnTo>
                    <a:pt x="43815" y="420053"/>
                  </a:lnTo>
                  <a:lnTo>
                    <a:pt x="20003" y="400050"/>
                  </a:lnTo>
                  <a:lnTo>
                    <a:pt x="20003" y="382905"/>
                  </a:lnTo>
                  <a:lnTo>
                    <a:pt x="0" y="370522"/>
                  </a:lnTo>
                  <a:lnTo>
                    <a:pt x="4763" y="345757"/>
                  </a:lnTo>
                  <a:lnTo>
                    <a:pt x="40005" y="310515"/>
                  </a:lnTo>
                  <a:lnTo>
                    <a:pt x="40005" y="291465"/>
                  </a:lnTo>
                  <a:lnTo>
                    <a:pt x="51435" y="269557"/>
                  </a:lnTo>
                  <a:lnTo>
                    <a:pt x="45720" y="244793"/>
                  </a:lnTo>
                  <a:lnTo>
                    <a:pt x="64770" y="208597"/>
                  </a:lnTo>
                  <a:lnTo>
                    <a:pt x="93345" y="190500"/>
                  </a:lnTo>
                  <a:lnTo>
                    <a:pt x="96203" y="164782"/>
                  </a:lnTo>
                  <a:lnTo>
                    <a:pt x="130493" y="143828"/>
                  </a:lnTo>
                  <a:lnTo>
                    <a:pt x="124778" y="113347"/>
                  </a:lnTo>
                  <a:lnTo>
                    <a:pt x="137160" y="88582"/>
                  </a:lnTo>
                  <a:lnTo>
                    <a:pt x="166688" y="59055"/>
                  </a:lnTo>
                  <a:lnTo>
                    <a:pt x="188595" y="37147"/>
                  </a:lnTo>
                  <a:lnTo>
                    <a:pt x="206693" y="43815"/>
                  </a:lnTo>
                  <a:lnTo>
                    <a:pt x="206693" y="65722"/>
                  </a:lnTo>
                  <a:lnTo>
                    <a:pt x="231457" y="62865"/>
                  </a:lnTo>
                  <a:lnTo>
                    <a:pt x="258128" y="36195"/>
                  </a:lnTo>
                  <a:lnTo>
                    <a:pt x="284797" y="22860"/>
                  </a:lnTo>
                  <a:lnTo>
                    <a:pt x="300038" y="5715"/>
                  </a:lnTo>
                  <a:lnTo>
                    <a:pt x="324803" y="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35" name="Рисунок 3">
              <a:extLst>
                <a:ext uri="{FF2B5EF4-FFF2-40B4-BE49-F238E27FC236}">
                  <a16:creationId xmlns:a16="http://schemas.microsoft.com/office/drawing/2014/main" id="{FE26E4CE-53C0-4A33-9DB2-A3695F3D7D20}"/>
                </a:ext>
              </a:extLst>
            </p:cNvPr>
            <p:cNvGrpSpPr/>
            <p:nvPr/>
          </p:nvGrpSpPr>
          <p:grpSpPr>
            <a:xfrm>
              <a:off x="5675068" y="3694227"/>
              <a:ext cx="946414" cy="2102860"/>
              <a:chOff x="5571172" y="1910714"/>
              <a:chExt cx="1467802" cy="3749040"/>
            </a:xfrm>
            <a:grpFill/>
          </p:grpSpPr>
          <p:sp>
            <p:nvSpPr>
              <p:cNvPr id="372" name="Полилиния: фигура 108">
                <a:extLst>
                  <a:ext uri="{FF2B5EF4-FFF2-40B4-BE49-F238E27FC236}">
                    <a16:creationId xmlns:a16="http://schemas.microsoft.com/office/drawing/2014/main" id="{F6C7A016-C224-4A48-B4B3-C4F90902A90B}"/>
                  </a:ext>
                </a:extLst>
              </p:cNvPr>
              <p:cNvSpPr/>
              <p:nvPr/>
            </p:nvSpPr>
            <p:spPr>
              <a:xfrm>
                <a:off x="6560819" y="2394584"/>
                <a:ext cx="16192" cy="15240"/>
              </a:xfrm>
              <a:custGeom>
                <a:avLst/>
                <a:gdLst>
                  <a:gd name="connsiteX0" fmla="*/ 4763 w 16192"/>
                  <a:gd name="connsiteY0" fmla="*/ 0 h 15240"/>
                  <a:gd name="connsiteX1" fmla="*/ 0 w 16192"/>
                  <a:gd name="connsiteY1" fmla="*/ 7620 h 15240"/>
                  <a:gd name="connsiteX2" fmla="*/ 11430 w 16192"/>
                  <a:gd name="connsiteY2" fmla="*/ 15240 h 15240"/>
                  <a:gd name="connsiteX3" fmla="*/ 16193 w 16192"/>
                  <a:gd name="connsiteY3" fmla="*/ 5715 h 15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92" h="15240">
                    <a:moveTo>
                      <a:pt x="4763" y="0"/>
                    </a:moveTo>
                    <a:lnTo>
                      <a:pt x="0" y="7620"/>
                    </a:lnTo>
                    <a:lnTo>
                      <a:pt x="11430" y="15240"/>
                    </a:lnTo>
                    <a:lnTo>
                      <a:pt x="16193" y="571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3" name="Полилиния: фигура 109">
                <a:extLst>
                  <a:ext uri="{FF2B5EF4-FFF2-40B4-BE49-F238E27FC236}">
                    <a16:creationId xmlns:a16="http://schemas.microsoft.com/office/drawing/2014/main" id="{EA7504C1-B45F-43FD-8A09-ACEA493BAF14}"/>
                  </a:ext>
                </a:extLst>
              </p:cNvPr>
              <p:cNvSpPr/>
              <p:nvPr/>
            </p:nvSpPr>
            <p:spPr>
              <a:xfrm>
                <a:off x="6497955" y="2280284"/>
                <a:ext cx="44767" cy="25717"/>
              </a:xfrm>
              <a:custGeom>
                <a:avLst/>
                <a:gdLst>
                  <a:gd name="connsiteX0" fmla="*/ 12382 w 44767"/>
                  <a:gd name="connsiteY0" fmla="*/ 0 h 25717"/>
                  <a:gd name="connsiteX1" fmla="*/ 0 w 44767"/>
                  <a:gd name="connsiteY1" fmla="*/ 7620 h 25717"/>
                  <a:gd name="connsiteX2" fmla="*/ 18097 w 44767"/>
                  <a:gd name="connsiteY2" fmla="*/ 17145 h 25717"/>
                  <a:gd name="connsiteX3" fmla="*/ 30480 w 44767"/>
                  <a:gd name="connsiteY3" fmla="*/ 25718 h 25717"/>
                  <a:gd name="connsiteX4" fmla="*/ 44768 w 44767"/>
                  <a:gd name="connsiteY4" fmla="*/ 21908 h 25717"/>
                  <a:gd name="connsiteX5" fmla="*/ 40957 w 44767"/>
                  <a:gd name="connsiteY5" fmla="*/ 4763 h 25717"/>
                  <a:gd name="connsiteX6" fmla="*/ 26670 w 44767"/>
                  <a:gd name="connsiteY6" fmla="*/ 8573 h 25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767" h="25717">
                    <a:moveTo>
                      <a:pt x="12382" y="0"/>
                    </a:moveTo>
                    <a:lnTo>
                      <a:pt x="0" y="7620"/>
                    </a:lnTo>
                    <a:lnTo>
                      <a:pt x="18097" y="17145"/>
                    </a:lnTo>
                    <a:lnTo>
                      <a:pt x="30480" y="25718"/>
                    </a:lnTo>
                    <a:lnTo>
                      <a:pt x="44768" y="21908"/>
                    </a:lnTo>
                    <a:lnTo>
                      <a:pt x="40957" y="4763"/>
                    </a:lnTo>
                    <a:lnTo>
                      <a:pt x="26670" y="8573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Полилиния: фигура 110">
                <a:extLst>
                  <a:ext uri="{FF2B5EF4-FFF2-40B4-BE49-F238E27FC236}">
                    <a16:creationId xmlns:a16="http://schemas.microsoft.com/office/drawing/2014/main" id="{CD7AA7B5-64E4-45E3-A93A-1708DB740DF8}"/>
                  </a:ext>
                </a:extLst>
              </p:cNvPr>
              <p:cNvSpPr/>
              <p:nvPr/>
            </p:nvSpPr>
            <p:spPr>
              <a:xfrm>
                <a:off x="6316980" y="2149792"/>
                <a:ext cx="155257" cy="204787"/>
              </a:xfrm>
              <a:custGeom>
                <a:avLst/>
                <a:gdLst>
                  <a:gd name="connsiteX0" fmla="*/ 67627 w 155257"/>
                  <a:gd name="connsiteY0" fmla="*/ 67628 h 204787"/>
                  <a:gd name="connsiteX1" fmla="*/ 67627 w 155257"/>
                  <a:gd name="connsiteY1" fmla="*/ 49530 h 204787"/>
                  <a:gd name="connsiteX2" fmla="*/ 69532 w 155257"/>
                  <a:gd name="connsiteY2" fmla="*/ 18098 h 204787"/>
                  <a:gd name="connsiteX3" fmla="*/ 60007 w 155257"/>
                  <a:gd name="connsiteY3" fmla="*/ 0 h 204787"/>
                  <a:gd name="connsiteX4" fmla="*/ 47625 w 155257"/>
                  <a:gd name="connsiteY4" fmla="*/ 953 h 204787"/>
                  <a:gd name="connsiteX5" fmla="*/ 29527 w 155257"/>
                  <a:gd name="connsiteY5" fmla="*/ 22860 h 204787"/>
                  <a:gd name="connsiteX6" fmla="*/ 30480 w 155257"/>
                  <a:gd name="connsiteY6" fmla="*/ 41910 h 204787"/>
                  <a:gd name="connsiteX7" fmla="*/ 22860 w 155257"/>
                  <a:gd name="connsiteY7" fmla="*/ 55245 h 204787"/>
                  <a:gd name="connsiteX8" fmla="*/ 28575 w 155257"/>
                  <a:gd name="connsiteY8" fmla="*/ 89535 h 204787"/>
                  <a:gd name="connsiteX9" fmla="*/ 13335 w 155257"/>
                  <a:gd name="connsiteY9" fmla="*/ 104775 h 204787"/>
                  <a:gd name="connsiteX10" fmla="*/ 14288 w 155257"/>
                  <a:gd name="connsiteY10" fmla="*/ 139065 h 204787"/>
                  <a:gd name="connsiteX11" fmla="*/ 6667 w 155257"/>
                  <a:gd name="connsiteY11" fmla="*/ 168592 h 204787"/>
                  <a:gd name="connsiteX12" fmla="*/ 0 w 155257"/>
                  <a:gd name="connsiteY12" fmla="*/ 198120 h 204787"/>
                  <a:gd name="connsiteX13" fmla="*/ 11430 w 155257"/>
                  <a:gd name="connsiteY13" fmla="*/ 204788 h 204787"/>
                  <a:gd name="connsiteX14" fmla="*/ 36195 w 155257"/>
                  <a:gd name="connsiteY14" fmla="*/ 185738 h 204787"/>
                  <a:gd name="connsiteX15" fmla="*/ 50482 w 155257"/>
                  <a:gd name="connsiteY15" fmla="*/ 176213 h 204787"/>
                  <a:gd name="connsiteX16" fmla="*/ 81915 w 155257"/>
                  <a:gd name="connsiteY16" fmla="*/ 160020 h 204787"/>
                  <a:gd name="connsiteX17" fmla="*/ 107632 w 155257"/>
                  <a:gd name="connsiteY17" fmla="*/ 157163 h 204787"/>
                  <a:gd name="connsiteX18" fmla="*/ 140018 w 155257"/>
                  <a:gd name="connsiteY18" fmla="*/ 133350 h 204787"/>
                  <a:gd name="connsiteX19" fmla="*/ 155257 w 155257"/>
                  <a:gd name="connsiteY19" fmla="*/ 103823 h 204787"/>
                  <a:gd name="connsiteX20" fmla="*/ 144780 w 155257"/>
                  <a:gd name="connsiteY20" fmla="*/ 78105 h 204787"/>
                  <a:gd name="connsiteX21" fmla="*/ 133350 w 155257"/>
                  <a:gd name="connsiteY21" fmla="*/ 59055 h 204787"/>
                  <a:gd name="connsiteX22" fmla="*/ 118110 w 155257"/>
                  <a:gd name="connsiteY22" fmla="*/ 65723 h 204787"/>
                  <a:gd name="connsiteX23" fmla="*/ 102870 w 155257"/>
                  <a:gd name="connsiteY23" fmla="*/ 38100 h 204787"/>
                  <a:gd name="connsiteX24" fmla="*/ 91440 w 155257"/>
                  <a:gd name="connsiteY24" fmla="*/ 26670 h 204787"/>
                  <a:gd name="connsiteX25" fmla="*/ 77152 w 155257"/>
                  <a:gd name="connsiteY25" fmla="*/ 43815 h 204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55257" h="204787">
                    <a:moveTo>
                      <a:pt x="67627" y="67628"/>
                    </a:moveTo>
                    <a:lnTo>
                      <a:pt x="67627" y="49530"/>
                    </a:lnTo>
                    <a:lnTo>
                      <a:pt x="69532" y="18098"/>
                    </a:lnTo>
                    <a:lnTo>
                      <a:pt x="60007" y="0"/>
                    </a:lnTo>
                    <a:lnTo>
                      <a:pt x="47625" y="953"/>
                    </a:lnTo>
                    <a:lnTo>
                      <a:pt x="29527" y="22860"/>
                    </a:lnTo>
                    <a:lnTo>
                      <a:pt x="30480" y="41910"/>
                    </a:lnTo>
                    <a:lnTo>
                      <a:pt x="22860" y="55245"/>
                    </a:lnTo>
                    <a:lnTo>
                      <a:pt x="28575" y="89535"/>
                    </a:lnTo>
                    <a:lnTo>
                      <a:pt x="13335" y="104775"/>
                    </a:lnTo>
                    <a:lnTo>
                      <a:pt x="14288" y="139065"/>
                    </a:lnTo>
                    <a:lnTo>
                      <a:pt x="6667" y="168592"/>
                    </a:lnTo>
                    <a:lnTo>
                      <a:pt x="0" y="198120"/>
                    </a:lnTo>
                    <a:lnTo>
                      <a:pt x="11430" y="204788"/>
                    </a:lnTo>
                    <a:lnTo>
                      <a:pt x="36195" y="185738"/>
                    </a:lnTo>
                    <a:lnTo>
                      <a:pt x="50482" y="176213"/>
                    </a:lnTo>
                    <a:lnTo>
                      <a:pt x="81915" y="160020"/>
                    </a:lnTo>
                    <a:lnTo>
                      <a:pt x="107632" y="157163"/>
                    </a:lnTo>
                    <a:lnTo>
                      <a:pt x="140018" y="133350"/>
                    </a:lnTo>
                    <a:lnTo>
                      <a:pt x="155257" y="103823"/>
                    </a:lnTo>
                    <a:lnTo>
                      <a:pt x="144780" y="78105"/>
                    </a:lnTo>
                    <a:lnTo>
                      <a:pt x="133350" y="59055"/>
                    </a:lnTo>
                    <a:lnTo>
                      <a:pt x="118110" y="65723"/>
                    </a:lnTo>
                    <a:lnTo>
                      <a:pt x="102870" y="38100"/>
                    </a:lnTo>
                    <a:lnTo>
                      <a:pt x="91440" y="26670"/>
                    </a:lnTo>
                    <a:lnTo>
                      <a:pt x="77152" y="4381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5" name="Полилиния: фигура 111">
                <a:extLst>
                  <a:ext uri="{FF2B5EF4-FFF2-40B4-BE49-F238E27FC236}">
                    <a16:creationId xmlns:a16="http://schemas.microsoft.com/office/drawing/2014/main" id="{40B7F305-60C7-47AA-8AC3-9DBDE90B1F3E}"/>
                  </a:ext>
                </a:extLst>
              </p:cNvPr>
              <p:cNvSpPr/>
              <p:nvPr/>
            </p:nvSpPr>
            <p:spPr>
              <a:xfrm>
                <a:off x="6130290" y="2059304"/>
                <a:ext cx="182879" cy="188595"/>
              </a:xfrm>
              <a:custGeom>
                <a:avLst/>
                <a:gdLst>
                  <a:gd name="connsiteX0" fmla="*/ 139065 w 182879"/>
                  <a:gd name="connsiteY0" fmla="*/ 20955 h 188595"/>
                  <a:gd name="connsiteX1" fmla="*/ 127635 w 182879"/>
                  <a:gd name="connsiteY1" fmla="*/ 35243 h 188595"/>
                  <a:gd name="connsiteX2" fmla="*/ 117157 w 182879"/>
                  <a:gd name="connsiteY2" fmla="*/ 54292 h 188595"/>
                  <a:gd name="connsiteX3" fmla="*/ 108585 w 182879"/>
                  <a:gd name="connsiteY3" fmla="*/ 50483 h 188595"/>
                  <a:gd name="connsiteX4" fmla="*/ 115253 w 182879"/>
                  <a:gd name="connsiteY4" fmla="*/ 25718 h 188595"/>
                  <a:gd name="connsiteX5" fmla="*/ 115253 w 182879"/>
                  <a:gd name="connsiteY5" fmla="*/ 0 h 188595"/>
                  <a:gd name="connsiteX6" fmla="*/ 86678 w 182879"/>
                  <a:gd name="connsiteY6" fmla="*/ 8573 h 188595"/>
                  <a:gd name="connsiteX7" fmla="*/ 65722 w 182879"/>
                  <a:gd name="connsiteY7" fmla="*/ 13335 h 188595"/>
                  <a:gd name="connsiteX8" fmla="*/ 42863 w 182879"/>
                  <a:gd name="connsiteY8" fmla="*/ 20955 h 188595"/>
                  <a:gd name="connsiteX9" fmla="*/ 34290 w 182879"/>
                  <a:gd name="connsiteY9" fmla="*/ 40005 h 188595"/>
                  <a:gd name="connsiteX10" fmla="*/ 29528 w 182879"/>
                  <a:gd name="connsiteY10" fmla="*/ 56198 h 188595"/>
                  <a:gd name="connsiteX11" fmla="*/ 18097 w 182879"/>
                  <a:gd name="connsiteY11" fmla="*/ 70485 h 188595"/>
                  <a:gd name="connsiteX12" fmla="*/ 21907 w 182879"/>
                  <a:gd name="connsiteY12" fmla="*/ 86678 h 188595"/>
                  <a:gd name="connsiteX13" fmla="*/ 0 w 182879"/>
                  <a:gd name="connsiteY13" fmla="*/ 102870 h 188595"/>
                  <a:gd name="connsiteX14" fmla="*/ 10478 w 182879"/>
                  <a:gd name="connsiteY14" fmla="*/ 111442 h 188595"/>
                  <a:gd name="connsiteX15" fmla="*/ 25717 w 182879"/>
                  <a:gd name="connsiteY15" fmla="*/ 106680 h 188595"/>
                  <a:gd name="connsiteX16" fmla="*/ 38100 w 182879"/>
                  <a:gd name="connsiteY16" fmla="*/ 124778 h 188595"/>
                  <a:gd name="connsiteX17" fmla="*/ 39053 w 182879"/>
                  <a:gd name="connsiteY17" fmla="*/ 140970 h 188595"/>
                  <a:gd name="connsiteX18" fmla="*/ 50482 w 182879"/>
                  <a:gd name="connsiteY18" fmla="*/ 155258 h 188595"/>
                  <a:gd name="connsiteX19" fmla="*/ 80010 w 182879"/>
                  <a:gd name="connsiteY19" fmla="*/ 158115 h 188595"/>
                  <a:gd name="connsiteX20" fmla="*/ 83820 w 182879"/>
                  <a:gd name="connsiteY20" fmla="*/ 174308 h 188595"/>
                  <a:gd name="connsiteX21" fmla="*/ 104775 w 182879"/>
                  <a:gd name="connsiteY21" fmla="*/ 161925 h 188595"/>
                  <a:gd name="connsiteX22" fmla="*/ 115253 w 182879"/>
                  <a:gd name="connsiteY22" fmla="*/ 178117 h 188595"/>
                  <a:gd name="connsiteX23" fmla="*/ 143828 w 182879"/>
                  <a:gd name="connsiteY23" fmla="*/ 188595 h 188595"/>
                  <a:gd name="connsiteX24" fmla="*/ 170497 w 182879"/>
                  <a:gd name="connsiteY24" fmla="*/ 176213 h 188595"/>
                  <a:gd name="connsiteX25" fmla="*/ 182880 w 182879"/>
                  <a:gd name="connsiteY25" fmla="*/ 158115 h 188595"/>
                  <a:gd name="connsiteX26" fmla="*/ 172403 w 182879"/>
                  <a:gd name="connsiteY26" fmla="*/ 137160 h 188595"/>
                  <a:gd name="connsiteX27" fmla="*/ 156210 w 182879"/>
                  <a:gd name="connsiteY27" fmla="*/ 114300 h 188595"/>
                  <a:gd name="connsiteX28" fmla="*/ 168592 w 182879"/>
                  <a:gd name="connsiteY28" fmla="*/ 105728 h 188595"/>
                  <a:gd name="connsiteX29" fmla="*/ 173355 w 182879"/>
                  <a:gd name="connsiteY29" fmla="*/ 83820 h 188595"/>
                  <a:gd name="connsiteX30" fmla="*/ 166688 w 182879"/>
                  <a:gd name="connsiteY30" fmla="*/ 59055 h 188595"/>
                  <a:gd name="connsiteX31" fmla="*/ 169545 w 182879"/>
                  <a:gd name="connsiteY31" fmla="*/ 34290 h 188595"/>
                  <a:gd name="connsiteX32" fmla="*/ 139065 w 182879"/>
                  <a:gd name="connsiteY32" fmla="*/ 20955 h 188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82879" h="188595">
                    <a:moveTo>
                      <a:pt x="139065" y="20955"/>
                    </a:moveTo>
                    <a:lnTo>
                      <a:pt x="127635" y="35243"/>
                    </a:lnTo>
                    <a:lnTo>
                      <a:pt x="117157" y="54292"/>
                    </a:lnTo>
                    <a:lnTo>
                      <a:pt x="108585" y="50483"/>
                    </a:lnTo>
                    <a:lnTo>
                      <a:pt x="115253" y="25718"/>
                    </a:lnTo>
                    <a:lnTo>
                      <a:pt x="115253" y="0"/>
                    </a:lnTo>
                    <a:lnTo>
                      <a:pt x="86678" y="8573"/>
                    </a:lnTo>
                    <a:cubicBezTo>
                      <a:pt x="86678" y="8573"/>
                      <a:pt x="70485" y="12383"/>
                      <a:pt x="65722" y="13335"/>
                    </a:cubicBezTo>
                    <a:cubicBezTo>
                      <a:pt x="61913" y="14288"/>
                      <a:pt x="42863" y="20955"/>
                      <a:pt x="42863" y="20955"/>
                    </a:cubicBezTo>
                    <a:lnTo>
                      <a:pt x="34290" y="40005"/>
                    </a:lnTo>
                    <a:lnTo>
                      <a:pt x="29528" y="56198"/>
                    </a:lnTo>
                    <a:lnTo>
                      <a:pt x="18097" y="70485"/>
                    </a:lnTo>
                    <a:lnTo>
                      <a:pt x="21907" y="86678"/>
                    </a:lnTo>
                    <a:lnTo>
                      <a:pt x="0" y="102870"/>
                    </a:lnTo>
                    <a:lnTo>
                      <a:pt x="10478" y="111442"/>
                    </a:lnTo>
                    <a:lnTo>
                      <a:pt x="25717" y="106680"/>
                    </a:lnTo>
                    <a:lnTo>
                      <a:pt x="38100" y="124778"/>
                    </a:lnTo>
                    <a:lnTo>
                      <a:pt x="39053" y="140970"/>
                    </a:lnTo>
                    <a:lnTo>
                      <a:pt x="50482" y="155258"/>
                    </a:lnTo>
                    <a:lnTo>
                      <a:pt x="80010" y="158115"/>
                    </a:lnTo>
                    <a:lnTo>
                      <a:pt x="83820" y="174308"/>
                    </a:lnTo>
                    <a:lnTo>
                      <a:pt x="104775" y="161925"/>
                    </a:lnTo>
                    <a:lnTo>
                      <a:pt x="115253" y="178117"/>
                    </a:lnTo>
                    <a:lnTo>
                      <a:pt x="143828" y="188595"/>
                    </a:lnTo>
                    <a:lnTo>
                      <a:pt x="170497" y="176213"/>
                    </a:lnTo>
                    <a:lnTo>
                      <a:pt x="182880" y="158115"/>
                    </a:lnTo>
                    <a:lnTo>
                      <a:pt x="172403" y="137160"/>
                    </a:lnTo>
                    <a:lnTo>
                      <a:pt x="156210" y="114300"/>
                    </a:lnTo>
                    <a:lnTo>
                      <a:pt x="168592" y="105728"/>
                    </a:lnTo>
                    <a:lnTo>
                      <a:pt x="173355" y="83820"/>
                    </a:lnTo>
                    <a:lnTo>
                      <a:pt x="166688" y="59055"/>
                    </a:lnTo>
                    <a:lnTo>
                      <a:pt x="169545" y="34290"/>
                    </a:lnTo>
                    <a:lnTo>
                      <a:pt x="139065" y="2095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6" name="Полилиния: фигура 112">
                <a:extLst>
                  <a:ext uri="{FF2B5EF4-FFF2-40B4-BE49-F238E27FC236}">
                    <a16:creationId xmlns:a16="http://schemas.microsoft.com/office/drawing/2014/main" id="{554C78FC-DBA3-45E1-B74A-891660506CC6}"/>
                  </a:ext>
                </a:extLst>
              </p:cNvPr>
              <p:cNvSpPr/>
              <p:nvPr/>
            </p:nvSpPr>
            <p:spPr>
              <a:xfrm>
                <a:off x="6216967" y="2472690"/>
                <a:ext cx="31432" cy="30479"/>
              </a:xfrm>
              <a:custGeom>
                <a:avLst/>
                <a:gdLst>
                  <a:gd name="connsiteX0" fmla="*/ 29527 w 31432"/>
                  <a:gd name="connsiteY0" fmla="*/ 0 h 30479"/>
                  <a:gd name="connsiteX1" fmla="*/ 17145 w 31432"/>
                  <a:gd name="connsiteY1" fmla="*/ 15240 h 30479"/>
                  <a:gd name="connsiteX2" fmla="*/ 0 w 31432"/>
                  <a:gd name="connsiteY2" fmla="*/ 19050 h 30479"/>
                  <a:gd name="connsiteX3" fmla="*/ 15240 w 31432"/>
                  <a:gd name="connsiteY3" fmla="*/ 30480 h 30479"/>
                  <a:gd name="connsiteX4" fmla="*/ 31432 w 31432"/>
                  <a:gd name="connsiteY4" fmla="*/ 15240 h 30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432" h="30479">
                    <a:moveTo>
                      <a:pt x="29527" y="0"/>
                    </a:moveTo>
                    <a:lnTo>
                      <a:pt x="17145" y="15240"/>
                    </a:lnTo>
                    <a:lnTo>
                      <a:pt x="0" y="19050"/>
                    </a:lnTo>
                    <a:lnTo>
                      <a:pt x="15240" y="30480"/>
                    </a:lnTo>
                    <a:lnTo>
                      <a:pt x="31432" y="1524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Полилиния: фигура 113">
                <a:extLst>
                  <a:ext uri="{FF2B5EF4-FFF2-40B4-BE49-F238E27FC236}">
                    <a16:creationId xmlns:a16="http://schemas.microsoft.com/office/drawing/2014/main" id="{C35664EB-4346-40B5-97C8-AA0EC2D36D76}"/>
                  </a:ext>
                </a:extLst>
              </p:cNvPr>
              <p:cNvSpPr/>
              <p:nvPr/>
            </p:nvSpPr>
            <p:spPr>
              <a:xfrm>
                <a:off x="6026467" y="2466975"/>
                <a:ext cx="20002" cy="18097"/>
              </a:xfrm>
              <a:custGeom>
                <a:avLst/>
                <a:gdLst>
                  <a:gd name="connsiteX0" fmla="*/ 6667 w 20002"/>
                  <a:gd name="connsiteY0" fmla="*/ 0 h 18097"/>
                  <a:gd name="connsiteX1" fmla="*/ 0 w 20002"/>
                  <a:gd name="connsiteY1" fmla="*/ 10478 h 18097"/>
                  <a:gd name="connsiteX2" fmla="*/ 8572 w 20002"/>
                  <a:gd name="connsiteY2" fmla="*/ 18097 h 18097"/>
                  <a:gd name="connsiteX3" fmla="*/ 20002 w 20002"/>
                  <a:gd name="connsiteY3" fmla="*/ 1905 h 18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002" h="18097">
                    <a:moveTo>
                      <a:pt x="6667" y="0"/>
                    </a:moveTo>
                    <a:lnTo>
                      <a:pt x="0" y="10478"/>
                    </a:lnTo>
                    <a:lnTo>
                      <a:pt x="8572" y="18097"/>
                    </a:lnTo>
                    <a:lnTo>
                      <a:pt x="20002" y="190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8" name="Полилиния: фигура 114">
                <a:extLst>
                  <a:ext uri="{FF2B5EF4-FFF2-40B4-BE49-F238E27FC236}">
                    <a16:creationId xmlns:a16="http://schemas.microsoft.com/office/drawing/2014/main" id="{AEA13C80-862D-4104-9713-245239E2A32D}"/>
                  </a:ext>
                </a:extLst>
              </p:cNvPr>
              <p:cNvSpPr/>
              <p:nvPr/>
            </p:nvSpPr>
            <p:spPr>
              <a:xfrm>
                <a:off x="5885497" y="2818447"/>
                <a:ext cx="18097" cy="24104"/>
              </a:xfrm>
              <a:custGeom>
                <a:avLst/>
                <a:gdLst>
                  <a:gd name="connsiteX0" fmla="*/ 15240 w 18097"/>
                  <a:gd name="connsiteY0" fmla="*/ 0 h 24104"/>
                  <a:gd name="connsiteX1" fmla="*/ 0 w 18097"/>
                  <a:gd name="connsiteY1" fmla="*/ 7620 h 24104"/>
                  <a:gd name="connsiteX2" fmla="*/ 6668 w 18097"/>
                  <a:gd name="connsiteY2" fmla="*/ 23813 h 24104"/>
                  <a:gd name="connsiteX3" fmla="*/ 18097 w 18097"/>
                  <a:gd name="connsiteY3" fmla="*/ 19050 h 24104"/>
                  <a:gd name="connsiteX4" fmla="*/ 15240 w 18097"/>
                  <a:gd name="connsiteY4" fmla="*/ 0 h 2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97" h="24104">
                    <a:moveTo>
                      <a:pt x="15240" y="0"/>
                    </a:moveTo>
                    <a:lnTo>
                      <a:pt x="0" y="7620"/>
                    </a:lnTo>
                    <a:cubicBezTo>
                      <a:pt x="0" y="7620"/>
                      <a:pt x="6668" y="26670"/>
                      <a:pt x="6668" y="23813"/>
                    </a:cubicBezTo>
                    <a:cubicBezTo>
                      <a:pt x="6668" y="20955"/>
                      <a:pt x="18097" y="19050"/>
                      <a:pt x="18097" y="19050"/>
                    </a:cubicBezTo>
                    <a:lnTo>
                      <a:pt x="15240" y="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Полилиния: фигура 115">
                <a:extLst>
                  <a:ext uri="{FF2B5EF4-FFF2-40B4-BE49-F238E27FC236}">
                    <a16:creationId xmlns:a16="http://schemas.microsoft.com/office/drawing/2014/main" id="{727844F5-FEC1-4B43-ADD8-0FB11FCE41ED}"/>
                  </a:ext>
                </a:extLst>
              </p:cNvPr>
              <p:cNvSpPr/>
              <p:nvPr/>
            </p:nvSpPr>
            <p:spPr>
              <a:xfrm>
                <a:off x="5776912" y="2703195"/>
                <a:ext cx="20002" cy="26670"/>
              </a:xfrm>
              <a:custGeom>
                <a:avLst/>
                <a:gdLst>
                  <a:gd name="connsiteX0" fmla="*/ 13335 w 20002"/>
                  <a:gd name="connsiteY0" fmla="*/ 0 h 26670"/>
                  <a:gd name="connsiteX1" fmla="*/ 0 w 20002"/>
                  <a:gd name="connsiteY1" fmla="*/ 11430 h 26670"/>
                  <a:gd name="connsiteX2" fmla="*/ 7620 w 20002"/>
                  <a:gd name="connsiteY2" fmla="*/ 26670 h 26670"/>
                  <a:gd name="connsiteX3" fmla="*/ 20003 w 20002"/>
                  <a:gd name="connsiteY3" fmla="*/ 23813 h 26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002" h="26670">
                    <a:moveTo>
                      <a:pt x="13335" y="0"/>
                    </a:moveTo>
                    <a:lnTo>
                      <a:pt x="0" y="11430"/>
                    </a:lnTo>
                    <a:lnTo>
                      <a:pt x="7620" y="26670"/>
                    </a:lnTo>
                    <a:lnTo>
                      <a:pt x="20003" y="23813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0" name="Полилиния: фигура 116">
                <a:extLst>
                  <a:ext uri="{FF2B5EF4-FFF2-40B4-BE49-F238E27FC236}">
                    <a16:creationId xmlns:a16="http://schemas.microsoft.com/office/drawing/2014/main" id="{B8A0A133-03C0-425B-94AF-4B756FE8421C}"/>
                  </a:ext>
                </a:extLst>
              </p:cNvPr>
              <p:cNvSpPr/>
              <p:nvPr/>
            </p:nvSpPr>
            <p:spPr>
              <a:xfrm>
                <a:off x="5782627" y="2870834"/>
                <a:ext cx="35242" cy="25717"/>
              </a:xfrm>
              <a:custGeom>
                <a:avLst/>
                <a:gdLst>
                  <a:gd name="connsiteX0" fmla="*/ 2857 w 35242"/>
                  <a:gd name="connsiteY0" fmla="*/ 0 h 25717"/>
                  <a:gd name="connsiteX1" fmla="*/ 0 w 35242"/>
                  <a:gd name="connsiteY1" fmla="*/ 14288 h 25717"/>
                  <a:gd name="connsiteX2" fmla="*/ 21907 w 35242"/>
                  <a:gd name="connsiteY2" fmla="*/ 14288 h 25717"/>
                  <a:gd name="connsiteX3" fmla="*/ 33338 w 35242"/>
                  <a:gd name="connsiteY3" fmla="*/ 25718 h 25717"/>
                  <a:gd name="connsiteX4" fmla="*/ 35242 w 35242"/>
                  <a:gd name="connsiteY4" fmla="*/ 6668 h 25717"/>
                  <a:gd name="connsiteX5" fmla="*/ 21907 w 35242"/>
                  <a:gd name="connsiteY5" fmla="*/ 3810 h 25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242" h="25717">
                    <a:moveTo>
                      <a:pt x="2857" y="0"/>
                    </a:moveTo>
                    <a:lnTo>
                      <a:pt x="0" y="14288"/>
                    </a:lnTo>
                    <a:lnTo>
                      <a:pt x="21907" y="14288"/>
                    </a:lnTo>
                    <a:lnTo>
                      <a:pt x="33338" y="25718"/>
                    </a:lnTo>
                    <a:lnTo>
                      <a:pt x="35242" y="6668"/>
                    </a:lnTo>
                    <a:lnTo>
                      <a:pt x="21907" y="381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1" name="Полилиния: фигура 117">
                <a:extLst>
                  <a:ext uri="{FF2B5EF4-FFF2-40B4-BE49-F238E27FC236}">
                    <a16:creationId xmlns:a16="http://schemas.microsoft.com/office/drawing/2014/main" id="{E675442A-B769-444B-9CEF-2189471AB510}"/>
                  </a:ext>
                </a:extLst>
              </p:cNvPr>
              <p:cNvSpPr/>
              <p:nvPr/>
            </p:nvSpPr>
            <p:spPr>
              <a:xfrm>
                <a:off x="5703569" y="2111692"/>
                <a:ext cx="26670" cy="22860"/>
              </a:xfrm>
              <a:custGeom>
                <a:avLst/>
                <a:gdLst>
                  <a:gd name="connsiteX0" fmla="*/ 7620 w 26670"/>
                  <a:gd name="connsiteY0" fmla="*/ 0 h 22860"/>
                  <a:gd name="connsiteX1" fmla="*/ 0 w 26670"/>
                  <a:gd name="connsiteY1" fmla="*/ 7620 h 22860"/>
                  <a:gd name="connsiteX2" fmla="*/ 8573 w 26670"/>
                  <a:gd name="connsiteY2" fmla="*/ 12383 h 22860"/>
                  <a:gd name="connsiteX3" fmla="*/ 22860 w 26670"/>
                  <a:gd name="connsiteY3" fmla="*/ 22860 h 22860"/>
                  <a:gd name="connsiteX4" fmla="*/ 26670 w 26670"/>
                  <a:gd name="connsiteY4" fmla="*/ 9525 h 22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70" h="22860">
                    <a:moveTo>
                      <a:pt x="7620" y="0"/>
                    </a:moveTo>
                    <a:lnTo>
                      <a:pt x="0" y="7620"/>
                    </a:lnTo>
                    <a:lnTo>
                      <a:pt x="8573" y="12383"/>
                    </a:lnTo>
                    <a:lnTo>
                      <a:pt x="22860" y="22860"/>
                    </a:lnTo>
                    <a:lnTo>
                      <a:pt x="26670" y="952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2" name="Полилиния: фигура 118">
                <a:extLst>
                  <a:ext uri="{FF2B5EF4-FFF2-40B4-BE49-F238E27FC236}">
                    <a16:creationId xmlns:a16="http://schemas.microsoft.com/office/drawing/2014/main" id="{C0CE7C35-B291-4DA8-B144-2F6A2F4178F0}"/>
                  </a:ext>
                </a:extLst>
              </p:cNvPr>
              <p:cNvSpPr/>
              <p:nvPr/>
            </p:nvSpPr>
            <p:spPr>
              <a:xfrm>
                <a:off x="5624512" y="3000375"/>
                <a:ext cx="31432" cy="41909"/>
              </a:xfrm>
              <a:custGeom>
                <a:avLst/>
                <a:gdLst>
                  <a:gd name="connsiteX0" fmla="*/ 8572 w 31432"/>
                  <a:gd name="connsiteY0" fmla="*/ 3810 h 41909"/>
                  <a:gd name="connsiteX1" fmla="*/ 0 w 31432"/>
                  <a:gd name="connsiteY1" fmla="*/ 15240 h 41909"/>
                  <a:gd name="connsiteX2" fmla="*/ 4763 w 31432"/>
                  <a:gd name="connsiteY2" fmla="*/ 30480 h 41909"/>
                  <a:gd name="connsiteX3" fmla="*/ 13335 w 31432"/>
                  <a:gd name="connsiteY3" fmla="*/ 41910 h 41909"/>
                  <a:gd name="connsiteX4" fmla="*/ 26670 w 31432"/>
                  <a:gd name="connsiteY4" fmla="*/ 27622 h 41909"/>
                  <a:gd name="connsiteX5" fmla="*/ 31432 w 31432"/>
                  <a:gd name="connsiteY5" fmla="*/ 11430 h 41909"/>
                  <a:gd name="connsiteX6" fmla="*/ 20003 w 31432"/>
                  <a:gd name="connsiteY6" fmla="*/ 0 h 41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432" h="41909">
                    <a:moveTo>
                      <a:pt x="8572" y="3810"/>
                    </a:moveTo>
                    <a:lnTo>
                      <a:pt x="0" y="15240"/>
                    </a:lnTo>
                    <a:lnTo>
                      <a:pt x="4763" y="30480"/>
                    </a:lnTo>
                    <a:lnTo>
                      <a:pt x="13335" y="41910"/>
                    </a:lnTo>
                    <a:lnTo>
                      <a:pt x="26670" y="27622"/>
                    </a:lnTo>
                    <a:lnTo>
                      <a:pt x="31432" y="11430"/>
                    </a:lnTo>
                    <a:lnTo>
                      <a:pt x="20003" y="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3" name="Полилиния: фигура 119">
                <a:extLst>
                  <a:ext uri="{FF2B5EF4-FFF2-40B4-BE49-F238E27FC236}">
                    <a16:creationId xmlns:a16="http://schemas.microsoft.com/office/drawing/2014/main" id="{F473A5A4-41F1-46A9-919E-680579641CBB}"/>
                  </a:ext>
                </a:extLst>
              </p:cNvPr>
              <p:cNvSpPr/>
              <p:nvPr/>
            </p:nvSpPr>
            <p:spPr>
              <a:xfrm>
                <a:off x="5801677" y="1945957"/>
                <a:ext cx="33337" cy="19050"/>
              </a:xfrm>
              <a:custGeom>
                <a:avLst/>
                <a:gdLst>
                  <a:gd name="connsiteX0" fmla="*/ 17145 w 33337"/>
                  <a:gd name="connsiteY0" fmla="*/ 0 h 19050"/>
                  <a:gd name="connsiteX1" fmla="*/ 6667 w 33337"/>
                  <a:gd name="connsiteY1" fmla="*/ 1905 h 19050"/>
                  <a:gd name="connsiteX2" fmla="*/ 0 w 33337"/>
                  <a:gd name="connsiteY2" fmla="*/ 8572 h 19050"/>
                  <a:gd name="connsiteX3" fmla="*/ 10478 w 33337"/>
                  <a:gd name="connsiteY3" fmla="*/ 19050 h 19050"/>
                  <a:gd name="connsiteX4" fmla="*/ 24765 w 33337"/>
                  <a:gd name="connsiteY4" fmla="*/ 14288 h 19050"/>
                  <a:gd name="connsiteX5" fmla="*/ 33338 w 33337"/>
                  <a:gd name="connsiteY5" fmla="*/ 5715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337" h="19050">
                    <a:moveTo>
                      <a:pt x="17145" y="0"/>
                    </a:moveTo>
                    <a:lnTo>
                      <a:pt x="6667" y="1905"/>
                    </a:lnTo>
                    <a:lnTo>
                      <a:pt x="0" y="8572"/>
                    </a:lnTo>
                    <a:lnTo>
                      <a:pt x="10478" y="19050"/>
                    </a:lnTo>
                    <a:lnTo>
                      <a:pt x="24765" y="14288"/>
                    </a:lnTo>
                    <a:lnTo>
                      <a:pt x="33338" y="571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4" name="Полилиния: фигура 120">
                <a:extLst>
                  <a:ext uri="{FF2B5EF4-FFF2-40B4-BE49-F238E27FC236}">
                    <a16:creationId xmlns:a16="http://schemas.microsoft.com/office/drawing/2014/main" id="{DA0F85CF-B7E1-48AB-8477-F9E2A77C2724}"/>
                  </a:ext>
                </a:extLst>
              </p:cNvPr>
              <p:cNvSpPr/>
              <p:nvPr/>
            </p:nvSpPr>
            <p:spPr>
              <a:xfrm>
                <a:off x="6052184" y="1923097"/>
                <a:ext cx="31432" cy="25717"/>
              </a:xfrm>
              <a:custGeom>
                <a:avLst/>
                <a:gdLst>
                  <a:gd name="connsiteX0" fmla="*/ 9525 w 31432"/>
                  <a:gd name="connsiteY0" fmla="*/ 952 h 25717"/>
                  <a:gd name="connsiteX1" fmla="*/ 0 w 31432"/>
                  <a:gd name="connsiteY1" fmla="*/ 10477 h 25717"/>
                  <a:gd name="connsiteX2" fmla="*/ 6668 w 31432"/>
                  <a:gd name="connsiteY2" fmla="*/ 18098 h 25717"/>
                  <a:gd name="connsiteX3" fmla="*/ 15240 w 31432"/>
                  <a:gd name="connsiteY3" fmla="*/ 25717 h 25717"/>
                  <a:gd name="connsiteX4" fmla="*/ 31433 w 31432"/>
                  <a:gd name="connsiteY4" fmla="*/ 10477 h 25717"/>
                  <a:gd name="connsiteX5" fmla="*/ 31433 w 31432"/>
                  <a:gd name="connsiteY5" fmla="*/ 0 h 25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432" h="25717">
                    <a:moveTo>
                      <a:pt x="9525" y="952"/>
                    </a:moveTo>
                    <a:lnTo>
                      <a:pt x="0" y="10477"/>
                    </a:lnTo>
                    <a:lnTo>
                      <a:pt x="6668" y="18098"/>
                    </a:lnTo>
                    <a:lnTo>
                      <a:pt x="15240" y="25717"/>
                    </a:lnTo>
                    <a:lnTo>
                      <a:pt x="31433" y="10477"/>
                    </a:lnTo>
                    <a:lnTo>
                      <a:pt x="31433" y="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5" name="Полилиния: фигура 121">
                <a:extLst>
                  <a:ext uri="{FF2B5EF4-FFF2-40B4-BE49-F238E27FC236}">
                    <a16:creationId xmlns:a16="http://schemas.microsoft.com/office/drawing/2014/main" id="{EFB65353-363F-4539-863B-1F034CF704BF}"/>
                  </a:ext>
                </a:extLst>
              </p:cNvPr>
              <p:cNvSpPr/>
              <p:nvPr/>
            </p:nvSpPr>
            <p:spPr>
              <a:xfrm>
                <a:off x="6098857" y="1910714"/>
                <a:ext cx="137160" cy="180975"/>
              </a:xfrm>
              <a:custGeom>
                <a:avLst/>
                <a:gdLst>
                  <a:gd name="connsiteX0" fmla="*/ 63818 w 137160"/>
                  <a:gd name="connsiteY0" fmla="*/ 0 h 180975"/>
                  <a:gd name="connsiteX1" fmla="*/ 60960 w 137160"/>
                  <a:gd name="connsiteY1" fmla="*/ 20955 h 180975"/>
                  <a:gd name="connsiteX2" fmla="*/ 41910 w 137160"/>
                  <a:gd name="connsiteY2" fmla="*/ 29527 h 180975"/>
                  <a:gd name="connsiteX3" fmla="*/ 13335 w 137160"/>
                  <a:gd name="connsiteY3" fmla="*/ 48577 h 180975"/>
                  <a:gd name="connsiteX4" fmla="*/ 13335 w 137160"/>
                  <a:gd name="connsiteY4" fmla="*/ 75248 h 180975"/>
                  <a:gd name="connsiteX5" fmla="*/ 24765 w 137160"/>
                  <a:gd name="connsiteY5" fmla="*/ 86677 h 180975"/>
                  <a:gd name="connsiteX6" fmla="*/ 9525 w 137160"/>
                  <a:gd name="connsiteY6" fmla="*/ 101918 h 180975"/>
                  <a:gd name="connsiteX7" fmla="*/ 0 w 137160"/>
                  <a:gd name="connsiteY7" fmla="*/ 121920 h 180975"/>
                  <a:gd name="connsiteX8" fmla="*/ 13335 w 137160"/>
                  <a:gd name="connsiteY8" fmla="*/ 140970 h 180975"/>
                  <a:gd name="connsiteX9" fmla="*/ 19050 w 137160"/>
                  <a:gd name="connsiteY9" fmla="*/ 160020 h 180975"/>
                  <a:gd name="connsiteX10" fmla="*/ 42863 w 137160"/>
                  <a:gd name="connsiteY10" fmla="*/ 180975 h 180975"/>
                  <a:gd name="connsiteX11" fmla="*/ 64770 w 137160"/>
                  <a:gd name="connsiteY11" fmla="*/ 160020 h 180975"/>
                  <a:gd name="connsiteX12" fmla="*/ 80010 w 137160"/>
                  <a:gd name="connsiteY12" fmla="*/ 160020 h 180975"/>
                  <a:gd name="connsiteX13" fmla="*/ 101918 w 137160"/>
                  <a:gd name="connsiteY13" fmla="*/ 146685 h 180975"/>
                  <a:gd name="connsiteX14" fmla="*/ 128588 w 137160"/>
                  <a:gd name="connsiteY14" fmla="*/ 138113 h 180975"/>
                  <a:gd name="connsiteX15" fmla="*/ 120968 w 137160"/>
                  <a:gd name="connsiteY15" fmla="*/ 113348 h 180975"/>
                  <a:gd name="connsiteX16" fmla="*/ 120968 w 137160"/>
                  <a:gd name="connsiteY16" fmla="*/ 80963 h 180975"/>
                  <a:gd name="connsiteX17" fmla="*/ 137160 w 137160"/>
                  <a:gd name="connsiteY17" fmla="*/ 67627 h 180975"/>
                  <a:gd name="connsiteX18" fmla="*/ 123825 w 137160"/>
                  <a:gd name="connsiteY18" fmla="*/ 54293 h 180975"/>
                  <a:gd name="connsiteX19" fmla="*/ 97155 w 137160"/>
                  <a:gd name="connsiteY19" fmla="*/ 27623 h 180975"/>
                  <a:gd name="connsiteX20" fmla="*/ 87630 w 137160"/>
                  <a:gd name="connsiteY20" fmla="*/ 6668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7160" h="180975">
                    <a:moveTo>
                      <a:pt x="63818" y="0"/>
                    </a:moveTo>
                    <a:lnTo>
                      <a:pt x="60960" y="20955"/>
                    </a:lnTo>
                    <a:lnTo>
                      <a:pt x="41910" y="29527"/>
                    </a:lnTo>
                    <a:lnTo>
                      <a:pt x="13335" y="48577"/>
                    </a:lnTo>
                    <a:lnTo>
                      <a:pt x="13335" y="75248"/>
                    </a:lnTo>
                    <a:lnTo>
                      <a:pt x="24765" y="86677"/>
                    </a:lnTo>
                    <a:lnTo>
                      <a:pt x="9525" y="101918"/>
                    </a:lnTo>
                    <a:lnTo>
                      <a:pt x="0" y="121920"/>
                    </a:lnTo>
                    <a:lnTo>
                      <a:pt x="13335" y="140970"/>
                    </a:lnTo>
                    <a:lnTo>
                      <a:pt x="19050" y="160020"/>
                    </a:lnTo>
                    <a:lnTo>
                      <a:pt x="42863" y="180975"/>
                    </a:lnTo>
                    <a:lnTo>
                      <a:pt x="64770" y="160020"/>
                    </a:lnTo>
                    <a:lnTo>
                      <a:pt x="80010" y="160020"/>
                    </a:lnTo>
                    <a:lnTo>
                      <a:pt x="101918" y="146685"/>
                    </a:lnTo>
                    <a:lnTo>
                      <a:pt x="128588" y="138113"/>
                    </a:lnTo>
                    <a:lnTo>
                      <a:pt x="120968" y="113348"/>
                    </a:lnTo>
                    <a:lnTo>
                      <a:pt x="120968" y="80963"/>
                    </a:lnTo>
                    <a:lnTo>
                      <a:pt x="137160" y="67627"/>
                    </a:lnTo>
                    <a:lnTo>
                      <a:pt x="123825" y="54293"/>
                    </a:lnTo>
                    <a:lnTo>
                      <a:pt x="97155" y="27623"/>
                    </a:lnTo>
                    <a:lnTo>
                      <a:pt x="87630" y="6668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6" name="Полилиния: фигура 122">
                <a:extLst>
                  <a:ext uri="{FF2B5EF4-FFF2-40B4-BE49-F238E27FC236}">
                    <a16:creationId xmlns:a16="http://schemas.microsoft.com/office/drawing/2014/main" id="{29DDBFB3-FCC7-4A50-94F7-FF6C377E16E3}"/>
                  </a:ext>
                </a:extLst>
              </p:cNvPr>
              <p:cNvSpPr/>
              <p:nvPr/>
            </p:nvSpPr>
            <p:spPr>
              <a:xfrm>
                <a:off x="6082665" y="2084070"/>
                <a:ext cx="58102" cy="54292"/>
              </a:xfrm>
              <a:custGeom>
                <a:avLst/>
                <a:gdLst>
                  <a:gd name="connsiteX0" fmla="*/ 18097 w 58102"/>
                  <a:gd name="connsiteY0" fmla="*/ 1905 h 54292"/>
                  <a:gd name="connsiteX1" fmla="*/ 0 w 58102"/>
                  <a:gd name="connsiteY1" fmla="*/ 0 h 54292"/>
                  <a:gd name="connsiteX2" fmla="*/ 2857 w 58102"/>
                  <a:gd name="connsiteY2" fmla="*/ 23813 h 54292"/>
                  <a:gd name="connsiteX3" fmla="*/ 2857 w 58102"/>
                  <a:gd name="connsiteY3" fmla="*/ 38100 h 54292"/>
                  <a:gd name="connsiteX4" fmla="*/ 26670 w 58102"/>
                  <a:gd name="connsiteY4" fmla="*/ 44767 h 54292"/>
                  <a:gd name="connsiteX5" fmla="*/ 36195 w 58102"/>
                  <a:gd name="connsiteY5" fmla="*/ 54292 h 54292"/>
                  <a:gd name="connsiteX6" fmla="*/ 50482 w 58102"/>
                  <a:gd name="connsiteY6" fmla="*/ 40005 h 54292"/>
                  <a:gd name="connsiteX7" fmla="*/ 58103 w 58102"/>
                  <a:gd name="connsiteY7" fmla="*/ 19050 h 54292"/>
                  <a:gd name="connsiteX8" fmla="*/ 44767 w 58102"/>
                  <a:gd name="connsiteY8" fmla="*/ 8572 h 5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102" h="54292">
                    <a:moveTo>
                      <a:pt x="18097" y="1905"/>
                    </a:moveTo>
                    <a:lnTo>
                      <a:pt x="0" y="0"/>
                    </a:lnTo>
                    <a:lnTo>
                      <a:pt x="2857" y="23813"/>
                    </a:lnTo>
                    <a:lnTo>
                      <a:pt x="2857" y="38100"/>
                    </a:lnTo>
                    <a:lnTo>
                      <a:pt x="26670" y="44767"/>
                    </a:lnTo>
                    <a:lnTo>
                      <a:pt x="36195" y="54292"/>
                    </a:lnTo>
                    <a:lnTo>
                      <a:pt x="50482" y="40005"/>
                    </a:lnTo>
                    <a:lnTo>
                      <a:pt x="58103" y="19050"/>
                    </a:lnTo>
                    <a:lnTo>
                      <a:pt x="44767" y="8572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7" name="Полилиния: фигура 123">
                <a:extLst>
                  <a:ext uri="{FF2B5EF4-FFF2-40B4-BE49-F238E27FC236}">
                    <a16:creationId xmlns:a16="http://schemas.microsoft.com/office/drawing/2014/main" id="{29A9FB95-B647-4DE7-9725-BC35737C341F}"/>
                  </a:ext>
                </a:extLst>
              </p:cNvPr>
              <p:cNvSpPr/>
              <p:nvPr/>
            </p:nvSpPr>
            <p:spPr>
              <a:xfrm>
                <a:off x="5811202" y="2627947"/>
                <a:ext cx="23812" cy="15240"/>
              </a:xfrm>
              <a:custGeom>
                <a:avLst/>
                <a:gdLst>
                  <a:gd name="connsiteX0" fmla="*/ 6667 w 23812"/>
                  <a:gd name="connsiteY0" fmla="*/ 0 h 15240"/>
                  <a:gd name="connsiteX1" fmla="*/ 0 w 23812"/>
                  <a:gd name="connsiteY1" fmla="*/ 7620 h 15240"/>
                  <a:gd name="connsiteX2" fmla="*/ 8572 w 23812"/>
                  <a:gd name="connsiteY2" fmla="*/ 15240 h 15240"/>
                  <a:gd name="connsiteX3" fmla="*/ 23813 w 23812"/>
                  <a:gd name="connsiteY3" fmla="*/ 10478 h 15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812" h="15240">
                    <a:moveTo>
                      <a:pt x="6667" y="0"/>
                    </a:moveTo>
                    <a:lnTo>
                      <a:pt x="0" y="7620"/>
                    </a:lnTo>
                    <a:lnTo>
                      <a:pt x="8572" y="15240"/>
                    </a:lnTo>
                    <a:lnTo>
                      <a:pt x="23813" y="10478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8" name="Полилиния: фигура 124">
                <a:extLst>
                  <a:ext uri="{FF2B5EF4-FFF2-40B4-BE49-F238E27FC236}">
                    <a16:creationId xmlns:a16="http://schemas.microsoft.com/office/drawing/2014/main" id="{0EBC1404-C25C-4231-B323-283AED45FD65}"/>
                  </a:ext>
                </a:extLst>
              </p:cNvPr>
              <p:cNvSpPr/>
              <p:nvPr/>
            </p:nvSpPr>
            <p:spPr>
              <a:xfrm>
                <a:off x="5571172" y="2364104"/>
                <a:ext cx="1467802" cy="3295650"/>
              </a:xfrm>
              <a:custGeom>
                <a:avLst/>
                <a:gdLst>
                  <a:gd name="connsiteX0" fmla="*/ 1200150 w 1467802"/>
                  <a:gd name="connsiteY0" fmla="*/ 1039177 h 3295650"/>
                  <a:gd name="connsiteX1" fmla="*/ 1207770 w 1467802"/>
                  <a:gd name="connsiteY1" fmla="*/ 1058227 h 3295650"/>
                  <a:gd name="connsiteX2" fmla="*/ 1218248 w 1467802"/>
                  <a:gd name="connsiteY2" fmla="*/ 1082993 h 3295650"/>
                  <a:gd name="connsiteX3" fmla="*/ 1243013 w 1467802"/>
                  <a:gd name="connsiteY3" fmla="*/ 1100138 h 3295650"/>
                  <a:gd name="connsiteX4" fmla="*/ 1245870 w 1467802"/>
                  <a:gd name="connsiteY4" fmla="*/ 1146810 h 3295650"/>
                  <a:gd name="connsiteX5" fmla="*/ 1270635 w 1467802"/>
                  <a:gd name="connsiteY5" fmla="*/ 1191577 h 3295650"/>
                  <a:gd name="connsiteX6" fmla="*/ 1270635 w 1467802"/>
                  <a:gd name="connsiteY6" fmla="*/ 1209675 h 3295650"/>
                  <a:gd name="connsiteX7" fmla="*/ 1276350 w 1467802"/>
                  <a:gd name="connsiteY7" fmla="*/ 1244918 h 3295650"/>
                  <a:gd name="connsiteX8" fmla="*/ 1283970 w 1467802"/>
                  <a:gd name="connsiteY8" fmla="*/ 1299210 h 3295650"/>
                  <a:gd name="connsiteX9" fmla="*/ 1263015 w 1467802"/>
                  <a:gd name="connsiteY9" fmla="*/ 1304925 h 3295650"/>
                  <a:gd name="connsiteX10" fmla="*/ 1248728 w 1467802"/>
                  <a:gd name="connsiteY10" fmla="*/ 1327785 h 3295650"/>
                  <a:gd name="connsiteX11" fmla="*/ 1235392 w 1467802"/>
                  <a:gd name="connsiteY11" fmla="*/ 1341120 h 3295650"/>
                  <a:gd name="connsiteX12" fmla="*/ 1243013 w 1467802"/>
                  <a:gd name="connsiteY12" fmla="*/ 1364933 h 3295650"/>
                  <a:gd name="connsiteX13" fmla="*/ 1250633 w 1467802"/>
                  <a:gd name="connsiteY13" fmla="*/ 1357313 h 3295650"/>
                  <a:gd name="connsiteX14" fmla="*/ 1277303 w 1467802"/>
                  <a:gd name="connsiteY14" fmla="*/ 1367790 h 3295650"/>
                  <a:gd name="connsiteX15" fmla="*/ 1277303 w 1467802"/>
                  <a:gd name="connsiteY15" fmla="*/ 1390650 h 3295650"/>
                  <a:gd name="connsiteX16" fmla="*/ 1286828 w 1467802"/>
                  <a:gd name="connsiteY16" fmla="*/ 1400175 h 3295650"/>
                  <a:gd name="connsiteX17" fmla="*/ 1277303 w 1467802"/>
                  <a:gd name="connsiteY17" fmla="*/ 1408748 h 3295650"/>
                  <a:gd name="connsiteX18" fmla="*/ 1277303 w 1467802"/>
                  <a:gd name="connsiteY18" fmla="*/ 1433513 h 3295650"/>
                  <a:gd name="connsiteX19" fmla="*/ 1302067 w 1467802"/>
                  <a:gd name="connsiteY19" fmla="*/ 1446848 h 3295650"/>
                  <a:gd name="connsiteX20" fmla="*/ 1309688 w 1467802"/>
                  <a:gd name="connsiteY20" fmla="*/ 1485900 h 3295650"/>
                  <a:gd name="connsiteX21" fmla="*/ 1339215 w 1467802"/>
                  <a:gd name="connsiteY21" fmla="*/ 1515427 h 3295650"/>
                  <a:gd name="connsiteX22" fmla="*/ 1329690 w 1467802"/>
                  <a:gd name="connsiteY22" fmla="*/ 1543050 h 3295650"/>
                  <a:gd name="connsiteX23" fmla="*/ 1312545 w 1467802"/>
                  <a:gd name="connsiteY23" fmla="*/ 1569720 h 3295650"/>
                  <a:gd name="connsiteX24" fmla="*/ 1319213 w 1467802"/>
                  <a:gd name="connsiteY24" fmla="*/ 1590675 h 3295650"/>
                  <a:gd name="connsiteX25" fmla="*/ 1319213 w 1467802"/>
                  <a:gd name="connsiteY25" fmla="*/ 1608773 h 3295650"/>
                  <a:gd name="connsiteX26" fmla="*/ 1310640 w 1467802"/>
                  <a:gd name="connsiteY26" fmla="*/ 1617345 h 3295650"/>
                  <a:gd name="connsiteX27" fmla="*/ 1310640 w 1467802"/>
                  <a:gd name="connsiteY27" fmla="*/ 1645920 h 3295650"/>
                  <a:gd name="connsiteX28" fmla="*/ 1325880 w 1467802"/>
                  <a:gd name="connsiteY28" fmla="*/ 1652588 h 3295650"/>
                  <a:gd name="connsiteX29" fmla="*/ 1348740 w 1467802"/>
                  <a:gd name="connsiteY29" fmla="*/ 1652588 h 3295650"/>
                  <a:gd name="connsiteX30" fmla="*/ 1360170 w 1467802"/>
                  <a:gd name="connsiteY30" fmla="*/ 1641158 h 3295650"/>
                  <a:gd name="connsiteX31" fmla="*/ 1373505 w 1467802"/>
                  <a:gd name="connsiteY31" fmla="*/ 1641158 h 3295650"/>
                  <a:gd name="connsiteX32" fmla="*/ 1385888 w 1467802"/>
                  <a:gd name="connsiteY32" fmla="*/ 1656398 h 3295650"/>
                  <a:gd name="connsiteX33" fmla="*/ 1411605 w 1467802"/>
                  <a:gd name="connsiteY33" fmla="*/ 1646873 h 3295650"/>
                  <a:gd name="connsiteX34" fmla="*/ 1430655 w 1467802"/>
                  <a:gd name="connsiteY34" fmla="*/ 1655445 h 3295650"/>
                  <a:gd name="connsiteX35" fmla="*/ 1445895 w 1467802"/>
                  <a:gd name="connsiteY35" fmla="*/ 1640205 h 3295650"/>
                  <a:gd name="connsiteX36" fmla="*/ 1466850 w 1467802"/>
                  <a:gd name="connsiteY36" fmla="*/ 1641158 h 3295650"/>
                  <a:gd name="connsiteX37" fmla="*/ 1467803 w 1467802"/>
                  <a:gd name="connsiteY37" fmla="*/ 1658302 h 3295650"/>
                  <a:gd name="connsiteX38" fmla="*/ 1460183 w 1467802"/>
                  <a:gd name="connsiteY38" fmla="*/ 1674495 h 3295650"/>
                  <a:gd name="connsiteX39" fmla="*/ 1447800 w 1467802"/>
                  <a:gd name="connsiteY39" fmla="*/ 1686877 h 3295650"/>
                  <a:gd name="connsiteX40" fmla="*/ 1431608 w 1467802"/>
                  <a:gd name="connsiteY40" fmla="*/ 1683068 h 3295650"/>
                  <a:gd name="connsiteX41" fmla="*/ 1412558 w 1467802"/>
                  <a:gd name="connsiteY41" fmla="*/ 1702118 h 3295650"/>
                  <a:gd name="connsiteX42" fmla="*/ 1393508 w 1467802"/>
                  <a:gd name="connsiteY42" fmla="*/ 1708785 h 3295650"/>
                  <a:gd name="connsiteX43" fmla="*/ 1382078 w 1467802"/>
                  <a:gd name="connsiteY43" fmla="*/ 1734502 h 3295650"/>
                  <a:gd name="connsiteX44" fmla="*/ 1382078 w 1467802"/>
                  <a:gd name="connsiteY44" fmla="*/ 1760220 h 3295650"/>
                  <a:gd name="connsiteX45" fmla="*/ 1391603 w 1467802"/>
                  <a:gd name="connsiteY45" fmla="*/ 1787843 h 3295650"/>
                  <a:gd name="connsiteX46" fmla="*/ 1383030 w 1467802"/>
                  <a:gd name="connsiteY46" fmla="*/ 1810702 h 3295650"/>
                  <a:gd name="connsiteX47" fmla="*/ 1383030 w 1467802"/>
                  <a:gd name="connsiteY47" fmla="*/ 1830705 h 3295650"/>
                  <a:gd name="connsiteX48" fmla="*/ 1407795 w 1467802"/>
                  <a:gd name="connsiteY48" fmla="*/ 1855470 h 3295650"/>
                  <a:gd name="connsiteX49" fmla="*/ 1423035 w 1467802"/>
                  <a:gd name="connsiteY49" fmla="*/ 1870710 h 3295650"/>
                  <a:gd name="connsiteX50" fmla="*/ 1416367 w 1467802"/>
                  <a:gd name="connsiteY50" fmla="*/ 1890713 h 3295650"/>
                  <a:gd name="connsiteX51" fmla="*/ 1406842 w 1467802"/>
                  <a:gd name="connsiteY51" fmla="*/ 1907858 h 3295650"/>
                  <a:gd name="connsiteX52" fmla="*/ 1424940 w 1467802"/>
                  <a:gd name="connsiteY52" fmla="*/ 1925955 h 3295650"/>
                  <a:gd name="connsiteX53" fmla="*/ 1407795 w 1467802"/>
                  <a:gd name="connsiteY53" fmla="*/ 1943100 h 3295650"/>
                  <a:gd name="connsiteX54" fmla="*/ 1395413 w 1467802"/>
                  <a:gd name="connsiteY54" fmla="*/ 1952625 h 3295650"/>
                  <a:gd name="connsiteX55" fmla="*/ 1395413 w 1467802"/>
                  <a:gd name="connsiteY55" fmla="*/ 1989773 h 3295650"/>
                  <a:gd name="connsiteX56" fmla="*/ 1380173 w 1467802"/>
                  <a:gd name="connsiteY56" fmla="*/ 1999298 h 3295650"/>
                  <a:gd name="connsiteX57" fmla="*/ 1374458 w 1467802"/>
                  <a:gd name="connsiteY57" fmla="*/ 2025015 h 3295650"/>
                  <a:gd name="connsiteX58" fmla="*/ 1349692 w 1467802"/>
                  <a:gd name="connsiteY58" fmla="*/ 2034540 h 3295650"/>
                  <a:gd name="connsiteX59" fmla="*/ 1356360 w 1467802"/>
                  <a:gd name="connsiteY59" fmla="*/ 2068830 h 3295650"/>
                  <a:gd name="connsiteX60" fmla="*/ 1345883 w 1467802"/>
                  <a:gd name="connsiteY60" fmla="*/ 2079308 h 3295650"/>
                  <a:gd name="connsiteX61" fmla="*/ 1342073 w 1467802"/>
                  <a:gd name="connsiteY61" fmla="*/ 2110740 h 3295650"/>
                  <a:gd name="connsiteX62" fmla="*/ 1348740 w 1467802"/>
                  <a:gd name="connsiteY62" fmla="*/ 2139315 h 3295650"/>
                  <a:gd name="connsiteX63" fmla="*/ 1363028 w 1467802"/>
                  <a:gd name="connsiteY63" fmla="*/ 2145983 h 3295650"/>
                  <a:gd name="connsiteX64" fmla="*/ 1386840 w 1467802"/>
                  <a:gd name="connsiteY64" fmla="*/ 2169795 h 3295650"/>
                  <a:gd name="connsiteX65" fmla="*/ 1396365 w 1467802"/>
                  <a:gd name="connsiteY65" fmla="*/ 2160270 h 3295650"/>
                  <a:gd name="connsiteX66" fmla="*/ 1419225 w 1467802"/>
                  <a:gd name="connsiteY66" fmla="*/ 2168843 h 3295650"/>
                  <a:gd name="connsiteX67" fmla="*/ 1419225 w 1467802"/>
                  <a:gd name="connsiteY67" fmla="*/ 2193608 h 3295650"/>
                  <a:gd name="connsiteX68" fmla="*/ 1426845 w 1467802"/>
                  <a:gd name="connsiteY68" fmla="*/ 2214563 h 3295650"/>
                  <a:gd name="connsiteX69" fmla="*/ 1411605 w 1467802"/>
                  <a:gd name="connsiteY69" fmla="*/ 2212658 h 3295650"/>
                  <a:gd name="connsiteX70" fmla="*/ 1401128 w 1467802"/>
                  <a:gd name="connsiteY70" fmla="*/ 2231708 h 3295650"/>
                  <a:gd name="connsiteX71" fmla="*/ 1392555 w 1467802"/>
                  <a:gd name="connsiteY71" fmla="*/ 2247900 h 3295650"/>
                  <a:gd name="connsiteX72" fmla="*/ 1397317 w 1467802"/>
                  <a:gd name="connsiteY72" fmla="*/ 2261235 h 3295650"/>
                  <a:gd name="connsiteX73" fmla="*/ 1420178 w 1467802"/>
                  <a:gd name="connsiteY73" fmla="*/ 2261235 h 3295650"/>
                  <a:gd name="connsiteX74" fmla="*/ 1430655 w 1467802"/>
                  <a:gd name="connsiteY74" fmla="*/ 2284095 h 3295650"/>
                  <a:gd name="connsiteX75" fmla="*/ 1438275 w 1467802"/>
                  <a:gd name="connsiteY75" fmla="*/ 2304098 h 3295650"/>
                  <a:gd name="connsiteX76" fmla="*/ 1425892 w 1467802"/>
                  <a:gd name="connsiteY76" fmla="*/ 2316480 h 3295650"/>
                  <a:gd name="connsiteX77" fmla="*/ 1412558 w 1467802"/>
                  <a:gd name="connsiteY77" fmla="*/ 2337435 h 3295650"/>
                  <a:gd name="connsiteX78" fmla="*/ 1412558 w 1467802"/>
                  <a:gd name="connsiteY78" fmla="*/ 2355533 h 3295650"/>
                  <a:gd name="connsiteX79" fmla="*/ 1405890 w 1467802"/>
                  <a:gd name="connsiteY79" fmla="*/ 2371725 h 3295650"/>
                  <a:gd name="connsiteX80" fmla="*/ 1384935 w 1467802"/>
                  <a:gd name="connsiteY80" fmla="*/ 2371725 h 3295650"/>
                  <a:gd name="connsiteX81" fmla="*/ 1367790 w 1467802"/>
                  <a:gd name="connsiteY81" fmla="*/ 2354580 h 3295650"/>
                  <a:gd name="connsiteX82" fmla="*/ 1343978 w 1467802"/>
                  <a:gd name="connsiteY82" fmla="*/ 2354580 h 3295650"/>
                  <a:gd name="connsiteX83" fmla="*/ 1334453 w 1467802"/>
                  <a:gd name="connsiteY83" fmla="*/ 2338388 h 3295650"/>
                  <a:gd name="connsiteX84" fmla="*/ 1312545 w 1467802"/>
                  <a:gd name="connsiteY84" fmla="*/ 2328863 h 3295650"/>
                  <a:gd name="connsiteX85" fmla="*/ 1307783 w 1467802"/>
                  <a:gd name="connsiteY85" fmla="*/ 2313623 h 3295650"/>
                  <a:gd name="connsiteX86" fmla="*/ 1289685 w 1467802"/>
                  <a:gd name="connsiteY86" fmla="*/ 2309813 h 3295650"/>
                  <a:gd name="connsiteX87" fmla="*/ 1264920 w 1467802"/>
                  <a:gd name="connsiteY87" fmla="*/ 2325053 h 3295650"/>
                  <a:gd name="connsiteX88" fmla="*/ 1258253 w 1467802"/>
                  <a:gd name="connsiteY88" fmla="*/ 2352675 h 3295650"/>
                  <a:gd name="connsiteX89" fmla="*/ 1270635 w 1467802"/>
                  <a:gd name="connsiteY89" fmla="*/ 2381250 h 3295650"/>
                  <a:gd name="connsiteX90" fmla="*/ 1251585 w 1467802"/>
                  <a:gd name="connsiteY90" fmla="*/ 2409825 h 3295650"/>
                  <a:gd name="connsiteX91" fmla="*/ 1221105 w 1467802"/>
                  <a:gd name="connsiteY91" fmla="*/ 2440305 h 3295650"/>
                  <a:gd name="connsiteX92" fmla="*/ 1200150 w 1467802"/>
                  <a:gd name="connsiteY92" fmla="*/ 2469833 h 3295650"/>
                  <a:gd name="connsiteX93" fmla="*/ 1192530 w 1467802"/>
                  <a:gd name="connsiteY93" fmla="*/ 2500313 h 3295650"/>
                  <a:gd name="connsiteX94" fmla="*/ 1182053 w 1467802"/>
                  <a:gd name="connsiteY94" fmla="*/ 2526030 h 3295650"/>
                  <a:gd name="connsiteX95" fmla="*/ 1202055 w 1467802"/>
                  <a:gd name="connsiteY95" fmla="*/ 2546033 h 3295650"/>
                  <a:gd name="connsiteX96" fmla="*/ 1183005 w 1467802"/>
                  <a:gd name="connsiteY96" fmla="*/ 2559368 h 3295650"/>
                  <a:gd name="connsiteX97" fmla="*/ 1155383 w 1467802"/>
                  <a:gd name="connsiteY97" fmla="*/ 2541270 h 3295650"/>
                  <a:gd name="connsiteX98" fmla="*/ 1142048 w 1467802"/>
                  <a:gd name="connsiteY98" fmla="*/ 2508885 h 3295650"/>
                  <a:gd name="connsiteX99" fmla="*/ 1119188 w 1467802"/>
                  <a:gd name="connsiteY99" fmla="*/ 2486025 h 3295650"/>
                  <a:gd name="connsiteX100" fmla="*/ 1097280 w 1467802"/>
                  <a:gd name="connsiteY100" fmla="*/ 2497455 h 3295650"/>
                  <a:gd name="connsiteX101" fmla="*/ 1087755 w 1467802"/>
                  <a:gd name="connsiteY101" fmla="*/ 2527935 h 3295650"/>
                  <a:gd name="connsiteX102" fmla="*/ 1052513 w 1467802"/>
                  <a:gd name="connsiteY102" fmla="*/ 2540318 h 3295650"/>
                  <a:gd name="connsiteX103" fmla="*/ 1023938 w 1467802"/>
                  <a:gd name="connsiteY103" fmla="*/ 2535555 h 3295650"/>
                  <a:gd name="connsiteX104" fmla="*/ 994410 w 1467802"/>
                  <a:gd name="connsiteY104" fmla="*/ 2543175 h 3295650"/>
                  <a:gd name="connsiteX105" fmla="*/ 993458 w 1467802"/>
                  <a:gd name="connsiteY105" fmla="*/ 2585085 h 3295650"/>
                  <a:gd name="connsiteX106" fmla="*/ 976313 w 1467802"/>
                  <a:gd name="connsiteY106" fmla="*/ 2601278 h 3295650"/>
                  <a:gd name="connsiteX107" fmla="*/ 976313 w 1467802"/>
                  <a:gd name="connsiteY107" fmla="*/ 2641283 h 3295650"/>
                  <a:gd name="connsiteX108" fmla="*/ 996315 w 1467802"/>
                  <a:gd name="connsiteY108" fmla="*/ 2661285 h 3295650"/>
                  <a:gd name="connsiteX109" fmla="*/ 1009650 w 1467802"/>
                  <a:gd name="connsiteY109" fmla="*/ 2693670 h 3295650"/>
                  <a:gd name="connsiteX110" fmla="*/ 1009650 w 1467802"/>
                  <a:gd name="connsiteY110" fmla="*/ 2711768 h 3295650"/>
                  <a:gd name="connsiteX111" fmla="*/ 987742 w 1467802"/>
                  <a:gd name="connsiteY111" fmla="*/ 2723198 h 3295650"/>
                  <a:gd name="connsiteX112" fmla="*/ 977265 w 1467802"/>
                  <a:gd name="connsiteY112" fmla="*/ 2748915 h 3295650"/>
                  <a:gd name="connsiteX113" fmla="*/ 957263 w 1467802"/>
                  <a:gd name="connsiteY113" fmla="*/ 2748915 h 3295650"/>
                  <a:gd name="connsiteX114" fmla="*/ 951547 w 1467802"/>
                  <a:gd name="connsiteY114" fmla="*/ 2775585 h 3295650"/>
                  <a:gd name="connsiteX115" fmla="*/ 942022 w 1467802"/>
                  <a:gd name="connsiteY115" fmla="*/ 2798445 h 3295650"/>
                  <a:gd name="connsiteX116" fmla="*/ 957263 w 1467802"/>
                  <a:gd name="connsiteY116" fmla="*/ 2821305 h 3295650"/>
                  <a:gd name="connsiteX117" fmla="*/ 958215 w 1467802"/>
                  <a:gd name="connsiteY117" fmla="*/ 2844165 h 3295650"/>
                  <a:gd name="connsiteX118" fmla="*/ 946785 w 1467802"/>
                  <a:gd name="connsiteY118" fmla="*/ 2851785 h 3295650"/>
                  <a:gd name="connsiteX119" fmla="*/ 946785 w 1467802"/>
                  <a:gd name="connsiteY119" fmla="*/ 2885123 h 3295650"/>
                  <a:gd name="connsiteX120" fmla="*/ 952500 w 1467802"/>
                  <a:gd name="connsiteY120" fmla="*/ 2903220 h 3295650"/>
                  <a:gd name="connsiteX121" fmla="*/ 942975 w 1467802"/>
                  <a:gd name="connsiteY121" fmla="*/ 2921318 h 3295650"/>
                  <a:gd name="connsiteX122" fmla="*/ 945833 w 1467802"/>
                  <a:gd name="connsiteY122" fmla="*/ 2944178 h 3295650"/>
                  <a:gd name="connsiteX123" fmla="*/ 904875 w 1467802"/>
                  <a:gd name="connsiteY123" fmla="*/ 2947035 h 3295650"/>
                  <a:gd name="connsiteX124" fmla="*/ 904875 w 1467802"/>
                  <a:gd name="connsiteY124" fmla="*/ 2965133 h 3295650"/>
                  <a:gd name="connsiteX125" fmla="*/ 886778 w 1467802"/>
                  <a:gd name="connsiteY125" fmla="*/ 2962275 h 3295650"/>
                  <a:gd name="connsiteX126" fmla="*/ 880110 w 1467802"/>
                  <a:gd name="connsiteY126" fmla="*/ 2980373 h 3295650"/>
                  <a:gd name="connsiteX127" fmla="*/ 906780 w 1467802"/>
                  <a:gd name="connsiteY127" fmla="*/ 2997518 h 3295650"/>
                  <a:gd name="connsiteX128" fmla="*/ 946785 w 1467802"/>
                  <a:gd name="connsiteY128" fmla="*/ 3037523 h 3295650"/>
                  <a:gd name="connsiteX129" fmla="*/ 965835 w 1467802"/>
                  <a:gd name="connsiteY129" fmla="*/ 3048953 h 3295650"/>
                  <a:gd name="connsiteX130" fmla="*/ 958215 w 1467802"/>
                  <a:gd name="connsiteY130" fmla="*/ 3067050 h 3295650"/>
                  <a:gd name="connsiteX131" fmla="*/ 943928 w 1467802"/>
                  <a:gd name="connsiteY131" fmla="*/ 3055620 h 3295650"/>
                  <a:gd name="connsiteX132" fmla="*/ 931545 w 1467802"/>
                  <a:gd name="connsiteY132" fmla="*/ 3068003 h 3295650"/>
                  <a:gd name="connsiteX133" fmla="*/ 900113 w 1467802"/>
                  <a:gd name="connsiteY133" fmla="*/ 3066098 h 3295650"/>
                  <a:gd name="connsiteX134" fmla="*/ 873442 w 1467802"/>
                  <a:gd name="connsiteY134" fmla="*/ 3092768 h 3295650"/>
                  <a:gd name="connsiteX135" fmla="*/ 836295 w 1467802"/>
                  <a:gd name="connsiteY135" fmla="*/ 3086100 h 3295650"/>
                  <a:gd name="connsiteX136" fmla="*/ 822960 w 1467802"/>
                  <a:gd name="connsiteY136" fmla="*/ 3099435 h 3295650"/>
                  <a:gd name="connsiteX137" fmla="*/ 814388 w 1467802"/>
                  <a:gd name="connsiteY137" fmla="*/ 3149918 h 3295650"/>
                  <a:gd name="connsiteX138" fmla="*/ 782003 w 1467802"/>
                  <a:gd name="connsiteY138" fmla="*/ 3158490 h 3295650"/>
                  <a:gd name="connsiteX139" fmla="*/ 782003 w 1467802"/>
                  <a:gd name="connsiteY139" fmla="*/ 3181350 h 3295650"/>
                  <a:gd name="connsiteX140" fmla="*/ 761047 w 1467802"/>
                  <a:gd name="connsiteY140" fmla="*/ 3202305 h 3295650"/>
                  <a:gd name="connsiteX141" fmla="*/ 761047 w 1467802"/>
                  <a:gd name="connsiteY141" fmla="*/ 3238500 h 3295650"/>
                  <a:gd name="connsiteX142" fmla="*/ 731520 w 1467802"/>
                  <a:gd name="connsiteY142" fmla="*/ 3247073 h 3295650"/>
                  <a:gd name="connsiteX143" fmla="*/ 690563 w 1467802"/>
                  <a:gd name="connsiteY143" fmla="*/ 3283268 h 3295650"/>
                  <a:gd name="connsiteX144" fmla="*/ 661035 w 1467802"/>
                  <a:gd name="connsiteY144" fmla="*/ 3295650 h 3295650"/>
                  <a:gd name="connsiteX145" fmla="*/ 639128 w 1467802"/>
                  <a:gd name="connsiteY145" fmla="*/ 3295650 h 3295650"/>
                  <a:gd name="connsiteX146" fmla="*/ 610553 w 1467802"/>
                  <a:gd name="connsiteY146" fmla="*/ 3280410 h 3295650"/>
                  <a:gd name="connsiteX147" fmla="*/ 579120 w 1467802"/>
                  <a:gd name="connsiteY147" fmla="*/ 3280410 h 3295650"/>
                  <a:gd name="connsiteX148" fmla="*/ 546735 w 1467802"/>
                  <a:gd name="connsiteY148" fmla="*/ 3268980 h 3295650"/>
                  <a:gd name="connsiteX149" fmla="*/ 521970 w 1467802"/>
                  <a:gd name="connsiteY149" fmla="*/ 3244215 h 3295650"/>
                  <a:gd name="connsiteX150" fmla="*/ 532447 w 1467802"/>
                  <a:gd name="connsiteY150" fmla="*/ 3229928 h 3295650"/>
                  <a:gd name="connsiteX151" fmla="*/ 544830 w 1467802"/>
                  <a:gd name="connsiteY151" fmla="*/ 3198495 h 3295650"/>
                  <a:gd name="connsiteX152" fmla="*/ 570547 w 1467802"/>
                  <a:gd name="connsiteY152" fmla="*/ 3187065 h 3295650"/>
                  <a:gd name="connsiteX153" fmla="*/ 593408 w 1467802"/>
                  <a:gd name="connsiteY153" fmla="*/ 3164205 h 3295650"/>
                  <a:gd name="connsiteX154" fmla="*/ 589597 w 1467802"/>
                  <a:gd name="connsiteY154" fmla="*/ 3135630 h 3295650"/>
                  <a:gd name="connsiteX155" fmla="*/ 612458 w 1467802"/>
                  <a:gd name="connsiteY155" fmla="*/ 3112770 h 3295650"/>
                  <a:gd name="connsiteX156" fmla="*/ 621030 w 1467802"/>
                  <a:gd name="connsiteY156" fmla="*/ 3083243 h 3295650"/>
                  <a:gd name="connsiteX157" fmla="*/ 612458 w 1467802"/>
                  <a:gd name="connsiteY157" fmla="*/ 3060383 h 3295650"/>
                  <a:gd name="connsiteX158" fmla="*/ 612458 w 1467802"/>
                  <a:gd name="connsiteY158" fmla="*/ 3032760 h 3295650"/>
                  <a:gd name="connsiteX159" fmla="*/ 582930 w 1467802"/>
                  <a:gd name="connsiteY159" fmla="*/ 3003233 h 3295650"/>
                  <a:gd name="connsiteX160" fmla="*/ 573405 w 1467802"/>
                  <a:gd name="connsiteY160" fmla="*/ 2969895 h 3295650"/>
                  <a:gd name="connsiteX161" fmla="*/ 544830 w 1467802"/>
                  <a:gd name="connsiteY161" fmla="*/ 2941320 h 3295650"/>
                  <a:gd name="connsiteX162" fmla="*/ 554355 w 1467802"/>
                  <a:gd name="connsiteY162" fmla="*/ 2903220 h 3295650"/>
                  <a:gd name="connsiteX163" fmla="*/ 545783 w 1467802"/>
                  <a:gd name="connsiteY163" fmla="*/ 2886075 h 3295650"/>
                  <a:gd name="connsiteX164" fmla="*/ 519113 w 1467802"/>
                  <a:gd name="connsiteY164" fmla="*/ 2895600 h 3295650"/>
                  <a:gd name="connsiteX165" fmla="*/ 477203 w 1467802"/>
                  <a:gd name="connsiteY165" fmla="*/ 2893695 h 3295650"/>
                  <a:gd name="connsiteX166" fmla="*/ 463868 w 1467802"/>
                  <a:gd name="connsiteY166" fmla="*/ 2907030 h 3295650"/>
                  <a:gd name="connsiteX167" fmla="*/ 436245 w 1467802"/>
                  <a:gd name="connsiteY167" fmla="*/ 2901315 h 3295650"/>
                  <a:gd name="connsiteX168" fmla="*/ 409575 w 1467802"/>
                  <a:gd name="connsiteY168" fmla="*/ 2871788 h 3295650"/>
                  <a:gd name="connsiteX169" fmla="*/ 393383 w 1467802"/>
                  <a:gd name="connsiteY169" fmla="*/ 2844165 h 3295650"/>
                  <a:gd name="connsiteX170" fmla="*/ 419100 w 1467802"/>
                  <a:gd name="connsiteY170" fmla="*/ 2818448 h 3295650"/>
                  <a:gd name="connsiteX171" fmla="*/ 436245 w 1467802"/>
                  <a:gd name="connsiteY171" fmla="*/ 2811780 h 3295650"/>
                  <a:gd name="connsiteX172" fmla="*/ 434340 w 1467802"/>
                  <a:gd name="connsiteY172" fmla="*/ 2770823 h 3295650"/>
                  <a:gd name="connsiteX173" fmla="*/ 419100 w 1467802"/>
                  <a:gd name="connsiteY173" fmla="*/ 2742248 h 3295650"/>
                  <a:gd name="connsiteX174" fmla="*/ 399097 w 1467802"/>
                  <a:gd name="connsiteY174" fmla="*/ 2735580 h 3295650"/>
                  <a:gd name="connsiteX175" fmla="*/ 387668 w 1467802"/>
                  <a:gd name="connsiteY175" fmla="*/ 2726055 h 3295650"/>
                  <a:gd name="connsiteX176" fmla="*/ 383858 w 1467802"/>
                  <a:gd name="connsiteY176" fmla="*/ 2703195 h 3295650"/>
                  <a:gd name="connsiteX177" fmla="*/ 390525 w 1467802"/>
                  <a:gd name="connsiteY177" fmla="*/ 2673668 h 3295650"/>
                  <a:gd name="connsiteX178" fmla="*/ 390525 w 1467802"/>
                  <a:gd name="connsiteY178" fmla="*/ 2631758 h 3295650"/>
                  <a:gd name="connsiteX179" fmla="*/ 408622 w 1467802"/>
                  <a:gd name="connsiteY179" fmla="*/ 2599373 h 3295650"/>
                  <a:gd name="connsiteX180" fmla="*/ 440055 w 1467802"/>
                  <a:gd name="connsiteY180" fmla="*/ 2584133 h 3295650"/>
                  <a:gd name="connsiteX181" fmla="*/ 436245 w 1467802"/>
                  <a:gd name="connsiteY181" fmla="*/ 2551748 h 3295650"/>
                  <a:gd name="connsiteX182" fmla="*/ 398145 w 1467802"/>
                  <a:gd name="connsiteY182" fmla="*/ 2539365 h 3295650"/>
                  <a:gd name="connsiteX183" fmla="*/ 374333 w 1467802"/>
                  <a:gd name="connsiteY183" fmla="*/ 2539365 h 3295650"/>
                  <a:gd name="connsiteX184" fmla="*/ 367665 w 1467802"/>
                  <a:gd name="connsiteY184" fmla="*/ 2516505 h 3295650"/>
                  <a:gd name="connsiteX185" fmla="*/ 346710 w 1467802"/>
                  <a:gd name="connsiteY185" fmla="*/ 2482215 h 3295650"/>
                  <a:gd name="connsiteX186" fmla="*/ 360045 w 1467802"/>
                  <a:gd name="connsiteY186" fmla="*/ 2446020 h 3295650"/>
                  <a:gd name="connsiteX187" fmla="*/ 405765 w 1467802"/>
                  <a:gd name="connsiteY187" fmla="*/ 2397443 h 3295650"/>
                  <a:gd name="connsiteX188" fmla="*/ 391478 w 1467802"/>
                  <a:gd name="connsiteY188" fmla="*/ 2383155 h 3295650"/>
                  <a:gd name="connsiteX189" fmla="*/ 350520 w 1467802"/>
                  <a:gd name="connsiteY189" fmla="*/ 2386013 h 3295650"/>
                  <a:gd name="connsiteX190" fmla="*/ 341947 w 1467802"/>
                  <a:gd name="connsiteY190" fmla="*/ 2353628 h 3295650"/>
                  <a:gd name="connsiteX191" fmla="*/ 315278 w 1467802"/>
                  <a:gd name="connsiteY191" fmla="*/ 2326958 h 3295650"/>
                  <a:gd name="connsiteX192" fmla="*/ 298133 w 1467802"/>
                  <a:gd name="connsiteY192" fmla="*/ 2301240 h 3295650"/>
                  <a:gd name="connsiteX193" fmla="*/ 263843 w 1467802"/>
                  <a:gd name="connsiteY193" fmla="*/ 2292668 h 3295650"/>
                  <a:gd name="connsiteX194" fmla="*/ 219075 w 1467802"/>
                  <a:gd name="connsiteY194" fmla="*/ 2292668 h 3295650"/>
                  <a:gd name="connsiteX195" fmla="*/ 180975 w 1467802"/>
                  <a:gd name="connsiteY195" fmla="*/ 2302193 h 3295650"/>
                  <a:gd name="connsiteX196" fmla="*/ 149543 w 1467802"/>
                  <a:gd name="connsiteY196" fmla="*/ 2292668 h 3295650"/>
                  <a:gd name="connsiteX197" fmla="*/ 140970 w 1467802"/>
                  <a:gd name="connsiteY197" fmla="*/ 2264093 h 3295650"/>
                  <a:gd name="connsiteX198" fmla="*/ 166688 w 1467802"/>
                  <a:gd name="connsiteY198" fmla="*/ 2238375 h 3295650"/>
                  <a:gd name="connsiteX199" fmla="*/ 139065 w 1467802"/>
                  <a:gd name="connsiteY199" fmla="*/ 2181225 h 3295650"/>
                  <a:gd name="connsiteX200" fmla="*/ 171450 w 1467802"/>
                  <a:gd name="connsiteY200" fmla="*/ 2148840 h 3295650"/>
                  <a:gd name="connsiteX201" fmla="*/ 221933 w 1467802"/>
                  <a:gd name="connsiteY201" fmla="*/ 2126933 h 3295650"/>
                  <a:gd name="connsiteX202" fmla="*/ 242888 w 1467802"/>
                  <a:gd name="connsiteY202" fmla="*/ 2092643 h 3295650"/>
                  <a:gd name="connsiteX203" fmla="*/ 202883 w 1467802"/>
                  <a:gd name="connsiteY203" fmla="*/ 2075498 h 3295650"/>
                  <a:gd name="connsiteX204" fmla="*/ 167640 w 1467802"/>
                  <a:gd name="connsiteY204" fmla="*/ 2051685 h 3295650"/>
                  <a:gd name="connsiteX205" fmla="*/ 167640 w 1467802"/>
                  <a:gd name="connsiteY205" fmla="*/ 2008823 h 3295650"/>
                  <a:gd name="connsiteX206" fmla="*/ 200978 w 1467802"/>
                  <a:gd name="connsiteY206" fmla="*/ 1975485 h 3295650"/>
                  <a:gd name="connsiteX207" fmla="*/ 213360 w 1467802"/>
                  <a:gd name="connsiteY207" fmla="*/ 1963102 h 3295650"/>
                  <a:gd name="connsiteX208" fmla="*/ 215265 w 1467802"/>
                  <a:gd name="connsiteY208" fmla="*/ 1931670 h 3295650"/>
                  <a:gd name="connsiteX209" fmla="*/ 235268 w 1467802"/>
                  <a:gd name="connsiteY209" fmla="*/ 1911668 h 3295650"/>
                  <a:gd name="connsiteX210" fmla="*/ 235268 w 1467802"/>
                  <a:gd name="connsiteY210" fmla="*/ 1876425 h 3295650"/>
                  <a:gd name="connsiteX211" fmla="*/ 214313 w 1467802"/>
                  <a:gd name="connsiteY211" fmla="*/ 1846898 h 3295650"/>
                  <a:gd name="connsiteX212" fmla="*/ 228600 w 1467802"/>
                  <a:gd name="connsiteY212" fmla="*/ 1820227 h 3295650"/>
                  <a:gd name="connsiteX213" fmla="*/ 248603 w 1467802"/>
                  <a:gd name="connsiteY213" fmla="*/ 1794510 h 3295650"/>
                  <a:gd name="connsiteX214" fmla="*/ 267653 w 1467802"/>
                  <a:gd name="connsiteY214" fmla="*/ 1775460 h 3295650"/>
                  <a:gd name="connsiteX215" fmla="*/ 258128 w 1467802"/>
                  <a:gd name="connsiteY215" fmla="*/ 1752600 h 3295650"/>
                  <a:gd name="connsiteX216" fmla="*/ 263843 w 1467802"/>
                  <a:gd name="connsiteY216" fmla="*/ 1723073 h 3295650"/>
                  <a:gd name="connsiteX217" fmla="*/ 258128 w 1467802"/>
                  <a:gd name="connsiteY217" fmla="*/ 1688783 h 3295650"/>
                  <a:gd name="connsiteX218" fmla="*/ 241935 w 1467802"/>
                  <a:gd name="connsiteY218" fmla="*/ 1704975 h 3295650"/>
                  <a:gd name="connsiteX219" fmla="*/ 225743 w 1467802"/>
                  <a:gd name="connsiteY219" fmla="*/ 1688783 h 3295650"/>
                  <a:gd name="connsiteX220" fmla="*/ 193358 w 1467802"/>
                  <a:gd name="connsiteY220" fmla="*/ 1682115 h 3295650"/>
                  <a:gd name="connsiteX221" fmla="*/ 186690 w 1467802"/>
                  <a:gd name="connsiteY221" fmla="*/ 1652588 h 3295650"/>
                  <a:gd name="connsiteX222" fmla="*/ 200978 w 1467802"/>
                  <a:gd name="connsiteY222" fmla="*/ 1638300 h 3295650"/>
                  <a:gd name="connsiteX223" fmla="*/ 198120 w 1467802"/>
                  <a:gd name="connsiteY223" fmla="*/ 1605915 h 3295650"/>
                  <a:gd name="connsiteX224" fmla="*/ 185738 w 1467802"/>
                  <a:gd name="connsiteY224" fmla="*/ 1580198 h 3295650"/>
                  <a:gd name="connsiteX225" fmla="*/ 168593 w 1467802"/>
                  <a:gd name="connsiteY225" fmla="*/ 1563052 h 3295650"/>
                  <a:gd name="connsiteX226" fmla="*/ 151447 w 1467802"/>
                  <a:gd name="connsiteY226" fmla="*/ 1563052 h 3295650"/>
                  <a:gd name="connsiteX227" fmla="*/ 136208 w 1467802"/>
                  <a:gd name="connsiteY227" fmla="*/ 1534477 h 3295650"/>
                  <a:gd name="connsiteX228" fmla="*/ 148590 w 1467802"/>
                  <a:gd name="connsiteY228" fmla="*/ 1524952 h 3295650"/>
                  <a:gd name="connsiteX229" fmla="*/ 148590 w 1467802"/>
                  <a:gd name="connsiteY229" fmla="*/ 1499235 h 3295650"/>
                  <a:gd name="connsiteX230" fmla="*/ 139065 w 1467802"/>
                  <a:gd name="connsiteY230" fmla="*/ 1482090 h 3295650"/>
                  <a:gd name="connsiteX231" fmla="*/ 139065 w 1467802"/>
                  <a:gd name="connsiteY231" fmla="*/ 1467802 h 3295650"/>
                  <a:gd name="connsiteX232" fmla="*/ 158115 w 1467802"/>
                  <a:gd name="connsiteY232" fmla="*/ 1449705 h 3295650"/>
                  <a:gd name="connsiteX233" fmla="*/ 145733 w 1467802"/>
                  <a:gd name="connsiteY233" fmla="*/ 1424940 h 3295650"/>
                  <a:gd name="connsiteX234" fmla="*/ 114300 w 1467802"/>
                  <a:gd name="connsiteY234" fmla="*/ 1406843 h 3295650"/>
                  <a:gd name="connsiteX235" fmla="*/ 114300 w 1467802"/>
                  <a:gd name="connsiteY235" fmla="*/ 1386840 h 3295650"/>
                  <a:gd name="connsiteX236" fmla="*/ 101918 w 1467802"/>
                  <a:gd name="connsiteY236" fmla="*/ 1374458 h 3295650"/>
                  <a:gd name="connsiteX237" fmla="*/ 114300 w 1467802"/>
                  <a:gd name="connsiteY237" fmla="*/ 1353502 h 3295650"/>
                  <a:gd name="connsiteX238" fmla="*/ 109538 w 1467802"/>
                  <a:gd name="connsiteY238" fmla="*/ 1327785 h 3295650"/>
                  <a:gd name="connsiteX239" fmla="*/ 96203 w 1467802"/>
                  <a:gd name="connsiteY239" fmla="*/ 1314450 h 3295650"/>
                  <a:gd name="connsiteX240" fmla="*/ 97155 w 1467802"/>
                  <a:gd name="connsiteY240" fmla="*/ 1291590 h 3295650"/>
                  <a:gd name="connsiteX241" fmla="*/ 117158 w 1467802"/>
                  <a:gd name="connsiteY241" fmla="*/ 1295400 h 3295650"/>
                  <a:gd name="connsiteX242" fmla="*/ 122872 w 1467802"/>
                  <a:gd name="connsiteY242" fmla="*/ 1278255 h 3295650"/>
                  <a:gd name="connsiteX243" fmla="*/ 138113 w 1467802"/>
                  <a:gd name="connsiteY243" fmla="*/ 1263015 h 3295650"/>
                  <a:gd name="connsiteX244" fmla="*/ 147638 w 1467802"/>
                  <a:gd name="connsiteY244" fmla="*/ 1236345 h 3295650"/>
                  <a:gd name="connsiteX245" fmla="*/ 136208 w 1467802"/>
                  <a:gd name="connsiteY245" fmla="*/ 1215390 h 3295650"/>
                  <a:gd name="connsiteX246" fmla="*/ 146685 w 1467802"/>
                  <a:gd name="connsiteY246" fmla="*/ 1215390 h 3295650"/>
                  <a:gd name="connsiteX247" fmla="*/ 154305 w 1467802"/>
                  <a:gd name="connsiteY247" fmla="*/ 1195388 h 3295650"/>
                  <a:gd name="connsiteX248" fmla="*/ 140970 w 1467802"/>
                  <a:gd name="connsiteY248" fmla="*/ 1163002 h 3295650"/>
                  <a:gd name="connsiteX249" fmla="*/ 140970 w 1467802"/>
                  <a:gd name="connsiteY249" fmla="*/ 1141095 h 3295650"/>
                  <a:gd name="connsiteX250" fmla="*/ 119063 w 1467802"/>
                  <a:gd name="connsiteY250" fmla="*/ 1137285 h 3295650"/>
                  <a:gd name="connsiteX251" fmla="*/ 120015 w 1467802"/>
                  <a:gd name="connsiteY251" fmla="*/ 1109663 h 3295650"/>
                  <a:gd name="connsiteX252" fmla="*/ 102870 w 1467802"/>
                  <a:gd name="connsiteY252" fmla="*/ 1125855 h 3295650"/>
                  <a:gd name="connsiteX253" fmla="*/ 94297 w 1467802"/>
                  <a:gd name="connsiteY253" fmla="*/ 1117283 h 3295650"/>
                  <a:gd name="connsiteX254" fmla="*/ 77153 w 1467802"/>
                  <a:gd name="connsiteY254" fmla="*/ 1132523 h 3295650"/>
                  <a:gd name="connsiteX255" fmla="*/ 67628 w 1467802"/>
                  <a:gd name="connsiteY255" fmla="*/ 1122998 h 3295650"/>
                  <a:gd name="connsiteX256" fmla="*/ 63818 w 1467802"/>
                  <a:gd name="connsiteY256" fmla="*/ 1104900 h 3295650"/>
                  <a:gd name="connsiteX257" fmla="*/ 37147 w 1467802"/>
                  <a:gd name="connsiteY257" fmla="*/ 1101090 h 3295650"/>
                  <a:gd name="connsiteX258" fmla="*/ 19050 w 1467802"/>
                  <a:gd name="connsiteY258" fmla="*/ 1082993 h 3295650"/>
                  <a:gd name="connsiteX259" fmla="*/ 15240 w 1467802"/>
                  <a:gd name="connsiteY259" fmla="*/ 1067752 h 3295650"/>
                  <a:gd name="connsiteX260" fmla="*/ 953 w 1467802"/>
                  <a:gd name="connsiteY260" fmla="*/ 1055370 h 3295650"/>
                  <a:gd name="connsiteX261" fmla="*/ 0 w 1467802"/>
                  <a:gd name="connsiteY261" fmla="*/ 1029652 h 3295650"/>
                  <a:gd name="connsiteX262" fmla="*/ 25718 w 1467802"/>
                  <a:gd name="connsiteY262" fmla="*/ 1010602 h 3295650"/>
                  <a:gd name="connsiteX263" fmla="*/ 46672 w 1467802"/>
                  <a:gd name="connsiteY263" fmla="*/ 989648 h 3295650"/>
                  <a:gd name="connsiteX264" fmla="*/ 57150 w 1467802"/>
                  <a:gd name="connsiteY264" fmla="*/ 972502 h 3295650"/>
                  <a:gd name="connsiteX265" fmla="*/ 85725 w 1467802"/>
                  <a:gd name="connsiteY265" fmla="*/ 972502 h 3295650"/>
                  <a:gd name="connsiteX266" fmla="*/ 85725 w 1467802"/>
                  <a:gd name="connsiteY266" fmla="*/ 923925 h 3295650"/>
                  <a:gd name="connsiteX267" fmla="*/ 88583 w 1467802"/>
                  <a:gd name="connsiteY267" fmla="*/ 889635 h 3295650"/>
                  <a:gd name="connsiteX268" fmla="*/ 58103 w 1467802"/>
                  <a:gd name="connsiteY268" fmla="*/ 872490 h 3295650"/>
                  <a:gd name="connsiteX269" fmla="*/ 48578 w 1467802"/>
                  <a:gd name="connsiteY269" fmla="*/ 854393 h 3295650"/>
                  <a:gd name="connsiteX270" fmla="*/ 42863 w 1467802"/>
                  <a:gd name="connsiteY270" fmla="*/ 862013 h 3295650"/>
                  <a:gd name="connsiteX271" fmla="*/ 34290 w 1467802"/>
                  <a:gd name="connsiteY271" fmla="*/ 842963 h 3295650"/>
                  <a:gd name="connsiteX272" fmla="*/ 53340 w 1467802"/>
                  <a:gd name="connsiteY272" fmla="*/ 823913 h 3295650"/>
                  <a:gd name="connsiteX273" fmla="*/ 80010 w 1467802"/>
                  <a:gd name="connsiteY273" fmla="*/ 820103 h 3295650"/>
                  <a:gd name="connsiteX274" fmla="*/ 77153 w 1467802"/>
                  <a:gd name="connsiteY274" fmla="*/ 804863 h 3295650"/>
                  <a:gd name="connsiteX275" fmla="*/ 90488 w 1467802"/>
                  <a:gd name="connsiteY275" fmla="*/ 791528 h 3295650"/>
                  <a:gd name="connsiteX276" fmla="*/ 85725 w 1467802"/>
                  <a:gd name="connsiteY276" fmla="*/ 773430 h 3295650"/>
                  <a:gd name="connsiteX277" fmla="*/ 65722 w 1467802"/>
                  <a:gd name="connsiteY277" fmla="*/ 762953 h 3295650"/>
                  <a:gd name="connsiteX278" fmla="*/ 47625 w 1467802"/>
                  <a:gd name="connsiteY278" fmla="*/ 759143 h 3295650"/>
                  <a:gd name="connsiteX279" fmla="*/ 35243 w 1467802"/>
                  <a:gd name="connsiteY279" fmla="*/ 746760 h 3295650"/>
                  <a:gd name="connsiteX280" fmla="*/ 29528 w 1467802"/>
                  <a:gd name="connsiteY280" fmla="*/ 731520 h 3295650"/>
                  <a:gd name="connsiteX281" fmla="*/ 16193 w 1467802"/>
                  <a:gd name="connsiteY281" fmla="*/ 731520 h 3295650"/>
                  <a:gd name="connsiteX282" fmla="*/ 15240 w 1467802"/>
                  <a:gd name="connsiteY282" fmla="*/ 714375 h 3295650"/>
                  <a:gd name="connsiteX283" fmla="*/ 43815 w 1467802"/>
                  <a:gd name="connsiteY283" fmla="*/ 720090 h 3295650"/>
                  <a:gd name="connsiteX284" fmla="*/ 66675 w 1467802"/>
                  <a:gd name="connsiteY284" fmla="*/ 716280 h 3295650"/>
                  <a:gd name="connsiteX285" fmla="*/ 85725 w 1467802"/>
                  <a:gd name="connsiteY285" fmla="*/ 735330 h 3295650"/>
                  <a:gd name="connsiteX286" fmla="*/ 122872 w 1467802"/>
                  <a:gd name="connsiteY286" fmla="*/ 755333 h 3295650"/>
                  <a:gd name="connsiteX287" fmla="*/ 113347 w 1467802"/>
                  <a:gd name="connsiteY287" fmla="*/ 783908 h 3295650"/>
                  <a:gd name="connsiteX288" fmla="*/ 122872 w 1467802"/>
                  <a:gd name="connsiteY288" fmla="*/ 793433 h 3295650"/>
                  <a:gd name="connsiteX289" fmla="*/ 147638 w 1467802"/>
                  <a:gd name="connsiteY289" fmla="*/ 818198 h 3295650"/>
                  <a:gd name="connsiteX290" fmla="*/ 185738 w 1467802"/>
                  <a:gd name="connsiteY290" fmla="*/ 818198 h 3295650"/>
                  <a:gd name="connsiteX291" fmla="*/ 191453 w 1467802"/>
                  <a:gd name="connsiteY291" fmla="*/ 795338 h 3295650"/>
                  <a:gd name="connsiteX292" fmla="*/ 176213 w 1467802"/>
                  <a:gd name="connsiteY292" fmla="*/ 774383 h 3295650"/>
                  <a:gd name="connsiteX293" fmla="*/ 177165 w 1467802"/>
                  <a:gd name="connsiteY293" fmla="*/ 754380 h 3295650"/>
                  <a:gd name="connsiteX294" fmla="*/ 150495 w 1467802"/>
                  <a:gd name="connsiteY294" fmla="*/ 744855 h 3295650"/>
                  <a:gd name="connsiteX295" fmla="*/ 130493 w 1467802"/>
                  <a:gd name="connsiteY295" fmla="*/ 712470 h 3295650"/>
                  <a:gd name="connsiteX296" fmla="*/ 119063 w 1467802"/>
                  <a:gd name="connsiteY296" fmla="*/ 701040 h 3295650"/>
                  <a:gd name="connsiteX297" fmla="*/ 127635 w 1467802"/>
                  <a:gd name="connsiteY297" fmla="*/ 666750 h 3295650"/>
                  <a:gd name="connsiteX298" fmla="*/ 140018 w 1467802"/>
                  <a:gd name="connsiteY298" fmla="*/ 638175 h 3295650"/>
                  <a:gd name="connsiteX299" fmla="*/ 128588 w 1467802"/>
                  <a:gd name="connsiteY299" fmla="*/ 626745 h 3295650"/>
                  <a:gd name="connsiteX300" fmla="*/ 121920 w 1467802"/>
                  <a:gd name="connsiteY300" fmla="*/ 591503 h 3295650"/>
                  <a:gd name="connsiteX301" fmla="*/ 150495 w 1467802"/>
                  <a:gd name="connsiteY301" fmla="*/ 565785 h 3295650"/>
                  <a:gd name="connsiteX302" fmla="*/ 217170 w 1467802"/>
                  <a:gd name="connsiteY302" fmla="*/ 565785 h 3295650"/>
                  <a:gd name="connsiteX303" fmla="*/ 251460 w 1467802"/>
                  <a:gd name="connsiteY303" fmla="*/ 578168 h 3295650"/>
                  <a:gd name="connsiteX304" fmla="*/ 251460 w 1467802"/>
                  <a:gd name="connsiteY304" fmla="*/ 569595 h 3295650"/>
                  <a:gd name="connsiteX305" fmla="*/ 306705 w 1467802"/>
                  <a:gd name="connsiteY305" fmla="*/ 569595 h 3295650"/>
                  <a:gd name="connsiteX306" fmla="*/ 343853 w 1467802"/>
                  <a:gd name="connsiteY306" fmla="*/ 554355 h 3295650"/>
                  <a:gd name="connsiteX307" fmla="*/ 370522 w 1467802"/>
                  <a:gd name="connsiteY307" fmla="*/ 554355 h 3295650"/>
                  <a:gd name="connsiteX308" fmla="*/ 384810 w 1467802"/>
                  <a:gd name="connsiteY308" fmla="*/ 540068 h 3295650"/>
                  <a:gd name="connsiteX309" fmla="*/ 370522 w 1467802"/>
                  <a:gd name="connsiteY309" fmla="*/ 519113 h 3295650"/>
                  <a:gd name="connsiteX310" fmla="*/ 353378 w 1467802"/>
                  <a:gd name="connsiteY310" fmla="*/ 513398 h 3295650"/>
                  <a:gd name="connsiteX311" fmla="*/ 339090 w 1467802"/>
                  <a:gd name="connsiteY311" fmla="*/ 499110 h 3295650"/>
                  <a:gd name="connsiteX312" fmla="*/ 355283 w 1467802"/>
                  <a:gd name="connsiteY312" fmla="*/ 482917 h 3295650"/>
                  <a:gd name="connsiteX313" fmla="*/ 365760 w 1467802"/>
                  <a:gd name="connsiteY313" fmla="*/ 493395 h 3295650"/>
                  <a:gd name="connsiteX314" fmla="*/ 382905 w 1467802"/>
                  <a:gd name="connsiteY314" fmla="*/ 489585 h 3295650"/>
                  <a:gd name="connsiteX315" fmla="*/ 371475 w 1467802"/>
                  <a:gd name="connsiteY315" fmla="*/ 477203 h 3295650"/>
                  <a:gd name="connsiteX316" fmla="*/ 379095 w 1467802"/>
                  <a:gd name="connsiteY316" fmla="*/ 459105 h 3295650"/>
                  <a:gd name="connsiteX317" fmla="*/ 366713 w 1467802"/>
                  <a:gd name="connsiteY317" fmla="*/ 446723 h 3295650"/>
                  <a:gd name="connsiteX318" fmla="*/ 381000 w 1467802"/>
                  <a:gd name="connsiteY318" fmla="*/ 426720 h 3295650"/>
                  <a:gd name="connsiteX319" fmla="*/ 401003 w 1467802"/>
                  <a:gd name="connsiteY319" fmla="*/ 411480 h 3295650"/>
                  <a:gd name="connsiteX320" fmla="*/ 381000 w 1467802"/>
                  <a:gd name="connsiteY320" fmla="*/ 410528 h 3295650"/>
                  <a:gd name="connsiteX321" fmla="*/ 380047 w 1467802"/>
                  <a:gd name="connsiteY321" fmla="*/ 389573 h 3295650"/>
                  <a:gd name="connsiteX322" fmla="*/ 419100 w 1467802"/>
                  <a:gd name="connsiteY322" fmla="*/ 390525 h 3295650"/>
                  <a:gd name="connsiteX323" fmla="*/ 434340 w 1467802"/>
                  <a:gd name="connsiteY323" fmla="*/ 358140 h 3295650"/>
                  <a:gd name="connsiteX324" fmla="*/ 473393 w 1467802"/>
                  <a:gd name="connsiteY324" fmla="*/ 342900 h 3295650"/>
                  <a:gd name="connsiteX325" fmla="*/ 488633 w 1467802"/>
                  <a:gd name="connsiteY325" fmla="*/ 327660 h 3295650"/>
                  <a:gd name="connsiteX326" fmla="*/ 541972 w 1467802"/>
                  <a:gd name="connsiteY326" fmla="*/ 320040 h 3295650"/>
                  <a:gd name="connsiteX327" fmla="*/ 555308 w 1467802"/>
                  <a:gd name="connsiteY327" fmla="*/ 306705 h 3295650"/>
                  <a:gd name="connsiteX328" fmla="*/ 593408 w 1467802"/>
                  <a:gd name="connsiteY328" fmla="*/ 295275 h 3295650"/>
                  <a:gd name="connsiteX329" fmla="*/ 601980 w 1467802"/>
                  <a:gd name="connsiteY329" fmla="*/ 285750 h 3295650"/>
                  <a:gd name="connsiteX330" fmla="*/ 576263 w 1467802"/>
                  <a:gd name="connsiteY330" fmla="*/ 277178 h 3295650"/>
                  <a:gd name="connsiteX331" fmla="*/ 590550 w 1467802"/>
                  <a:gd name="connsiteY331" fmla="*/ 262890 h 3295650"/>
                  <a:gd name="connsiteX332" fmla="*/ 627697 w 1467802"/>
                  <a:gd name="connsiteY332" fmla="*/ 254317 h 3295650"/>
                  <a:gd name="connsiteX333" fmla="*/ 659130 w 1467802"/>
                  <a:gd name="connsiteY333" fmla="*/ 250508 h 3295650"/>
                  <a:gd name="connsiteX334" fmla="*/ 665797 w 1467802"/>
                  <a:gd name="connsiteY334" fmla="*/ 235267 h 3295650"/>
                  <a:gd name="connsiteX335" fmla="*/ 691515 w 1467802"/>
                  <a:gd name="connsiteY335" fmla="*/ 231458 h 3295650"/>
                  <a:gd name="connsiteX336" fmla="*/ 678180 w 1467802"/>
                  <a:gd name="connsiteY336" fmla="*/ 257175 h 3295650"/>
                  <a:gd name="connsiteX337" fmla="*/ 678180 w 1467802"/>
                  <a:gd name="connsiteY337" fmla="*/ 277178 h 3295650"/>
                  <a:gd name="connsiteX338" fmla="*/ 696278 w 1467802"/>
                  <a:gd name="connsiteY338" fmla="*/ 259080 h 3295650"/>
                  <a:gd name="connsiteX339" fmla="*/ 740093 w 1467802"/>
                  <a:gd name="connsiteY339" fmla="*/ 260033 h 3295650"/>
                  <a:gd name="connsiteX340" fmla="*/ 743903 w 1467802"/>
                  <a:gd name="connsiteY340" fmla="*/ 237173 h 3295650"/>
                  <a:gd name="connsiteX341" fmla="*/ 772478 w 1467802"/>
                  <a:gd name="connsiteY341" fmla="*/ 231458 h 3295650"/>
                  <a:gd name="connsiteX342" fmla="*/ 801053 w 1467802"/>
                  <a:gd name="connsiteY342" fmla="*/ 237173 h 3295650"/>
                  <a:gd name="connsiteX343" fmla="*/ 788670 w 1467802"/>
                  <a:gd name="connsiteY343" fmla="*/ 220028 h 3295650"/>
                  <a:gd name="connsiteX344" fmla="*/ 771525 w 1467802"/>
                  <a:gd name="connsiteY344" fmla="*/ 207645 h 3295650"/>
                  <a:gd name="connsiteX345" fmla="*/ 762953 w 1467802"/>
                  <a:gd name="connsiteY345" fmla="*/ 192405 h 3295650"/>
                  <a:gd name="connsiteX346" fmla="*/ 794385 w 1467802"/>
                  <a:gd name="connsiteY346" fmla="*/ 192405 h 3295650"/>
                  <a:gd name="connsiteX347" fmla="*/ 826770 w 1467802"/>
                  <a:gd name="connsiteY347" fmla="*/ 182880 h 3295650"/>
                  <a:gd name="connsiteX348" fmla="*/ 836295 w 1467802"/>
                  <a:gd name="connsiteY348" fmla="*/ 182880 h 3295650"/>
                  <a:gd name="connsiteX349" fmla="*/ 829628 w 1467802"/>
                  <a:gd name="connsiteY349" fmla="*/ 160020 h 3295650"/>
                  <a:gd name="connsiteX350" fmla="*/ 818197 w 1467802"/>
                  <a:gd name="connsiteY350" fmla="*/ 151448 h 3295650"/>
                  <a:gd name="connsiteX351" fmla="*/ 818197 w 1467802"/>
                  <a:gd name="connsiteY351" fmla="*/ 117158 h 3295650"/>
                  <a:gd name="connsiteX352" fmla="*/ 824865 w 1467802"/>
                  <a:gd name="connsiteY352" fmla="*/ 94298 h 3295650"/>
                  <a:gd name="connsiteX353" fmla="*/ 845820 w 1467802"/>
                  <a:gd name="connsiteY353" fmla="*/ 41910 h 3295650"/>
                  <a:gd name="connsiteX354" fmla="*/ 871538 w 1467802"/>
                  <a:gd name="connsiteY354" fmla="*/ 23813 h 3295650"/>
                  <a:gd name="connsiteX355" fmla="*/ 894397 w 1467802"/>
                  <a:gd name="connsiteY355" fmla="*/ 0 h 3295650"/>
                  <a:gd name="connsiteX356" fmla="*/ 922972 w 1467802"/>
                  <a:gd name="connsiteY356" fmla="*/ 17145 h 3295650"/>
                  <a:gd name="connsiteX357" fmla="*/ 943928 w 1467802"/>
                  <a:gd name="connsiteY357" fmla="*/ 14288 h 3295650"/>
                  <a:gd name="connsiteX358" fmla="*/ 950595 w 1467802"/>
                  <a:gd name="connsiteY358" fmla="*/ 42863 h 3295650"/>
                  <a:gd name="connsiteX359" fmla="*/ 928688 w 1467802"/>
                  <a:gd name="connsiteY359" fmla="*/ 64770 h 3295650"/>
                  <a:gd name="connsiteX360" fmla="*/ 910590 w 1467802"/>
                  <a:gd name="connsiteY360" fmla="*/ 88583 h 3295650"/>
                  <a:gd name="connsiteX361" fmla="*/ 955358 w 1467802"/>
                  <a:gd name="connsiteY361" fmla="*/ 91440 h 3295650"/>
                  <a:gd name="connsiteX362" fmla="*/ 963930 w 1467802"/>
                  <a:gd name="connsiteY362" fmla="*/ 82867 h 3295650"/>
                  <a:gd name="connsiteX363" fmla="*/ 991553 w 1467802"/>
                  <a:gd name="connsiteY363" fmla="*/ 82867 h 3295650"/>
                  <a:gd name="connsiteX364" fmla="*/ 1011555 w 1467802"/>
                  <a:gd name="connsiteY364" fmla="*/ 102870 h 3295650"/>
                  <a:gd name="connsiteX365" fmla="*/ 993458 w 1467802"/>
                  <a:gd name="connsiteY365" fmla="*/ 120967 h 3295650"/>
                  <a:gd name="connsiteX366" fmla="*/ 1000125 w 1467802"/>
                  <a:gd name="connsiteY366" fmla="*/ 139065 h 3295650"/>
                  <a:gd name="connsiteX367" fmla="*/ 1031558 w 1467802"/>
                  <a:gd name="connsiteY367" fmla="*/ 148590 h 3295650"/>
                  <a:gd name="connsiteX368" fmla="*/ 1038225 w 1467802"/>
                  <a:gd name="connsiteY368" fmla="*/ 124778 h 3295650"/>
                  <a:gd name="connsiteX369" fmla="*/ 1025842 w 1467802"/>
                  <a:gd name="connsiteY369" fmla="*/ 112395 h 3295650"/>
                  <a:gd name="connsiteX370" fmla="*/ 1057275 w 1467802"/>
                  <a:gd name="connsiteY370" fmla="*/ 95250 h 3295650"/>
                  <a:gd name="connsiteX371" fmla="*/ 1085850 w 1467802"/>
                  <a:gd name="connsiteY371" fmla="*/ 95250 h 3295650"/>
                  <a:gd name="connsiteX372" fmla="*/ 1114425 w 1467802"/>
                  <a:gd name="connsiteY372" fmla="*/ 75248 h 3295650"/>
                  <a:gd name="connsiteX373" fmla="*/ 1130617 w 1467802"/>
                  <a:gd name="connsiteY373" fmla="*/ 91440 h 3295650"/>
                  <a:gd name="connsiteX374" fmla="*/ 1152525 w 1467802"/>
                  <a:gd name="connsiteY374" fmla="*/ 80963 h 3295650"/>
                  <a:gd name="connsiteX375" fmla="*/ 1168717 w 1467802"/>
                  <a:gd name="connsiteY375" fmla="*/ 97155 h 3295650"/>
                  <a:gd name="connsiteX376" fmla="*/ 1183005 w 1467802"/>
                  <a:gd name="connsiteY376" fmla="*/ 125730 h 3295650"/>
                  <a:gd name="connsiteX377" fmla="*/ 1200150 w 1467802"/>
                  <a:gd name="connsiteY377" fmla="*/ 140017 h 3295650"/>
                  <a:gd name="connsiteX378" fmla="*/ 1209675 w 1467802"/>
                  <a:gd name="connsiteY378" fmla="*/ 128588 h 3295650"/>
                  <a:gd name="connsiteX379" fmla="*/ 1224915 w 1467802"/>
                  <a:gd name="connsiteY379" fmla="*/ 143828 h 3295650"/>
                  <a:gd name="connsiteX380" fmla="*/ 1243965 w 1467802"/>
                  <a:gd name="connsiteY380" fmla="*/ 162878 h 3295650"/>
                  <a:gd name="connsiteX381" fmla="*/ 1241108 w 1467802"/>
                  <a:gd name="connsiteY381" fmla="*/ 192405 h 3295650"/>
                  <a:gd name="connsiteX382" fmla="*/ 1212533 w 1467802"/>
                  <a:gd name="connsiteY382" fmla="*/ 186690 h 3295650"/>
                  <a:gd name="connsiteX383" fmla="*/ 1223963 w 1467802"/>
                  <a:gd name="connsiteY383" fmla="*/ 198120 h 3295650"/>
                  <a:gd name="connsiteX384" fmla="*/ 1252538 w 1467802"/>
                  <a:gd name="connsiteY384" fmla="*/ 213360 h 3295650"/>
                  <a:gd name="connsiteX385" fmla="*/ 1270635 w 1467802"/>
                  <a:gd name="connsiteY385" fmla="*/ 243840 h 3295650"/>
                  <a:gd name="connsiteX386" fmla="*/ 1254442 w 1467802"/>
                  <a:gd name="connsiteY386" fmla="*/ 260033 h 3295650"/>
                  <a:gd name="connsiteX387" fmla="*/ 1254442 w 1467802"/>
                  <a:gd name="connsiteY387" fmla="*/ 288608 h 3295650"/>
                  <a:gd name="connsiteX388" fmla="*/ 1240155 w 1467802"/>
                  <a:gd name="connsiteY388" fmla="*/ 308610 h 3295650"/>
                  <a:gd name="connsiteX389" fmla="*/ 1226820 w 1467802"/>
                  <a:gd name="connsiteY389" fmla="*/ 336233 h 3295650"/>
                  <a:gd name="connsiteX390" fmla="*/ 1210628 w 1467802"/>
                  <a:gd name="connsiteY390" fmla="*/ 352425 h 3295650"/>
                  <a:gd name="connsiteX391" fmla="*/ 1182053 w 1467802"/>
                  <a:gd name="connsiteY391" fmla="*/ 386715 h 3295650"/>
                  <a:gd name="connsiteX392" fmla="*/ 1182053 w 1467802"/>
                  <a:gd name="connsiteY392" fmla="*/ 401003 h 3295650"/>
                  <a:gd name="connsiteX393" fmla="*/ 1173480 w 1467802"/>
                  <a:gd name="connsiteY393" fmla="*/ 440055 h 3295650"/>
                  <a:gd name="connsiteX394" fmla="*/ 1152525 w 1467802"/>
                  <a:gd name="connsiteY394" fmla="*/ 461010 h 3295650"/>
                  <a:gd name="connsiteX395" fmla="*/ 1143953 w 1467802"/>
                  <a:gd name="connsiteY395" fmla="*/ 504825 h 3295650"/>
                  <a:gd name="connsiteX396" fmla="*/ 1109663 w 1467802"/>
                  <a:gd name="connsiteY396" fmla="*/ 513398 h 3295650"/>
                  <a:gd name="connsiteX397" fmla="*/ 1099185 w 1467802"/>
                  <a:gd name="connsiteY397" fmla="*/ 544830 h 3295650"/>
                  <a:gd name="connsiteX398" fmla="*/ 1076325 w 1467802"/>
                  <a:gd name="connsiteY398" fmla="*/ 567690 h 3295650"/>
                  <a:gd name="connsiteX399" fmla="*/ 1070610 w 1467802"/>
                  <a:gd name="connsiteY399" fmla="*/ 604838 h 3295650"/>
                  <a:gd name="connsiteX400" fmla="*/ 1063942 w 1467802"/>
                  <a:gd name="connsiteY400" fmla="*/ 630555 h 3295650"/>
                  <a:gd name="connsiteX401" fmla="*/ 1089660 w 1467802"/>
                  <a:gd name="connsiteY401" fmla="*/ 619125 h 3295650"/>
                  <a:gd name="connsiteX402" fmla="*/ 1083945 w 1467802"/>
                  <a:gd name="connsiteY402" fmla="*/ 590550 h 3295650"/>
                  <a:gd name="connsiteX403" fmla="*/ 1109663 w 1467802"/>
                  <a:gd name="connsiteY403" fmla="*/ 575310 h 3295650"/>
                  <a:gd name="connsiteX404" fmla="*/ 1144905 w 1467802"/>
                  <a:gd name="connsiteY404" fmla="*/ 568643 h 3295650"/>
                  <a:gd name="connsiteX405" fmla="*/ 1162050 w 1467802"/>
                  <a:gd name="connsiteY405" fmla="*/ 542925 h 3295650"/>
                  <a:gd name="connsiteX406" fmla="*/ 1185863 w 1467802"/>
                  <a:gd name="connsiteY406" fmla="*/ 522923 h 3295650"/>
                  <a:gd name="connsiteX407" fmla="*/ 1208723 w 1467802"/>
                  <a:gd name="connsiteY407" fmla="*/ 514350 h 3295650"/>
                  <a:gd name="connsiteX408" fmla="*/ 1222058 w 1467802"/>
                  <a:gd name="connsiteY408" fmla="*/ 488633 h 3295650"/>
                  <a:gd name="connsiteX409" fmla="*/ 1211580 w 1467802"/>
                  <a:gd name="connsiteY409" fmla="*/ 478155 h 3295650"/>
                  <a:gd name="connsiteX410" fmla="*/ 1194435 w 1467802"/>
                  <a:gd name="connsiteY410" fmla="*/ 477203 h 3295650"/>
                  <a:gd name="connsiteX411" fmla="*/ 1195388 w 1467802"/>
                  <a:gd name="connsiteY411" fmla="*/ 465773 h 3295650"/>
                  <a:gd name="connsiteX412" fmla="*/ 1194435 w 1467802"/>
                  <a:gd name="connsiteY412" fmla="*/ 442913 h 3295650"/>
                  <a:gd name="connsiteX413" fmla="*/ 1215390 w 1467802"/>
                  <a:gd name="connsiteY413" fmla="*/ 441960 h 3295650"/>
                  <a:gd name="connsiteX414" fmla="*/ 1232535 w 1467802"/>
                  <a:gd name="connsiteY414" fmla="*/ 441960 h 3295650"/>
                  <a:gd name="connsiteX415" fmla="*/ 1236345 w 1467802"/>
                  <a:gd name="connsiteY415" fmla="*/ 466725 h 3295650"/>
                  <a:gd name="connsiteX416" fmla="*/ 1247775 w 1467802"/>
                  <a:gd name="connsiteY416" fmla="*/ 475298 h 3295650"/>
                  <a:gd name="connsiteX417" fmla="*/ 1244917 w 1467802"/>
                  <a:gd name="connsiteY417" fmla="*/ 488633 h 3295650"/>
                  <a:gd name="connsiteX418" fmla="*/ 1235392 w 1467802"/>
                  <a:gd name="connsiteY418" fmla="*/ 499110 h 3295650"/>
                  <a:gd name="connsiteX419" fmla="*/ 1242060 w 1467802"/>
                  <a:gd name="connsiteY419" fmla="*/ 515303 h 3295650"/>
                  <a:gd name="connsiteX420" fmla="*/ 1254442 w 1467802"/>
                  <a:gd name="connsiteY420" fmla="*/ 534353 h 3295650"/>
                  <a:gd name="connsiteX421" fmla="*/ 1266825 w 1467802"/>
                  <a:gd name="connsiteY421" fmla="*/ 546735 h 3295650"/>
                  <a:gd name="connsiteX422" fmla="*/ 1262063 w 1467802"/>
                  <a:gd name="connsiteY422" fmla="*/ 575310 h 3295650"/>
                  <a:gd name="connsiteX423" fmla="*/ 1272540 w 1467802"/>
                  <a:gd name="connsiteY423" fmla="*/ 596265 h 3295650"/>
                  <a:gd name="connsiteX424" fmla="*/ 1301115 w 1467802"/>
                  <a:gd name="connsiteY424" fmla="*/ 606743 h 3295650"/>
                  <a:gd name="connsiteX425" fmla="*/ 1301115 w 1467802"/>
                  <a:gd name="connsiteY425" fmla="*/ 621983 h 3295650"/>
                  <a:gd name="connsiteX426" fmla="*/ 1339215 w 1467802"/>
                  <a:gd name="connsiteY426" fmla="*/ 649605 h 3295650"/>
                  <a:gd name="connsiteX427" fmla="*/ 1357313 w 1467802"/>
                  <a:gd name="connsiteY427" fmla="*/ 667703 h 3295650"/>
                  <a:gd name="connsiteX428" fmla="*/ 1357313 w 1467802"/>
                  <a:gd name="connsiteY428" fmla="*/ 702945 h 3295650"/>
                  <a:gd name="connsiteX429" fmla="*/ 1377315 w 1467802"/>
                  <a:gd name="connsiteY429" fmla="*/ 741045 h 3295650"/>
                  <a:gd name="connsiteX430" fmla="*/ 1399223 w 1467802"/>
                  <a:gd name="connsiteY430" fmla="*/ 741045 h 3295650"/>
                  <a:gd name="connsiteX431" fmla="*/ 1401128 w 1467802"/>
                  <a:gd name="connsiteY431" fmla="*/ 769620 h 3295650"/>
                  <a:gd name="connsiteX432" fmla="*/ 1389698 w 1467802"/>
                  <a:gd name="connsiteY432" fmla="*/ 769620 h 3295650"/>
                  <a:gd name="connsiteX433" fmla="*/ 1383983 w 1467802"/>
                  <a:gd name="connsiteY433" fmla="*/ 789623 h 3295650"/>
                  <a:gd name="connsiteX434" fmla="*/ 1357313 w 1467802"/>
                  <a:gd name="connsiteY434" fmla="*/ 816293 h 3295650"/>
                  <a:gd name="connsiteX435" fmla="*/ 1334453 w 1467802"/>
                  <a:gd name="connsiteY435" fmla="*/ 832485 h 3295650"/>
                  <a:gd name="connsiteX436" fmla="*/ 1335405 w 1467802"/>
                  <a:gd name="connsiteY436" fmla="*/ 861060 h 3295650"/>
                  <a:gd name="connsiteX437" fmla="*/ 1335405 w 1467802"/>
                  <a:gd name="connsiteY437" fmla="*/ 882968 h 3295650"/>
                  <a:gd name="connsiteX438" fmla="*/ 1314450 w 1467802"/>
                  <a:gd name="connsiteY438" fmla="*/ 890588 h 3295650"/>
                  <a:gd name="connsiteX439" fmla="*/ 1306830 w 1467802"/>
                  <a:gd name="connsiteY439" fmla="*/ 918210 h 3295650"/>
                  <a:gd name="connsiteX440" fmla="*/ 1323023 w 1467802"/>
                  <a:gd name="connsiteY440" fmla="*/ 934403 h 3295650"/>
                  <a:gd name="connsiteX441" fmla="*/ 1323023 w 1467802"/>
                  <a:gd name="connsiteY441" fmla="*/ 957263 h 3295650"/>
                  <a:gd name="connsiteX442" fmla="*/ 1314450 w 1467802"/>
                  <a:gd name="connsiteY442" fmla="*/ 976313 h 3295650"/>
                  <a:gd name="connsiteX443" fmla="*/ 1285875 w 1467802"/>
                  <a:gd name="connsiteY443" fmla="*/ 967740 h 3295650"/>
                  <a:gd name="connsiteX444" fmla="*/ 1264920 w 1467802"/>
                  <a:gd name="connsiteY444" fmla="*/ 974408 h 3295650"/>
                  <a:gd name="connsiteX445" fmla="*/ 1234440 w 1467802"/>
                  <a:gd name="connsiteY445" fmla="*/ 1018223 h 3295650"/>
                  <a:gd name="connsiteX446" fmla="*/ 1204913 w 1467802"/>
                  <a:gd name="connsiteY446" fmla="*/ 1029652 h 3295650"/>
                  <a:gd name="connsiteX447" fmla="*/ 1200150 w 1467802"/>
                  <a:gd name="connsiteY447" fmla="*/ 1039177 h 3295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</a:cxnLst>
                <a:rect l="l" t="t" r="r" b="b"/>
                <a:pathLst>
                  <a:path w="1467802" h="3295650">
                    <a:moveTo>
                      <a:pt x="1200150" y="1039177"/>
                    </a:moveTo>
                    <a:lnTo>
                      <a:pt x="1207770" y="1058227"/>
                    </a:lnTo>
                    <a:lnTo>
                      <a:pt x="1218248" y="1082993"/>
                    </a:lnTo>
                    <a:lnTo>
                      <a:pt x="1243013" y="1100138"/>
                    </a:lnTo>
                    <a:lnTo>
                      <a:pt x="1245870" y="1146810"/>
                    </a:lnTo>
                    <a:lnTo>
                      <a:pt x="1270635" y="1191577"/>
                    </a:lnTo>
                    <a:lnTo>
                      <a:pt x="1270635" y="1209675"/>
                    </a:lnTo>
                    <a:lnTo>
                      <a:pt x="1276350" y="1244918"/>
                    </a:lnTo>
                    <a:lnTo>
                      <a:pt x="1283970" y="1299210"/>
                    </a:lnTo>
                    <a:lnTo>
                      <a:pt x="1263015" y="1304925"/>
                    </a:lnTo>
                    <a:lnTo>
                      <a:pt x="1248728" y="1327785"/>
                    </a:lnTo>
                    <a:lnTo>
                      <a:pt x="1235392" y="1341120"/>
                    </a:lnTo>
                    <a:lnTo>
                      <a:pt x="1243013" y="1364933"/>
                    </a:lnTo>
                    <a:lnTo>
                      <a:pt x="1250633" y="1357313"/>
                    </a:lnTo>
                    <a:lnTo>
                      <a:pt x="1277303" y="1367790"/>
                    </a:lnTo>
                    <a:lnTo>
                      <a:pt x="1277303" y="1390650"/>
                    </a:lnTo>
                    <a:lnTo>
                      <a:pt x="1286828" y="1400175"/>
                    </a:lnTo>
                    <a:lnTo>
                      <a:pt x="1277303" y="1408748"/>
                    </a:lnTo>
                    <a:lnTo>
                      <a:pt x="1277303" y="1433513"/>
                    </a:lnTo>
                    <a:lnTo>
                      <a:pt x="1302067" y="1446848"/>
                    </a:lnTo>
                    <a:lnTo>
                      <a:pt x="1309688" y="1485900"/>
                    </a:lnTo>
                    <a:lnTo>
                      <a:pt x="1339215" y="1515427"/>
                    </a:lnTo>
                    <a:lnTo>
                      <a:pt x="1329690" y="1543050"/>
                    </a:lnTo>
                    <a:lnTo>
                      <a:pt x="1312545" y="1569720"/>
                    </a:lnTo>
                    <a:lnTo>
                      <a:pt x="1319213" y="1590675"/>
                    </a:lnTo>
                    <a:lnTo>
                      <a:pt x="1319213" y="1608773"/>
                    </a:lnTo>
                    <a:lnTo>
                      <a:pt x="1310640" y="1617345"/>
                    </a:lnTo>
                    <a:lnTo>
                      <a:pt x="1310640" y="1645920"/>
                    </a:lnTo>
                    <a:lnTo>
                      <a:pt x="1325880" y="1652588"/>
                    </a:lnTo>
                    <a:lnTo>
                      <a:pt x="1348740" y="1652588"/>
                    </a:lnTo>
                    <a:lnTo>
                      <a:pt x="1360170" y="1641158"/>
                    </a:lnTo>
                    <a:lnTo>
                      <a:pt x="1373505" y="1641158"/>
                    </a:lnTo>
                    <a:lnTo>
                      <a:pt x="1385888" y="1656398"/>
                    </a:lnTo>
                    <a:lnTo>
                      <a:pt x="1411605" y="1646873"/>
                    </a:lnTo>
                    <a:lnTo>
                      <a:pt x="1430655" y="1655445"/>
                    </a:lnTo>
                    <a:lnTo>
                      <a:pt x="1445895" y="1640205"/>
                    </a:lnTo>
                    <a:lnTo>
                      <a:pt x="1466850" y="1641158"/>
                    </a:lnTo>
                    <a:lnTo>
                      <a:pt x="1467803" y="1658302"/>
                    </a:lnTo>
                    <a:lnTo>
                      <a:pt x="1460183" y="1674495"/>
                    </a:lnTo>
                    <a:lnTo>
                      <a:pt x="1447800" y="1686877"/>
                    </a:lnTo>
                    <a:lnTo>
                      <a:pt x="1431608" y="1683068"/>
                    </a:lnTo>
                    <a:lnTo>
                      <a:pt x="1412558" y="1702118"/>
                    </a:lnTo>
                    <a:lnTo>
                      <a:pt x="1393508" y="1708785"/>
                    </a:lnTo>
                    <a:lnTo>
                      <a:pt x="1382078" y="1734502"/>
                    </a:lnTo>
                    <a:lnTo>
                      <a:pt x="1382078" y="1760220"/>
                    </a:lnTo>
                    <a:lnTo>
                      <a:pt x="1391603" y="1787843"/>
                    </a:lnTo>
                    <a:lnTo>
                      <a:pt x="1383030" y="1810702"/>
                    </a:lnTo>
                    <a:lnTo>
                      <a:pt x="1383030" y="1830705"/>
                    </a:lnTo>
                    <a:lnTo>
                      <a:pt x="1407795" y="1855470"/>
                    </a:lnTo>
                    <a:lnTo>
                      <a:pt x="1423035" y="1870710"/>
                    </a:lnTo>
                    <a:lnTo>
                      <a:pt x="1416367" y="1890713"/>
                    </a:lnTo>
                    <a:lnTo>
                      <a:pt x="1406842" y="1907858"/>
                    </a:lnTo>
                    <a:lnTo>
                      <a:pt x="1424940" y="1925955"/>
                    </a:lnTo>
                    <a:lnTo>
                      <a:pt x="1407795" y="1943100"/>
                    </a:lnTo>
                    <a:lnTo>
                      <a:pt x="1395413" y="1952625"/>
                    </a:lnTo>
                    <a:lnTo>
                      <a:pt x="1395413" y="1989773"/>
                    </a:lnTo>
                    <a:lnTo>
                      <a:pt x="1380173" y="1999298"/>
                    </a:lnTo>
                    <a:lnTo>
                      <a:pt x="1374458" y="2025015"/>
                    </a:lnTo>
                    <a:lnTo>
                      <a:pt x="1349692" y="2034540"/>
                    </a:lnTo>
                    <a:lnTo>
                      <a:pt x="1356360" y="2068830"/>
                    </a:lnTo>
                    <a:lnTo>
                      <a:pt x="1345883" y="2079308"/>
                    </a:lnTo>
                    <a:lnTo>
                      <a:pt x="1342073" y="2110740"/>
                    </a:lnTo>
                    <a:lnTo>
                      <a:pt x="1348740" y="2139315"/>
                    </a:lnTo>
                    <a:lnTo>
                      <a:pt x="1363028" y="2145983"/>
                    </a:lnTo>
                    <a:lnTo>
                      <a:pt x="1386840" y="2169795"/>
                    </a:lnTo>
                    <a:lnTo>
                      <a:pt x="1396365" y="2160270"/>
                    </a:lnTo>
                    <a:lnTo>
                      <a:pt x="1419225" y="2168843"/>
                    </a:lnTo>
                    <a:lnTo>
                      <a:pt x="1419225" y="2193608"/>
                    </a:lnTo>
                    <a:lnTo>
                      <a:pt x="1426845" y="2214563"/>
                    </a:lnTo>
                    <a:lnTo>
                      <a:pt x="1411605" y="2212658"/>
                    </a:lnTo>
                    <a:lnTo>
                      <a:pt x="1401128" y="2231708"/>
                    </a:lnTo>
                    <a:lnTo>
                      <a:pt x="1392555" y="2247900"/>
                    </a:lnTo>
                    <a:lnTo>
                      <a:pt x="1397317" y="2261235"/>
                    </a:lnTo>
                    <a:lnTo>
                      <a:pt x="1420178" y="2261235"/>
                    </a:lnTo>
                    <a:lnTo>
                      <a:pt x="1430655" y="2284095"/>
                    </a:lnTo>
                    <a:lnTo>
                      <a:pt x="1438275" y="2304098"/>
                    </a:lnTo>
                    <a:lnTo>
                      <a:pt x="1425892" y="2316480"/>
                    </a:lnTo>
                    <a:lnTo>
                      <a:pt x="1412558" y="2337435"/>
                    </a:lnTo>
                    <a:lnTo>
                      <a:pt x="1412558" y="2355533"/>
                    </a:lnTo>
                    <a:lnTo>
                      <a:pt x="1405890" y="2371725"/>
                    </a:lnTo>
                    <a:lnTo>
                      <a:pt x="1384935" y="2371725"/>
                    </a:lnTo>
                    <a:lnTo>
                      <a:pt x="1367790" y="2354580"/>
                    </a:lnTo>
                    <a:lnTo>
                      <a:pt x="1343978" y="2354580"/>
                    </a:lnTo>
                    <a:lnTo>
                      <a:pt x="1334453" y="2338388"/>
                    </a:lnTo>
                    <a:lnTo>
                      <a:pt x="1312545" y="2328863"/>
                    </a:lnTo>
                    <a:lnTo>
                      <a:pt x="1307783" y="2313623"/>
                    </a:lnTo>
                    <a:lnTo>
                      <a:pt x="1289685" y="2309813"/>
                    </a:lnTo>
                    <a:lnTo>
                      <a:pt x="1264920" y="2325053"/>
                    </a:lnTo>
                    <a:lnTo>
                      <a:pt x="1258253" y="2352675"/>
                    </a:lnTo>
                    <a:lnTo>
                      <a:pt x="1270635" y="2381250"/>
                    </a:lnTo>
                    <a:lnTo>
                      <a:pt x="1251585" y="2409825"/>
                    </a:lnTo>
                    <a:lnTo>
                      <a:pt x="1221105" y="2440305"/>
                    </a:lnTo>
                    <a:lnTo>
                      <a:pt x="1200150" y="2469833"/>
                    </a:lnTo>
                    <a:lnTo>
                      <a:pt x="1192530" y="2500313"/>
                    </a:lnTo>
                    <a:lnTo>
                      <a:pt x="1182053" y="2526030"/>
                    </a:lnTo>
                    <a:lnTo>
                      <a:pt x="1202055" y="2546033"/>
                    </a:lnTo>
                    <a:lnTo>
                      <a:pt x="1183005" y="2559368"/>
                    </a:lnTo>
                    <a:lnTo>
                      <a:pt x="1155383" y="2541270"/>
                    </a:lnTo>
                    <a:lnTo>
                      <a:pt x="1142048" y="2508885"/>
                    </a:lnTo>
                    <a:lnTo>
                      <a:pt x="1119188" y="2486025"/>
                    </a:lnTo>
                    <a:lnTo>
                      <a:pt x="1097280" y="2497455"/>
                    </a:lnTo>
                    <a:lnTo>
                      <a:pt x="1087755" y="2527935"/>
                    </a:lnTo>
                    <a:lnTo>
                      <a:pt x="1052513" y="2540318"/>
                    </a:lnTo>
                    <a:lnTo>
                      <a:pt x="1023938" y="2535555"/>
                    </a:lnTo>
                    <a:lnTo>
                      <a:pt x="994410" y="2543175"/>
                    </a:lnTo>
                    <a:lnTo>
                      <a:pt x="993458" y="2585085"/>
                    </a:lnTo>
                    <a:lnTo>
                      <a:pt x="976313" y="2601278"/>
                    </a:lnTo>
                    <a:lnTo>
                      <a:pt x="976313" y="2641283"/>
                    </a:lnTo>
                    <a:lnTo>
                      <a:pt x="996315" y="2661285"/>
                    </a:lnTo>
                    <a:lnTo>
                      <a:pt x="1009650" y="2693670"/>
                    </a:lnTo>
                    <a:lnTo>
                      <a:pt x="1009650" y="2711768"/>
                    </a:lnTo>
                    <a:lnTo>
                      <a:pt x="987742" y="2723198"/>
                    </a:lnTo>
                    <a:lnTo>
                      <a:pt x="977265" y="2748915"/>
                    </a:lnTo>
                    <a:lnTo>
                      <a:pt x="957263" y="2748915"/>
                    </a:lnTo>
                    <a:lnTo>
                      <a:pt x="951547" y="2775585"/>
                    </a:lnTo>
                    <a:lnTo>
                      <a:pt x="942022" y="2798445"/>
                    </a:lnTo>
                    <a:lnTo>
                      <a:pt x="957263" y="2821305"/>
                    </a:lnTo>
                    <a:lnTo>
                      <a:pt x="958215" y="2844165"/>
                    </a:lnTo>
                    <a:lnTo>
                      <a:pt x="946785" y="2851785"/>
                    </a:lnTo>
                    <a:lnTo>
                      <a:pt x="946785" y="2885123"/>
                    </a:lnTo>
                    <a:lnTo>
                      <a:pt x="952500" y="2903220"/>
                    </a:lnTo>
                    <a:lnTo>
                      <a:pt x="942975" y="2921318"/>
                    </a:lnTo>
                    <a:lnTo>
                      <a:pt x="945833" y="2944178"/>
                    </a:lnTo>
                    <a:lnTo>
                      <a:pt x="904875" y="2947035"/>
                    </a:lnTo>
                    <a:lnTo>
                      <a:pt x="904875" y="2965133"/>
                    </a:lnTo>
                    <a:lnTo>
                      <a:pt x="886778" y="2962275"/>
                    </a:lnTo>
                    <a:lnTo>
                      <a:pt x="880110" y="2980373"/>
                    </a:lnTo>
                    <a:lnTo>
                      <a:pt x="906780" y="2997518"/>
                    </a:lnTo>
                    <a:lnTo>
                      <a:pt x="946785" y="3037523"/>
                    </a:lnTo>
                    <a:lnTo>
                      <a:pt x="965835" y="3048953"/>
                    </a:lnTo>
                    <a:lnTo>
                      <a:pt x="958215" y="3067050"/>
                    </a:lnTo>
                    <a:lnTo>
                      <a:pt x="943928" y="3055620"/>
                    </a:lnTo>
                    <a:lnTo>
                      <a:pt x="931545" y="3068003"/>
                    </a:lnTo>
                    <a:lnTo>
                      <a:pt x="900113" y="3066098"/>
                    </a:lnTo>
                    <a:lnTo>
                      <a:pt x="873442" y="3092768"/>
                    </a:lnTo>
                    <a:lnTo>
                      <a:pt x="836295" y="3086100"/>
                    </a:lnTo>
                    <a:lnTo>
                      <a:pt x="822960" y="3099435"/>
                    </a:lnTo>
                    <a:lnTo>
                      <a:pt x="814388" y="3149918"/>
                    </a:lnTo>
                    <a:lnTo>
                      <a:pt x="782003" y="3158490"/>
                    </a:lnTo>
                    <a:lnTo>
                      <a:pt x="782003" y="3181350"/>
                    </a:lnTo>
                    <a:lnTo>
                      <a:pt x="761047" y="3202305"/>
                    </a:lnTo>
                    <a:lnTo>
                      <a:pt x="761047" y="3238500"/>
                    </a:lnTo>
                    <a:lnTo>
                      <a:pt x="731520" y="3247073"/>
                    </a:lnTo>
                    <a:lnTo>
                      <a:pt x="690563" y="3283268"/>
                    </a:lnTo>
                    <a:lnTo>
                      <a:pt x="661035" y="3295650"/>
                    </a:lnTo>
                    <a:lnTo>
                      <a:pt x="639128" y="3295650"/>
                    </a:lnTo>
                    <a:lnTo>
                      <a:pt x="610553" y="3280410"/>
                    </a:lnTo>
                    <a:lnTo>
                      <a:pt x="579120" y="3280410"/>
                    </a:lnTo>
                    <a:lnTo>
                      <a:pt x="546735" y="3268980"/>
                    </a:lnTo>
                    <a:lnTo>
                      <a:pt x="521970" y="3244215"/>
                    </a:lnTo>
                    <a:lnTo>
                      <a:pt x="532447" y="3229928"/>
                    </a:lnTo>
                    <a:lnTo>
                      <a:pt x="544830" y="3198495"/>
                    </a:lnTo>
                    <a:lnTo>
                      <a:pt x="570547" y="3187065"/>
                    </a:lnTo>
                    <a:lnTo>
                      <a:pt x="593408" y="3164205"/>
                    </a:lnTo>
                    <a:lnTo>
                      <a:pt x="589597" y="3135630"/>
                    </a:lnTo>
                    <a:lnTo>
                      <a:pt x="612458" y="3112770"/>
                    </a:lnTo>
                    <a:lnTo>
                      <a:pt x="621030" y="3083243"/>
                    </a:lnTo>
                    <a:lnTo>
                      <a:pt x="612458" y="3060383"/>
                    </a:lnTo>
                    <a:lnTo>
                      <a:pt x="612458" y="3032760"/>
                    </a:lnTo>
                    <a:lnTo>
                      <a:pt x="582930" y="3003233"/>
                    </a:lnTo>
                    <a:lnTo>
                      <a:pt x="573405" y="2969895"/>
                    </a:lnTo>
                    <a:lnTo>
                      <a:pt x="544830" y="2941320"/>
                    </a:lnTo>
                    <a:lnTo>
                      <a:pt x="554355" y="2903220"/>
                    </a:lnTo>
                    <a:lnTo>
                      <a:pt x="545783" y="2886075"/>
                    </a:lnTo>
                    <a:lnTo>
                      <a:pt x="519113" y="2895600"/>
                    </a:lnTo>
                    <a:lnTo>
                      <a:pt x="477203" y="2893695"/>
                    </a:lnTo>
                    <a:lnTo>
                      <a:pt x="463868" y="2907030"/>
                    </a:lnTo>
                    <a:lnTo>
                      <a:pt x="436245" y="2901315"/>
                    </a:lnTo>
                    <a:lnTo>
                      <a:pt x="409575" y="2871788"/>
                    </a:lnTo>
                    <a:lnTo>
                      <a:pt x="393383" y="2844165"/>
                    </a:lnTo>
                    <a:lnTo>
                      <a:pt x="419100" y="2818448"/>
                    </a:lnTo>
                    <a:lnTo>
                      <a:pt x="436245" y="2811780"/>
                    </a:lnTo>
                    <a:lnTo>
                      <a:pt x="434340" y="2770823"/>
                    </a:lnTo>
                    <a:lnTo>
                      <a:pt x="419100" y="2742248"/>
                    </a:lnTo>
                    <a:lnTo>
                      <a:pt x="399097" y="2735580"/>
                    </a:lnTo>
                    <a:lnTo>
                      <a:pt x="387668" y="2726055"/>
                    </a:lnTo>
                    <a:lnTo>
                      <a:pt x="383858" y="2703195"/>
                    </a:lnTo>
                    <a:lnTo>
                      <a:pt x="390525" y="2673668"/>
                    </a:lnTo>
                    <a:lnTo>
                      <a:pt x="390525" y="2631758"/>
                    </a:lnTo>
                    <a:lnTo>
                      <a:pt x="408622" y="2599373"/>
                    </a:lnTo>
                    <a:lnTo>
                      <a:pt x="440055" y="2584133"/>
                    </a:lnTo>
                    <a:lnTo>
                      <a:pt x="436245" y="2551748"/>
                    </a:lnTo>
                    <a:lnTo>
                      <a:pt x="398145" y="2539365"/>
                    </a:lnTo>
                    <a:lnTo>
                      <a:pt x="374333" y="2539365"/>
                    </a:lnTo>
                    <a:lnTo>
                      <a:pt x="367665" y="2516505"/>
                    </a:lnTo>
                    <a:lnTo>
                      <a:pt x="346710" y="2482215"/>
                    </a:lnTo>
                    <a:lnTo>
                      <a:pt x="360045" y="2446020"/>
                    </a:lnTo>
                    <a:lnTo>
                      <a:pt x="405765" y="2397443"/>
                    </a:lnTo>
                    <a:lnTo>
                      <a:pt x="391478" y="2383155"/>
                    </a:lnTo>
                    <a:lnTo>
                      <a:pt x="350520" y="2386013"/>
                    </a:lnTo>
                    <a:lnTo>
                      <a:pt x="341947" y="2353628"/>
                    </a:lnTo>
                    <a:lnTo>
                      <a:pt x="315278" y="2326958"/>
                    </a:lnTo>
                    <a:lnTo>
                      <a:pt x="298133" y="2301240"/>
                    </a:lnTo>
                    <a:lnTo>
                      <a:pt x="263843" y="2292668"/>
                    </a:lnTo>
                    <a:lnTo>
                      <a:pt x="219075" y="2292668"/>
                    </a:lnTo>
                    <a:lnTo>
                      <a:pt x="180975" y="2302193"/>
                    </a:lnTo>
                    <a:lnTo>
                      <a:pt x="149543" y="2292668"/>
                    </a:lnTo>
                    <a:lnTo>
                      <a:pt x="140970" y="2264093"/>
                    </a:lnTo>
                    <a:lnTo>
                      <a:pt x="166688" y="2238375"/>
                    </a:lnTo>
                    <a:lnTo>
                      <a:pt x="139065" y="2181225"/>
                    </a:lnTo>
                    <a:lnTo>
                      <a:pt x="171450" y="2148840"/>
                    </a:lnTo>
                    <a:lnTo>
                      <a:pt x="221933" y="2126933"/>
                    </a:lnTo>
                    <a:lnTo>
                      <a:pt x="242888" y="2092643"/>
                    </a:lnTo>
                    <a:lnTo>
                      <a:pt x="202883" y="2075498"/>
                    </a:lnTo>
                    <a:lnTo>
                      <a:pt x="167640" y="2051685"/>
                    </a:lnTo>
                    <a:lnTo>
                      <a:pt x="167640" y="2008823"/>
                    </a:lnTo>
                    <a:lnTo>
                      <a:pt x="200978" y="1975485"/>
                    </a:lnTo>
                    <a:lnTo>
                      <a:pt x="213360" y="1963102"/>
                    </a:lnTo>
                    <a:lnTo>
                      <a:pt x="215265" y="1931670"/>
                    </a:lnTo>
                    <a:lnTo>
                      <a:pt x="235268" y="1911668"/>
                    </a:lnTo>
                    <a:lnTo>
                      <a:pt x="235268" y="1876425"/>
                    </a:lnTo>
                    <a:lnTo>
                      <a:pt x="214313" y="1846898"/>
                    </a:lnTo>
                    <a:lnTo>
                      <a:pt x="228600" y="1820227"/>
                    </a:lnTo>
                    <a:lnTo>
                      <a:pt x="248603" y="1794510"/>
                    </a:lnTo>
                    <a:lnTo>
                      <a:pt x="267653" y="1775460"/>
                    </a:lnTo>
                    <a:lnTo>
                      <a:pt x="258128" y="1752600"/>
                    </a:lnTo>
                    <a:lnTo>
                      <a:pt x="263843" y="1723073"/>
                    </a:lnTo>
                    <a:lnTo>
                      <a:pt x="258128" y="1688783"/>
                    </a:lnTo>
                    <a:lnTo>
                      <a:pt x="241935" y="1704975"/>
                    </a:lnTo>
                    <a:lnTo>
                      <a:pt x="225743" y="1688783"/>
                    </a:lnTo>
                    <a:lnTo>
                      <a:pt x="193358" y="1682115"/>
                    </a:lnTo>
                    <a:lnTo>
                      <a:pt x="186690" y="1652588"/>
                    </a:lnTo>
                    <a:lnTo>
                      <a:pt x="200978" y="1638300"/>
                    </a:lnTo>
                    <a:lnTo>
                      <a:pt x="198120" y="1605915"/>
                    </a:lnTo>
                    <a:lnTo>
                      <a:pt x="185738" y="1580198"/>
                    </a:lnTo>
                    <a:lnTo>
                      <a:pt x="168593" y="1563052"/>
                    </a:lnTo>
                    <a:lnTo>
                      <a:pt x="151447" y="1563052"/>
                    </a:lnTo>
                    <a:lnTo>
                      <a:pt x="136208" y="1534477"/>
                    </a:lnTo>
                    <a:lnTo>
                      <a:pt x="148590" y="1524952"/>
                    </a:lnTo>
                    <a:lnTo>
                      <a:pt x="148590" y="1499235"/>
                    </a:lnTo>
                    <a:lnTo>
                      <a:pt x="139065" y="1482090"/>
                    </a:lnTo>
                    <a:lnTo>
                      <a:pt x="139065" y="1467802"/>
                    </a:lnTo>
                    <a:lnTo>
                      <a:pt x="158115" y="1449705"/>
                    </a:lnTo>
                    <a:lnTo>
                      <a:pt x="145733" y="1424940"/>
                    </a:lnTo>
                    <a:lnTo>
                      <a:pt x="114300" y="1406843"/>
                    </a:lnTo>
                    <a:lnTo>
                      <a:pt x="114300" y="1386840"/>
                    </a:lnTo>
                    <a:lnTo>
                      <a:pt x="101918" y="1374458"/>
                    </a:lnTo>
                    <a:lnTo>
                      <a:pt x="114300" y="1353502"/>
                    </a:lnTo>
                    <a:lnTo>
                      <a:pt x="109538" y="1327785"/>
                    </a:lnTo>
                    <a:lnTo>
                      <a:pt x="96203" y="1314450"/>
                    </a:lnTo>
                    <a:lnTo>
                      <a:pt x="97155" y="1291590"/>
                    </a:lnTo>
                    <a:lnTo>
                      <a:pt x="117158" y="1295400"/>
                    </a:lnTo>
                    <a:lnTo>
                      <a:pt x="122872" y="1278255"/>
                    </a:lnTo>
                    <a:lnTo>
                      <a:pt x="138113" y="1263015"/>
                    </a:lnTo>
                    <a:lnTo>
                      <a:pt x="147638" y="1236345"/>
                    </a:lnTo>
                    <a:lnTo>
                      <a:pt x="136208" y="1215390"/>
                    </a:lnTo>
                    <a:lnTo>
                      <a:pt x="146685" y="1215390"/>
                    </a:lnTo>
                    <a:lnTo>
                      <a:pt x="154305" y="1195388"/>
                    </a:lnTo>
                    <a:lnTo>
                      <a:pt x="140970" y="1163002"/>
                    </a:lnTo>
                    <a:lnTo>
                      <a:pt x="140970" y="1141095"/>
                    </a:lnTo>
                    <a:lnTo>
                      <a:pt x="119063" y="1137285"/>
                    </a:lnTo>
                    <a:lnTo>
                      <a:pt x="120015" y="1109663"/>
                    </a:lnTo>
                    <a:cubicBezTo>
                      <a:pt x="120015" y="1109663"/>
                      <a:pt x="105728" y="1123950"/>
                      <a:pt x="102870" y="1125855"/>
                    </a:cubicBezTo>
                    <a:cubicBezTo>
                      <a:pt x="100965" y="1127760"/>
                      <a:pt x="94297" y="1117283"/>
                      <a:pt x="94297" y="1117283"/>
                    </a:cubicBezTo>
                    <a:lnTo>
                      <a:pt x="77153" y="1132523"/>
                    </a:lnTo>
                    <a:lnTo>
                      <a:pt x="67628" y="1122998"/>
                    </a:lnTo>
                    <a:lnTo>
                      <a:pt x="63818" y="1104900"/>
                    </a:lnTo>
                    <a:lnTo>
                      <a:pt x="37147" y="1101090"/>
                    </a:lnTo>
                    <a:lnTo>
                      <a:pt x="19050" y="1082993"/>
                    </a:lnTo>
                    <a:lnTo>
                      <a:pt x="15240" y="1067752"/>
                    </a:lnTo>
                    <a:lnTo>
                      <a:pt x="953" y="1055370"/>
                    </a:lnTo>
                    <a:lnTo>
                      <a:pt x="0" y="1029652"/>
                    </a:lnTo>
                    <a:lnTo>
                      <a:pt x="25718" y="1010602"/>
                    </a:lnTo>
                    <a:lnTo>
                      <a:pt x="46672" y="989648"/>
                    </a:lnTo>
                    <a:lnTo>
                      <a:pt x="57150" y="972502"/>
                    </a:lnTo>
                    <a:lnTo>
                      <a:pt x="85725" y="972502"/>
                    </a:lnTo>
                    <a:lnTo>
                      <a:pt x="85725" y="923925"/>
                    </a:lnTo>
                    <a:lnTo>
                      <a:pt x="88583" y="889635"/>
                    </a:lnTo>
                    <a:lnTo>
                      <a:pt x="58103" y="872490"/>
                    </a:lnTo>
                    <a:lnTo>
                      <a:pt x="48578" y="854393"/>
                    </a:lnTo>
                    <a:lnTo>
                      <a:pt x="42863" y="862013"/>
                    </a:lnTo>
                    <a:lnTo>
                      <a:pt x="34290" y="842963"/>
                    </a:lnTo>
                    <a:lnTo>
                      <a:pt x="53340" y="823913"/>
                    </a:lnTo>
                    <a:lnTo>
                      <a:pt x="80010" y="820103"/>
                    </a:lnTo>
                    <a:lnTo>
                      <a:pt x="77153" y="804863"/>
                    </a:lnTo>
                    <a:lnTo>
                      <a:pt x="90488" y="791528"/>
                    </a:lnTo>
                    <a:lnTo>
                      <a:pt x="85725" y="773430"/>
                    </a:lnTo>
                    <a:lnTo>
                      <a:pt x="65722" y="762953"/>
                    </a:lnTo>
                    <a:lnTo>
                      <a:pt x="47625" y="759143"/>
                    </a:lnTo>
                    <a:lnTo>
                      <a:pt x="35243" y="746760"/>
                    </a:lnTo>
                    <a:lnTo>
                      <a:pt x="29528" y="731520"/>
                    </a:lnTo>
                    <a:lnTo>
                      <a:pt x="16193" y="731520"/>
                    </a:lnTo>
                    <a:lnTo>
                      <a:pt x="15240" y="714375"/>
                    </a:lnTo>
                    <a:lnTo>
                      <a:pt x="43815" y="720090"/>
                    </a:lnTo>
                    <a:lnTo>
                      <a:pt x="66675" y="716280"/>
                    </a:lnTo>
                    <a:lnTo>
                      <a:pt x="85725" y="735330"/>
                    </a:lnTo>
                    <a:lnTo>
                      <a:pt x="122872" y="755333"/>
                    </a:lnTo>
                    <a:lnTo>
                      <a:pt x="113347" y="783908"/>
                    </a:lnTo>
                    <a:lnTo>
                      <a:pt x="122872" y="793433"/>
                    </a:lnTo>
                    <a:lnTo>
                      <a:pt x="147638" y="818198"/>
                    </a:lnTo>
                    <a:lnTo>
                      <a:pt x="185738" y="818198"/>
                    </a:lnTo>
                    <a:lnTo>
                      <a:pt x="191453" y="795338"/>
                    </a:lnTo>
                    <a:lnTo>
                      <a:pt x="176213" y="774383"/>
                    </a:lnTo>
                    <a:lnTo>
                      <a:pt x="177165" y="754380"/>
                    </a:lnTo>
                    <a:lnTo>
                      <a:pt x="150495" y="744855"/>
                    </a:lnTo>
                    <a:lnTo>
                      <a:pt x="130493" y="712470"/>
                    </a:lnTo>
                    <a:lnTo>
                      <a:pt x="119063" y="701040"/>
                    </a:lnTo>
                    <a:lnTo>
                      <a:pt x="127635" y="666750"/>
                    </a:lnTo>
                    <a:lnTo>
                      <a:pt x="140018" y="638175"/>
                    </a:lnTo>
                    <a:lnTo>
                      <a:pt x="128588" y="626745"/>
                    </a:lnTo>
                    <a:lnTo>
                      <a:pt x="121920" y="591503"/>
                    </a:lnTo>
                    <a:lnTo>
                      <a:pt x="150495" y="565785"/>
                    </a:lnTo>
                    <a:lnTo>
                      <a:pt x="217170" y="565785"/>
                    </a:lnTo>
                    <a:lnTo>
                      <a:pt x="251460" y="578168"/>
                    </a:lnTo>
                    <a:lnTo>
                      <a:pt x="251460" y="569595"/>
                    </a:lnTo>
                    <a:lnTo>
                      <a:pt x="306705" y="569595"/>
                    </a:lnTo>
                    <a:lnTo>
                      <a:pt x="343853" y="554355"/>
                    </a:lnTo>
                    <a:lnTo>
                      <a:pt x="370522" y="554355"/>
                    </a:lnTo>
                    <a:lnTo>
                      <a:pt x="384810" y="540068"/>
                    </a:lnTo>
                    <a:lnTo>
                      <a:pt x="370522" y="519113"/>
                    </a:lnTo>
                    <a:lnTo>
                      <a:pt x="353378" y="513398"/>
                    </a:lnTo>
                    <a:lnTo>
                      <a:pt x="339090" y="499110"/>
                    </a:lnTo>
                    <a:cubicBezTo>
                      <a:pt x="339090" y="499110"/>
                      <a:pt x="344805" y="493395"/>
                      <a:pt x="355283" y="482917"/>
                    </a:cubicBezTo>
                    <a:cubicBezTo>
                      <a:pt x="365760" y="472440"/>
                      <a:pt x="365760" y="493395"/>
                      <a:pt x="365760" y="493395"/>
                    </a:cubicBezTo>
                    <a:lnTo>
                      <a:pt x="382905" y="489585"/>
                    </a:lnTo>
                    <a:lnTo>
                      <a:pt x="371475" y="477203"/>
                    </a:lnTo>
                    <a:lnTo>
                      <a:pt x="379095" y="459105"/>
                    </a:lnTo>
                    <a:lnTo>
                      <a:pt x="366713" y="446723"/>
                    </a:lnTo>
                    <a:lnTo>
                      <a:pt x="381000" y="426720"/>
                    </a:lnTo>
                    <a:lnTo>
                      <a:pt x="401003" y="411480"/>
                    </a:lnTo>
                    <a:lnTo>
                      <a:pt x="381000" y="410528"/>
                    </a:lnTo>
                    <a:lnTo>
                      <a:pt x="380047" y="389573"/>
                    </a:lnTo>
                    <a:lnTo>
                      <a:pt x="419100" y="390525"/>
                    </a:lnTo>
                    <a:lnTo>
                      <a:pt x="434340" y="358140"/>
                    </a:lnTo>
                    <a:lnTo>
                      <a:pt x="473393" y="342900"/>
                    </a:lnTo>
                    <a:lnTo>
                      <a:pt x="488633" y="327660"/>
                    </a:lnTo>
                    <a:lnTo>
                      <a:pt x="541972" y="320040"/>
                    </a:lnTo>
                    <a:lnTo>
                      <a:pt x="555308" y="306705"/>
                    </a:lnTo>
                    <a:lnTo>
                      <a:pt x="593408" y="295275"/>
                    </a:lnTo>
                    <a:lnTo>
                      <a:pt x="601980" y="285750"/>
                    </a:lnTo>
                    <a:lnTo>
                      <a:pt x="576263" y="277178"/>
                    </a:lnTo>
                    <a:lnTo>
                      <a:pt x="590550" y="262890"/>
                    </a:lnTo>
                    <a:lnTo>
                      <a:pt x="627697" y="254317"/>
                    </a:lnTo>
                    <a:lnTo>
                      <a:pt x="659130" y="250508"/>
                    </a:lnTo>
                    <a:lnTo>
                      <a:pt x="665797" y="235267"/>
                    </a:lnTo>
                    <a:lnTo>
                      <a:pt x="691515" y="231458"/>
                    </a:lnTo>
                    <a:lnTo>
                      <a:pt x="678180" y="257175"/>
                    </a:lnTo>
                    <a:lnTo>
                      <a:pt x="678180" y="277178"/>
                    </a:lnTo>
                    <a:lnTo>
                      <a:pt x="696278" y="259080"/>
                    </a:lnTo>
                    <a:lnTo>
                      <a:pt x="740093" y="260033"/>
                    </a:lnTo>
                    <a:lnTo>
                      <a:pt x="743903" y="237173"/>
                    </a:lnTo>
                    <a:lnTo>
                      <a:pt x="772478" y="231458"/>
                    </a:lnTo>
                    <a:lnTo>
                      <a:pt x="801053" y="237173"/>
                    </a:lnTo>
                    <a:lnTo>
                      <a:pt x="788670" y="220028"/>
                    </a:lnTo>
                    <a:lnTo>
                      <a:pt x="771525" y="207645"/>
                    </a:lnTo>
                    <a:lnTo>
                      <a:pt x="762953" y="192405"/>
                    </a:lnTo>
                    <a:lnTo>
                      <a:pt x="794385" y="192405"/>
                    </a:lnTo>
                    <a:lnTo>
                      <a:pt x="826770" y="182880"/>
                    </a:lnTo>
                    <a:lnTo>
                      <a:pt x="836295" y="182880"/>
                    </a:lnTo>
                    <a:lnTo>
                      <a:pt x="829628" y="160020"/>
                    </a:lnTo>
                    <a:lnTo>
                      <a:pt x="818197" y="151448"/>
                    </a:lnTo>
                    <a:lnTo>
                      <a:pt x="818197" y="117158"/>
                    </a:lnTo>
                    <a:lnTo>
                      <a:pt x="824865" y="94298"/>
                    </a:lnTo>
                    <a:lnTo>
                      <a:pt x="845820" y="41910"/>
                    </a:lnTo>
                    <a:lnTo>
                      <a:pt x="871538" y="23813"/>
                    </a:lnTo>
                    <a:lnTo>
                      <a:pt x="894397" y="0"/>
                    </a:lnTo>
                    <a:lnTo>
                      <a:pt x="922972" y="17145"/>
                    </a:lnTo>
                    <a:lnTo>
                      <a:pt x="943928" y="14288"/>
                    </a:lnTo>
                    <a:lnTo>
                      <a:pt x="950595" y="42863"/>
                    </a:lnTo>
                    <a:lnTo>
                      <a:pt x="928688" y="64770"/>
                    </a:lnTo>
                    <a:lnTo>
                      <a:pt x="910590" y="88583"/>
                    </a:lnTo>
                    <a:lnTo>
                      <a:pt x="955358" y="91440"/>
                    </a:lnTo>
                    <a:lnTo>
                      <a:pt x="963930" y="82867"/>
                    </a:lnTo>
                    <a:lnTo>
                      <a:pt x="991553" y="82867"/>
                    </a:lnTo>
                    <a:lnTo>
                      <a:pt x="1011555" y="102870"/>
                    </a:lnTo>
                    <a:lnTo>
                      <a:pt x="993458" y="120967"/>
                    </a:lnTo>
                    <a:cubicBezTo>
                      <a:pt x="993458" y="120967"/>
                      <a:pt x="992505" y="139065"/>
                      <a:pt x="1000125" y="139065"/>
                    </a:cubicBezTo>
                    <a:cubicBezTo>
                      <a:pt x="1008697" y="139065"/>
                      <a:pt x="1031558" y="148590"/>
                      <a:pt x="1031558" y="148590"/>
                    </a:cubicBezTo>
                    <a:lnTo>
                      <a:pt x="1038225" y="124778"/>
                    </a:lnTo>
                    <a:lnTo>
                      <a:pt x="1025842" y="112395"/>
                    </a:lnTo>
                    <a:lnTo>
                      <a:pt x="1057275" y="95250"/>
                    </a:lnTo>
                    <a:lnTo>
                      <a:pt x="1085850" y="95250"/>
                    </a:lnTo>
                    <a:lnTo>
                      <a:pt x="1114425" y="75248"/>
                    </a:lnTo>
                    <a:lnTo>
                      <a:pt x="1130617" y="91440"/>
                    </a:lnTo>
                    <a:lnTo>
                      <a:pt x="1152525" y="80963"/>
                    </a:lnTo>
                    <a:lnTo>
                      <a:pt x="1168717" y="97155"/>
                    </a:lnTo>
                    <a:lnTo>
                      <a:pt x="1183005" y="125730"/>
                    </a:lnTo>
                    <a:lnTo>
                      <a:pt x="1200150" y="140017"/>
                    </a:lnTo>
                    <a:lnTo>
                      <a:pt x="1209675" y="128588"/>
                    </a:lnTo>
                    <a:lnTo>
                      <a:pt x="1224915" y="143828"/>
                    </a:lnTo>
                    <a:lnTo>
                      <a:pt x="1243965" y="162878"/>
                    </a:lnTo>
                    <a:lnTo>
                      <a:pt x="1241108" y="192405"/>
                    </a:lnTo>
                    <a:lnTo>
                      <a:pt x="1212533" y="186690"/>
                    </a:lnTo>
                    <a:lnTo>
                      <a:pt x="1223963" y="198120"/>
                    </a:lnTo>
                    <a:lnTo>
                      <a:pt x="1252538" y="213360"/>
                    </a:lnTo>
                    <a:lnTo>
                      <a:pt x="1270635" y="243840"/>
                    </a:lnTo>
                    <a:lnTo>
                      <a:pt x="1254442" y="260033"/>
                    </a:lnTo>
                    <a:lnTo>
                      <a:pt x="1254442" y="288608"/>
                    </a:lnTo>
                    <a:lnTo>
                      <a:pt x="1240155" y="308610"/>
                    </a:lnTo>
                    <a:lnTo>
                      <a:pt x="1226820" y="336233"/>
                    </a:lnTo>
                    <a:lnTo>
                      <a:pt x="1210628" y="352425"/>
                    </a:lnTo>
                    <a:lnTo>
                      <a:pt x="1182053" y="386715"/>
                    </a:lnTo>
                    <a:lnTo>
                      <a:pt x="1182053" y="401003"/>
                    </a:lnTo>
                    <a:lnTo>
                      <a:pt x="1173480" y="440055"/>
                    </a:lnTo>
                    <a:lnTo>
                      <a:pt x="1152525" y="461010"/>
                    </a:lnTo>
                    <a:lnTo>
                      <a:pt x="1143953" y="504825"/>
                    </a:lnTo>
                    <a:lnTo>
                      <a:pt x="1109663" y="513398"/>
                    </a:lnTo>
                    <a:lnTo>
                      <a:pt x="1099185" y="544830"/>
                    </a:lnTo>
                    <a:lnTo>
                      <a:pt x="1076325" y="567690"/>
                    </a:lnTo>
                    <a:lnTo>
                      <a:pt x="1070610" y="604838"/>
                    </a:lnTo>
                    <a:lnTo>
                      <a:pt x="1063942" y="630555"/>
                    </a:lnTo>
                    <a:lnTo>
                      <a:pt x="1089660" y="619125"/>
                    </a:lnTo>
                    <a:lnTo>
                      <a:pt x="1083945" y="590550"/>
                    </a:lnTo>
                    <a:lnTo>
                      <a:pt x="1109663" y="575310"/>
                    </a:lnTo>
                    <a:cubicBezTo>
                      <a:pt x="1109663" y="575310"/>
                      <a:pt x="1132523" y="568643"/>
                      <a:pt x="1144905" y="568643"/>
                    </a:cubicBezTo>
                    <a:cubicBezTo>
                      <a:pt x="1157288" y="568643"/>
                      <a:pt x="1162050" y="542925"/>
                      <a:pt x="1162050" y="542925"/>
                    </a:cubicBezTo>
                    <a:lnTo>
                      <a:pt x="1185863" y="522923"/>
                    </a:lnTo>
                    <a:lnTo>
                      <a:pt x="1208723" y="514350"/>
                    </a:lnTo>
                    <a:lnTo>
                      <a:pt x="1222058" y="488633"/>
                    </a:lnTo>
                    <a:lnTo>
                      <a:pt x="1211580" y="478155"/>
                    </a:lnTo>
                    <a:lnTo>
                      <a:pt x="1194435" y="477203"/>
                    </a:lnTo>
                    <a:lnTo>
                      <a:pt x="1195388" y="465773"/>
                    </a:lnTo>
                    <a:lnTo>
                      <a:pt x="1194435" y="442913"/>
                    </a:lnTo>
                    <a:lnTo>
                      <a:pt x="1215390" y="441960"/>
                    </a:lnTo>
                    <a:lnTo>
                      <a:pt x="1232535" y="441960"/>
                    </a:lnTo>
                    <a:lnTo>
                      <a:pt x="1236345" y="466725"/>
                    </a:lnTo>
                    <a:lnTo>
                      <a:pt x="1247775" y="475298"/>
                    </a:lnTo>
                    <a:lnTo>
                      <a:pt x="1244917" y="488633"/>
                    </a:lnTo>
                    <a:lnTo>
                      <a:pt x="1235392" y="499110"/>
                    </a:lnTo>
                    <a:lnTo>
                      <a:pt x="1242060" y="515303"/>
                    </a:lnTo>
                    <a:lnTo>
                      <a:pt x="1254442" y="534353"/>
                    </a:lnTo>
                    <a:lnTo>
                      <a:pt x="1266825" y="546735"/>
                    </a:lnTo>
                    <a:lnTo>
                      <a:pt x="1262063" y="575310"/>
                    </a:lnTo>
                    <a:lnTo>
                      <a:pt x="1272540" y="596265"/>
                    </a:lnTo>
                    <a:lnTo>
                      <a:pt x="1301115" y="606743"/>
                    </a:lnTo>
                    <a:lnTo>
                      <a:pt x="1301115" y="621983"/>
                    </a:lnTo>
                    <a:lnTo>
                      <a:pt x="1339215" y="649605"/>
                    </a:lnTo>
                    <a:lnTo>
                      <a:pt x="1357313" y="667703"/>
                    </a:lnTo>
                    <a:lnTo>
                      <a:pt x="1357313" y="702945"/>
                    </a:lnTo>
                    <a:lnTo>
                      <a:pt x="1377315" y="741045"/>
                    </a:lnTo>
                    <a:lnTo>
                      <a:pt x="1399223" y="741045"/>
                    </a:lnTo>
                    <a:lnTo>
                      <a:pt x="1401128" y="769620"/>
                    </a:lnTo>
                    <a:lnTo>
                      <a:pt x="1389698" y="769620"/>
                    </a:lnTo>
                    <a:lnTo>
                      <a:pt x="1383983" y="789623"/>
                    </a:lnTo>
                    <a:lnTo>
                      <a:pt x="1357313" y="816293"/>
                    </a:lnTo>
                    <a:lnTo>
                      <a:pt x="1334453" y="832485"/>
                    </a:lnTo>
                    <a:lnTo>
                      <a:pt x="1335405" y="861060"/>
                    </a:lnTo>
                    <a:lnTo>
                      <a:pt x="1335405" y="882968"/>
                    </a:lnTo>
                    <a:lnTo>
                      <a:pt x="1314450" y="890588"/>
                    </a:lnTo>
                    <a:lnTo>
                      <a:pt x="1306830" y="918210"/>
                    </a:lnTo>
                    <a:lnTo>
                      <a:pt x="1323023" y="934403"/>
                    </a:lnTo>
                    <a:lnTo>
                      <a:pt x="1323023" y="957263"/>
                    </a:lnTo>
                    <a:lnTo>
                      <a:pt x="1314450" y="976313"/>
                    </a:lnTo>
                    <a:lnTo>
                      <a:pt x="1285875" y="967740"/>
                    </a:lnTo>
                    <a:lnTo>
                      <a:pt x="1264920" y="974408"/>
                    </a:lnTo>
                    <a:lnTo>
                      <a:pt x="1234440" y="1018223"/>
                    </a:lnTo>
                    <a:lnTo>
                      <a:pt x="1204913" y="1029652"/>
                    </a:lnTo>
                    <a:lnTo>
                      <a:pt x="1200150" y="1039177"/>
                    </a:lnTo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36" name="Полилиния: фигура 125">
              <a:extLst>
                <a:ext uri="{FF2B5EF4-FFF2-40B4-BE49-F238E27FC236}">
                  <a16:creationId xmlns:a16="http://schemas.microsoft.com/office/drawing/2014/main" id="{A750E840-3D6D-4A14-8C4D-872F0B4B85A7}"/>
                </a:ext>
              </a:extLst>
            </p:cNvPr>
            <p:cNvSpPr/>
            <p:nvPr/>
          </p:nvSpPr>
          <p:spPr>
            <a:xfrm>
              <a:off x="5373517" y="5144752"/>
              <a:ext cx="585290" cy="373450"/>
            </a:xfrm>
            <a:custGeom>
              <a:avLst/>
              <a:gdLst>
                <a:gd name="connsiteX0" fmla="*/ 606743 w 907732"/>
                <a:gd name="connsiteY0" fmla="*/ 49530 h 665797"/>
                <a:gd name="connsiteX1" fmla="*/ 622935 w 907732"/>
                <a:gd name="connsiteY1" fmla="*/ 82867 h 665797"/>
                <a:gd name="connsiteX2" fmla="*/ 634365 w 907732"/>
                <a:gd name="connsiteY2" fmla="*/ 106680 h 665797"/>
                <a:gd name="connsiteX3" fmla="*/ 608648 w 907732"/>
                <a:gd name="connsiteY3" fmla="*/ 132397 h 665797"/>
                <a:gd name="connsiteX4" fmla="*/ 617220 w 907732"/>
                <a:gd name="connsiteY4" fmla="*/ 160020 h 665797"/>
                <a:gd name="connsiteX5" fmla="*/ 648653 w 907732"/>
                <a:gd name="connsiteY5" fmla="*/ 170497 h 665797"/>
                <a:gd name="connsiteX6" fmla="*/ 686753 w 907732"/>
                <a:gd name="connsiteY6" fmla="*/ 160020 h 665797"/>
                <a:gd name="connsiteX7" fmla="*/ 731520 w 907732"/>
                <a:gd name="connsiteY7" fmla="*/ 160020 h 665797"/>
                <a:gd name="connsiteX8" fmla="*/ 765810 w 907732"/>
                <a:gd name="connsiteY8" fmla="*/ 168592 h 665797"/>
                <a:gd name="connsiteX9" fmla="*/ 782955 w 907732"/>
                <a:gd name="connsiteY9" fmla="*/ 194310 h 665797"/>
                <a:gd name="connsiteX10" fmla="*/ 809625 w 907732"/>
                <a:gd name="connsiteY10" fmla="*/ 220980 h 665797"/>
                <a:gd name="connsiteX11" fmla="*/ 818198 w 907732"/>
                <a:gd name="connsiteY11" fmla="*/ 253365 h 665797"/>
                <a:gd name="connsiteX12" fmla="*/ 859155 w 907732"/>
                <a:gd name="connsiteY12" fmla="*/ 250507 h 665797"/>
                <a:gd name="connsiteX13" fmla="*/ 872490 w 907732"/>
                <a:gd name="connsiteY13" fmla="*/ 264795 h 665797"/>
                <a:gd name="connsiteX14" fmla="*/ 848678 w 907732"/>
                <a:gd name="connsiteY14" fmla="*/ 291465 h 665797"/>
                <a:gd name="connsiteX15" fmla="*/ 826770 w 907732"/>
                <a:gd name="connsiteY15" fmla="*/ 313372 h 665797"/>
                <a:gd name="connsiteX16" fmla="*/ 813435 w 907732"/>
                <a:gd name="connsiteY16" fmla="*/ 349567 h 665797"/>
                <a:gd name="connsiteX17" fmla="*/ 834390 w 907732"/>
                <a:gd name="connsiteY17" fmla="*/ 382905 h 665797"/>
                <a:gd name="connsiteX18" fmla="*/ 842010 w 907732"/>
                <a:gd name="connsiteY18" fmla="*/ 405765 h 665797"/>
                <a:gd name="connsiteX19" fmla="*/ 865823 w 907732"/>
                <a:gd name="connsiteY19" fmla="*/ 405765 h 665797"/>
                <a:gd name="connsiteX20" fmla="*/ 903923 w 907732"/>
                <a:gd name="connsiteY20" fmla="*/ 418147 h 665797"/>
                <a:gd name="connsiteX21" fmla="*/ 907733 w 907732"/>
                <a:gd name="connsiteY21" fmla="*/ 450532 h 665797"/>
                <a:gd name="connsiteX22" fmla="*/ 877253 w 907732"/>
                <a:gd name="connsiteY22" fmla="*/ 466725 h 665797"/>
                <a:gd name="connsiteX23" fmla="*/ 859155 w 907732"/>
                <a:gd name="connsiteY23" fmla="*/ 499110 h 665797"/>
                <a:gd name="connsiteX24" fmla="*/ 859155 w 907732"/>
                <a:gd name="connsiteY24" fmla="*/ 541020 h 665797"/>
                <a:gd name="connsiteX25" fmla="*/ 831533 w 907732"/>
                <a:gd name="connsiteY25" fmla="*/ 552450 h 665797"/>
                <a:gd name="connsiteX26" fmla="*/ 802005 w 907732"/>
                <a:gd name="connsiteY26" fmla="*/ 581978 h 665797"/>
                <a:gd name="connsiteX27" fmla="*/ 786765 w 907732"/>
                <a:gd name="connsiteY27" fmla="*/ 566738 h 665797"/>
                <a:gd name="connsiteX28" fmla="*/ 755333 w 907732"/>
                <a:gd name="connsiteY28" fmla="*/ 583882 h 665797"/>
                <a:gd name="connsiteX29" fmla="*/ 730568 w 907732"/>
                <a:gd name="connsiteY29" fmla="*/ 572453 h 665797"/>
                <a:gd name="connsiteX30" fmla="*/ 701040 w 907732"/>
                <a:gd name="connsiteY30" fmla="*/ 572453 h 665797"/>
                <a:gd name="connsiteX31" fmla="*/ 652463 w 907732"/>
                <a:gd name="connsiteY31" fmla="*/ 614363 h 665797"/>
                <a:gd name="connsiteX32" fmla="*/ 602933 w 907732"/>
                <a:gd name="connsiteY32" fmla="*/ 614363 h 665797"/>
                <a:gd name="connsiteX33" fmla="*/ 574358 w 907732"/>
                <a:gd name="connsiteY33" fmla="*/ 629603 h 665797"/>
                <a:gd name="connsiteX34" fmla="*/ 539115 w 907732"/>
                <a:gd name="connsiteY34" fmla="*/ 627697 h 665797"/>
                <a:gd name="connsiteX35" fmla="*/ 501968 w 907732"/>
                <a:gd name="connsiteY35" fmla="*/ 665797 h 665797"/>
                <a:gd name="connsiteX36" fmla="*/ 486728 w 907732"/>
                <a:gd name="connsiteY36" fmla="*/ 650557 h 665797"/>
                <a:gd name="connsiteX37" fmla="*/ 500063 w 907732"/>
                <a:gd name="connsiteY37" fmla="*/ 637222 h 665797"/>
                <a:gd name="connsiteX38" fmla="*/ 488633 w 907732"/>
                <a:gd name="connsiteY38" fmla="*/ 626745 h 665797"/>
                <a:gd name="connsiteX39" fmla="*/ 488633 w 907732"/>
                <a:gd name="connsiteY39" fmla="*/ 600075 h 665797"/>
                <a:gd name="connsiteX40" fmla="*/ 483870 w 907732"/>
                <a:gd name="connsiteY40" fmla="*/ 563880 h 665797"/>
                <a:gd name="connsiteX41" fmla="*/ 465773 w 907732"/>
                <a:gd name="connsiteY41" fmla="*/ 555307 h 665797"/>
                <a:gd name="connsiteX42" fmla="*/ 445770 w 907732"/>
                <a:gd name="connsiteY42" fmla="*/ 575310 h 665797"/>
                <a:gd name="connsiteX43" fmla="*/ 411480 w 907732"/>
                <a:gd name="connsiteY43" fmla="*/ 583882 h 665797"/>
                <a:gd name="connsiteX44" fmla="*/ 382905 w 907732"/>
                <a:gd name="connsiteY44" fmla="*/ 583882 h 665797"/>
                <a:gd name="connsiteX45" fmla="*/ 359093 w 907732"/>
                <a:gd name="connsiteY45" fmla="*/ 550545 h 665797"/>
                <a:gd name="connsiteX46" fmla="*/ 297180 w 907732"/>
                <a:gd name="connsiteY46" fmla="*/ 550545 h 665797"/>
                <a:gd name="connsiteX47" fmla="*/ 269558 w 907732"/>
                <a:gd name="connsiteY47" fmla="*/ 511492 h 665797"/>
                <a:gd name="connsiteX48" fmla="*/ 250508 w 907732"/>
                <a:gd name="connsiteY48" fmla="*/ 492442 h 665797"/>
                <a:gd name="connsiteX49" fmla="*/ 226695 w 907732"/>
                <a:gd name="connsiteY49" fmla="*/ 468630 h 665797"/>
                <a:gd name="connsiteX50" fmla="*/ 188595 w 907732"/>
                <a:gd name="connsiteY50" fmla="*/ 452438 h 665797"/>
                <a:gd name="connsiteX51" fmla="*/ 156210 w 907732"/>
                <a:gd name="connsiteY51" fmla="*/ 436245 h 665797"/>
                <a:gd name="connsiteX52" fmla="*/ 118110 w 907732"/>
                <a:gd name="connsiteY52" fmla="*/ 430530 h 665797"/>
                <a:gd name="connsiteX53" fmla="*/ 83820 w 907732"/>
                <a:gd name="connsiteY53" fmla="*/ 430530 h 665797"/>
                <a:gd name="connsiteX54" fmla="*/ 66675 w 907732"/>
                <a:gd name="connsiteY54" fmla="*/ 413385 h 665797"/>
                <a:gd name="connsiteX55" fmla="*/ 36195 w 907732"/>
                <a:gd name="connsiteY55" fmla="*/ 405765 h 665797"/>
                <a:gd name="connsiteX56" fmla="*/ 27623 w 907732"/>
                <a:gd name="connsiteY56" fmla="*/ 381953 h 665797"/>
                <a:gd name="connsiteX57" fmla="*/ 11430 w 907732"/>
                <a:gd name="connsiteY57" fmla="*/ 349567 h 665797"/>
                <a:gd name="connsiteX58" fmla="*/ 16193 w 907732"/>
                <a:gd name="connsiteY58" fmla="*/ 314325 h 665797"/>
                <a:gd name="connsiteX59" fmla="*/ 0 w 907732"/>
                <a:gd name="connsiteY59" fmla="*/ 298132 h 665797"/>
                <a:gd name="connsiteX60" fmla="*/ 0 w 907732"/>
                <a:gd name="connsiteY60" fmla="*/ 269557 h 665797"/>
                <a:gd name="connsiteX61" fmla="*/ 16193 w 907732"/>
                <a:gd name="connsiteY61" fmla="*/ 232410 h 665797"/>
                <a:gd name="connsiteX62" fmla="*/ 11430 w 907732"/>
                <a:gd name="connsiteY62" fmla="*/ 219075 h 665797"/>
                <a:gd name="connsiteX63" fmla="*/ 51435 w 907732"/>
                <a:gd name="connsiteY63" fmla="*/ 195263 h 665797"/>
                <a:gd name="connsiteX64" fmla="*/ 56198 w 907732"/>
                <a:gd name="connsiteY64" fmla="*/ 165735 h 665797"/>
                <a:gd name="connsiteX65" fmla="*/ 94298 w 907732"/>
                <a:gd name="connsiteY65" fmla="*/ 138113 h 665797"/>
                <a:gd name="connsiteX66" fmla="*/ 140970 w 907732"/>
                <a:gd name="connsiteY66" fmla="*/ 124778 h 665797"/>
                <a:gd name="connsiteX67" fmla="*/ 138113 w 907732"/>
                <a:gd name="connsiteY67" fmla="*/ 80963 h 665797"/>
                <a:gd name="connsiteX68" fmla="*/ 171450 w 907732"/>
                <a:gd name="connsiteY68" fmla="*/ 6667 h 665797"/>
                <a:gd name="connsiteX69" fmla="*/ 217170 w 907732"/>
                <a:gd name="connsiteY69" fmla="*/ 0 h 665797"/>
                <a:gd name="connsiteX70" fmla="*/ 250508 w 907732"/>
                <a:gd name="connsiteY70" fmla="*/ 14288 h 665797"/>
                <a:gd name="connsiteX71" fmla="*/ 299085 w 907732"/>
                <a:gd name="connsiteY71" fmla="*/ 14288 h 665797"/>
                <a:gd name="connsiteX72" fmla="*/ 311468 w 907732"/>
                <a:gd name="connsiteY72" fmla="*/ 33338 h 665797"/>
                <a:gd name="connsiteX73" fmla="*/ 356235 w 907732"/>
                <a:gd name="connsiteY73" fmla="*/ 38100 h 665797"/>
                <a:gd name="connsiteX74" fmla="*/ 391478 w 907732"/>
                <a:gd name="connsiteY74" fmla="*/ 24765 h 665797"/>
                <a:gd name="connsiteX75" fmla="*/ 424815 w 907732"/>
                <a:gd name="connsiteY75" fmla="*/ 57150 h 665797"/>
                <a:gd name="connsiteX76" fmla="*/ 451485 w 907732"/>
                <a:gd name="connsiteY76" fmla="*/ 50482 h 665797"/>
                <a:gd name="connsiteX77" fmla="*/ 488633 w 907732"/>
                <a:gd name="connsiteY77" fmla="*/ 69532 h 665797"/>
                <a:gd name="connsiteX78" fmla="*/ 499110 w 907732"/>
                <a:gd name="connsiteY78" fmla="*/ 34290 h 665797"/>
                <a:gd name="connsiteX79" fmla="*/ 554355 w 907732"/>
                <a:gd name="connsiteY79" fmla="*/ 11430 h 66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907732" h="665797">
                  <a:moveTo>
                    <a:pt x="606743" y="49530"/>
                  </a:moveTo>
                  <a:lnTo>
                    <a:pt x="622935" y="82867"/>
                  </a:lnTo>
                  <a:lnTo>
                    <a:pt x="634365" y="106680"/>
                  </a:lnTo>
                  <a:lnTo>
                    <a:pt x="608648" y="132397"/>
                  </a:lnTo>
                  <a:lnTo>
                    <a:pt x="617220" y="160020"/>
                  </a:lnTo>
                  <a:lnTo>
                    <a:pt x="648653" y="170497"/>
                  </a:lnTo>
                  <a:lnTo>
                    <a:pt x="686753" y="160020"/>
                  </a:lnTo>
                  <a:lnTo>
                    <a:pt x="731520" y="160020"/>
                  </a:lnTo>
                  <a:lnTo>
                    <a:pt x="765810" y="168592"/>
                  </a:lnTo>
                  <a:lnTo>
                    <a:pt x="782955" y="194310"/>
                  </a:lnTo>
                  <a:lnTo>
                    <a:pt x="809625" y="220980"/>
                  </a:lnTo>
                  <a:lnTo>
                    <a:pt x="818198" y="253365"/>
                  </a:lnTo>
                  <a:lnTo>
                    <a:pt x="859155" y="250507"/>
                  </a:lnTo>
                  <a:lnTo>
                    <a:pt x="872490" y="264795"/>
                  </a:lnTo>
                  <a:lnTo>
                    <a:pt x="848678" y="291465"/>
                  </a:lnTo>
                  <a:lnTo>
                    <a:pt x="826770" y="313372"/>
                  </a:lnTo>
                  <a:lnTo>
                    <a:pt x="813435" y="349567"/>
                  </a:lnTo>
                  <a:lnTo>
                    <a:pt x="834390" y="382905"/>
                  </a:lnTo>
                  <a:lnTo>
                    <a:pt x="842010" y="405765"/>
                  </a:lnTo>
                  <a:lnTo>
                    <a:pt x="865823" y="405765"/>
                  </a:lnTo>
                  <a:lnTo>
                    <a:pt x="903923" y="418147"/>
                  </a:lnTo>
                  <a:lnTo>
                    <a:pt x="907733" y="450532"/>
                  </a:lnTo>
                  <a:lnTo>
                    <a:pt x="877253" y="466725"/>
                  </a:lnTo>
                  <a:lnTo>
                    <a:pt x="859155" y="499110"/>
                  </a:lnTo>
                  <a:lnTo>
                    <a:pt x="859155" y="541020"/>
                  </a:lnTo>
                  <a:lnTo>
                    <a:pt x="831533" y="552450"/>
                  </a:lnTo>
                  <a:lnTo>
                    <a:pt x="802005" y="581978"/>
                  </a:lnTo>
                  <a:lnTo>
                    <a:pt x="786765" y="566738"/>
                  </a:lnTo>
                  <a:lnTo>
                    <a:pt x="755333" y="583882"/>
                  </a:lnTo>
                  <a:lnTo>
                    <a:pt x="730568" y="572453"/>
                  </a:lnTo>
                  <a:lnTo>
                    <a:pt x="701040" y="572453"/>
                  </a:lnTo>
                  <a:lnTo>
                    <a:pt x="652463" y="614363"/>
                  </a:lnTo>
                  <a:lnTo>
                    <a:pt x="602933" y="614363"/>
                  </a:lnTo>
                  <a:lnTo>
                    <a:pt x="574358" y="629603"/>
                  </a:lnTo>
                  <a:lnTo>
                    <a:pt x="539115" y="627697"/>
                  </a:lnTo>
                  <a:lnTo>
                    <a:pt x="501968" y="665797"/>
                  </a:lnTo>
                  <a:lnTo>
                    <a:pt x="486728" y="650557"/>
                  </a:lnTo>
                  <a:lnTo>
                    <a:pt x="500063" y="637222"/>
                  </a:lnTo>
                  <a:lnTo>
                    <a:pt x="488633" y="626745"/>
                  </a:lnTo>
                  <a:lnTo>
                    <a:pt x="488633" y="600075"/>
                  </a:lnTo>
                  <a:lnTo>
                    <a:pt x="483870" y="563880"/>
                  </a:lnTo>
                  <a:lnTo>
                    <a:pt x="465773" y="555307"/>
                  </a:lnTo>
                  <a:lnTo>
                    <a:pt x="445770" y="575310"/>
                  </a:lnTo>
                  <a:lnTo>
                    <a:pt x="411480" y="583882"/>
                  </a:lnTo>
                  <a:lnTo>
                    <a:pt x="382905" y="583882"/>
                  </a:lnTo>
                  <a:lnTo>
                    <a:pt x="359093" y="550545"/>
                  </a:lnTo>
                  <a:lnTo>
                    <a:pt x="297180" y="550545"/>
                  </a:lnTo>
                  <a:lnTo>
                    <a:pt x="269558" y="511492"/>
                  </a:lnTo>
                  <a:lnTo>
                    <a:pt x="250508" y="492442"/>
                  </a:lnTo>
                  <a:lnTo>
                    <a:pt x="226695" y="468630"/>
                  </a:lnTo>
                  <a:lnTo>
                    <a:pt x="188595" y="452438"/>
                  </a:lnTo>
                  <a:lnTo>
                    <a:pt x="156210" y="436245"/>
                  </a:lnTo>
                  <a:lnTo>
                    <a:pt x="118110" y="430530"/>
                  </a:lnTo>
                  <a:lnTo>
                    <a:pt x="83820" y="430530"/>
                  </a:lnTo>
                  <a:lnTo>
                    <a:pt x="66675" y="413385"/>
                  </a:lnTo>
                  <a:lnTo>
                    <a:pt x="36195" y="405765"/>
                  </a:lnTo>
                  <a:lnTo>
                    <a:pt x="27623" y="381953"/>
                  </a:lnTo>
                  <a:lnTo>
                    <a:pt x="11430" y="349567"/>
                  </a:lnTo>
                  <a:lnTo>
                    <a:pt x="16193" y="314325"/>
                  </a:lnTo>
                  <a:lnTo>
                    <a:pt x="0" y="298132"/>
                  </a:lnTo>
                  <a:lnTo>
                    <a:pt x="0" y="269557"/>
                  </a:lnTo>
                  <a:lnTo>
                    <a:pt x="16193" y="232410"/>
                  </a:lnTo>
                  <a:lnTo>
                    <a:pt x="11430" y="219075"/>
                  </a:lnTo>
                  <a:lnTo>
                    <a:pt x="51435" y="195263"/>
                  </a:lnTo>
                  <a:lnTo>
                    <a:pt x="56198" y="165735"/>
                  </a:lnTo>
                  <a:lnTo>
                    <a:pt x="94298" y="138113"/>
                  </a:lnTo>
                  <a:lnTo>
                    <a:pt x="140970" y="124778"/>
                  </a:lnTo>
                  <a:lnTo>
                    <a:pt x="138113" y="80963"/>
                  </a:lnTo>
                  <a:lnTo>
                    <a:pt x="171450" y="6667"/>
                  </a:lnTo>
                  <a:lnTo>
                    <a:pt x="217170" y="0"/>
                  </a:lnTo>
                  <a:lnTo>
                    <a:pt x="250508" y="14288"/>
                  </a:lnTo>
                  <a:lnTo>
                    <a:pt x="299085" y="14288"/>
                  </a:lnTo>
                  <a:lnTo>
                    <a:pt x="311468" y="33338"/>
                  </a:lnTo>
                  <a:lnTo>
                    <a:pt x="356235" y="38100"/>
                  </a:lnTo>
                  <a:lnTo>
                    <a:pt x="391478" y="24765"/>
                  </a:lnTo>
                  <a:lnTo>
                    <a:pt x="424815" y="57150"/>
                  </a:lnTo>
                  <a:lnTo>
                    <a:pt x="451485" y="50482"/>
                  </a:lnTo>
                  <a:lnTo>
                    <a:pt x="488633" y="69532"/>
                  </a:lnTo>
                  <a:lnTo>
                    <a:pt x="499110" y="34290"/>
                  </a:lnTo>
                  <a:lnTo>
                    <a:pt x="554355" y="1143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7" name="Полилиния: фигура 126">
              <a:extLst>
                <a:ext uri="{FF2B5EF4-FFF2-40B4-BE49-F238E27FC236}">
                  <a16:creationId xmlns:a16="http://schemas.microsoft.com/office/drawing/2014/main" id="{1E6DC932-4FEF-4146-9A85-B6A55F99AC24}"/>
                </a:ext>
              </a:extLst>
            </p:cNvPr>
            <p:cNvSpPr/>
            <p:nvPr/>
          </p:nvSpPr>
          <p:spPr>
            <a:xfrm>
              <a:off x="5743853" y="5448214"/>
              <a:ext cx="212498" cy="320558"/>
            </a:xfrm>
            <a:custGeom>
              <a:avLst/>
              <a:gdLst>
                <a:gd name="connsiteX0" fmla="*/ 281940 w 329565"/>
                <a:gd name="connsiteY0" fmla="*/ 52388 h 571500"/>
                <a:gd name="connsiteX1" fmla="*/ 277178 w 329565"/>
                <a:gd name="connsiteY1" fmla="*/ 29528 h 571500"/>
                <a:gd name="connsiteX2" fmla="*/ 284797 w 329565"/>
                <a:gd name="connsiteY2" fmla="*/ 0 h 571500"/>
                <a:gd name="connsiteX3" fmla="*/ 257175 w 329565"/>
                <a:gd name="connsiteY3" fmla="*/ 11430 h 571500"/>
                <a:gd name="connsiteX4" fmla="*/ 227647 w 329565"/>
                <a:gd name="connsiteY4" fmla="*/ 40958 h 571500"/>
                <a:gd name="connsiteX5" fmla="*/ 212407 w 329565"/>
                <a:gd name="connsiteY5" fmla="*/ 25718 h 571500"/>
                <a:gd name="connsiteX6" fmla="*/ 180975 w 329565"/>
                <a:gd name="connsiteY6" fmla="*/ 42863 h 571500"/>
                <a:gd name="connsiteX7" fmla="*/ 156210 w 329565"/>
                <a:gd name="connsiteY7" fmla="*/ 31433 h 571500"/>
                <a:gd name="connsiteX8" fmla="*/ 126682 w 329565"/>
                <a:gd name="connsiteY8" fmla="*/ 31433 h 571500"/>
                <a:gd name="connsiteX9" fmla="*/ 78105 w 329565"/>
                <a:gd name="connsiteY9" fmla="*/ 73343 h 571500"/>
                <a:gd name="connsiteX10" fmla="*/ 28575 w 329565"/>
                <a:gd name="connsiteY10" fmla="*/ 73343 h 571500"/>
                <a:gd name="connsiteX11" fmla="*/ 0 w 329565"/>
                <a:gd name="connsiteY11" fmla="*/ 88583 h 571500"/>
                <a:gd name="connsiteX12" fmla="*/ 4763 w 329565"/>
                <a:gd name="connsiteY12" fmla="*/ 135255 h 571500"/>
                <a:gd name="connsiteX13" fmla="*/ 14288 w 329565"/>
                <a:gd name="connsiteY13" fmla="*/ 155258 h 571500"/>
                <a:gd name="connsiteX14" fmla="*/ 21907 w 329565"/>
                <a:gd name="connsiteY14" fmla="*/ 197168 h 571500"/>
                <a:gd name="connsiteX15" fmla="*/ 16192 w 329565"/>
                <a:gd name="connsiteY15" fmla="*/ 258128 h 571500"/>
                <a:gd name="connsiteX16" fmla="*/ 34290 w 329565"/>
                <a:gd name="connsiteY16" fmla="*/ 283845 h 571500"/>
                <a:gd name="connsiteX17" fmla="*/ 51435 w 329565"/>
                <a:gd name="connsiteY17" fmla="*/ 317183 h 571500"/>
                <a:gd name="connsiteX18" fmla="*/ 76200 w 329565"/>
                <a:gd name="connsiteY18" fmla="*/ 317183 h 571500"/>
                <a:gd name="connsiteX19" fmla="*/ 94297 w 329565"/>
                <a:gd name="connsiteY19" fmla="*/ 352425 h 571500"/>
                <a:gd name="connsiteX20" fmla="*/ 110490 w 329565"/>
                <a:gd name="connsiteY20" fmla="*/ 367665 h 571500"/>
                <a:gd name="connsiteX21" fmla="*/ 115253 w 329565"/>
                <a:gd name="connsiteY21" fmla="*/ 394335 h 571500"/>
                <a:gd name="connsiteX22" fmla="*/ 138113 w 329565"/>
                <a:gd name="connsiteY22" fmla="*/ 407670 h 571500"/>
                <a:gd name="connsiteX23" fmla="*/ 159067 w 329565"/>
                <a:gd name="connsiteY23" fmla="*/ 407670 h 571500"/>
                <a:gd name="connsiteX24" fmla="*/ 160020 w 329565"/>
                <a:gd name="connsiteY24" fmla="*/ 426720 h 571500"/>
                <a:gd name="connsiteX25" fmla="*/ 139065 w 329565"/>
                <a:gd name="connsiteY25" fmla="*/ 436245 h 571500"/>
                <a:gd name="connsiteX26" fmla="*/ 150495 w 329565"/>
                <a:gd name="connsiteY26" fmla="*/ 458153 h 571500"/>
                <a:gd name="connsiteX27" fmla="*/ 153353 w 329565"/>
                <a:gd name="connsiteY27" fmla="*/ 485775 h 571500"/>
                <a:gd name="connsiteX28" fmla="*/ 161925 w 329565"/>
                <a:gd name="connsiteY28" fmla="*/ 508635 h 571500"/>
                <a:gd name="connsiteX29" fmla="*/ 189547 w 329565"/>
                <a:gd name="connsiteY29" fmla="*/ 533400 h 571500"/>
                <a:gd name="connsiteX30" fmla="*/ 217170 w 329565"/>
                <a:gd name="connsiteY30" fmla="*/ 533400 h 571500"/>
                <a:gd name="connsiteX31" fmla="*/ 241935 w 329565"/>
                <a:gd name="connsiteY31" fmla="*/ 545783 h 571500"/>
                <a:gd name="connsiteX32" fmla="*/ 255270 w 329565"/>
                <a:gd name="connsiteY32" fmla="*/ 545783 h 571500"/>
                <a:gd name="connsiteX33" fmla="*/ 256222 w 329565"/>
                <a:gd name="connsiteY33" fmla="*/ 571500 h 571500"/>
                <a:gd name="connsiteX34" fmla="*/ 276225 w 329565"/>
                <a:gd name="connsiteY34" fmla="*/ 571500 h 571500"/>
                <a:gd name="connsiteX35" fmla="*/ 276225 w 329565"/>
                <a:gd name="connsiteY35" fmla="*/ 547688 h 571500"/>
                <a:gd name="connsiteX36" fmla="*/ 295275 w 329565"/>
                <a:gd name="connsiteY36" fmla="*/ 527685 h 571500"/>
                <a:gd name="connsiteX37" fmla="*/ 320040 w 329565"/>
                <a:gd name="connsiteY37" fmla="*/ 503872 h 571500"/>
                <a:gd name="connsiteX38" fmla="*/ 307657 w 329565"/>
                <a:gd name="connsiteY38" fmla="*/ 490538 h 571500"/>
                <a:gd name="connsiteX39" fmla="*/ 298132 w 329565"/>
                <a:gd name="connsiteY39" fmla="*/ 473393 h 571500"/>
                <a:gd name="connsiteX40" fmla="*/ 300990 w 329565"/>
                <a:gd name="connsiteY40" fmla="*/ 457200 h 571500"/>
                <a:gd name="connsiteX41" fmla="*/ 311467 w 329565"/>
                <a:gd name="connsiteY41" fmla="*/ 446722 h 571500"/>
                <a:gd name="connsiteX42" fmla="*/ 298132 w 329565"/>
                <a:gd name="connsiteY42" fmla="*/ 429578 h 571500"/>
                <a:gd name="connsiteX43" fmla="*/ 284797 w 329565"/>
                <a:gd name="connsiteY43" fmla="*/ 415290 h 571500"/>
                <a:gd name="connsiteX44" fmla="*/ 309563 w 329565"/>
                <a:gd name="connsiteY44" fmla="*/ 377190 h 571500"/>
                <a:gd name="connsiteX45" fmla="*/ 309563 w 329565"/>
                <a:gd name="connsiteY45" fmla="*/ 347663 h 571500"/>
                <a:gd name="connsiteX46" fmla="*/ 309563 w 329565"/>
                <a:gd name="connsiteY46" fmla="*/ 336233 h 571500"/>
                <a:gd name="connsiteX47" fmla="*/ 319088 w 329565"/>
                <a:gd name="connsiteY47" fmla="*/ 326708 h 571500"/>
                <a:gd name="connsiteX48" fmla="*/ 319088 w 329565"/>
                <a:gd name="connsiteY48" fmla="*/ 309563 h 571500"/>
                <a:gd name="connsiteX49" fmla="*/ 294322 w 329565"/>
                <a:gd name="connsiteY49" fmla="*/ 304800 h 571500"/>
                <a:gd name="connsiteX50" fmla="*/ 278130 w 329565"/>
                <a:gd name="connsiteY50" fmla="*/ 320993 h 571500"/>
                <a:gd name="connsiteX51" fmla="*/ 258128 w 329565"/>
                <a:gd name="connsiteY51" fmla="*/ 301943 h 571500"/>
                <a:gd name="connsiteX52" fmla="*/ 283845 w 329565"/>
                <a:gd name="connsiteY52" fmla="*/ 294322 h 571500"/>
                <a:gd name="connsiteX53" fmla="*/ 283845 w 329565"/>
                <a:gd name="connsiteY53" fmla="*/ 268605 h 571500"/>
                <a:gd name="connsiteX54" fmla="*/ 289560 w 329565"/>
                <a:gd name="connsiteY54" fmla="*/ 245745 h 571500"/>
                <a:gd name="connsiteX55" fmla="*/ 276225 w 329565"/>
                <a:gd name="connsiteY55" fmla="*/ 217170 h 571500"/>
                <a:gd name="connsiteX56" fmla="*/ 265747 w 329565"/>
                <a:gd name="connsiteY56" fmla="*/ 189547 h 571500"/>
                <a:gd name="connsiteX57" fmla="*/ 287655 w 329565"/>
                <a:gd name="connsiteY57" fmla="*/ 171450 h 571500"/>
                <a:gd name="connsiteX58" fmla="*/ 312420 w 329565"/>
                <a:gd name="connsiteY58" fmla="*/ 145733 h 571500"/>
                <a:gd name="connsiteX59" fmla="*/ 329565 w 329565"/>
                <a:gd name="connsiteY59" fmla="*/ 138113 h 571500"/>
                <a:gd name="connsiteX60" fmla="*/ 329565 w 329565"/>
                <a:gd name="connsiteY60" fmla="*/ 101918 h 571500"/>
                <a:gd name="connsiteX61" fmla="*/ 312420 w 329565"/>
                <a:gd name="connsiteY61" fmla="*/ 69533 h 571500"/>
                <a:gd name="connsiteX62" fmla="*/ 292417 w 329565"/>
                <a:gd name="connsiteY62" fmla="*/ 61913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29565" h="571500">
                  <a:moveTo>
                    <a:pt x="281940" y="52388"/>
                  </a:moveTo>
                  <a:lnTo>
                    <a:pt x="277178" y="29528"/>
                  </a:lnTo>
                  <a:lnTo>
                    <a:pt x="284797" y="0"/>
                  </a:lnTo>
                  <a:lnTo>
                    <a:pt x="257175" y="11430"/>
                  </a:lnTo>
                  <a:lnTo>
                    <a:pt x="227647" y="40958"/>
                  </a:lnTo>
                  <a:lnTo>
                    <a:pt x="212407" y="25718"/>
                  </a:lnTo>
                  <a:lnTo>
                    <a:pt x="180975" y="42863"/>
                  </a:lnTo>
                  <a:lnTo>
                    <a:pt x="156210" y="31433"/>
                  </a:lnTo>
                  <a:lnTo>
                    <a:pt x="126682" y="31433"/>
                  </a:lnTo>
                  <a:lnTo>
                    <a:pt x="78105" y="73343"/>
                  </a:lnTo>
                  <a:lnTo>
                    <a:pt x="28575" y="73343"/>
                  </a:lnTo>
                  <a:lnTo>
                    <a:pt x="0" y="88583"/>
                  </a:lnTo>
                  <a:lnTo>
                    <a:pt x="4763" y="135255"/>
                  </a:lnTo>
                  <a:lnTo>
                    <a:pt x="14288" y="155258"/>
                  </a:lnTo>
                  <a:lnTo>
                    <a:pt x="21907" y="197168"/>
                  </a:lnTo>
                  <a:lnTo>
                    <a:pt x="16192" y="258128"/>
                  </a:lnTo>
                  <a:lnTo>
                    <a:pt x="34290" y="283845"/>
                  </a:lnTo>
                  <a:lnTo>
                    <a:pt x="51435" y="317183"/>
                  </a:lnTo>
                  <a:lnTo>
                    <a:pt x="76200" y="317183"/>
                  </a:lnTo>
                  <a:lnTo>
                    <a:pt x="94297" y="352425"/>
                  </a:lnTo>
                  <a:lnTo>
                    <a:pt x="110490" y="367665"/>
                  </a:lnTo>
                  <a:lnTo>
                    <a:pt x="115253" y="394335"/>
                  </a:lnTo>
                  <a:lnTo>
                    <a:pt x="138113" y="407670"/>
                  </a:lnTo>
                  <a:lnTo>
                    <a:pt x="159067" y="407670"/>
                  </a:lnTo>
                  <a:lnTo>
                    <a:pt x="160020" y="426720"/>
                  </a:lnTo>
                  <a:lnTo>
                    <a:pt x="139065" y="436245"/>
                  </a:lnTo>
                  <a:lnTo>
                    <a:pt x="150495" y="458153"/>
                  </a:lnTo>
                  <a:lnTo>
                    <a:pt x="153353" y="485775"/>
                  </a:lnTo>
                  <a:lnTo>
                    <a:pt x="161925" y="508635"/>
                  </a:lnTo>
                  <a:lnTo>
                    <a:pt x="189547" y="533400"/>
                  </a:lnTo>
                  <a:lnTo>
                    <a:pt x="217170" y="533400"/>
                  </a:lnTo>
                  <a:lnTo>
                    <a:pt x="241935" y="545783"/>
                  </a:lnTo>
                  <a:lnTo>
                    <a:pt x="255270" y="545783"/>
                  </a:lnTo>
                  <a:lnTo>
                    <a:pt x="256222" y="571500"/>
                  </a:lnTo>
                  <a:lnTo>
                    <a:pt x="276225" y="571500"/>
                  </a:lnTo>
                  <a:lnTo>
                    <a:pt x="276225" y="547688"/>
                  </a:lnTo>
                  <a:lnTo>
                    <a:pt x="295275" y="527685"/>
                  </a:lnTo>
                  <a:lnTo>
                    <a:pt x="320040" y="503872"/>
                  </a:lnTo>
                  <a:lnTo>
                    <a:pt x="307657" y="490538"/>
                  </a:lnTo>
                  <a:lnTo>
                    <a:pt x="298132" y="473393"/>
                  </a:lnTo>
                  <a:lnTo>
                    <a:pt x="300990" y="457200"/>
                  </a:lnTo>
                  <a:lnTo>
                    <a:pt x="311467" y="446722"/>
                  </a:lnTo>
                  <a:lnTo>
                    <a:pt x="298132" y="429578"/>
                  </a:lnTo>
                  <a:lnTo>
                    <a:pt x="284797" y="415290"/>
                  </a:lnTo>
                  <a:lnTo>
                    <a:pt x="309563" y="377190"/>
                  </a:lnTo>
                  <a:lnTo>
                    <a:pt x="309563" y="347663"/>
                  </a:lnTo>
                  <a:lnTo>
                    <a:pt x="309563" y="336233"/>
                  </a:lnTo>
                  <a:lnTo>
                    <a:pt x="319088" y="326708"/>
                  </a:lnTo>
                  <a:lnTo>
                    <a:pt x="319088" y="309563"/>
                  </a:lnTo>
                  <a:lnTo>
                    <a:pt x="294322" y="304800"/>
                  </a:lnTo>
                  <a:lnTo>
                    <a:pt x="278130" y="320993"/>
                  </a:lnTo>
                  <a:lnTo>
                    <a:pt x="258128" y="301943"/>
                  </a:lnTo>
                  <a:lnTo>
                    <a:pt x="283845" y="294322"/>
                  </a:lnTo>
                  <a:lnTo>
                    <a:pt x="283845" y="268605"/>
                  </a:lnTo>
                  <a:lnTo>
                    <a:pt x="289560" y="245745"/>
                  </a:lnTo>
                  <a:lnTo>
                    <a:pt x="276225" y="217170"/>
                  </a:lnTo>
                  <a:lnTo>
                    <a:pt x="265747" y="189547"/>
                  </a:lnTo>
                  <a:lnTo>
                    <a:pt x="287655" y="171450"/>
                  </a:lnTo>
                  <a:lnTo>
                    <a:pt x="312420" y="145733"/>
                  </a:lnTo>
                  <a:lnTo>
                    <a:pt x="329565" y="138113"/>
                  </a:lnTo>
                  <a:lnTo>
                    <a:pt x="329565" y="101918"/>
                  </a:lnTo>
                  <a:lnTo>
                    <a:pt x="312420" y="69533"/>
                  </a:lnTo>
                  <a:lnTo>
                    <a:pt x="292417" y="61913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8" name="Полилиния: фигура 127">
              <a:extLst>
                <a:ext uri="{FF2B5EF4-FFF2-40B4-BE49-F238E27FC236}">
                  <a16:creationId xmlns:a16="http://schemas.microsoft.com/office/drawing/2014/main" id="{A50B31FC-520E-4FDD-907C-958BC0B90BC7}"/>
                </a:ext>
              </a:extLst>
            </p:cNvPr>
            <p:cNvSpPr/>
            <p:nvPr/>
          </p:nvSpPr>
          <p:spPr>
            <a:xfrm>
              <a:off x="5880196" y="5544381"/>
              <a:ext cx="194687" cy="285296"/>
            </a:xfrm>
            <a:custGeom>
              <a:avLst/>
              <a:gdLst>
                <a:gd name="connsiteX0" fmla="*/ 76200 w 301942"/>
                <a:gd name="connsiteY0" fmla="*/ 0 h 508634"/>
                <a:gd name="connsiteX1" fmla="*/ 91440 w 301942"/>
                <a:gd name="connsiteY1" fmla="*/ 26670 h 508634"/>
                <a:gd name="connsiteX2" fmla="*/ 118110 w 301942"/>
                <a:gd name="connsiteY2" fmla="*/ 56197 h 508634"/>
                <a:gd name="connsiteX3" fmla="*/ 145733 w 301942"/>
                <a:gd name="connsiteY3" fmla="*/ 60960 h 508634"/>
                <a:gd name="connsiteX4" fmla="*/ 159068 w 301942"/>
                <a:gd name="connsiteY4" fmla="*/ 48578 h 508634"/>
                <a:gd name="connsiteX5" fmla="*/ 200025 w 301942"/>
                <a:gd name="connsiteY5" fmla="*/ 52388 h 508634"/>
                <a:gd name="connsiteX6" fmla="*/ 226695 w 301942"/>
                <a:gd name="connsiteY6" fmla="*/ 42863 h 508634"/>
                <a:gd name="connsiteX7" fmla="*/ 235268 w 301942"/>
                <a:gd name="connsiteY7" fmla="*/ 60960 h 508634"/>
                <a:gd name="connsiteX8" fmla="*/ 225743 w 301942"/>
                <a:gd name="connsiteY8" fmla="*/ 98108 h 508634"/>
                <a:gd name="connsiteX9" fmla="*/ 255270 w 301942"/>
                <a:gd name="connsiteY9" fmla="*/ 127635 h 508634"/>
                <a:gd name="connsiteX10" fmla="*/ 263843 w 301942"/>
                <a:gd name="connsiteY10" fmla="*/ 160972 h 508634"/>
                <a:gd name="connsiteX11" fmla="*/ 293370 w 301942"/>
                <a:gd name="connsiteY11" fmla="*/ 190500 h 508634"/>
                <a:gd name="connsiteX12" fmla="*/ 293370 w 301942"/>
                <a:gd name="connsiteY12" fmla="*/ 217170 h 508634"/>
                <a:gd name="connsiteX13" fmla="*/ 301943 w 301942"/>
                <a:gd name="connsiteY13" fmla="*/ 240030 h 508634"/>
                <a:gd name="connsiteX14" fmla="*/ 293370 w 301942"/>
                <a:gd name="connsiteY14" fmla="*/ 269558 h 508634"/>
                <a:gd name="connsiteX15" fmla="*/ 269558 w 301942"/>
                <a:gd name="connsiteY15" fmla="*/ 292418 h 508634"/>
                <a:gd name="connsiteX16" fmla="*/ 273368 w 301942"/>
                <a:gd name="connsiteY16" fmla="*/ 320993 h 508634"/>
                <a:gd name="connsiteX17" fmla="*/ 250508 w 301942"/>
                <a:gd name="connsiteY17" fmla="*/ 344805 h 508634"/>
                <a:gd name="connsiteX18" fmla="*/ 224790 w 301942"/>
                <a:gd name="connsiteY18" fmla="*/ 356235 h 508634"/>
                <a:gd name="connsiteX19" fmla="*/ 212408 w 301942"/>
                <a:gd name="connsiteY19" fmla="*/ 387668 h 508634"/>
                <a:gd name="connsiteX20" fmla="*/ 201930 w 301942"/>
                <a:gd name="connsiteY20" fmla="*/ 401955 h 508634"/>
                <a:gd name="connsiteX21" fmla="*/ 171450 w 301942"/>
                <a:gd name="connsiteY21" fmla="*/ 417195 h 508634"/>
                <a:gd name="connsiteX22" fmla="*/ 171450 w 301942"/>
                <a:gd name="connsiteY22" fmla="*/ 448628 h 508634"/>
                <a:gd name="connsiteX23" fmla="*/ 144780 w 301942"/>
                <a:gd name="connsiteY23" fmla="*/ 476250 h 508634"/>
                <a:gd name="connsiteX24" fmla="*/ 92393 w 301942"/>
                <a:gd name="connsiteY24" fmla="*/ 467678 h 508634"/>
                <a:gd name="connsiteX25" fmla="*/ 80010 w 301942"/>
                <a:gd name="connsiteY25" fmla="*/ 480060 h 508634"/>
                <a:gd name="connsiteX26" fmla="*/ 64770 w 301942"/>
                <a:gd name="connsiteY26" fmla="*/ 480060 h 508634"/>
                <a:gd name="connsiteX27" fmla="*/ 51435 w 301942"/>
                <a:gd name="connsiteY27" fmla="*/ 508635 h 508634"/>
                <a:gd name="connsiteX28" fmla="*/ 28575 w 301942"/>
                <a:gd name="connsiteY28" fmla="*/ 508635 h 508634"/>
                <a:gd name="connsiteX29" fmla="*/ 0 w 301942"/>
                <a:gd name="connsiteY29" fmla="*/ 479108 h 508634"/>
                <a:gd name="connsiteX30" fmla="*/ 13335 w 301942"/>
                <a:gd name="connsiteY30" fmla="*/ 465772 h 508634"/>
                <a:gd name="connsiteX31" fmla="*/ 6668 w 301942"/>
                <a:gd name="connsiteY31" fmla="*/ 438150 h 508634"/>
                <a:gd name="connsiteX32" fmla="*/ 44768 w 301942"/>
                <a:gd name="connsiteY32" fmla="*/ 400050 h 508634"/>
                <a:gd name="connsiteX33" fmla="*/ 64770 w 301942"/>
                <a:gd name="connsiteY33" fmla="*/ 400050 h 508634"/>
                <a:gd name="connsiteX34" fmla="*/ 64770 w 301942"/>
                <a:gd name="connsiteY34" fmla="*/ 376238 h 508634"/>
                <a:gd name="connsiteX35" fmla="*/ 108585 w 301942"/>
                <a:gd name="connsiteY35" fmla="*/ 332422 h 508634"/>
                <a:gd name="connsiteX36" fmla="*/ 96203 w 301942"/>
                <a:gd name="connsiteY36" fmla="*/ 319088 h 508634"/>
                <a:gd name="connsiteX37" fmla="*/ 86678 w 301942"/>
                <a:gd name="connsiteY37" fmla="*/ 301943 h 508634"/>
                <a:gd name="connsiteX38" fmla="*/ 89535 w 301942"/>
                <a:gd name="connsiteY38" fmla="*/ 285750 h 508634"/>
                <a:gd name="connsiteX39" fmla="*/ 100013 w 301942"/>
                <a:gd name="connsiteY39" fmla="*/ 275272 h 508634"/>
                <a:gd name="connsiteX40" fmla="*/ 86678 w 301942"/>
                <a:gd name="connsiteY40" fmla="*/ 258128 h 508634"/>
                <a:gd name="connsiteX41" fmla="*/ 73343 w 301942"/>
                <a:gd name="connsiteY41" fmla="*/ 243840 h 508634"/>
                <a:gd name="connsiteX42" fmla="*/ 96203 w 301942"/>
                <a:gd name="connsiteY42" fmla="*/ 208597 h 508634"/>
                <a:gd name="connsiteX43" fmla="*/ 98108 w 301942"/>
                <a:gd name="connsiteY43" fmla="*/ 164783 h 508634"/>
                <a:gd name="connsiteX44" fmla="*/ 107633 w 301942"/>
                <a:gd name="connsiteY44" fmla="*/ 155258 h 508634"/>
                <a:gd name="connsiteX45" fmla="*/ 107633 w 301942"/>
                <a:gd name="connsiteY45" fmla="*/ 138113 h 508634"/>
                <a:gd name="connsiteX46" fmla="*/ 82868 w 301942"/>
                <a:gd name="connsiteY46" fmla="*/ 133350 h 508634"/>
                <a:gd name="connsiteX47" fmla="*/ 66675 w 301942"/>
                <a:gd name="connsiteY47" fmla="*/ 149543 h 508634"/>
                <a:gd name="connsiteX48" fmla="*/ 46673 w 301942"/>
                <a:gd name="connsiteY48" fmla="*/ 130493 h 508634"/>
                <a:gd name="connsiteX49" fmla="*/ 72390 w 301942"/>
                <a:gd name="connsiteY49" fmla="*/ 120015 h 508634"/>
                <a:gd name="connsiteX50" fmla="*/ 72390 w 301942"/>
                <a:gd name="connsiteY50" fmla="*/ 97155 h 508634"/>
                <a:gd name="connsiteX51" fmla="*/ 78105 w 301942"/>
                <a:gd name="connsiteY51" fmla="*/ 74295 h 508634"/>
                <a:gd name="connsiteX52" fmla="*/ 64770 w 301942"/>
                <a:gd name="connsiteY52" fmla="*/ 45720 h 508634"/>
                <a:gd name="connsiteX53" fmla="*/ 54293 w 301942"/>
                <a:gd name="connsiteY53" fmla="*/ 18097 h 50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301942" h="508634">
                  <a:moveTo>
                    <a:pt x="76200" y="0"/>
                  </a:moveTo>
                  <a:lnTo>
                    <a:pt x="91440" y="26670"/>
                  </a:lnTo>
                  <a:lnTo>
                    <a:pt x="118110" y="56197"/>
                  </a:lnTo>
                  <a:lnTo>
                    <a:pt x="145733" y="60960"/>
                  </a:lnTo>
                  <a:lnTo>
                    <a:pt x="159068" y="48578"/>
                  </a:lnTo>
                  <a:lnTo>
                    <a:pt x="200025" y="52388"/>
                  </a:lnTo>
                  <a:lnTo>
                    <a:pt x="226695" y="42863"/>
                  </a:lnTo>
                  <a:lnTo>
                    <a:pt x="235268" y="60960"/>
                  </a:lnTo>
                  <a:lnTo>
                    <a:pt x="225743" y="98108"/>
                  </a:lnTo>
                  <a:lnTo>
                    <a:pt x="255270" y="127635"/>
                  </a:lnTo>
                  <a:lnTo>
                    <a:pt x="263843" y="160972"/>
                  </a:lnTo>
                  <a:lnTo>
                    <a:pt x="293370" y="190500"/>
                  </a:lnTo>
                  <a:lnTo>
                    <a:pt x="293370" y="217170"/>
                  </a:lnTo>
                  <a:lnTo>
                    <a:pt x="301943" y="240030"/>
                  </a:lnTo>
                  <a:lnTo>
                    <a:pt x="293370" y="269558"/>
                  </a:lnTo>
                  <a:lnTo>
                    <a:pt x="269558" y="292418"/>
                  </a:lnTo>
                  <a:lnTo>
                    <a:pt x="273368" y="320993"/>
                  </a:lnTo>
                  <a:lnTo>
                    <a:pt x="250508" y="344805"/>
                  </a:lnTo>
                  <a:lnTo>
                    <a:pt x="224790" y="356235"/>
                  </a:lnTo>
                  <a:lnTo>
                    <a:pt x="212408" y="387668"/>
                  </a:lnTo>
                  <a:lnTo>
                    <a:pt x="201930" y="401955"/>
                  </a:lnTo>
                  <a:lnTo>
                    <a:pt x="171450" y="417195"/>
                  </a:lnTo>
                  <a:lnTo>
                    <a:pt x="171450" y="448628"/>
                  </a:lnTo>
                  <a:lnTo>
                    <a:pt x="144780" y="476250"/>
                  </a:lnTo>
                  <a:lnTo>
                    <a:pt x="92393" y="467678"/>
                  </a:lnTo>
                  <a:lnTo>
                    <a:pt x="80010" y="480060"/>
                  </a:lnTo>
                  <a:lnTo>
                    <a:pt x="64770" y="480060"/>
                  </a:lnTo>
                  <a:lnTo>
                    <a:pt x="51435" y="508635"/>
                  </a:lnTo>
                  <a:lnTo>
                    <a:pt x="28575" y="508635"/>
                  </a:lnTo>
                  <a:lnTo>
                    <a:pt x="0" y="479108"/>
                  </a:lnTo>
                  <a:lnTo>
                    <a:pt x="13335" y="465772"/>
                  </a:lnTo>
                  <a:lnTo>
                    <a:pt x="6668" y="438150"/>
                  </a:lnTo>
                  <a:lnTo>
                    <a:pt x="44768" y="400050"/>
                  </a:lnTo>
                  <a:lnTo>
                    <a:pt x="64770" y="400050"/>
                  </a:lnTo>
                  <a:lnTo>
                    <a:pt x="64770" y="376238"/>
                  </a:lnTo>
                  <a:lnTo>
                    <a:pt x="108585" y="332422"/>
                  </a:lnTo>
                  <a:lnTo>
                    <a:pt x="96203" y="319088"/>
                  </a:lnTo>
                  <a:lnTo>
                    <a:pt x="86678" y="301943"/>
                  </a:lnTo>
                  <a:lnTo>
                    <a:pt x="89535" y="285750"/>
                  </a:lnTo>
                  <a:lnTo>
                    <a:pt x="100013" y="275272"/>
                  </a:lnTo>
                  <a:lnTo>
                    <a:pt x="86678" y="258128"/>
                  </a:lnTo>
                  <a:lnTo>
                    <a:pt x="73343" y="243840"/>
                  </a:lnTo>
                  <a:lnTo>
                    <a:pt x="96203" y="208597"/>
                  </a:lnTo>
                  <a:lnTo>
                    <a:pt x="98108" y="164783"/>
                  </a:lnTo>
                  <a:lnTo>
                    <a:pt x="107633" y="155258"/>
                  </a:lnTo>
                  <a:lnTo>
                    <a:pt x="107633" y="138113"/>
                  </a:lnTo>
                  <a:lnTo>
                    <a:pt x="82868" y="133350"/>
                  </a:lnTo>
                  <a:lnTo>
                    <a:pt x="66675" y="149543"/>
                  </a:lnTo>
                  <a:lnTo>
                    <a:pt x="46673" y="130493"/>
                  </a:lnTo>
                  <a:lnTo>
                    <a:pt x="72390" y="120015"/>
                  </a:lnTo>
                  <a:lnTo>
                    <a:pt x="72390" y="97155"/>
                  </a:lnTo>
                  <a:lnTo>
                    <a:pt x="78105" y="74295"/>
                  </a:lnTo>
                  <a:lnTo>
                    <a:pt x="64770" y="45720"/>
                  </a:lnTo>
                  <a:lnTo>
                    <a:pt x="54293" y="18097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9" name="Полилиния: фигура 128">
              <a:extLst>
                <a:ext uri="{FF2B5EF4-FFF2-40B4-BE49-F238E27FC236}">
                  <a16:creationId xmlns:a16="http://schemas.microsoft.com/office/drawing/2014/main" id="{CF107844-9E09-477F-9B8B-E1CEFA11FECF}"/>
                </a:ext>
              </a:extLst>
            </p:cNvPr>
            <p:cNvSpPr/>
            <p:nvPr/>
          </p:nvSpPr>
          <p:spPr>
            <a:xfrm>
              <a:off x="3326535" y="5386773"/>
              <a:ext cx="84139" cy="115401"/>
            </a:xfrm>
            <a:custGeom>
              <a:avLst/>
              <a:gdLst>
                <a:gd name="connsiteX0" fmla="*/ 53340 w 130492"/>
                <a:gd name="connsiteY0" fmla="*/ 29528 h 205740"/>
                <a:gd name="connsiteX1" fmla="*/ 44768 w 130492"/>
                <a:gd name="connsiteY1" fmla="*/ 16193 h 205740"/>
                <a:gd name="connsiteX2" fmla="*/ 28575 w 130492"/>
                <a:gd name="connsiteY2" fmla="*/ 0 h 205740"/>
                <a:gd name="connsiteX3" fmla="*/ 20002 w 130492"/>
                <a:gd name="connsiteY3" fmla="*/ 2858 h 205740"/>
                <a:gd name="connsiteX4" fmla="*/ 20002 w 130492"/>
                <a:gd name="connsiteY4" fmla="*/ 17145 h 205740"/>
                <a:gd name="connsiteX5" fmla="*/ 27623 w 130492"/>
                <a:gd name="connsiteY5" fmla="*/ 29528 h 205740"/>
                <a:gd name="connsiteX6" fmla="*/ 57150 w 130492"/>
                <a:gd name="connsiteY6" fmla="*/ 60008 h 205740"/>
                <a:gd name="connsiteX7" fmla="*/ 71438 w 130492"/>
                <a:gd name="connsiteY7" fmla="*/ 60008 h 205740"/>
                <a:gd name="connsiteX8" fmla="*/ 75248 w 130492"/>
                <a:gd name="connsiteY8" fmla="*/ 55245 h 205740"/>
                <a:gd name="connsiteX9" fmla="*/ 90488 w 130492"/>
                <a:gd name="connsiteY9" fmla="*/ 64770 h 205740"/>
                <a:gd name="connsiteX10" fmla="*/ 99060 w 130492"/>
                <a:gd name="connsiteY10" fmla="*/ 83820 h 205740"/>
                <a:gd name="connsiteX11" fmla="*/ 89535 w 130492"/>
                <a:gd name="connsiteY11" fmla="*/ 93345 h 205740"/>
                <a:gd name="connsiteX12" fmla="*/ 74295 w 130492"/>
                <a:gd name="connsiteY12" fmla="*/ 92393 h 205740"/>
                <a:gd name="connsiteX13" fmla="*/ 65723 w 130492"/>
                <a:gd name="connsiteY13" fmla="*/ 108585 h 205740"/>
                <a:gd name="connsiteX14" fmla="*/ 52388 w 130492"/>
                <a:gd name="connsiteY14" fmla="*/ 108585 h 205740"/>
                <a:gd name="connsiteX15" fmla="*/ 52388 w 130492"/>
                <a:gd name="connsiteY15" fmla="*/ 131445 h 205740"/>
                <a:gd name="connsiteX16" fmla="*/ 58102 w 130492"/>
                <a:gd name="connsiteY16" fmla="*/ 145733 h 205740"/>
                <a:gd name="connsiteX17" fmla="*/ 54293 w 130492"/>
                <a:gd name="connsiteY17" fmla="*/ 157163 h 205740"/>
                <a:gd name="connsiteX18" fmla="*/ 23813 w 130492"/>
                <a:gd name="connsiteY18" fmla="*/ 157163 h 205740"/>
                <a:gd name="connsiteX19" fmla="*/ 12382 w 130492"/>
                <a:gd name="connsiteY19" fmla="*/ 151447 h 205740"/>
                <a:gd name="connsiteX20" fmla="*/ 0 w 130492"/>
                <a:gd name="connsiteY20" fmla="*/ 163830 h 205740"/>
                <a:gd name="connsiteX21" fmla="*/ 21907 w 130492"/>
                <a:gd name="connsiteY21" fmla="*/ 190500 h 205740"/>
                <a:gd name="connsiteX22" fmla="*/ 29527 w 130492"/>
                <a:gd name="connsiteY22" fmla="*/ 205740 h 205740"/>
                <a:gd name="connsiteX23" fmla="*/ 36195 w 130492"/>
                <a:gd name="connsiteY23" fmla="*/ 199072 h 205740"/>
                <a:gd name="connsiteX24" fmla="*/ 51435 w 130492"/>
                <a:gd name="connsiteY24" fmla="*/ 196215 h 205740"/>
                <a:gd name="connsiteX25" fmla="*/ 51435 w 130492"/>
                <a:gd name="connsiteY25" fmla="*/ 185738 h 205740"/>
                <a:gd name="connsiteX26" fmla="*/ 60960 w 130492"/>
                <a:gd name="connsiteY26" fmla="*/ 177165 h 205740"/>
                <a:gd name="connsiteX27" fmla="*/ 77152 w 130492"/>
                <a:gd name="connsiteY27" fmla="*/ 161925 h 205740"/>
                <a:gd name="connsiteX28" fmla="*/ 91440 w 130492"/>
                <a:gd name="connsiteY28" fmla="*/ 140018 h 205740"/>
                <a:gd name="connsiteX29" fmla="*/ 104775 w 130492"/>
                <a:gd name="connsiteY29" fmla="*/ 127635 h 205740"/>
                <a:gd name="connsiteX30" fmla="*/ 118110 w 130492"/>
                <a:gd name="connsiteY30" fmla="*/ 121920 h 205740"/>
                <a:gd name="connsiteX31" fmla="*/ 123825 w 130492"/>
                <a:gd name="connsiteY31" fmla="*/ 140018 h 205740"/>
                <a:gd name="connsiteX32" fmla="*/ 130493 w 130492"/>
                <a:gd name="connsiteY32" fmla="*/ 124778 h 205740"/>
                <a:gd name="connsiteX33" fmla="*/ 130493 w 130492"/>
                <a:gd name="connsiteY33" fmla="*/ 93345 h 205740"/>
                <a:gd name="connsiteX34" fmla="*/ 130493 w 130492"/>
                <a:gd name="connsiteY34" fmla="*/ 73343 h 205740"/>
                <a:gd name="connsiteX35" fmla="*/ 120968 w 130492"/>
                <a:gd name="connsiteY35" fmla="*/ 67628 h 205740"/>
                <a:gd name="connsiteX36" fmla="*/ 113348 w 130492"/>
                <a:gd name="connsiteY36" fmla="*/ 59055 h 205740"/>
                <a:gd name="connsiteX37" fmla="*/ 100013 w 130492"/>
                <a:gd name="connsiteY37" fmla="*/ 52388 h 205740"/>
                <a:gd name="connsiteX38" fmla="*/ 96202 w 130492"/>
                <a:gd name="connsiteY38" fmla="*/ 36195 h 205740"/>
                <a:gd name="connsiteX39" fmla="*/ 78105 w 130492"/>
                <a:gd name="connsiteY39" fmla="*/ 30480 h 205740"/>
                <a:gd name="connsiteX40" fmla="*/ 70485 w 130492"/>
                <a:gd name="connsiteY40" fmla="*/ 34290 h 20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30492" h="205740">
                  <a:moveTo>
                    <a:pt x="53340" y="29528"/>
                  </a:moveTo>
                  <a:lnTo>
                    <a:pt x="44768" y="16193"/>
                  </a:lnTo>
                  <a:lnTo>
                    <a:pt x="28575" y="0"/>
                  </a:lnTo>
                  <a:lnTo>
                    <a:pt x="20002" y="2858"/>
                  </a:lnTo>
                  <a:lnTo>
                    <a:pt x="20002" y="17145"/>
                  </a:lnTo>
                  <a:lnTo>
                    <a:pt x="27623" y="29528"/>
                  </a:lnTo>
                  <a:lnTo>
                    <a:pt x="57150" y="60008"/>
                  </a:lnTo>
                  <a:lnTo>
                    <a:pt x="71438" y="60008"/>
                  </a:lnTo>
                  <a:lnTo>
                    <a:pt x="75248" y="55245"/>
                  </a:lnTo>
                  <a:lnTo>
                    <a:pt x="90488" y="64770"/>
                  </a:lnTo>
                  <a:lnTo>
                    <a:pt x="99060" y="83820"/>
                  </a:lnTo>
                  <a:lnTo>
                    <a:pt x="89535" y="93345"/>
                  </a:lnTo>
                  <a:lnTo>
                    <a:pt x="74295" y="92393"/>
                  </a:lnTo>
                  <a:lnTo>
                    <a:pt x="65723" y="108585"/>
                  </a:lnTo>
                  <a:lnTo>
                    <a:pt x="52388" y="108585"/>
                  </a:lnTo>
                  <a:lnTo>
                    <a:pt x="52388" y="131445"/>
                  </a:lnTo>
                  <a:lnTo>
                    <a:pt x="58102" y="145733"/>
                  </a:lnTo>
                  <a:lnTo>
                    <a:pt x="54293" y="157163"/>
                  </a:lnTo>
                  <a:lnTo>
                    <a:pt x="23813" y="157163"/>
                  </a:lnTo>
                  <a:lnTo>
                    <a:pt x="12382" y="151447"/>
                  </a:lnTo>
                  <a:lnTo>
                    <a:pt x="0" y="163830"/>
                  </a:lnTo>
                  <a:lnTo>
                    <a:pt x="21907" y="190500"/>
                  </a:lnTo>
                  <a:lnTo>
                    <a:pt x="29527" y="205740"/>
                  </a:lnTo>
                  <a:lnTo>
                    <a:pt x="36195" y="199072"/>
                  </a:lnTo>
                  <a:lnTo>
                    <a:pt x="51435" y="196215"/>
                  </a:lnTo>
                  <a:lnTo>
                    <a:pt x="51435" y="185738"/>
                  </a:lnTo>
                  <a:lnTo>
                    <a:pt x="60960" y="177165"/>
                  </a:lnTo>
                  <a:lnTo>
                    <a:pt x="77152" y="161925"/>
                  </a:lnTo>
                  <a:lnTo>
                    <a:pt x="91440" y="140018"/>
                  </a:lnTo>
                  <a:lnTo>
                    <a:pt x="104775" y="127635"/>
                  </a:lnTo>
                  <a:lnTo>
                    <a:pt x="118110" y="121920"/>
                  </a:lnTo>
                  <a:lnTo>
                    <a:pt x="123825" y="140018"/>
                  </a:lnTo>
                  <a:lnTo>
                    <a:pt x="130493" y="124778"/>
                  </a:lnTo>
                  <a:lnTo>
                    <a:pt x="130493" y="93345"/>
                  </a:lnTo>
                  <a:lnTo>
                    <a:pt x="130493" y="73343"/>
                  </a:lnTo>
                  <a:lnTo>
                    <a:pt x="120968" y="67628"/>
                  </a:lnTo>
                  <a:lnTo>
                    <a:pt x="113348" y="59055"/>
                  </a:lnTo>
                  <a:lnTo>
                    <a:pt x="100013" y="52388"/>
                  </a:lnTo>
                  <a:lnTo>
                    <a:pt x="96202" y="36195"/>
                  </a:lnTo>
                  <a:lnTo>
                    <a:pt x="78105" y="30480"/>
                  </a:lnTo>
                  <a:lnTo>
                    <a:pt x="70485" y="3429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0" name="Полилиния: фигура 129">
              <a:extLst>
                <a:ext uri="{FF2B5EF4-FFF2-40B4-BE49-F238E27FC236}">
                  <a16:creationId xmlns:a16="http://schemas.microsoft.com/office/drawing/2014/main" id="{84B2BF10-EA81-48E4-B229-25B210CC3E39}"/>
                </a:ext>
              </a:extLst>
            </p:cNvPr>
            <p:cNvSpPr/>
            <p:nvPr/>
          </p:nvSpPr>
          <p:spPr>
            <a:xfrm>
              <a:off x="7234410" y="5056064"/>
              <a:ext cx="767695" cy="448247"/>
            </a:xfrm>
            <a:custGeom>
              <a:avLst/>
              <a:gdLst>
                <a:gd name="connsiteX0" fmla="*/ 1148715 w 1190625"/>
                <a:gd name="connsiteY0" fmla="*/ 762000 h 799147"/>
                <a:gd name="connsiteX1" fmla="*/ 1132523 w 1190625"/>
                <a:gd name="connsiteY1" fmla="*/ 778193 h 799147"/>
                <a:gd name="connsiteX2" fmla="*/ 1100138 w 1190625"/>
                <a:gd name="connsiteY2" fmla="*/ 769620 h 799147"/>
                <a:gd name="connsiteX3" fmla="*/ 1073468 w 1190625"/>
                <a:gd name="connsiteY3" fmla="*/ 762953 h 799147"/>
                <a:gd name="connsiteX4" fmla="*/ 1032510 w 1190625"/>
                <a:gd name="connsiteY4" fmla="*/ 768668 h 799147"/>
                <a:gd name="connsiteX5" fmla="*/ 994410 w 1190625"/>
                <a:gd name="connsiteY5" fmla="*/ 768668 h 799147"/>
                <a:gd name="connsiteX6" fmla="*/ 979170 w 1190625"/>
                <a:gd name="connsiteY6" fmla="*/ 783907 h 799147"/>
                <a:gd name="connsiteX7" fmla="*/ 937260 w 1190625"/>
                <a:gd name="connsiteY7" fmla="*/ 799147 h 799147"/>
                <a:gd name="connsiteX8" fmla="*/ 895350 w 1190625"/>
                <a:gd name="connsiteY8" fmla="*/ 790575 h 799147"/>
                <a:gd name="connsiteX9" fmla="*/ 877253 w 1190625"/>
                <a:gd name="connsiteY9" fmla="*/ 756285 h 799147"/>
                <a:gd name="connsiteX10" fmla="*/ 857250 w 1190625"/>
                <a:gd name="connsiteY10" fmla="*/ 736282 h 799147"/>
                <a:gd name="connsiteX11" fmla="*/ 833438 w 1190625"/>
                <a:gd name="connsiteY11" fmla="*/ 716280 h 799147"/>
                <a:gd name="connsiteX12" fmla="*/ 806768 w 1190625"/>
                <a:gd name="connsiteY12" fmla="*/ 689610 h 799147"/>
                <a:gd name="connsiteX13" fmla="*/ 772478 w 1190625"/>
                <a:gd name="connsiteY13" fmla="*/ 683895 h 799147"/>
                <a:gd name="connsiteX14" fmla="*/ 758190 w 1190625"/>
                <a:gd name="connsiteY14" fmla="*/ 649605 h 799147"/>
                <a:gd name="connsiteX15" fmla="*/ 725805 w 1190625"/>
                <a:gd name="connsiteY15" fmla="*/ 623888 h 799147"/>
                <a:gd name="connsiteX16" fmla="*/ 702945 w 1190625"/>
                <a:gd name="connsiteY16" fmla="*/ 601028 h 799147"/>
                <a:gd name="connsiteX17" fmla="*/ 671513 w 1190625"/>
                <a:gd name="connsiteY17" fmla="*/ 592455 h 799147"/>
                <a:gd name="connsiteX18" fmla="*/ 660082 w 1190625"/>
                <a:gd name="connsiteY18" fmla="*/ 562928 h 799147"/>
                <a:gd name="connsiteX19" fmla="*/ 631507 w 1190625"/>
                <a:gd name="connsiteY19" fmla="*/ 550545 h 799147"/>
                <a:gd name="connsiteX20" fmla="*/ 614363 w 1190625"/>
                <a:gd name="connsiteY20" fmla="*/ 533400 h 799147"/>
                <a:gd name="connsiteX21" fmla="*/ 558165 w 1190625"/>
                <a:gd name="connsiteY21" fmla="*/ 527685 h 799147"/>
                <a:gd name="connsiteX22" fmla="*/ 528638 w 1190625"/>
                <a:gd name="connsiteY22" fmla="*/ 527685 h 799147"/>
                <a:gd name="connsiteX23" fmla="*/ 494348 w 1190625"/>
                <a:gd name="connsiteY23" fmla="*/ 545782 h 799147"/>
                <a:gd name="connsiteX24" fmla="*/ 452438 w 1190625"/>
                <a:gd name="connsiteY24" fmla="*/ 539115 h 799147"/>
                <a:gd name="connsiteX25" fmla="*/ 420053 w 1190625"/>
                <a:gd name="connsiteY25" fmla="*/ 550545 h 799147"/>
                <a:gd name="connsiteX26" fmla="*/ 384810 w 1190625"/>
                <a:gd name="connsiteY26" fmla="*/ 550545 h 799147"/>
                <a:gd name="connsiteX27" fmla="*/ 337185 w 1190625"/>
                <a:gd name="connsiteY27" fmla="*/ 585788 h 799147"/>
                <a:gd name="connsiteX28" fmla="*/ 314325 w 1190625"/>
                <a:gd name="connsiteY28" fmla="*/ 608647 h 799147"/>
                <a:gd name="connsiteX29" fmla="*/ 294323 w 1190625"/>
                <a:gd name="connsiteY29" fmla="*/ 573405 h 799147"/>
                <a:gd name="connsiteX30" fmla="*/ 284798 w 1190625"/>
                <a:gd name="connsiteY30" fmla="*/ 555307 h 799147"/>
                <a:gd name="connsiteX31" fmla="*/ 260985 w 1190625"/>
                <a:gd name="connsiteY31" fmla="*/ 555307 h 799147"/>
                <a:gd name="connsiteX32" fmla="*/ 254318 w 1190625"/>
                <a:gd name="connsiteY32" fmla="*/ 524828 h 799147"/>
                <a:gd name="connsiteX33" fmla="*/ 241935 w 1190625"/>
                <a:gd name="connsiteY33" fmla="*/ 506730 h 799147"/>
                <a:gd name="connsiteX34" fmla="*/ 262890 w 1190625"/>
                <a:gd name="connsiteY34" fmla="*/ 494347 h 799147"/>
                <a:gd name="connsiteX35" fmla="*/ 262890 w 1190625"/>
                <a:gd name="connsiteY35" fmla="*/ 484822 h 799147"/>
                <a:gd name="connsiteX36" fmla="*/ 251460 w 1190625"/>
                <a:gd name="connsiteY36" fmla="*/ 484822 h 799147"/>
                <a:gd name="connsiteX37" fmla="*/ 232410 w 1190625"/>
                <a:gd name="connsiteY37" fmla="*/ 464820 h 799147"/>
                <a:gd name="connsiteX38" fmla="*/ 217170 w 1190625"/>
                <a:gd name="connsiteY38" fmla="*/ 462915 h 799147"/>
                <a:gd name="connsiteX39" fmla="*/ 220980 w 1190625"/>
                <a:gd name="connsiteY39" fmla="*/ 426720 h 799147"/>
                <a:gd name="connsiteX40" fmla="*/ 211455 w 1190625"/>
                <a:gd name="connsiteY40" fmla="*/ 410528 h 799147"/>
                <a:gd name="connsiteX41" fmla="*/ 201930 w 1190625"/>
                <a:gd name="connsiteY41" fmla="*/ 382905 h 799147"/>
                <a:gd name="connsiteX42" fmla="*/ 179070 w 1190625"/>
                <a:gd name="connsiteY42" fmla="*/ 371475 h 799147"/>
                <a:gd name="connsiteX43" fmla="*/ 162878 w 1190625"/>
                <a:gd name="connsiteY43" fmla="*/ 394335 h 799147"/>
                <a:gd name="connsiteX44" fmla="*/ 145732 w 1190625"/>
                <a:gd name="connsiteY44" fmla="*/ 387668 h 799147"/>
                <a:gd name="connsiteX45" fmla="*/ 144780 w 1190625"/>
                <a:gd name="connsiteY45" fmla="*/ 363855 h 799147"/>
                <a:gd name="connsiteX46" fmla="*/ 133350 w 1190625"/>
                <a:gd name="connsiteY46" fmla="*/ 352425 h 799147"/>
                <a:gd name="connsiteX47" fmla="*/ 117157 w 1190625"/>
                <a:gd name="connsiteY47" fmla="*/ 347663 h 799147"/>
                <a:gd name="connsiteX48" fmla="*/ 100013 w 1190625"/>
                <a:gd name="connsiteY48" fmla="*/ 364807 h 799147"/>
                <a:gd name="connsiteX49" fmla="*/ 91440 w 1190625"/>
                <a:gd name="connsiteY49" fmla="*/ 385763 h 799147"/>
                <a:gd name="connsiteX50" fmla="*/ 62865 w 1190625"/>
                <a:gd name="connsiteY50" fmla="*/ 378143 h 799147"/>
                <a:gd name="connsiteX51" fmla="*/ 53340 w 1190625"/>
                <a:gd name="connsiteY51" fmla="*/ 360045 h 799147"/>
                <a:gd name="connsiteX52" fmla="*/ 70485 w 1190625"/>
                <a:gd name="connsiteY52" fmla="*/ 339090 h 799147"/>
                <a:gd name="connsiteX53" fmla="*/ 60960 w 1190625"/>
                <a:gd name="connsiteY53" fmla="*/ 322897 h 799147"/>
                <a:gd name="connsiteX54" fmla="*/ 41910 w 1190625"/>
                <a:gd name="connsiteY54" fmla="*/ 329565 h 799147"/>
                <a:gd name="connsiteX55" fmla="*/ 17145 w 1190625"/>
                <a:gd name="connsiteY55" fmla="*/ 322897 h 799147"/>
                <a:gd name="connsiteX56" fmla="*/ 0 w 1190625"/>
                <a:gd name="connsiteY56" fmla="*/ 305753 h 799147"/>
                <a:gd name="connsiteX57" fmla="*/ 0 w 1190625"/>
                <a:gd name="connsiteY57" fmla="*/ 288607 h 799147"/>
                <a:gd name="connsiteX58" fmla="*/ 24765 w 1190625"/>
                <a:gd name="connsiteY58" fmla="*/ 263843 h 799147"/>
                <a:gd name="connsiteX59" fmla="*/ 52388 w 1190625"/>
                <a:gd name="connsiteY59" fmla="*/ 240982 h 799147"/>
                <a:gd name="connsiteX60" fmla="*/ 80010 w 1190625"/>
                <a:gd name="connsiteY60" fmla="*/ 240982 h 799147"/>
                <a:gd name="connsiteX61" fmla="*/ 92393 w 1190625"/>
                <a:gd name="connsiteY61" fmla="*/ 228600 h 799147"/>
                <a:gd name="connsiteX62" fmla="*/ 107632 w 1190625"/>
                <a:gd name="connsiteY62" fmla="*/ 243840 h 799147"/>
                <a:gd name="connsiteX63" fmla="*/ 128588 w 1190625"/>
                <a:gd name="connsiteY63" fmla="*/ 248603 h 799147"/>
                <a:gd name="connsiteX64" fmla="*/ 138113 w 1190625"/>
                <a:gd name="connsiteY64" fmla="*/ 239078 h 799147"/>
                <a:gd name="connsiteX65" fmla="*/ 166688 w 1190625"/>
                <a:gd name="connsiteY65" fmla="*/ 239078 h 799147"/>
                <a:gd name="connsiteX66" fmla="*/ 178118 w 1190625"/>
                <a:gd name="connsiteY66" fmla="*/ 254318 h 799147"/>
                <a:gd name="connsiteX67" fmla="*/ 196215 w 1190625"/>
                <a:gd name="connsiteY67" fmla="*/ 254318 h 799147"/>
                <a:gd name="connsiteX68" fmla="*/ 201930 w 1190625"/>
                <a:gd name="connsiteY68" fmla="*/ 233363 h 799147"/>
                <a:gd name="connsiteX69" fmla="*/ 237173 w 1190625"/>
                <a:gd name="connsiteY69" fmla="*/ 240030 h 799147"/>
                <a:gd name="connsiteX70" fmla="*/ 249555 w 1190625"/>
                <a:gd name="connsiteY70" fmla="*/ 227647 h 799147"/>
                <a:gd name="connsiteX71" fmla="*/ 275273 w 1190625"/>
                <a:gd name="connsiteY71" fmla="*/ 221932 h 799147"/>
                <a:gd name="connsiteX72" fmla="*/ 299085 w 1190625"/>
                <a:gd name="connsiteY72" fmla="*/ 232410 h 799147"/>
                <a:gd name="connsiteX73" fmla="*/ 328613 w 1190625"/>
                <a:gd name="connsiteY73" fmla="*/ 261938 h 799147"/>
                <a:gd name="connsiteX74" fmla="*/ 351473 w 1190625"/>
                <a:gd name="connsiteY74" fmla="*/ 251460 h 799147"/>
                <a:gd name="connsiteX75" fmla="*/ 377190 w 1190625"/>
                <a:gd name="connsiteY75" fmla="*/ 245745 h 799147"/>
                <a:gd name="connsiteX76" fmla="*/ 388620 w 1190625"/>
                <a:gd name="connsiteY76" fmla="*/ 229553 h 799147"/>
                <a:gd name="connsiteX77" fmla="*/ 407670 w 1190625"/>
                <a:gd name="connsiteY77" fmla="*/ 238125 h 799147"/>
                <a:gd name="connsiteX78" fmla="*/ 421957 w 1190625"/>
                <a:gd name="connsiteY78" fmla="*/ 223838 h 799147"/>
                <a:gd name="connsiteX79" fmla="*/ 438150 w 1190625"/>
                <a:gd name="connsiteY79" fmla="*/ 223838 h 799147"/>
                <a:gd name="connsiteX80" fmla="*/ 453390 w 1190625"/>
                <a:gd name="connsiteY80" fmla="*/ 239078 h 799147"/>
                <a:gd name="connsiteX81" fmla="*/ 509588 w 1190625"/>
                <a:gd name="connsiteY81" fmla="*/ 182880 h 799147"/>
                <a:gd name="connsiteX82" fmla="*/ 540068 w 1190625"/>
                <a:gd name="connsiteY82" fmla="*/ 187643 h 799147"/>
                <a:gd name="connsiteX83" fmla="*/ 540068 w 1190625"/>
                <a:gd name="connsiteY83" fmla="*/ 168593 h 799147"/>
                <a:gd name="connsiteX84" fmla="*/ 578168 w 1190625"/>
                <a:gd name="connsiteY84" fmla="*/ 154305 h 799147"/>
                <a:gd name="connsiteX85" fmla="*/ 605790 w 1190625"/>
                <a:gd name="connsiteY85" fmla="*/ 160020 h 799147"/>
                <a:gd name="connsiteX86" fmla="*/ 634365 w 1190625"/>
                <a:gd name="connsiteY86" fmla="*/ 141922 h 799147"/>
                <a:gd name="connsiteX87" fmla="*/ 632460 w 1190625"/>
                <a:gd name="connsiteY87" fmla="*/ 112395 h 799147"/>
                <a:gd name="connsiteX88" fmla="*/ 678180 w 1190625"/>
                <a:gd name="connsiteY88" fmla="*/ 84772 h 799147"/>
                <a:gd name="connsiteX89" fmla="*/ 721043 w 1190625"/>
                <a:gd name="connsiteY89" fmla="*/ 49530 h 799147"/>
                <a:gd name="connsiteX90" fmla="*/ 732473 w 1190625"/>
                <a:gd name="connsiteY90" fmla="*/ 56197 h 799147"/>
                <a:gd name="connsiteX91" fmla="*/ 750570 w 1190625"/>
                <a:gd name="connsiteY91" fmla="*/ 47625 h 799147"/>
                <a:gd name="connsiteX92" fmla="*/ 765810 w 1190625"/>
                <a:gd name="connsiteY92" fmla="*/ 27622 h 799147"/>
                <a:gd name="connsiteX93" fmla="*/ 788670 w 1190625"/>
                <a:gd name="connsiteY93" fmla="*/ 24765 h 799147"/>
                <a:gd name="connsiteX94" fmla="*/ 808673 w 1190625"/>
                <a:gd name="connsiteY94" fmla="*/ 4763 h 799147"/>
                <a:gd name="connsiteX95" fmla="*/ 834390 w 1190625"/>
                <a:gd name="connsiteY95" fmla="*/ 0 h 799147"/>
                <a:gd name="connsiteX96" fmla="*/ 860107 w 1190625"/>
                <a:gd name="connsiteY96" fmla="*/ 14288 h 799147"/>
                <a:gd name="connsiteX97" fmla="*/ 850582 w 1190625"/>
                <a:gd name="connsiteY97" fmla="*/ 39053 h 799147"/>
                <a:gd name="connsiteX98" fmla="*/ 851535 w 1190625"/>
                <a:gd name="connsiteY98" fmla="*/ 58103 h 799147"/>
                <a:gd name="connsiteX99" fmla="*/ 834390 w 1190625"/>
                <a:gd name="connsiteY99" fmla="*/ 81915 h 799147"/>
                <a:gd name="connsiteX100" fmla="*/ 834390 w 1190625"/>
                <a:gd name="connsiteY100" fmla="*/ 125730 h 799147"/>
                <a:gd name="connsiteX101" fmla="*/ 824865 w 1190625"/>
                <a:gd name="connsiteY101" fmla="*/ 124778 h 799147"/>
                <a:gd name="connsiteX102" fmla="*/ 817245 w 1190625"/>
                <a:gd name="connsiteY102" fmla="*/ 143828 h 799147"/>
                <a:gd name="connsiteX103" fmla="*/ 832485 w 1190625"/>
                <a:gd name="connsiteY103" fmla="*/ 169545 h 799147"/>
                <a:gd name="connsiteX104" fmla="*/ 832485 w 1190625"/>
                <a:gd name="connsiteY104" fmla="*/ 188595 h 799147"/>
                <a:gd name="connsiteX105" fmla="*/ 815340 w 1190625"/>
                <a:gd name="connsiteY105" fmla="*/ 198120 h 799147"/>
                <a:gd name="connsiteX106" fmla="*/ 804863 w 1190625"/>
                <a:gd name="connsiteY106" fmla="*/ 221932 h 799147"/>
                <a:gd name="connsiteX107" fmla="*/ 822960 w 1190625"/>
                <a:gd name="connsiteY107" fmla="*/ 243840 h 799147"/>
                <a:gd name="connsiteX108" fmla="*/ 857250 w 1190625"/>
                <a:gd name="connsiteY108" fmla="*/ 248603 h 799147"/>
                <a:gd name="connsiteX109" fmla="*/ 869632 w 1190625"/>
                <a:gd name="connsiteY109" fmla="*/ 238125 h 799147"/>
                <a:gd name="connsiteX110" fmla="*/ 891540 w 1190625"/>
                <a:gd name="connsiteY110" fmla="*/ 230505 h 799147"/>
                <a:gd name="connsiteX111" fmla="*/ 930593 w 1190625"/>
                <a:gd name="connsiteY111" fmla="*/ 283845 h 799147"/>
                <a:gd name="connsiteX112" fmla="*/ 947738 w 1190625"/>
                <a:gd name="connsiteY112" fmla="*/ 268605 h 799147"/>
                <a:gd name="connsiteX113" fmla="*/ 964882 w 1190625"/>
                <a:gd name="connsiteY113" fmla="*/ 269557 h 799147"/>
                <a:gd name="connsiteX114" fmla="*/ 990600 w 1190625"/>
                <a:gd name="connsiteY114" fmla="*/ 231457 h 799147"/>
                <a:gd name="connsiteX115" fmla="*/ 1017270 w 1190625"/>
                <a:gd name="connsiteY115" fmla="*/ 221932 h 799147"/>
                <a:gd name="connsiteX116" fmla="*/ 1026795 w 1190625"/>
                <a:gd name="connsiteY116" fmla="*/ 212407 h 799147"/>
                <a:gd name="connsiteX117" fmla="*/ 1021080 w 1190625"/>
                <a:gd name="connsiteY117" fmla="*/ 185738 h 799147"/>
                <a:gd name="connsiteX118" fmla="*/ 1028700 w 1190625"/>
                <a:gd name="connsiteY118" fmla="*/ 163830 h 799147"/>
                <a:gd name="connsiteX119" fmla="*/ 1056323 w 1190625"/>
                <a:gd name="connsiteY119" fmla="*/ 159068 h 799147"/>
                <a:gd name="connsiteX120" fmla="*/ 1071563 w 1190625"/>
                <a:gd name="connsiteY120" fmla="*/ 143828 h 799147"/>
                <a:gd name="connsiteX121" fmla="*/ 1086803 w 1190625"/>
                <a:gd name="connsiteY121" fmla="*/ 117157 h 799147"/>
                <a:gd name="connsiteX122" fmla="*/ 1113473 w 1190625"/>
                <a:gd name="connsiteY122" fmla="*/ 114300 h 799147"/>
                <a:gd name="connsiteX123" fmla="*/ 1138238 w 1190625"/>
                <a:gd name="connsiteY123" fmla="*/ 139065 h 799147"/>
                <a:gd name="connsiteX124" fmla="*/ 1145857 w 1190625"/>
                <a:gd name="connsiteY124" fmla="*/ 181928 h 799147"/>
                <a:gd name="connsiteX125" fmla="*/ 1171575 w 1190625"/>
                <a:gd name="connsiteY125" fmla="*/ 200025 h 799147"/>
                <a:gd name="connsiteX126" fmla="*/ 1161098 w 1190625"/>
                <a:gd name="connsiteY126" fmla="*/ 235268 h 799147"/>
                <a:gd name="connsiteX127" fmla="*/ 1115378 w 1190625"/>
                <a:gd name="connsiteY127" fmla="*/ 252413 h 799147"/>
                <a:gd name="connsiteX128" fmla="*/ 1090613 w 1190625"/>
                <a:gd name="connsiteY128" fmla="*/ 251460 h 799147"/>
                <a:gd name="connsiteX129" fmla="*/ 1079182 w 1190625"/>
                <a:gd name="connsiteY129" fmla="*/ 266700 h 799147"/>
                <a:gd name="connsiteX130" fmla="*/ 1107757 w 1190625"/>
                <a:gd name="connsiteY130" fmla="*/ 295275 h 799147"/>
                <a:gd name="connsiteX131" fmla="*/ 1108710 w 1190625"/>
                <a:gd name="connsiteY131" fmla="*/ 314325 h 799147"/>
                <a:gd name="connsiteX132" fmla="*/ 1082993 w 1190625"/>
                <a:gd name="connsiteY132" fmla="*/ 342900 h 799147"/>
                <a:gd name="connsiteX133" fmla="*/ 1080135 w 1190625"/>
                <a:gd name="connsiteY133" fmla="*/ 383857 h 799147"/>
                <a:gd name="connsiteX134" fmla="*/ 1049655 w 1190625"/>
                <a:gd name="connsiteY134" fmla="*/ 404813 h 799147"/>
                <a:gd name="connsiteX135" fmla="*/ 1048703 w 1190625"/>
                <a:gd name="connsiteY135" fmla="*/ 423863 h 799147"/>
                <a:gd name="connsiteX136" fmla="*/ 1029653 w 1190625"/>
                <a:gd name="connsiteY136" fmla="*/ 446722 h 799147"/>
                <a:gd name="connsiteX137" fmla="*/ 1046798 w 1190625"/>
                <a:gd name="connsiteY137" fmla="*/ 472440 h 799147"/>
                <a:gd name="connsiteX138" fmla="*/ 1033463 w 1190625"/>
                <a:gd name="connsiteY138" fmla="*/ 496253 h 799147"/>
                <a:gd name="connsiteX139" fmla="*/ 1039178 w 1190625"/>
                <a:gd name="connsiteY139" fmla="*/ 553403 h 799147"/>
                <a:gd name="connsiteX140" fmla="*/ 1054418 w 1190625"/>
                <a:gd name="connsiteY140" fmla="*/ 568643 h 799147"/>
                <a:gd name="connsiteX141" fmla="*/ 1068705 w 1190625"/>
                <a:gd name="connsiteY141" fmla="*/ 568643 h 799147"/>
                <a:gd name="connsiteX142" fmla="*/ 1083945 w 1190625"/>
                <a:gd name="connsiteY142" fmla="*/ 592455 h 799147"/>
                <a:gd name="connsiteX143" fmla="*/ 1096328 w 1190625"/>
                <a:gd name="connsiteY143" fmla="*/ 580072 h 799147"/>
                <a:gd name="connsiteX144" fmla="*/ 1126807 w 1190625"/>
                <a:gd name="connsiteY144" fmla="*/ 582930 h 799147"/>
                <a:gd name="connsiteX145" fmla="*/ 1132523 w 1190625"/>
                <a:gd name="connsiteY145" fmla="*/ 604838 h 799147"/>
                <a:gd name="connsiteX146" fmla="*/ 1159193 w 1190625"/>
                <a:gd name="connsiteY146" fmla="*/ 623888 h 799147"/>
                <a:gd name="connsiteX147" fmla="*/ 1162050 w 1190625"/>
                <a:gd name="connsiteY147" fmla="*/ 643890 h 799147"/>
                <a:gd name="connsiteX148" fmla="*/ 1174432 w 1190625"/>
                <a:gd name="connsiteY148" fmla="*/ 646747 h 799147"/>
                <a:gd name="connsiteX149" fmla="*/ 1189673 w 1190625"/>
                <a:gd name="connsiteY149" fmla="*/ 659130 h 799147"/>
                <a:gd name="connsiteX150" fmla="*/ 1190625 w 1190625"/>
                <a:gd name="connsiteY150" fmla="*/ 692468 h 799147"/>
                <a:gd name="connsiteX151" fmla="*/ 1177290 w 1190625"/>
                <a:gd name="connsiteY151" fmla="*/ 698182 h 799147"/>
                <a:gd name="connsiteX152" fmla="*/ 1183957 w 1190625"/>
                <a:gd name="connsiteY152" fmla="*/ 720090 h 799147"/>
                <a:gd name="connsiteX153" fmla="*/ 1177290 w 1190625"/>
                <a:gd name="connsiteY153" fmla="*/ 737235 h 799147"/>
                <a:gd name="connsiteX154" fmla="*/ 1180148 w 1190625"/>
                <a:gd name="connsiteY154" fmla="*/ 768668 h 799147"/>
                <a:gd name="connsiteX155" fmla="*/ 1148715 w 1190625"/>
                <a:gd name="connsiteY155" fmla="*/ 762000 h 799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1190625" h="799147">
                  <a:moveTo>
                    <a:pt x="1148715" y="762000"/>
                  </a:moveTo>
                  <a:lnTo>
                    <a:pt x="1132523" y="778193"/>
                  </a:lnTo>
                  <a:lnTo>
                    <a:pt x="1100138" y="769620"/>
                  </a:lnTo>
                  <a:lnTo>
                    <a:pt x="1073468" y="762953"/>
                  </a:lnTo>
                  <a:lnTo>
                    <a:pt x="1032510" y="768668"/>
                  </a:lnTo>
                  <a:lnTo>
                    <a:pt x="994410" y="768668"/>
                  </a:lnTo>
                  <a:lnTo>
                    <a:pt x="979170" y="783907"/>
                  </a:lnTo>
                  <a:lnTo>
                    <a:pt x="937260" y="799147"/>
                  </a:lnTo>
                  <a:lnTo>
                    <a:pt x="895350" y="790575"/>
                  </a:lnTo>
                  <a:lnTo>
                    <a:pt x="877253" y="756285"/>
                  </a:lnTo>
                  <a:lnTo>
                    <a:pt x="857250" y="736282"/>
                  </a:lnTo>
                  <a:cubicBezTo>
                    <a:pt x="857250" y="736282"/>
                    <a:pt x="833438" y="721995"/>
                    <a:pt x="833438" y="716280"/>
                  </a:cubicBezTo>
                  <a:cubicBezTo>
                    <a:pt x="833438" y="710565"/>
                    <a:pt x="806768" y="689610"/>
                    <a:pt x="806768" y="689610"/>
                  </a:cubicBezTo>
                  <a:lnTo>
                    <a:pt x="772478" y="683895"/>
                  </a:lnTo>
                  <a:lnTo>
                    <a:pt x="758190" y="649605"/>
                  </a:lnTo>
                  <a:lnTo>
                    <a:pt x="725805" y="623888"/>
                  </a:lnTo>
                  <a:lnTo>
                    <a:pt x="702945" y="601028"/>
                  </a:lnTo>
                  <a:lnTo>
                    <a:pt x="671513" y="592455"/>
                  </a:lnTo>
                  <a:lnTo>
                    <a:pt x="660082" y="562928"/>
                  </a:lnTo>
                  <a:lnTo>
                    <a:pt x="631507" y="550545"/>
                  </a:lnTo>
                  <a:lnTo>
                    <a:pt x="614363" y="533400"/>
                  </a:lnTo>
                  <a:lnTo>
                    <a:pt x="558165" y="527685"/>
                  </a:lnTo>
                  <a:lnTo>
                    <a:pt x="528638" y="527685"/>
                  </a:lnTo>
                  <a:lnTo>
                    <a:pt x="494348" y="545782"/>
                  </a:lnTo>
                  <a:lnTo>
                    <a:pt x="452438" y="539115"/>
                  </a:lnTo>
                  <a:lnTo>
                    <a:pt x="420053" y="550545"/>
                  </a:lnTo>
                  <a:lnTo>
                    <a:pt x="384810" y="550545"/>
                  </a:lnTo>
                  <a:lnTo>
                    <a:pt x="337185" y="585788"/>
                  </a:lnTo>
                  <a:lnTo>
                    <a:pt x="314325" y="608647"/>
                  </a:lnTo>
                  <a:lnTo>
                    <a:pt x="294323" y="573405"/>
                  </a:lnTo>
                  <a:lnTo>
                    <a:pt x="284798" y="555307"/>
                  </a:lnTo>
                  <a:lnTo>
                    <a:pt x="260985" y="555307"/>
                  </a:lnTo>
                  <a:lnTo>
                    <a:pt x="254318" y="524828"/>
                  </a:lnTo>
                  <a:lnTo>
                    <a:pt x="241935" y="506730"/>
                  </a:lnTo>
                  <a:lnTo>
                    <a:pt x="262890" y="494347"/>
                  </a:lnTo>
                  <a:lnTo>
                    <a:pt x="262890" y="484822"/>
                  </a:lnTo>
                  <a:lnTo>
                    <a:pt x="251460" y="484822"/>
                  </a:lnTo>
                  <a:lnTo>
                    <a:pt x="232410" y="464820"/>
                  </a:lnTo>
                  <a:lnTo>
                    <a:pt x="217170" y="462915"/>
                  </a:lnTo>
                  <a:lnTo>
                    <a:pt x="220980" y="426720"/>
                  </a:lnTo>
                  <a:lnTo>
                    <a:pt x="211455" y="410528"/>
                  </a:lnTo>
                  <a:lnTo>
                    <a:pt x="201930" y="382905"/>
                  </a:lnTo>
                  <a:lnTo>
                    <a:pt x="179070" y="371475"/>
                  </a:lnTo>
                  <a:lnTo>
                    <a:pt x="162878" y="394335"/>
                  </a:lnTo>
                  <a:lnTo>
                    <a:pt x="145732" y="387668"/>
                  </a:lnTo>
                  <a:lnTo>
                    <a:pt x="144780" y="363855"/>
                  </a:lnTo>
                  <a:lnTo>
                    <a:pt x="133350" y="352425"/>
                  </a:lnTo>
                  <a:lnTo>
                    <a:pt x="117157" y="347663"/>
                  </a:lnTo>
                  <a:lnTo>
                    <a:pt x="100013" y="364807"/>
                  </a:lnTo>
                  <a:lnTo>
                    <a:pt x="91440" y="385763"/>
                  </a:lnTo>
                  <a:lnTo>
                    <a:pt x="62865" y="378143"/>
                  </a:lnTo>
                  <a:lnTo>
                    <a:pt x="53340" y="360045"/>
                  </a:lnTo>
                  <a:lnTo>
                    <a:pt x="70485" y="339090"/>
                  </a:lnTo>
                  <a:lnTo>
                    <a:pt x="60960" y="322897"/>
                  </a:lnTo>
                  <a:lnTo>
                    <a:pt x="41910" y="329565"/>
                  </a:lnTo>
                  <a:lnTo>
                    <a:pt x="17145" y="322897"/>
                  </a:lnTo>
                  <a:lnTo>
                    <a:pt x="0" y="305753"/>
                  </a:lnTo>
                  <a:lnTo>
                    <a:pt x="0" y="288607"/>
                  </a:lnTo>
                  <a:lnTo>
                    <a:pt x="24765" y="263843"/>
                  </a:lnTo>
                  <a:lnTo>
                    <a:pt x="52388" y="240982"/>
                  </a:lnTo>
                  <a:lnTo>
                    <a:pt x="80010" y="240982"/>
                  </a:lnTo>
                  <a:lnTo>
                    <a:pt x="92393" y="228600"/>
                  </a:lnTo>
                  <a:lnTo>
                    <a:pt x="107632" y="243840"/>
                  </a:lnTo>
                  <a:lnTo>
                    <a:pt x="128588" y="248603"/>
                  </a:lnTo>
                  <a:lnTo>
                    <a:pt x="138113" y="239078"/>
                  </a:lnTo>
                  <a:lnTo>
                    <a:pt x="166688" y="239078"/>
                  </a:lnTo>
                  <a:lnTo>
                    <a:pt x="178118" y="254318"/>
                  </a:lnTo>
                  <a:cubicBezTo>
                    <a:pt x="178118" y="254318"/>
                    <a:pt x="196215" y="256222"/>
                    <a:pt x="196215" y="254318"/>
                  </a:cubicBezTo>
                  <a:cubicBezTo>
                    <a:pt x="196215" y="252413"/>
                    <a:pt x="201930" y="233363"/>
                    <a:pt x="201930" y="233363"/>
                  </a:cubicBezTo>
                  <a:lnTo>
                    <a:pt x="237173" y="240030"/>
                  </a:lnTo>
                  <a:lnTo>
                    <a:pt x="249555" y="227647"/>
                  </a:lnTo>
                  <a:lnTo>
                    <a:pt x="275273" y="221932"/>
                  </a:lnTo>
                  <a:lnTo>
                    <a:pt x="299085" y="232410"/>
                  </a:lnTo>
                  <a:lnTo>
                    <a:pt x="328613" y="261938"/>
                  </a:lnTo>
                  <a:lnTo>
                    <a:pt x="351473" y="251460"/>
                  </a:lnTo>
                  <a:lnTo>
                    <a:pt x="377190" y="245745"/>
                  </a:lnTo>
                  <a:lnTo>
                    <a:pt x="388620" y="229553"/>
                  </a:lnTo>
                  <a:lnTo>
                    <a:pt x="407670" y="238125"/>
                  </a:lnTo>
                  <a:lnTo>
                    <a:pt x="421957" y="223838"/>
                  </a:lnTo>
                  <a:lnTo>
                    <a:pt x="438150" y="223838"/>
                  </a:lnTo>
                  <a:lnTo>
                    <a:pt x="453390" y="239078"/>
                  </a:lnTo>
                  <a:lnTo>
                    <a:pt x="509588" y="182880"/>
                  </a:lnTo>
                  <a:lnTo>
                    <a:pt x="540068" y="187643"/>
                  </a:lnTo>
                  <a:lnTo>
                    <a:pt x="540068" y="168593"/>
                  </a:lnTo>
                  <a:lnTo>
                    <a:pt x="578168" y="154305"/>
                  </a:lnTo>
                  <a:lnTo>
                    <a:pt x="605790" y="160020"/>
                  </a:lnTo>
                  <a:cubicBezTo>
                    <a:pt x="605790" y="160020"/>
                    <a:pt x="632460" y="143828"/>
                    <a:pt x="634365" y="141922"/>
                  </a:cubicBezTo>
                  <a:cubicBezTo>
                    <a:pt x="636270" y="140018"/>
                    <a:pt x="632460" y="112395"/>
                    <a:pt x="632460" y="112395"/>
                  </a:cubicBezTo>
                  <a:lnTo>
                    <a:pt x="678180" y="84772"/>
                  </a:lnTo>
                  <a:lnTo>
                    <a:pt x="721043" y="49530"/>
                  </a:lnTo>
                  <a:lnTo>
                    <a:pt x="732473" y="56197"/>
                  </a:lnTo>
                  <a:lnTo>
                    <a:pt x="750570" y="47625"/>
                  </a:lnTo>
                  <a:lnTo>
                    <a:pt x="765810" y="27622"/>
                  </a:lnTo>
                  <a:lnTo>
                    <a:pt x="788670" y="24765"/>
                  </a:lnTo>
                  <a:lnTo>
                    <a:pt x="808673" y="4763"/>
                  </a:lnTo>
                  <a:lnTo>
                    <a:pt x="834390" y="0"/>
                  </a:lnTo>
                  <a:lnTo>
                    <a:pt x="860107" y="14288"/>
                  </a:lnTo>
                  <a:lnTo>
                    <a:pt x="850582" y="39053"/>
                  </a:lnTo>
                  <a:cubicBezTo>
                    <a:pt x="850582" y="39053"/>
                    <a:pt x="853440" y="58103"/>
                    <a:pt x="851535" y="58103"/>
                  </a:cubicBezTo>
                  <a:cubicBezTo>
                    <a:pt x="849630" y="58103"/>
                    <a:pt x="834390" y="81915"/>
                    <a:pt x="834390" y="81915"/>
                  </a:cubicBezTo>
                  <a:lnTo>
                    <a:pt x="834390" y="125730"/>
                  </a:lnTo>
                  <a:lnTo>
                    <a:pt x="824865" y="124778"/>
                  </a:lnTo>
                  <a:lnTo>
                    <a:pt x="817245" y="143828"/>
                  </a:lnTo>
                  <a:lnTo>
                    <a:pt x="832485" y="169545"/>
                  </a:lnTo>
                  <a:lnTo>
                    <a:pt x="832485" y="188595"/>
                  </a:lnTo>
                  <a:lnTo>
                    <a:pt x="815340" y="198120"/>
                  </a:lnTo>
                  <a:lnTo>
                    <a:pt x="804863" y="221932"/>
                  </a:lnTo>
                  <a:lnTo>
                    <a:pt x="822960" y="243840"/>
                  </a:lnTo>
                  <a:lnTo>
                    <a:pt x="857250" y="248603"/>
                  </a:lnTo>
                  <a:lnTo>
                    <a:pt x="869632" y="238125"/>
                  </a:lnTo>
                  <a:lnTo>
                    <a:pt x="891540" y="230505"/>
                  </a:lnTo>
                  <a:lnTo>
                    <a:pt x="930593" y="283845"/>
                  </a:lnTo>
                  <a:lnTo>
                    <a:pt x="947738" y="268605"/>
                  </a:lnTo>
                  <a:lnTo>
                    <a:pt x="964882" y="269557"/>
                  </a:lnTo>
                  <a:lnTo>
                    <a:pt x="990600" y="231457"/>
                  </a:lnTo>
                  <a:lnTo>
                    <a:pt x="1017270" y="221932"/>
                  </a:lnTo>
                  <a:lnTo>
                    <a:pt x="1026795" y="212407"/>
                  </a:lnTo>
                  <a:lnTo>
                    <a:pt x="1021080" y="185738"/>
                  </a:lnTo>
                  <a:lnTo>
                    <a:pt x="1028700" y="163830"/>
                  </a:lnTo>
                  <a:lnTo>
                    <a:pt x="1056323" y="159068"/>
                  </a:lnTo>
                  <a:lnTo>
                    <a:pt x="1071563" y="143828"/>
                  </a:lnTo>
                  <a:lnTo>
                    <a:pt x="1086803" y="117157"/>
                  </a:lnTo>
                  <a:lnTo>
                    <a:pt x="1113473" y="114300"/>
                  </a:lnTo>
                  <a:lnTo>
                    <a:pt x="1138238" y="139065"/>
                  </a:lnTo>
                  <a:lnTo>
                    <a:pt x="1145857" y="181928"/>
                  </a:lnTo>
                  <a:lnTo>
                    <a:pt x="1171575" y="200025"/>
                  </a:lnTo>
                  <a:lnTo>
                    <a:pt x="1161098" y="235268"/>
                  </a:lnTo>
                  <a:lnTo>
                    <a:pt x="1115378" y="252413"/>
                  </a:lnTo>
                  <a:lnTo>
                    <a:pt x="1090613" y="251460"/>
                  </a:lnTo>
                  <a:lnTo>
                    <a:pt x="1079182" y="266700"/>
                  </a:lnTo>
                  <a:lnTo>
                    <a:pt x="1107757" y="295275"/>
                  </a:lnTo>
                  <a:lnTo>
                    <a:pt x="1108710" y="314325"/>
                  </a:lnTo>
                  <a:lnTo>
                    <a:pt x="1082993" y="342900"/>
                  </a:lnTo>
                  <a:lnTo>
                    <a:pt x="1080135" y="383857"/>
                  </a:lnTo>
                  <a:lnTo>
                    <a:pt x="1049655" y="404813"/>
                  </a:lnTo>
                  <a:lnTo>
                    <a:pt x="1048703" y="423863"/>
                  </a:lnTo>
                  <a:lnTo>
                    <a:pt x="1029653" y="446722"/>
                  </a:lnTo>
                  <a:lnTo>
                    <a:pt x="1046798" y="472440"/>
                  </a:lnTo>
                  <a:lnTo>
                    <a:pt x="1033463" y="496253"/>
                  </a:lnTo>
                  <a:lnTo>
                    <a:pt x="1039178" y="553403"/>
                  </a:lnTo>
                  <a:lnTo>
                    <a:pt x="1054418" y="568643"/>
                  </a:lnTo>
                  <a:lnTo>
                    <a:pt x="1068705" y="568643"/>
                  </a:lnTo>
                  <a:lnTo>
                    <a:pt x="1083945" y="592455"/>
                  </a:lnTo>
                  <a:lnTo>
                    <a:pt x="1096328" y="580072"/>
                  </a:lnTo>
                  <a:lnTo>
                    <a:pt x="1126807" y="582930"/>
                  </a:lnTo>
                  <a:lnTo>
                    <a:pt x="1132523" y="604838"/>
                  </a:lnTo>
                  <a:lnTo>
                    <a:pt x="1159193" y="623888"/>
                  </a:lnTo>
                  <a:lnTo>
                    <a:pt x="1162050" y="643890"/>
                  </a:lnTo>
                  <a:lnTo>
                    <a:pt x="1174432" y="646747"/>
                  </a:lnTo>
                  <a:lnTo>
                    <a:pt x="1189673" y="659130"/>
                  </a:lnTo>
                  <a:lnTo>
                    <a:pt x="1190625" y="692468"/>
                  </a:lnTo>
                  <a:lnTo>
                    <a:pt x="1177290" y="698182"/>
                  </a:lnTo>
                  <a:lnTo>
                    <a:pt x="1183957" y="720090"/>
                  </a:lnTo>
                  <a:lnTo>
                    <a:pt x="1177290" y="737235"/>
                  </a:lnTo>
                  <a:lnTo>
                    <a:pt x="1180148" y="768668"/>
                  </a:lnTo>
                  <a:lnTo>
                    <a:pt x="1148715" y="76200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1" name="Полилиния: фигура 130">
              <a:extLst>
                <a:ext uri="{FF2B5EF4-FFF2-40B4-BE49-F238E27FC236}">
                  <a16:creationId xmlns:a16="http://schemas.microsoft.com/office/drawing/2014/main" id="{A61F53BB-CB92-48D8-A77E-A60DF93139B3}"/>
                </a:ext>
              </a:extLst>
            </p:cNvPr>
            <p:cNvSpPr/>
            <p:nvPr/>
          </p:nvSpPr>
          <p:spPr>
            <a:xfrm>
              <a:off x="7992279" y="5386773"/>
              <a:ext cx="202671" cy="153868"/>
            </a:xfrm>
            <a:custGeom>
              <a:avLst/>
              <a:gdLst>
                <a:gd name="connsiteX0" fmla="*/ 288607 w 314325"/>
                <a:gd name="connsiteY0" fmla="*/ 47625 h 274320"/>
                <a:gd name="connsiteX1" fmla="*/ 254318 w 314325"/>
                <a:gd name="connsiteY1" fmla="*/ 65722 h 274320"/>
                <a:gd name="connsiteX2" fmla="*/ 245745 w 314325"/>
                <a:gd name="connsiteY2" fmla="*/ 94297 h 274320"/>
                <a:gd name="connsiteX3" fmla="*/ 222885 w 314325"/>
                <a:gd name="connsiteY3" fmla="*/ 131445 h 274320"/>
                <a:gd name="connsiteX4" fmla="*/ 197168 w 314325"/>
                <a:gd name="connsiteY4" fmla="*/ 163830 h 274320"/>
                <a:gd name="connsiteX5" fmla="*/ 208597 w 314325"/>
                <a:gd name="connsiteY5" fmla="*/ 199072 h 274320"/>
                <a:gd name="connsiteX6" fmla="*/ 179070 w 314325"/>
                <a:gd name="connsiteY6" fmla="*/ 222885 h 274320"/>
                <a:gd name="connsiteX7" fmla="*/ 149543 w 314325"/>
                <a:gd name="connsiteY7" fmla="*/ 240030 h 274320"/>
                <a:gd name="connsiteX8" fmla="*/ 123825 w 314325"/>
                <a:gd name="connsiteY8" fmla="*/ 248603 h 274320"/>
                <a:gd name="connsiteX9" fmla="*/ 117157 w 314325"/>
                <a:gd name="connsiteY9" fmla="*/ 274320 h 274320"/>
                <a:gd name="connsiteX10" fmla="*/ 90488 w 314325"/>
                <a:gd name="connsiteY10" fmla="*/ 274320 h 274320"/>
                <a:gd name="connsiteX11" fmla="*/ 63818 w 314325"/>
                <a:gd name="connsiteY11" fmla="*/ 259080 h 274320"/>
                <a:gd name="connsiteX12" fmla="*/ 43815 w 314325"/>
                <a:gd name="connsiteY12" fmla="*/ 252413 h 274320"/>
                <a:gd name="connsiteX13" fmla="*/ 43815 w 314325"/>
                <a:gd name="connsiteY13" fmla="*/ 220028 h 274320"/>
                <a:gd name="connsiteX14" fmla="*/ 20955 w 314325"/>
                <a:gd name="connsiteY14" fmla="*/ 200025 h 274320"/>
                <a:gd name="connsiteX15" fmla="*/ 2857 w 314325"/>
                <a:gd name="connsiteY15" fmla="*/ 181928 h 274320"/>
                <a:gd name="connsiteX16" fmla="*/ 0 w 314325"/>
                <a:gd name="connsiteY16" fmla="*/ 150495 h 274320"/>
                <a:gd name="connsiteX17" fmla="*/ 6668 w 314325"/>
                <a:gd name="connsiteY17" fmla="*/ 134303 h 274320"/>
                <a:gd name="connsiteX18" fmla="*/ 0 w 314325"/>
                <a:gd name="connsiteY18" fmla="*/ 112395 h 274320"/>
                <a:gd name="connsiteX19" fmla="*/ 13335 w 314325"/>
                <a:gd name="connsiteY19" fmla="*/ 106680 h 274320"/>
                <a:gd name="connsiteX20" fmla="*/ 28575 w 314325"/>
                <a:gd name="connsiteY20" fmla="*/ 109538 h 274320"/>
                <a:gd name="connsiteX21" fmla="*/ 43815 w 314325"/>
                <a:gd name="connsiteY21" fmla="*/ 86678 h 274320"/>
                <a:gd name="connsiteX22" fmla="*/ 57150 w 314325"/>
                <a:gd name="connsiteY22" fmla="*/ 73343 h 274320"/>
                <a:gd name="connsiteX23" fmla="*/ 54293 w 314325"/>
                <a:gd name="connsiteY23" fmla="*/ 43815 h 274320"/>
                <a:gd name="connsiteX24" fmla="*/ 77152 w 314325"/>
                <a:gd name="connsiteY24" fmla="*/ 40958 h 274320"/>
                <a:gd name="connsiteX25" fmla="*/ 100965 w 314325"/>
                <a:gd name="connsiteY25" fmla="*/ 44768 h 274320"/>
                <a:gd name="connsiteX26" fmla="*/ 133350 w 314325"/>
                <a:gd name="connsiteY26" fmla="*/ 29528 h 274320"/>
                <a:gd name="connsiteX27" fmla="*/ 156210 w 314325"/>
                <a:gd name="connsiteY27" fmla="*/ 40005 h 274320"/>
                <a:gd name="connsiteX28" fmla="*/ 183832 w 314325"/>
                <a:gd name="connsiteY28" fmla="*/ 73343 h 274320"/>
                <a:gd name="connsiteX29" fmla="*/ 201930 w 314325"/>
                <a:gd name="connsiteY29" fmla="*/ 48578 h 274320"/>
                <a:gd name="connsiteX30" fmla="*/ 240982 w 314325"/>
                <a:gd name="connsiteY30" fmla="*/ 40005 h 274320"/>
                <a:gd name="connsiteX31" fmla="*/ 255270 w 314325"/>
                <a:gd name="connsiteY31" fmla="*/ 13335 h 274320"/>
                <a:gd name="connsiteX32" fmla="*/ 283845 w 314325"/>
                <a:gd name="connsiteY32" fmla="*/ 9525 h 274320"/>
                <a:gd name="connsiteX33" fmla="*/ 307657 w 314325"/>
                <a:gd name="connsiteY33" fmla="*/ 0 h 274320"/>
                <a:gd name="connsiteX34" fmla="*/ 304800 w 314325"/>
                <a:gd name="connsiteY34" fmla="*/ 22860 h 274320"/>
                <a:gd name="connsiteX35" fmla="*/ 314325 w 314325"/>
                <a:gd name="connsiteY35" fmla="*/ 32385 h 274320"/>
                <a:gd name="connsiteX36" fmla="*/ 311468 w 314325"/>
                <a:gd name="connsiteY36" fmla="*/ 48578 h 274320"/>
                <a:gd name="connsiteX37" fmla="*/ 288607 w 314325"/>
                <a:gd name="connsiteY37" fmla="*/ 48578 h 274320"/>
                <a:gd name="connsiteX38" fmla="*/ 288607 w 314325"/>
                <a:gd name="connsiteY38" fmla="*/ 47625 h 27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14325" h="274320">
                  <a:moveTo>
                    <a:pt x="288607" y="47625"/>
                  </a:moveTo>
                  <a:lnTo>
                    <a:pt x="254318" y="65722"/>
                  </a:lnTo>
                  <a:lnTo>
                    <a:pt x="245745" y="94297"/>
                  </a:lnTo>
                  <a:lnTo>
                    <a:pt x="222885" y="131445"/>
                  </a:lnTo>
                  <a:lnTo>
                    <a:pt x="197168" y="163830"/>
                  </a:lnTo>
                  <a:lnTo>
                    <a:pt x="208597" y="199072"/>
                  </a:lnTo>
                  <a:lnTo>
                    <a:pt x="179070" y="222885"/>
                  </a:lnTo>
                  <a:lnTo>
                    <a:pt x="149543" y="240030"/>
                  </a:lnTo>
                  <a:lnTo>
                    <a:pt x="123825" y="248603"/>
                  </a:lnTo>
                  <a:lnTo>
                    <a:pt x="117157" y="274320"/>
                  </a:lnTo>
                  <a:lnTo>
                    <a:pt x="90488" y="274320"/>
                  </a:lnTo>
                  <a:lnTo>
                    <a:pt x="63818" y="259080"/>
                  </a:lnTo>
                  <a:lnTo>
                    <a:pt x="43815" y="252413"/>
                  </a:lnTo>
                  <a:lnTo>
                    <a:pt x="43815" y="220028"/>
                  </a:lnTo>
                  <a:lnTo>
                    <a:pt x="20955" y="200025"/>
                  </a:lnTo>
                  <a:lnTo>
                    <a:pt x="2857" y="181928"/>
                  </a:lnTo>
                  <a:lnTo>
                    <a:pt x="0" y="150495"/>
                  </a:lnTo>
                  <a:lnTo>
                    <a:pt x="6668" y="134303"/>
                  </a:lnTo>
                  <a:lnTo>
                    <a:pt x="0" y="112395"/>
                  </a:lnTo>
                  <a:lnTo>
                    <a:pt x="13335" y="106680"/>
                  </a:lnTo>
                  <a:lnTo>
                    <a:pt x="28575" y="109538"/>
                  </a:lnTo>
                  <a:lnTo>
                    <a:pt x="43815" y="86678"/>
                  </a:lnTo>
                  <a:lnTo>
                    <a:pt x="57150" y="73343"/>
                  </a:lnTo>
                  <a:lnTo>
                    <a:pt x="54293" y="43815"/>
                  </a:lnTo>
                  <a:lnTo>
                    <a:pt x="77152" y="40958"/>
                  </a:lnTo>
                  <a:lnTo>
                    <a:pt x="100965" y="44768"/>
                  </a:lnTo>
                  <a:lnTo>
                    <a:pt x="133350" y="29528"/>
                  </a:lnTo>
                  <a:lnTo>
                    <a:pt x="156210" y="40005"/>
                  </a:lnTo>
                  <a:lnTo>
                    <a:pt x="183832" y="73343"/>
                  </a:lnTo>
                  <a:lnTo>
                    <a:pt x="201930" y="48578"/>
                  </a:lnTo>
                  <a:cubicBezTo>
                    <a:pt x="201930" y="48578"/>
                    <a:pt x="239077" y="41910"/>
                    <a:pt x="240982" y="40005"/>
                  </a:cubicBezTo>
                  <a:cubicBezTo>
                    <a:pt x="242888" y="38100"/>
                    <a:pt x="255270" y="13335"/>
                    <a:pt x="255270" y="13335"/>
                  </a:cubicBezTo>
                  <a:lnTo>
                    <a:pt x="283845" y="9525"/>
                  </a:lnTo>
                  <a:lnTo>
                    <a:pt x="307657" y="0"/>
                  </a:lnTo>
                  <a:lnTo>
                    <a:pt x="304800" y="22860"/>
                  </a:lnTo>
                  <a:lnTo>
                    <a:pt x="314325" y="32385"/>
                  </a:lnTo>
                  <a:lnTo>
                    <a:pt x="311468" y="48578"/>
                  </a:lnTo>
                  <a:lnTo>
                    <a:pt x="288607" y="48578"/>
                  </a:lnTo>
                  <a:lnTo>
                    <a:pt x="288607" y="4762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2" name="Полилиния: фигура 131">
              <a:extLst>
                <a:ext uri="{FF2B5EF4-FFF2-40B4-BE49-F238E27FC236}">
                  <a16:creationId xmlns:a16="http://schemas.microsoft.com/office/drawing/2014/main" id="{ECFD9C2F-D480-4366-834D-CEDB3899C505}"/>
                </a:ext>
              </a:extLst>
            </p:cNvPr>
            <p:cNvSpPr/>
            <p:nvPr/>
          </p:nvSpPr>
          <p:spPr>
            <a:xfrm>
              <a:off x="8183281" y="5299154"/>
              <a:ext cx="253032" cy="555099"/>
            </a:xfrm>
            <a:custGeom>
              <a:avLst/>
              <a:gdLst>
                <a:gd name="connsiteX0" fmla="*/ 348615 w 392430"/>
                <a:gd name="connsiteY0" fmla="*/ 112395 h 989647"/>
                <a:gd name="connsiteX1" fmla="*/ 363855 w 392430"/>
                <a:gd name="connsiteY1" fmla="*/ 153353 h 989647"/>
                <a:gd name="connsiteX2" fmla="*/ 375285 w 392430"/>
                <a:gd name="connsiteY2" fmla="*/ 198120 h 989647"/>
                <a:gd name="connsiteX3" fmla="*/ 383857 w 392430"/>
                <a:gd name="connsiteY3" fmla="*/ 239078 h 989647"/>
                <a:gd name="connsiteX4" fmla="*/ 392430 w 392430"/>
                <a:gd name="connsiteY4" fmla="*/ 294322 h 989647"/>
                <a:gd name="connsiteX5" fmla="*/ 392430 w 392430"/>
                <a:gd name="connsiteY5" fmla="*/ 347663 h 989647"/>
                <a:gd name="connsiteX6" fmla="*/ 383857 w 392430"/>
                <a:gd name="connsiteY6" fmla="*/ 376238 h 989647"/>
                <a:gd name="connsiteX7" fmla="*/ 383857 w 392430"/>
                <a:gd name="connsiteY7" fmla="*/ 431482 h 989647"/>
                <a:gd name="connsiteX8" fmla="*/ 383857 w 392430"/>
                <a:gd name="connsiteY8" fmla="*/ 499110 h 989647"/>
                <a:gd name="connsiteX9" fmla="*/ 375285 w 392430"/>
                <a:gd name="connsiteY9" fmla="*/ 549593 h 989647"/>
                <a:gd name="connsiteX10" fmla="*/ 383857 w 392430"/>
                <a:gd name="connsiteY10" fmla="*/ 601980 h 989647"/>
                <a:gd name="connsiteX11" fmla="*/ 381000 w 392430"/>
                <a:gd name="connsiteY11" fmla="*/ 669607 h 989647"/>
                <a:gd name="connsiteX12" fmla="*/ 381000 w 392430"/>
                <a:gd name="connsiteY12" fmla="*/ 701993 h 989647"/>
                <a:gd name="connsiteX13" fmla="*/ 352425 w 392430"/>
                <a:gd name="connsiteY13" fmla="*/ 748665 h 989647"/>
                <a:gd name="connsiteX14" fmla="*/ 334328 w 392430"/>
                <a:gd name="connsiteY14" fmla="*/ 787718 h 989647"/>
                <a:gd name="connsiteX15" fmla="*/ 313373 w 392430"/>
                <a:gd name="connsiteY15" fmla="*/ 827722 h 989647"/>
                <a:gd name="connsiteX16" fmla="*/ 294323 w 392430"/>
                <a:gd name="connsiteY16" fmla="*/ 827722 h 989647"/>
                <a:gd name="connsiteX17" fmla="*/ 259080 w 392430"/>
                <a:gd name="connsiteY17" fmla="*/ 842010 h 989647"/>
                <a:gd name="connsiteX18" fmla="*/ 229553 w 392430"/>
                <a:gd name="connsiteY18" fmla="*/ 859155 h 989647"/>
                <a:gd name="connsiteX19" fmla="*/ 209550 w 392430"/>
                <a:gd name="connsiteY19" fmla="*/ 850582 h 989647"/>
                <a:gd name="connsiteX20" fmla="*/ 209550 w 392430"/>
                <a:gd name="connsiteY20" fmla="*/ 831532 h 989647"/>
                <a:gd name="connsiteX21" fmla="*/ 199073 w 392430"/>
                <a:gd name="connsiteY21" fmla="*/ 821055 h 989647"/>
                <a:gd name="connsiteX22" fmla="*/ 187643 w 392430"/>
                <a:gd name="connsiteY22" fmla="*/ 844868 h 989647"/>
                <a:gd name="connsiteX23" fmla="*/ 187643 w 392430"/>
                <a:gd name="connsiteY23" fmla="*/ 870585 h 989647"/>
                <a:gd name="connsiteX24" fmla="*/ 176213 w 392430"/>
                <a:gd name="connsiteY24" fmla="*/ 859155 h 989647"/>
                <a:gd name="connsiteX25" fmla="*/ 158115 w 392430"/>
                <a:gd name="connsiteY25" fmla="*/ 840105 h 989647"/>
                <a:gd name="connsiteX26" fmla="*/ 158115 w 392430"/>
                <a:gd name="connsiteY26" fmla="*/ 854393 h 989647"/>
                <a:gd name="connsiteX27" fmla="*/ 152400 w 392430"/>
                <a:gd name="connsiteY27" fmla="*/ 889635 h 989647"/>
                <a:gd name="connsiteX28" fmla="*/ 158115 w 392430"/>
                <a:gd name="connsiteY28" fmla="*/ 913447 h 989647"/>
                <a:gd name="connsiteX29" fmla="*/ 149543 w 392430"/>
                <a:gd name="connsiteY29" fmla="*/ 941070 h 989647"/>
                <a:gd name="connsiteX30" fmla="*/ 138113 w 392430"/>
                <a:gd name="connsiteY30" fmla="*/ 953453 h 989647"/>
                <a:gd name="connsiteX31" fmla="*/ 138113 w 392430"/>
                <a:gd name="connsiteY31" fmla="*/ 967740 h 989647"/>
                <a:gd name="connsiteX32" fmla="*/ 138113 w 392430"/>
                <a:gd name="connsiteY32" fmla="*/ 989648 h 989647"/>
                <a:gd name="connsiteX33" fmla="*/ 111443 w 392430"/>
                <a:gd name="connsiteY33" fmla="*/ 988695 h 989647"/>
                <a:gd name="connsiteX34" fmla="*/ 100013 w 392430"/>
                <a:gd name="connsiteY34" fmla="*/ 977265 h 989647"/>
                <a:gd name="connsiteX35" fmla="*/ 109538 w 392430"/>
                <a:gd name="connsiteY35" fmla="*/ 944880 h 989647"/>
                <a:gd name="connsiteX36" fmla="*/ 126682 w 392430"/>
                <a:gd name="connsiteY36" fmla="*/ 910590 h 989647"/>
                <a:gd name="connsiteX37" fmla="*/ 126682 w 392430"/>
                <a:gd name="connsiteY37" fmla="*/ 882968 h 989647"/>
                <a:gd name="connsiteX38" fmla="*/ 111443 w 392430"/>
                <a:gd name="connsiteY38" fmla="*/ 849630 h 989647"/>
                <a:gd name="connsiteX39" fmla="*/ 81915 w 392430"/>
                <a:gd name="connsiteY39" fmla="*/ 819150 h 989647"/>
                <a:gd name="connsiteX40" fmla="*/ 65723 w 392430"/>
                <a:gd name="connsiteY40" fmla="*/ 803910 h 989647"/>
                <a:gd name="connsiteX41" fmla="*/ 53340 w 392430"/>
                <a:gd name="connsiteY41" fmla="*/ 771525 h 989647"/>
                <a:gd name="connsiteX42" fmla="*/ 26670 w 392430"/>
                <a:gd name="connsiteY42" fmla="*/ 744855 h 989647"/>
                <a:gd name="connsiteX43" fmla="*/ 953 w 392430"/>
                <a:gd name="connsiteY43" fmla="*/ 736282 h 989647"/>
                <a:gd name="connsiteX44" fmla="*/ 0 w 392430"/>
                <a:gd name="connsiteY44" fmla="*/ 708660 h 989647"/>
                <a:gd name="connsiteX45" fmla="*/ 18098 w 392430"/>
                <a:gd name="connsiteY45" fmla="*/ 690563 h 989647"/>
                <a:gd name="connsiteX46" fmla="*/ 33338 w 392430"/>
                <a:gd name="connsiteY46" fmla="*/ 675322 h 989647"/>
                <a:gd name="connsiteX47" fmla="*/ 33338 w 392430"/>
                <a:gd name="connsiteY47" fmla="*/ 646747 h 989647"/>
                <a:gd name="connsiteX48" fmla="*/ 53340 w 392430"/>
                <a:gd name="connsiteY48" fmla="*/ 627697 h 989647"/>
                <a:gd name="connsiteX49" fmla="*/ 76200 w 392430"/>
                <a:gd name="connsiteY49" fmla="*/ 616268 h 989647"/>
                <a:gd name="connsiteX50" fmla="*/ 99060 w 392430"/>
                <a:gd name="connsiteY50" fmla="*/ 623888 h 989647"/>
                <a:gd name="connsiteX51" fmla="*/ 120015 w 392430"/>
                <a:gd name="connsiteY51" fmla="*/ 602932 h 989647"/>
                <a:gd name="connsiteX52" fmla="*/ 132398 w 392430"/>
                <a:gd name="connsiteY52" fmla="*/ 578168 h 989647"/>
                <a:gd name="connsiteX53" fmla="*/ 109538 w 392430"/>
                <a:gd name="connsiteY53" fmla="*/ 542925 h 989647"/>
                <a:gd name="connsiteX54" fmla="*/ 120968 w 392430"/>
                <a:gd name="connsiteY54" fmla="*/ 513397 h 989647"/>
                <a:gd name="connsiteX55" fmla="*/ 106680 w 392430"/>
                <a:gd name="connsiteY55" fmla="*/ 481965 h 989647"/>
                <a:gd name="connsiteX56" fmla="*/ 103823 w 392430"/>
                <a:gd name="connsiteY56" fmla="*/ 449580 h 989647"/>
                <a:gd name="connsiteX57" fmla="*/ 84773 w 392430"/>
                <a:gd name="connsiteY57" fmla="*/ 422910 h 989647"/>
                <a:gd name="connsiteX58" fmla="*/ 89535 w 392430"/>
                <a:gd name="connsiteY58" fmla="*/ 400050 h 989647"/>
                <a:gd name="connsiteX59" fmla="*/ 74295 w 392430"/>
                <a:gd name="connsiteY59" fmla="*/ 373380 h 989647"/>
                <a:gd name="connsiteX60" fmla="*/ 101918 w 392430"/>
                <a:gd name="connsiteY60" fmla="*/ 369570 h 989647"/>
                <a:gd name="connsiteX61" fmla="*/ 101918 w 392430"/>
                <a:gd name="connsiteY61" fmla="*/ 358140 h 989647"/>
                <a:gd name="connsiteX62" fmla="*/ 86678 w 392430"/>
                <a:gd name="connsiteY62" fmla="*/ 342900 h 989647"/>
                <a:gd name="connsiteX63" fmla="*/ 90488 w 392430"/>
                <a:gd name="connsiteY63" fmla="*/ 315278 h 989647"/>
                <a:gd name="connsiteX64" fmla="*/ 115253 w 392430"/>
                <a:gd name="connsiteY64" fmla="*/ 281940 h 989647"/>
                <a:gd name="connsiteX65" fmla="*/ 134303 w 392430"/>
                <a:gd name="connsiteY65" fmla="*/ 287655 h 989647"/>
                <a:gd name="connsiteX66" fmla="*/ 140018 w 392430"/>
                <a:gd name="connsiteY66" fmla="*/ 293370 h 989647"/>
                <a:gd name="connsiteX67" fmla="*/ 160020 w 392430"/>
                <a:gd name="connsiteY67" fmla="*/ 292418 h 989647"/>
                <a:gd name="connsiteX68" fmla="*/ 166688 w 392430"/>
                <a:gd name="connsiteY68" fmla="*/ 282893 h 989647"/>
                <a:gd name="connsiteX69" fmla="*/ 195263 w 392430"/>
                <a:gd name="connsiteY69" fmla="*/ 286703 h 989647"/>
                <a:gd name="connsiteX70" fmla="*/ 197168 w 392430"/>
                <a:gd name="connsiteY70" fmla="*/ 278130 h 989647"/>
                <a:gd name="connsiteX71" fmla="*/ 226695 w 392430"/>
                <a:gd name="connsiteY71" fmla="*/ 273368 h 989647"/>
                <a:gd name="connsiteX72" fmla="*/ 248603 w 392430"/>
                <a:gd name="connsiteY72" fmla="*/ 245745 h 989647"/>
                <a:gd name="connsiteX73" fmla="*/ 248603 w 392430"/>
                <a:gd name="connsiteY73" fmla="*/ 205740 h 989647"/>
                <a:gd name="connsiteX74" fmla="*/ 232410 w 392430"/>
                <a:gd name="connsiteY74" fmla="*/ 200978 h 989647"/>
                <a:gd name="connsiteX75" fmla="*/ 237173 w 392430"/>
                <a:gd name="connsiteY75" fmla="*/ 177165 h 989647"/>
                <a:gd name="connsiteX76" fmla="*/ 270510 w 392430"/>
                <a:gd name="connsiteY76" fmla="*/ 164782 h 989647"/>
                <a:gd name="connsiteX77" fmla="*/ 279082 w 392430"/>
                <a:gd name="connsiteY77" fmla="*/ 144780 h 989647"/>
                <a:gd name="connsiteX78" fmla="*/ 281940 w 392430"/>
                <a:gd name="connsiteY78" fmla="*/ 117157 h 989647"/>
                <a:gd name="connsiteX79" fmla="*/ 271463 w 392430"/>
                <a:gd name="connsiteY79" fmla="*/ 90488 h 989647"/>
                <a:gd name="connsiteX80" fmla="*/ 260032 w 392430"/>
                <a:gd name="connsiteY80" fmla="*/ 87630 h 989647"/>
                <a:gd name="connsiteX81" fmla="*/ 251460 w 392430"/>
                <a:gd name="connsiteY81" fmla="*/ 104775 h 989647"/>
                <a:gd name="connsiteX82" fmla="*/ 227648 w 392430"/>
                <a:gd name="connsiteY82" fmla="*/ 107632 h 989647"/>
                <a:gd name="connsiteX83" fmla="*/ 220980 w 392430"/>
                <a:gd name="connsiteY83" fmla="*/ 87630 h 989647"/>
                <a:gd name="connsiteX84" fmla="*/ 195263 w 392430"/>
                <a:gd name="connsiteY84" fmla="*/ 83820 h 989647"/>
                <a:gd name="connsiteX85" fmla="*/ 190500 w 392430"/>
                <a:gd name="connsiteY85" fmla="*/ 64770 h 989647"/>
                <a:gd name="connsiteX86" fmla="*/ 219075 w 392430"/>
                <a:gd name="connsiteY86" fmla="*/ 41910 h 989647"/>
                <a:gd name="connsiteX87" fmla="*/ 228600 w 392430"/>
                <a:gd name="connsiteY87" fmla="*/ 2857 h 989647"/>
                <a:gd name="connsiteX88" fmla="*/ 245745 w 392430"/>
                <a:gd name="connsiteY88" fmla="*/ 0 h 989647"/>
                <a:gd name="connsiteX89" fmla="*/ 265748 w 392430"/>
                <a:gd name="connsiteY89" fmla="*/ 16193 h 989647"/>
                <a:gd name="connsiteX90" fmla="*/ 280988 w 392430"/>
                <a:gd name="connsiteY90" fmla="*/ 31432 h 989647"/>
                <a:gd name="connsiteX91" fmla="*/ 300990 w 392430"/>
                <a:gd name="connsiteY91" fmla="*/ 29528 h 989647"/>
                <a:gd name="connsiteX92" fmla="*/ 309563 w 392430"/>
                <a:gd name="connsiteY92" fmla="*/ 47625 h 989647"/>
                <a:gd name="connsiteX93" fmla="*/ 302895 w 392430"/>
                <a:gd name="connsiteY93" fmla="*/ 61913 h 989647"/>
                <a:gd name="connsiteX94" fmla="*/ 326707 w 392430"/>
                <a:gd name="connsiteY94" fmla="*/ 79057 h 989647"/>
                <a:gd name="connsiteX95" fmla="*/ 349568 w 392430"/>
                <a:gd name="connsiteY95" fmla="*/ 60007 h 989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92430" h="989647">
                  <a:moveTo>
                    <a:pt x="348615" y="112395"/>
                  </a:moveTo>
                  <a:lnTo>
                    <a:pt x="363855" y="153353"/>
                  </a:lnTo>
                  <a:lnTo>
                    <a:pt x="375285" y="198120"/>
                  </a:lnTo>
                  <a:lnTo>
                    <a:pt x="383857" y="239078"/>
                  </a:lnTo>
                  <a:lnTo>
                    <a:pt x="392430" y="294322"/>
                  </a:lnTo>
                  <a:lnTo>
                    <a:pt x="392430" y="347663"/>
                  </a:lnTo>
                  <a:lnTo>
                    <a:pt x="383857" y="376238"/>
                  </a:lnTo>
                  <a:lnTo>
                    <a:pt x="383857" y="431482"/>
                  </a:lnTo>
                  <a:lnTo>
                    <a:pt x="383857" y="499110"/>
                  </a:lnTo>
                  <a:lnTo>
                    <a:pt x="375285" y="549593"/>
                  </a:lnTo>
                  <a:lnTo>
                    <a:pt x="383857" y="601980"/>
                  </a:lnTo>
                  <a:lnTo>
                    <a:pt x="381000" y="669607"/>
                  </a:lnTo>
                  <a:lnTo>
                    <a:pt x="381000" y="701993"/>
                  </a:lnTo>
                  <a:lnTo>
                    <a:pt x="352425" y="748665"/>
                  </a:lnTo>
                  <a:lnTo>
                    <a:pt x="334328" y="787718"/>
                  </a:lnTo>
                  <a:lnTo>
                    <a:pt x="313373" y="827722"/>
                  </a:lnTo>
                  <a:lnTo>
                    <a:pt x="294323" y="827722"/>
                  </a:lnTo>
                  <a:lnTo>
                    <a:pt x="259080" y="842010"/>
                  </a:lnTo>
                  <a:lnTo>
                    <a:pt x="229553" y="859155"/>
                  </a:lnTo>
                  <a:lnTo>
                    <a:pt x="209550" y="850582"/>
                  </a:lnTo>
                  <a:lnTo>
                    <a:pt x="209550" y="831532"/>
                  </a:lnTo>
                  <a:lnTo>
                    <a:pt x="199073" y="821055"/>
                  </a:lnTo>
                  <a:lnTo>
                    <a:pt x="187643" y="844868"/>
                  </a:lnTo>
                  <a:lnTo>
                    <a:pt x="187643" y="870585"/>
                  </a:lnTo>
                  <a:lnTo>
                    <a:pt x="176213" y="859155"/>
                  </a:lnTo>
                  <a:lnTo>
                    <a:pt x="158115" y="840105"/>
                  </a:lnTo>
                  <a:lnTo>
                    <a:pt x="158115" y="854393"/>
                  </a:lnTo>
                  <a:lnTo>
                    <a:pt x="152400" y="889635"/>
                  </a:lnTo>
                  <a:lnTo>
                    <a:pt x="158115" y="913447"/>
                  </a:lnTo>
                  <a:lnTo>
                    <a:pt x="149543" y="941070"/>
                  </a:lnTo>
                  <a:lnTo>
                    <a:pt x="138113" y="953453"/>
                  </a:lnTo>
                  <a:lnTo>
                    <a:pt x="138113" y="967740"/>
                  </a:lnTo>
                  <a:lnTo>
                    <a:pt x="138113" y="989648"/>
                  </a:lnTo>
                  <a:lnTo>
                    <a:pt x="111443" y="988695"/>
                  </a:lnTo>
                  <a:lnTo>
                    <a:pt x="100013" y="977265"/>
                  </a:lnTo>
                  <a:lnTo>
                    <a:pt x="109538" y="944880"/>
                  </a:lnTo>
                  <a:lnTo>
                    <a:pt x="126682" y="910590"/>
                  </a:lnTo>
                  <a:lnTo>
                    <a:pt x="126682" y="882968"/>
                  </a:lnTo>
                  <a:lnTo>
                    <a:pt x="111443" y="849630"/>
                  </a:lnTo>
                  <a:lnTo>
                    <a:pt x="81915" y="819150"/>
                  </a:lnTo>
                  <a:lnTo>
                    <a:pt x="65723" y="803910"/>
                  </a:lnTo>
                  <a:lnTo>
                    <a:pt x="53340" y="771525"/>
                  </a:lnTo>
                  <a:lnTo>
                    <a:pt x="26670" y="744855"/>
                  </a:lnTo>
                  <a:lnTo>
                    <a:pt x="953" y="736282"/>
                  </a:lnTo>
                  <a:lnTo>
                    <a:pt x="0" y="708660"/>
                  </a:lnTo>
                  <a:lnTo>
                    <a:pt x="18098" y="690563"/>
                  </a:lnTo>
                  <a:lnTo>
                    <a:pt x="33338" y="675322"/>
                  </a:lnTo>
                  <a:lnTo>
                    <a:pt x="33338" y="646747"/>
                  </a:lnTo>
                  <a:lnTo>
                    <a:pt x="53340" y="627697"/>
                  </a:lnTo>
                  <a:lnTo>
                    <a:pt x="76200" y="616268"/>
                  </a:lnTo>
                  <a:lnTo>
                    <a:pt x="99060" y="623888"/>
                  </a:lnTo>
                  <a:lnTo>
                    <a:pt x="120015" y="602932"/>
                  </a:lnTo>
                  <a:lnTo>
                    <a:pt x="132398" y="578168"/>
                  </a:lnTo>
                  <a:lnTo>
                    <a:pt x="109538" y="542925"/>
                  </a:lnTo>
                  <a:lnTo>
                    <a:pt x="120968" y="513397"/>
                  </a:lnTo>
                  <a:lnTo>
                    <a:pt x="106680" y="481965"/>
                  </a:lnTo>
                  <a:lnTo>
                    <a:pt x="103823" y="449580"/>
                  </a:lnTo>
                  <a:lnTo>
                    <a:pt x="84773" y="422910"/>
                  </a:lnTo>
                  <a:lnTo>
                    <a:pt x="89535" y="400050"/>
                  </a:lnTo>
                  <a:lnTo>
                    <a:pt x="74295" y="373380"/>
                  </a:lnTo>
                  <a:lnTo>
                    <a:pt x="101918" y="369570"/>
                  </a:lnTo>
                  <a:lnTo>
                    <a:pt x="101918" y="358140"/>
                  </a:lnTo>
                  <a:lnTo>
                    <a:pt x="86678" y="342900"/>
                  </a:lnTo>
                  <a:lnTo>
                    <a:pt x="90488" y="315278"/>
                  </a:lnTo>
                  <a:lnTo>
                    <a:pt x="115253" y="281940"/>
                  </a:lnTo>
                  <a:lnTo>
                    <a:pt x="134303" y="287655"/>
                  </a:lnTo>
                  <a:lnTo>
                    <a:pt x="140018" y="293370"/>
                  </a:lnTo>
                  <a:lnTo>
                    <a:pt x="160020" y="292418"/>
                  </a:lnTo>
                  <a:lnTo>
                    <a:pt x="166688" y="282893"/>
                  </a:lnTo>
                  <a:lnTo>
                    <a:pt x="195263" y="286703"/>
                  </a:lnTo>
                  <a:lnTo>
                    <a:pt x="197168" y="278130"/>
                  </a:lnTo>
                  <a:lnTo>
                    <a:pt x="226695" y="273368"/>
                  </a:lnTo>
                  <a:lnTo>
                    <a:pt x="248603" y="245745"/>
                  </a:lnTo>
                  <a:lnTo>
                    <a:pt x="248603" y="205740"/>
                  </a:lnTo>
                  <a:lnTo>
                    <a:pt x="232410" y="200978"/>
                  </a:lnTo>
                  <a:lnTo>
                    <a:pt x="237173" y="177165"/>
                  </a:lnTo>
                  <a:lnTo>
                    <a:pt x="270510" y="164782"/>
                  </a:lnTo>
                  <a:lnTo>
                    <a:pt x="279082" y="144780"/>
                  </a:lnTo>
                  <a:lnTo>
                    <a:pt x="281940" y="117157"/>
                  </a:lnTo>
                  <a:lnTo>
                    <a:pt x="271463" y="90488"/>
                  </a:lnTo>
                  <a:lnTo>
                    <a:pt x="260032" y="87630"/>
                  </a:lnTo>
                  <a:lnTo>
                    <a:pt x="251460" y="104775"/>
                  </a:lnTo>
                  <a:lnTo>
                    <a:pt x="227648" y="107632"/>
                  </a:lnTo>
                  <a:lnTo>
                    <a:pt x="220980" y="87630"/>
                  </a:lnTo>
                  <a:lnTo>
                    <a:pt x="195263" y="83820"/>
                  </a:lnTo>
                  <a:lnTo>
                    <a:pt x="190500" y="64770"/>
                  </a:lnTo>
                  <a:lnTo>
                    <a:pt x="219075" y="41910"/>
                  </a:lnTo>
                  <a:lnTo>
                    <a:pt x="228600" y="2857"/>
                  </a:lnTo>
                  <a:lnTo>
                    <a:pt x="245745" y="0"/>
                  </a:lnTo>
                  <a:lnTo>
                    <a:pt x="265748" y="16193"/>
                  </a:lnTo>
                  <a:lnTo>
                    <a:pt x="280988" y="31432"/>
                  </a:lnTo>
                  <a:lnTo>
                    <a:pt x="300990" y="29528"/>
                  </a:lnTo>
                  <a:lnTo>
                    <a:pt x="309563" y="47625"/>
                  </a:lnTo>
                  <a:lnTo>
                    <a:pt x="302895" y="61913"/>
                  </a:lnTo>
                  <a:lnTo>
                    <a:pt x="326707" y="79057"/>
                  </a:lnTo>
                  <a:lnTo>
                    <a:pt x="349568" y="60007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3" name="Полилиния: фигура 132">
              <a:extLst>
                <a:ext uri="{FF2B5EF4-FFF2-40B4-BE49-F238E27FC236}">
                  <a16:creationId xmlns:a16="http://schemas.microsoft.com/office/drawing/2014/main" id="{D3E1B6CB-345D-4F7C-8ABC-0182D44C02F2}"/>
                </a:ext>
              </a:extLst>
            </p:cNvPr>
            <p:cNvSpPr/>
            <p:nvPr/>
          </p:nvSpPr>
          <p:spPr>
            <a:xfrm>
              <a:off x="7747845" y="3878548"/>
              <a:ext cx="527560" cy="637376"/>
            </a:xfrm>
            <a:custGeom>
              <a:avLst/>
              <a:gdLst>
                <a:gd name="connsiteX0" fmla="*/ 782955 w 818197"/>
                <a:gd name="connsiteY0" fmla="*/ 224790 h 1136332"/>
                <a:gd name="connsiteX1" fmla="*/ 801052 w 818197"/>
                <a:gd name="connsiteY1" fmla="*/ 242888 h 1136332"/>
                <a:gd name="connsiteX2" fmla="*/ 801052 w 818197"/>
                <a:gd name="connsiteY2" fmla="*/ 287655 h 1136332"/>
                <a:gd name="connsiteX3" fmla="*/ 815340 w 818197"/>
                <a:gd name="connsiteY3" fmla="*/ 321945 h 1136332"/>
                <a:gd name="connsiteX4" fmla="*/ 818197 w 818197"/>
                <a:gd name="connsiteY4" fmla="*/ 375285 h 1136332"/>
                <a:gd name="connsiteX5" fmla="*/ 808672 w 818197"/>
                <a:gd name="connsiteY5" fmla="*/ 407670 h 1136332"/>
                <a:gd name="connsiteX6" fmla="*/ 797242 w 818197"/>
                <a:gd name="connsiteY6" fmla="*/ 379095 h 1136332"/>
                <a:gd name="connsiteX7" fmla="*/ 771525 w 818197"/>
                <a:gd name="connsiteY7" fmla="*/ 366713 h 1136332"/>
                <a:gd name="connsiteX8" fmla="*/ 771525 w 818197"/>
                <a:gd name="connsiteY8" fmla="*/ 401955 h 1136332"/>
                <a:gd name="connsiteX9" fmla="*/ 750570 w 818197"/>
                <a:gd name="connsiteY9" fmla="*/ 381000 h 1136332"/>
                <a:gd name="connsiteX10" fmla="*/ 736282 w 818197"/>
                <a:gd name="connsiteY10" fmla="*/ 366713 h 1136332"/>
                <a:gd name="connsiteX11" fmla="*/ 724852 w 818197"/>
                <a:gd name="connsiteY11" fmla="*/ 342900 h 1136332"/>
                <a:gd name="connsiteX12" fmla="*/ 685800 w 818197"/>
                <a:gd name="connsiteY12" fmla="*/ 305752 h 1136332"/>
                <a:gd name="connsiteX13" fmla="*/ 697230 w 818197"/>
                <a:gd name="connsiteY13" fmla="*/ 337185 h 1136332"/>
                <a:gd name="connsiteX14" fmla="*/ 685800 w 818197"/>
                <a:gd name="connsiteY14" fmla="*/ 371475 h 1136332"/>
                <a:gd name="connsiteX15" fmla="*/ 647700 w 818197"/>
                <a:gd name="connsiteY15" fmla="*/ 371475 h 1136332"/>
                <a:gd name="connsiteX16" fmla="*/ 647700 w 818197"/>
                <a:gd name="connsiteY16" fmla="*/ 394335 h 1136332"/>
                <a:gd name="connsiteX17" fmla="*/ 635317 w 818197"/>
                <a:gd name="connsiteY17" fmla="*/ 441007 h 1136332"/>
                <a:gd name="connsiteX18" fmla="*/ 620077 w 818197"/>
                <a:gd name="connsiteY18" fmla="*/ 459105 h 1136332"/>
                <a:gd name="connsiteX19" fmla="*/ 621030 w 818197"/>
                <a:gd name="connsiteY19" fmla="*/ 521017 h 1136332"/>
                <a:gd name="connsiteX20" fmla="*/ 646747 w 818197"/>
                <a:gd name="connsiteY20" fmla="*/ 538163 h 1136332"/>
                <a:gd name="connsiteX21" fmla="*/ 642938 w 818197"/>
                <a:gd name="connsiteY21" fmla="*/ 577215 h 1136332"/>
                <a:gd name="connsiteX22" fmla="*/ 668655 w 818197"/>
                <a:gd name="connsiteY22" fmla="*/ 616268 h 1136332"/>
                <a:gd name="connsiteX23" fmla="*/ 668655 w 818197"/>
                <a:gd name="connsiteY23" fmla="*/ 658177 h 1136332"/>
                <a:gd name="connsiteX24" fmla="*/ 676275 w 818197"/>
                <a:gd name="connsiteY24" fmla="*/ 714375 h 1136332"/>
                <a:gd name="connsiteX25" fmla="*/ 699135 w 818197"/>
                <a:gd name="connsiteY25" fmla="*/ 737235 h 1136332"/>
                <a:gd name="connsiteX26" fmla="*/ 699135 w 818197"/>
                <a:gd name="connsiteY26" fmla="*/ 762952 h 1136332"/>
                <a:gd name="connsiteX27" fmla="*/ 719138 w 818197"/>
                <a:gd name="connsiteY27" fmla="*/ 782955 h 1136332"/>
                <a:gd name="connsiteX28" fmla="*/ 737235 w 818197"/>
                <a:gd name="connsiteY28" fmla="*/ 780097 h 1136332"/>
                <a:gd name="connsiteX29" fmla="*/ 753427 w 818197"/>
                <a:gd name="connsiteY29" fmla="*/ 764857 h 1136332"/>
                <a:gd name="connsiteX30" fmla="*/ 765810 w 818197"/>
                <a:gd name="connsiteY30" fmla="*/ 752475 h 1136332"/>
                <a:gd name="connsiteX31" fmla="*/ 786765 w 818197"/>
                <a:gd name="connsiteY31" fmla="*/ 752475 h 1136332"/>
                <a:gd name="connsiteX32" fmla="*/ 785813 w 818197"/>
                <a:gd name="connsiteY32" fmla="*/ 779145 h 1136332"/>
                <a:gd name="connsiteX33" fmla="*/ 762952 w 818197"/>
                <a:gd name="connsiteY33" fmla="*/ 785813 h 1136332"/>
                <a:gd name="connsiteX34" fmla="*/ 762952 w 818197"/>
                <a:gd name="connsiteY34" fmla="*/ 823913 h 1136332"/>
                <a:gd name="connsiteX35" fmla="*/ 721042 w 818197"/>
                <a:gd name="connsiteY35" fmla="*/ 830580 h 1136332"/>
                <a:gd name="connsiteX36" fmla="*/ 730567 w 818197"/>
                <a:gd name="connsiteY36" fmla="*/ 880110 h 1136332"/>
                <a:gd name="connsiteX37" fmla="*/ 726757 w 818197"/>
                <a:gd name="connsiteY37" fmla="*/ 901065 h 1136332"/>
                <a:gd name="connsiteX38" fmla="*/ 700088 w 818197"/>
                <a:gd name="connsiteY38" fmla="*/ 912495 h 1136332"/>
                <a:gd name="connsiteX39" fmla="*/ 700088 w 818197"/>
                <a:gd name="connsiteY39" fmla="*/ 942022 h 1136332"/>
                <a:gd name="connsiteX40" fmla="*/ 690563 w 818197"/>
                <a:gd name="connsiteY40" fmla="*/ 968693 h 1136332"/>
                <a:gd name="connsiteX41" fmla="*/ 663892 w 818197"/>
                <a:gd name="connsiteY41" fmla="*/ 969645 h 1136332"/>
                <a:gd name="connsiteX42" fmla="*/ 651510 w 818197"/>
                <a:gd name="connsiteY42" fmla="*/ 957263 h 1136332"/>
                <a:gd name="connsiteX43" fmla="*/ 651510 w 818197"/>
                <a:gd name="connsiteY43" fmla="*/ 939165 h 1136332"/>
                <a:gd name="connsiteX44" fmla="*/ 657225 w 818197"/>
                <a:gd name="connsiteY44" fmla="*/ 921068 h 1136332"/>
                <a:gd name="connsiteX45" fmla="*/ 680085 w 818197"/>
                <a:gd name="connsiteY45" fmla="*/ 913447 h 1136332"/>
                <a:gd name="connsiteX46" fmla="*/ 669607 w 818197"/>
                <a:gd name="connsiteY46" fmla="*/ 902970 h 1136332"/>
                <a:gd name="connsiteX47" fmla="*/ 643890 w 818197"/>
                <a:gd name="connsiteY47" fmla="*/ 912495 h 1136332"/>
                <a:gd name="connsiteX48" fmla="*/ 617220 w 818197"/>
                <a:gd name="connsiteY48" fmla="*/ 916305 h 1136332"/>
                <a:gd name="connsiteX49" fmla="*/ 617220 w 818197"/>
                <a:gd name="connsiteY49" fmla="*/ 928688 h 1136332"/>
                <a:gd name="connsiteX50" fmla="*/ 578167 w 818197"/>
                <a:gd name="connsiteY50" fmla="*/ 946785 h 1136332"/>
                <a:gd name="connsiteX51" fmla="*/ 558165 w 818197"/>
                <a:gd name="connsiteY51" fmla="*/ 970597 h 1136332"/>
                <a:gd name="connsiteX52" fmla="*/ 535305 w 818197"/>
                <a:gd name="connsiteY52" fmla="*/ 976313 h 1136332"/>
                <a:gd name="connsiteX53" fmla="*/ 517207 w 818197"/>
                <a:gd name="connsiteY53" fmla="*/ 994410 h 1136332"/>
                <a:gd name="connsiteX54" fmla="*/ 510540 w 818197"/>
                <a:gd name="connsiteY54" fmla="*/ 1015365 h 1136332"/>
                <a:gd name="connsiteX55" fmla="*/ 517207 w 818197"/>
                <a:gd name="connsiteY55" fmla="*/ 1042035 h 1136332"/>
                <a:gd name="connsiteX56" fmla="*/ 532447 w 818197"/>
                <a:gd name="connsiteY56" fmla="*/ 1057275 h 1136332"/>
                <a:gd name="connsiteX57" fmla="*/ 514350 w 818197"/>
                <a:gd name="connsiteY57" fmla="*/ 1077278 h 1136332"/>
                <a:gd name="connsiteX58" fmla="*/ 484822 w 818197"/>
                <a:gd name="connsiteY58" fmla="*/ 1065848 h 1136332"/>
                <a:gd name="connsiteX59" fmla="*/ 494347 w 818197"/>
                <a:gd name="connsiteY59" fmla="*/ 1096328 h 1136332"/>
                <a:gd name="connsiteX60" fmla="*/ 472440 w 818197"/>
                <a:gd name="connsiteY60" fmla="*/ 1118235 h 1136332"/>
                <a:gd name="connsiteX61" fmla="*/ 452438 w 818197"/>
                <a:gd name="connsiteY61" fmla="*/ 1136332 h 1136332"/>
                <a:gd name="connsiteX62" fmla="*/ 445770 w 818197"/>
                <a:gd name="connsiteY62" fmla="*/ 1114425 h 1136332"/>
                <a:gd name="connsiteX63" fmla="*/ 415290 w 818197"/>
                <a:gd name="connsiteY63" fmla="*/ 1083945 h 1136332"/>
                <a:gd name="connsiteX64" fmla="*/ 398145 w 818197"/>
                <a:gd name="connsiteY64" fmla="*/ 1083945 h 1136332"/>
                <a:gd name="connsiteX65" fmla="*/ 385763 w 818197"/>
                <a:gd name="connsiteY65" fmla="*/ 1095375 h 1136332"/>
                <a:gd name="connsiteX66" fmla="*/ 368617 w 818197"/>
                <a:gd name="connsiteY66" fmla="*/ 1086803 h 1136332"/>
                <a:gd name="connsiteX67" fmla="*/ 343852 w 818197"/>
                <a:gd name="connsiteY67" fmla="*/ 1085850 h 1136332"/>
                <a:gd name="connsiteX68" fmla="*/ 322897 w 818197"/>
                <a:gd name="connsiteY68" fmla="*/ 1111567 h 1136332"/>
                <a:gd name="connsiteX69" fmla="*/ 303847 w 818197"/>
                <a:gd name="connsiteY69" fmla="*/ 1112520 h 1136332"/>
                <a:gd name="connsiteX70" fmla="*/ 287655 w 818197"/>
                <a:gd name="connsiteY70" fmla="*/ 1089660 h 1136332"/>
                <a:gd name="connsiteX71" fmla="*/ 287655 w 818197"/>
                <a:gd name="connsiteY71" fmla="*/ 1058227 h 1136332"/>
                <a:gd name="connsiteX72" fmla="*/ 314325 w 818197"/>
                <a:gd name="connsiteY72" fmla="*/ 1042988 h 1136332"/>
                <a:gd name="connsiteX73" fmla="*/ 293370 w 818197"/>
                <a:gd name="connsiteY73" fmla="*/ 1014413 h 1136332"/>
                <a:gd name="connsiteX74" fmla="*/ 293370 w 818197"/>
                <a:gd name="connsiteY74" fmla="*/ 993457 h 1136332"/>
                <a:gd name="connsiteX75" fmla="*/ 274320 w 818197"/>
                <a:gd name="connsiteY75" fmla="*/ 986790 h 1136332"/>
                <a:gd name="connsiteX76" fmla="*/ 242888 w 818197"/>
                <a:gd name="connsiteY76" fmla="*/ 966788 h 1136332"/>
                <a:gd name="connsiteX77" fmla="*/ 223838 w 818197"/>
                <a:gd name="connsiteY77" fmla="*/ 957263 h 1136332"/>
                <a:gd name="connsiteX78" fmla="*/ 169545 w 818197"/>
                <a:gd name="connsiteY78" fmla="*/ 954405 h 1136332"/>
                <a:gd name="connsiteX79" fmla="*/ 140970 w 818197"/>
                <a:gd name="connsiteY79" fmla="*/ 988695 h 1136332"/>
                <a:gd name="connsiteX80" fmla="*/ 118110 w 818197"/>
                <a:gd name="connsiteY80" fmla="*/ 987743 h 1136332"/>
                <a:gd name="connsiteX81" fmla="*/ 122872 w 818197"/>
                <a:gd name="connsiteY81" fmla="*/ 961072 h 1136332"/>
                <a:gd name="connsiteX82" fmla="*/ 101917 w 818197"/>
                <a:gd name="connsiteY82" fmla="*/ 940118 h 1136332"/>
                <a:gd name="connsiteX83" fmla="*/ 96202 w 818197"/>
                <a:gd name="connsiteY83" fmla="*/ 922972 h 1136332"/>
                <a:gd name="connsiteX84" fmla="*/ 77152 w 818197"/>
                <a:gd name="connsiteY84" fmla="*/ 903922 h 1136332"/>
                <a:gd name="connsiteX85" fmla="*/ 43815 w 818197"/>
                <a:gd name="connsiteY85" fmla="*/ 886777 h 1136332"/>
                <a:gd name="connsiteX86" fmla="*/ 35242 w 818197"/>
                <a:gd name="connsiteY86" fmla="*/ 866775 h 1136332"/>
                <a:gd name="connsiteX87" fmla="*/ 12382 w 818197"/>
                <a:gd name="connsiteY87" fmla="*/ 836295 h 1136332"/>
                <a:gd name="connsiteX88" fmla="*/ 12382 w 818197"/>
                <a:gd name="connsiteY88" fmla="*/ 819150 h 1136332"/>
                <a:gd name="connsiteX89" fmla="*/ 952 w 818197"/>
                <a:gd name="connsiteY89" fmla="*/ 813435 h 1136332"/>
                <a:gd name="connsiteX90" fmla="*/ 6667 w 818197"/>
                <a:gd name="connsiteY90" fmla="*/ 784860 h 1136332"/>
                <a:gd name="connsiteX91" fmla="*/ 20002 w 818197"/>
                <a:gd name="connsiteY91" fmla="*/ 771525 h 1136332"/>
                <a:gd name="connsiteX92" fmla="*/ 0 w 818197"/>
                <a:gd name="connsiteY92" fmla="*/ 759143 h 1136332"/>
                <a:gd name="connsiteX93" fmla="*/ 3810 w 818197"/>
                <a:gd name="connsiteY93" fmla="*/ 735330 h 1136332"/>
                <a:gd name="connsiteX94" fmla="*/ 40957 w 818197"/>
                <a:gd name="connsiteY94" fmla="*/ 720090 h 1136332"/>
                <a:gd name="connsiteX95" fmla="*/ 40957 w 818197"/>
                <a:gd name="connsiteY95" fmla="*/ 706755 h 1136332"/>
                <a:gd name="connsiteX96" fmla="*/ 69532 w 818197"/>
                <a:gd name="connsiteY96" fmla="*/ 707707 h 1136332"/>
                <a:gd name="connsiteX97" fmla="*/ 66675 w 818197"/>
                <a:gd name="connsiteY97" fmla="*/ 676275 h 1136332"/>
                <a:gd name="connsiteX98" fmla="*/ 45720 w 818197"/>
                <a:gd name="connsiteY98" fmla="*/ 670560 h 1136332"/>
                <a:gd name="connsiteX99" fmla="*/ 31432 w 818197"/>
                <a:gd name="connsiteY99" fmla="*/ 652463 h 1136332"/>
                <a:gd name="connsiteX100" fmla="*/ 49530 w 818197"/>
                <a:gd name="connsiteY100" fmla="*/ 635318 h 1136332"/>
                <a:gd name="connsiteX101" fmla="*/ 67627 w 818197"/>
                <a:gd name="connsiteY101" fmla="*/ 635318 h 1136332"/>
                <a:gd name="connsiteX102" fmla="*/ 67627 w 818197"/>
                <a:gd name="connsiteY102" fmla="*/ 613410 h 1136332"/>
                <a:gd name="connsiteX103" fmla="*/ 85725 w 818197"/>
                <a:gd name="connsiteY103" fmla="*/ 601027 h 1136332"/>
                <a:gd name="connsiteX104" fmla="*/ 85725 w 818197"/>
                <a:gd name="connsiteY104" fmla="*/ 584835 h 1136332"/>
                <a:gd name="connsiteX105" fmla="*/ 107632 w 818197"/>
                <a:gd name="connsiteY105" fmla="*/ 579120 h 1136332"/>
                <a:gd name="connsiteX106" fmla="*/ 120967 w 818197"/>
                <a:gd name="connsiteY106" fmla="*/ 595313 h 1136332"/>
                <a:gd name="connsiteX107" fmla="*/ 139065 w 818197"/>
                <a:gd name="connsiteY107" fmla="*/ 592455 h 1136332"/>
                <a:gd name="connsiteX108" fmla="*/ 148590 w 818197"/>
                <a:gd name="connsiteY108" fmla="*/ 572452 h 1136332"/>
                <a:gd name="connsiteX109" fmla="*/ 142875 w 818197"/>
                <a:gd name="connsiteY109" fmla="*/ 554355 h 1136332"/>
                <a:gd name="connsiteX110" fmla="*/ 161925 w 818197"/>
                <a:gd name="connsiteY110" fmla="*/ 523875 h 1136332"/>
                <a:gd name="connsiteX111" fmla="*/ 167640 w 818197"/>
                <a:gd name="connsiteY111" fmla="*/ 503872 h 1136332"/>
                <a:gd name="connsiteX112" fmla="*/ 186690 w 818197"/>
                <a:gd name="connsiteY112" fmla="*/ 500063 h 1136332"/>
                <a:gd name="connsiteX113" fmla="*/ 186690 w 818197"/>
                <a:gd name="connsiteY113" fmla="*/ 481965 h 1136332"/>
                <a:gd name="connsiteX114" fmla="*/ 177165 w 818197"/>
                <a:gd name="connsiteY114" fmla="*/ 456247 h 1136332"/>
                <a:gd name="connsiteX115" fmla="*/ 154305 w 818197"/>
                <a:gd name="connsiteY115" fmla="*/ 442913 h 1136332"/>
                <a:gd name="connsiteX116" fmla="*/ 132397 w 818197"/>
                <a:gd name="connsiteY116" fmla="*/ 421005 h 1136332"/>
                <a:gd name="connsiteX117" fmla="*/ 130492 w 818197"/>
                <a:gd name="connsiteY117" fmla="*/ 367665 h 1136332"/>
                <a:gd name="connsiteX118" fmla="*/ 109538 w 818197"/>
                <a:gd name="connsiteY118" fmla="*/ 357188 h 1136332"/>
                <a:gd name="connsiteX119" fmla="*/ 94297 w 818197"/>
                <a:gd name="connsiteY119" fmla="*/ 337185 h 1136332"/>
                <a:gd name="connsiteX120" fmla="*/ 94297 w 818197"/>
                <a:gd name="connsiteY120" fmla="*/ 313372 h 1136332"/>
                <a:gd name="connsiteX121" fmla="*/ 111442 w 818197"/>
                <a:gd name="connsiteY121" fmla="*/ 309563 h 1136332"/>
                <a:gd name="connsiteX122" fmla="*/ 103822 w 818197"/>
                <a:gd name="connsiteY122" fmla="*/ 286702 h 1136332"/>
                <a:gd name="connsiteX123" fmla="*/ 80010 w 818197"/>
                <a:gd name="connsiteY123" fmla="*/ 280035 h 1136332"/>
                <a:gd name="connsiteX124" fmla="*/ 84772 w 818197"/>
                <a:gd name="connsiteY124" fmla="*/ 259080 h 1136332"/>
                <a:gd name="connsiteX125" fmla="*/ 109538 w 818197"/>
                <a:gd name="connsiteY125" fmla="*/ 249555 h 1136332"/>
                <a:gd name="connsiteX126" fmla="*/ 109538 w 818197"/>
                <a:gd name="connsiteY126" fmla="*/ 227647 h 1136332"/>
                <a:gd name="connsiteX127" fmla="*/ 120967 w 818197"/>
                <a:gd name="connsiteY127" fmla="*/ 216217 h 1136332"/>
                <a:gd name="connsiteX128" fmla="*/ 148590 w 818197"/>
                <a:gd name="connsiteY128" fmla="*/ 216217 h 1136332"/>
                <a:gd name="connsiteX129" fmla="*/ 151447 w 818197"/>
                <a:gd name="connsiteY129" fmla="*/ 186690 h 1136332"/>
                <a:gd name="connsiteX130" fmla="*/ 186690 w 818197"/>
                <a:gd name="connsiteY130" fmla="*/ 186690 h 1136332"/>
                <a:gd name="connsiteX131" fmla="*/ 200977 w 818197"/>
                <a:gd name="connsiteY131" fmla="*/ 172402 h 1136332"/>
                <a:gd name="connsiteX132" fmla="*/ 192405 w 818197"/>
                <a:gd name="connsiteY132" fmla="*/ 142875 h 1136332"/>
                <a:gd name="connsiteX133" fmla="*/ 204788 w 818197"/>
                <a:gd name="connsiteY133" fmla="*/ 119063 h 1136332"/>
                <a:gd name="connsiteX134" fmla="*/ 187642 w 818197"/>
                <a:gd name="connsiteY134" fmla="*/ 91440 h 1136332"/>
                <a:gd name="connsiteX135" fmla="*/ 219075 w 818197"/>
                <a:gd name="connsiteY135" fmla="*/ 78105 h 1136332"/>
                <a:gd name="connsiteX136" fmla="*/ 233363 w 818197"/>
                <a:gd name="connsiteY136" fmla="*/ 92392 h 1136332"/>
                <a:gd name="connsiteX137" fmla="*/ 250507 w 818197"/>
                <a:gd name="connsiteY137" fmla="*/ 116205 h 1136332"/>
                <a:gd name="connsiteX138" fmla="*/ 274320 w 818197"/>
                <a:gd name="connsiteY138" fmla="*/ 116205 h 1136332"/>
                <a:gd name="connsiteX139" fmla="*/ 302895 w 818197"/>
                <a:gd name="connsiteY139" fmla="*/ 105727 h 1136332"/>
                <a:gd name="connsiteX140" fmla="*/ 311467 w 818197"/>
                <a:gd name="connsiteY140" fmla="*/ 87630 h 1136332"/>
                <a:gd name="connsiteX141" fmla="*/ 340995 w 818197"/>
                <a:gd name="connsiteY141" fmla="*/ 93345 h 1136332"/>
                <a:gd name="connsiteX142" fmla="*/ 374332 w 818197"/>
                <a:gd name="connsiteY142" fmla="*/ 89535 h 1136332"/>
                <a:gd name="connsiteX143" fmla="*/ 403860 w 818197"/>
                <a:gd name="connsiteY143" fmla="*/ 47625 h 1136332"/>
                <a:gd name="connsiteX144" fmla="*/ 448627 w 818197"/>
                <a:gd name="connsiteY144" fmla="*/ 54292 h 1136332"/>
                <a:gd name="connsiteX145" fmla="*/ 495300 w 818197"/>
                <a:gd name="connsiteY145" fmla="*/ 0 h 1136332"/>
                <a:gd name="connsiteX146" fmla="*/ 530542 w 818197"/>
                <a:gd name="connsiteY146" fmla="*/ 3810 h 1136332"/>
                <a:gd name="connsiteX147" fmla="*/ 531495 w 818197"/>
                <a:gd name="connsiteY147" fmla="*/ 19050 h 1136332"/>
                <a:gd name="connsiteX148" fmla="*/ 540067 w 818197"/>
                <a:gd name="connsiteY148" fmla="*/ 27622 h 1136332"/>
                <a:gd name="connsiteX149" fmla="*/ 533400 w 818197"/>
                <a:gd name="connsiteY149" fmla="*/ 47625 h 1136332"/>
                <a:gd name="connsiteX150" fmla="*/ 567690 w 818197"/>
                <a:gd name="connsiteY150" fmla="*/ 62865 h 1136332"/>
                <a:gd name="connsiteX151" fmla="*/ 571500 w 818197"/>
                <a:gd name="connsiteY151" fmla="*/ 83820 h 1136332"/>
                <a:gd name="connsiteX152" fmla="*/ 605790 w 818197"/>
                <a:gd name="connsiteY152" fmla="*/ 77152 h 1136332"/>
                <a:gd name="connsiteX153" fmla="*/ 616267 w 818197"/>
                <a:gd name="connsiteY153" fmla="*/ 102870 h 1136332"/>
                <a:gd name="connsiteX154" fmla="*/ 639127 w 818197"/>
                <a:gd name="connsiteY154" fmla="*/ 112395 h 1136332"/>
                <a:gd name="connsiteX155" fmla="*/ 640080 w 818197"/>
                <a:gd name="connsiteY155" fmla="*/ 131445 h 1136332"/>
                <a:gd name="connsiteX156" fmla="*/ 657225 w 818197"/>
                <a:gd name="connsiteY156" fmla="*/ 148590 h 1136332"/>
                <a:gd name="connsiteX157" fmla="*/ 678180 w 818197"/>
                <a:gd name="connsiteY157" fmla="*/ 142875 h 1136332"/>
                <a:gd name="connsiteX158" fmla="*/ 702945 w 818197"/>
                <a:gd name="connsiteY158" fmla="*/ 142875 h 1136332"/>
                <a:gd name="connsiteX159" fmla="*/ 706755 w 818197"/>
                <a:gd name="connsiteY159" fmla="*/ 160020 h 1136332"/>
                <a:gd name="connsiteX160" fmla="*/ 722947 w 818197"/>
                <a:gd name="connsiteY160" fmla="*/ 160020 h 1136332"/>
                <a:gd name="connsiteX161" fmla="*/ 734377 w 818197"/>
                <a:gd name="connsiteY161" fmla="*/ 173355 h 1136332"/>
                <a:gd name="connsiteX162" fmla="*/ 725805 w 818197"/>
                <a:gd name="connsiteY162" fmla="*/ 203835 h 1136332"/>
                <a:gd name="connsiteX163" fmla="*/ 738188 w 818197"/>
                <a:gd name="connsiteY163" fmla="*/ 203835 h 1136332"/>
                <a:gd name="connsiteX164" fmla="*/ 747713 w 818197"/>
                <a:gd name="connsiteY164" fmla="*/ 188595 h 1136332"/>
                <a:gd name="connsiteX165" fmla="*/ 757238 w 818197"/>
                <a:gd name="connsiteY165" fmla="*/ 198120 h 1136332"/>
                <a:gd name="connsiteX166" fmla="*/ 757238 w 818197"/>
                <a:gd name="connsiteY166" fmla="*/ 217170 h 1136332"/>
                <a:gd name="connsiteX167" fmla="*/ 782955 w 818197"/>
                <a:gd name="connsiteY167" fmla="*/ 224790 h 1136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818197" h="1136332">
                  <a:moveTo>
                    <a:pt x="782955" y="224790"/>
                  </a:moveTo>
                  <a:lnTo>
                    <a:pt x="801052" y="242888"/>
                  </a:lnTo>
                  <a:lnTo>
                    <a:pt x="801052" y="287655"/>
                  </a:lnTo>
                  <a:lnTo>
                    <a:pt x="815340" y="321945"/>
                  </a:lnTo>
                  <a:lnTo>
                    <a:pt x="818197" y="375285"/>
                  </a:lnTo>
                  <a:lnTo>
                    <a:pt x="808672" y="407670"/>
                  </a:lnTo>
                  <a:lnTo>
                    <a:pt x="797242" y="379095"/>
                  </a:lnTo>
                  <a:lnTo>
                    <a:pt x="771525" y="366713"/>
                  </a:lnTo>
                  <a:lnTo>
                    <a:pt x="771525" y="401955"/>
                  </a:lnTo>
                  <a:lnTo>
                    <a:pt x="750570" y="381000"/>
                  </a:lnTo>
                  <a:lnTo>
                    <a:pt x="736282" y="366713"/>
                  </a:lnTo>
                  <a:lnTo>
                    <a:pt x="724852" y="342900"/>
                  </a:lnTo>
                  <a:lnTo>
                    <a:pt x="685800" y="305752"/>
                  </a:lnTo>
                  <a:lnTo>
                    <a:pt x="697230" y="337185"/>
                  </a:lnTo>
                  <a:lnTo>
                    <a:pt x="685800" y="371475"/>
                  </a:lnTo>
                  <a:lnTo>
                    <a:pt x="647700" y="371475"/>
                  </a:lnTo>
                  <a:lnTo>
                    <a:pt x="647700" y="394335"/>
                  </a:lnTo>
                  <a:lnTo>
                    <a:pt x="635317" y="441007"/>
                  </a:lnTo>
                  <a:lnTo>
                    <a:pt x="620077" y="459105"/>
                  </a:lnTo>
                  <a:lnTo>
                    <a:pt x="621030" y="521017"/>
                  </a:lnTo>
                  <a:lnTo>
                    <a:pt x="646747" y="538163"/>
                  </a:lnTo>
                  <a:lnTo>
                    <a:pt x="642938" y="577215"/>
                  </a:lnTo>
                  <a:lnTo>
                    <a:pt x="668655" y="616268"/>
                  </a:lnTo>
                  <a:lnTo>
                    <a:pt x="668655" y="658177"/>
                  </a:lnTo>
                  <a:lnTo>
                    <a:pt x="676275" y="714375"/>
                  </a:lnTo>
                  <a:lnTo>
                    <a:pt x="699135" y="737235"/>
                  </a:lnTo>
                  <a:lnTo>
                    <a:pt x="699135" y="762952"/>
                  </a:lnTo>
                  <a:lnTo>
                    <a:pt x="719138" y="782955"/>
                  </a:lnTo>
                  <a:lnTo>
                    <a:pt x="737235" y="780097"/>
                  </a:lnTo>
                  <a:lnTo>
                    <a:pt x="753427" y="764857"/>
                  </a:lnTo>
                  <a:lnTo>
                    <a:pt x="765810" y="752475"/>
                  </a:lnTo>
                  <a:lnTo>
                    <a:pt x="786765" y="752475"/>
                  </a:lnTo>
                  <a:lnTo>
                    <a:pt x="785813" y="779145"/>
                  </a:lnTo>
                  <a:lnTo>
                    <a:pt x="762952" y="785813"/>
                  </a:lnTo>
                  <a:lnTo>
                    <a:pt x="762952" y="823913"/>
                  </a:lnTo>
                  <a:lnTo>
                    <a:pt x="721042" y="830580"/>
                  </a:lnTo>
                  <a:lnTo>
                    <a:pt x="730567" y="880110"/>
                  </a:lnTo>
                  <a:lnTo>
                    <a:pt x="726757" y="901065"/>
                  </a:lnTo>
                  <a:lnTo>
                    <a:pt x="700088" y="912495"/>
                  </a:lnTo>
                  <a:lnTo>
                    <a:pt x="700088" y="942022"/>
                  </a:lnTo>
                  <a:lnTo>
                    <a:pt x="690563" y="968693"/>
                  </a:lnTo>
                  <a:cubicBezTo>
                    <a:pt x="690563" y="968693"/>
                    <a:pt x="657225" y="976313"/>
                    <a:pt x="663892" y="969645"/>
                  </a:cubicBezTo>
                  <a:cubicBezTo>
                    <a:pt x="670560" y="962977"/>
                    <a:pt x="651510" y="957263"/>
                    <a:pt x="651510" y="957263"/>
                  </a:cubicBezTo>
                  <a:lnTo>
                    <a:pt x="651510" y="939165"/>
                  </a:lnTo>
                  <a:lnTo>
                    <a:pt x="657225" y="921068"/>
                  </a:lnTo>
                  <a:lnTo>
                    <a:pt x="680085" y="913447"/>
                  </a:lnTo>
                  <a:lnTo>
                    <a:pt x="669607" y="902970"/>
                  </a:lnTo>
                  <a:lnTo>
                    <a:pt x="643890" y="912495"/>
                  </a:lnTo>
                  <a:lnTo>
                    <a:pt x="617220" y="916305"/>
                  </a:lnTo>
                  <a:lnTo>
                    <a:pt x="617220" y="928688"/>
                  </a:lnTo>
                  <a:lnTo>
                    <a:pt x="578167" y="946785"/>
                  </a:lnTo>
                  <a:lnTo>
                    <a:pt x="558165" y="970597"/>
                  </a:lnTo>
                  <a:lnTo>
                    <a:pt x="535305" y="976313"/>
                  </a:lnTo>
                  <a:lnTo>
                    <a:pt x="517207" y="994410"/>
                  </a:lnTo>
                  <a:lnTo>
                    <a:pt x="510540" y="1015365"/>
                  </a:lnTo>
                  <a:lnTo>
                    <a:pt x="517207" y="1042035"/>
                  </a:lnTo>
                  <a:lnTo>
                    <a:pt x="532447" y="1057275"/>
                  </a:lnTo>
                  <a:lnTo>
                    <a:pt x="514350" y="1077278"/>
                  </a:lnTo>
                  <a:lnTo>
                    <a:pt x="484822" y="1065848"/>
                  </a:lnTo>
                  <a:lnTo>
                    <a:pt x="494347" y="1096328"/>
                  </a:lnTo>
                  <a:lnTo>
                    <a:pt x="472440" y="1118235"/>
                  </a:lnTo>
                  <a:lnTo>
                    <a:pt x="452438" y="1136332"/>
                  </a:lnTo>
                  <a:lnTo>
                    <a:pt x="445770" y="1114425"/>
                  </a:lnTo>
                  <a:lnTo>
                    <a:pt x="415290" y="1083945"/>
                  </a:lnTo>
                  <a:lnTo>
                    <a:pt x="398145" y="1083945"/>
                  </a:lnTo>
                  <a:lnTo>
                    <a:pt x="385763" y="1095375"/>
                  </a:lnTo>
                  <a:lnTo>
                    <a:pt x="368617" y="1086803"/>
                  </a:lnTo>
                  <a:lnTo>
                    <a:pt x="343852" y="1085850"/>
                  </a:lnTo>
                  <a:lnTo>
                    <a:pt x="322897" y="1111567"/>
                  </a:lnTo>
                  <a:lnTo>
                    <a:pt x="303847" y="1112520"/>
                  </a:lnTo>
                  <a:lnTo>
                    <a:pt x="287655" y="1089660"/>
                  </a:lnTo>
                  <a:lnTo>
                    <a:pt x="287655" y="1058227"/>
                  </a:lnTo>
                  <a:lnTo>
                    <a:pt x="314325" y="1042988"/>
                  </a:lnTo>
                  <a:lnTo>
                    <a:pt x="293370" y="1014413"/>
                  </a:lnTo>
                  <a:lnTo>
                    <a:pt x="293370" y="993457"/>
                  </a:lnTo>
                  <a:lnTo>
                    <a:pt x="274320" y="986790"/>
                  </a:lnTo>
                  <a:lnTo>
                    <a:pt x="242888" y="966788"/>
                  </a:lnTo>
                  <a:lnTo>
                    <a:pt x="223838" y="957263"/>
                  </a:lnTo>
                  <a:lnTo>
                    <a:pt x="169545" y="954405"/>
                  </a:lnTo>
                  <a:lnTo>
                    <a:pt x="140970" y="988695"/>
                  </a:lnTo>
                  <a:lnTo>
                    <a:pt x="118110" y="987743"/>
                  </a:lnTo>
                  <a:lnTo>
                    <a:pt x="122872" y="961072"/>
                  </a:lnTo>
                  <a:lnTo>
                    <a:pt x="101917" y="940118"/>
                  </a:lnTo>
                  <a:lnTo>
                    <a:pt x="96202" y="922972"/>
                  </a:lnTo>
                  <a:lnTo>
                    <a:pt x="77152" y="903922"/>
                  </a:lnTo>
                  <a:lnTo>
                    <a:pt x="43815" y="886777"/>
                  </a:lnTo>
                  <a:lnTo>
                    <a:pt x="35242" y="866775"/>
                  </a:lnTo>
                  <a:lnTo>
                    <a:pt x="12382" y="836295"/>
                  </a:lnTo>
                  <a:lnTo>
                    <a:pt x="12382" y="819150"/>
                  </a:lnTo>
                  <a:lnTo>
                    <a:pt x="952" y="813435"/>
                  </a:lnTo>
                  <a:lnTo>
                    <a:pt x="6667" y="784860"/>
                  </a:lnTo>
                  <a:lnTo>
                    <a:pt x="20002" y="771525"/>
                  </a:lnTo>
                  <a:lnTo>
                    <a:pt x="0" y="759143"/>
                  </a:lnTo>
                  <a:lnTo>
                    <a:pt x="3810" y="735330"/>
                  </a:lnTo>
                  <a:lnTo>
                    <a:pt x="40957" y="720090"/>
                  </a:lnTo>
                  <a:lnTo>
                    <a:pt x="40957" y="706755"/>
                  </a:lnTo>
                  <a:lnTo>
                    <a:pt x="69532" y="707707"/>
                  </a:lnTo>
                  <a:lnTo>
                    <a:pt x="66675" y="676275"/>
                  </a:lnTo>
                  <a:lnTo>
                    <a:pt x="45720" y="670560"/>
                  </a:lnTo>
                  <a:lnTo>
                    <a:pt x="31432" y="652463"/>
                  </a:lnTo>
                  <a:lnTo>
                    <a:pt x="49530" y="635318"/>
                  </a:lnTo>
                  <a:lnTo>
                    <a:pt x="67627" y="635318"/>
                  </a:lnTo>
                  <a:lnTo>
                    <a:pt x="67627" y="613410"/>
                  </a:lnTo>
                  <a:lnTo>
                    <a:pt x="85725" y="601027"/>
                  </a:lnTo>
                  <a:lnTo>
                    <a:pt x="85725" y="584835"/>
                  </a:lnTo>
                  <a:lnTo>
                    <a:pt x="107632" y="579120"/>
                  </a:lnTo>
                  <a:lnTo>
                    <a:pt x="120967" y="595313"/>
                  </a:lnTo>
                  <a:lnTo>
                    <a:pt x="139065" y="592455"/>
                  </a:lnTo>
                  <a:lnTo>
                    <a:pt x="148590" y="572452"/>
                  </a:lnTo>
                  <a:lnTo>
                    <a:pt x="142875" y="554355"/>
                  </a:lnTo>
                  <a:lnTo>
                    <a:pt x="161925" y="523875"/>
                  </a:lnTo>
                  <a:lnTo>
                    <a:pt x="167640" y="503872"/>
                  </a:lnTo>
                  <a:lnTo>
                    <a:pt x="186690" y="500063"/>
                  </a:lnTo>
                  <a:lnTo>
                    <a:pt x="186690" y="481965"/>
                  </a:lnTo>
                  <a:lnTo>
                    <a:pt x="177165" y="456247"/>
                  </a:lnTo>
                  <a:lnTo>
                    <a:pt x="154305" y="442913"/>
                  </a:lnTo>
                  <a:lnTo>
                    <a:pt x="132397" y="421005"/>
                  </a:lnTo>
                  <a:lnTo>
                    <a:pt x="130492" y="367665"/>
                  </a:lnTo>
                  <a:lnTo>
                    <a:pt x="109538" y="357188"/>
                  </a:lnTo>
                  <a:lnTo>
                    <a:pt x="94297" y="337185"/>
                  </a:lnTo>
                  <a:lnTo>
                    <a:pt x="94297" y="313372"/>
                  </a:lnTo>
                  <a:lnTo>
                    <a:pt x="111442" y="309563"/>
                  </a:lnTo>
                  <a:lnTo>
                    <a:pt x="103822" y="286702"/>
                  </a:lnTo>
                  <a:lnTo>
                    <a:pt x="80010" y="280035"/>
                  </a:lnTo>
                  <a:lnTo>
                    <a:pt x="84772" y="259080"/>
                  </a:lnTo>
                  <a:lnTo>
                    <a:pt x="109538" y="249555"/>
                  </a:lnTo>
                  <a:lnTo>
                    <a:pt x="109538" y="227647"/>
                  </a:lnTo>
                  <a:lnTo>
                    <a:pt x="120967" y="216217"/>
                  </a:lnTo>
                  <a:lnTo>
                    <a:pt x="148590" y="216217"/>
                  </a:lnTo>
                  <a:lnTo>
                    <a:pt x="151447" y="186690"/>
                  </a:lnTo>
                  <a:lnTo>
                    <a:pt x="186690" y="186690"/>
                  </a:lnTo>
                  <a:lnTo>
                    <a:pt x="200977" y="172402"/>
                  </a:lnTo>
                  <a:lnTo>
                    <a:pt x="192405" y="142875"/>
                  </a:lnTo>
                  <a:lnTo>
                    <a:pt x="204788" y="119063"/>
                  </a:lnTo>
                  <a:lnTo>
                    <a:pt x="187642" y="91440"/>
                  </a:lnTo>
                  <a:lnTo>
                    <a:pt x="219075" y="78105"/>
                  </a:lnTo>
                  <a:lnTo>
                    <a:pt x="233363" y="92392"/>
                  </a:lnTo>
                  <a:lnTo>
                    <a:pt x="250507" y="116205"/>
                  </a:lnTo>
                  <a:lnTo>
                    <a:pt x="274320" y="116205"/>
                  </a:lnTo>
                  <a:lnTo>
                    <a:pt x="302895" y="105727"/>
                  </a:lnTo>
                  <a:lnTo>
                    <a:pt x="311467" y="87630"/>
                  </a:lnTo>
                  <a:lnTo>
                    <a:pt x="340995" y="93345"/>
                  </a:lnTo>
                  <a:lnTo>
                    <a:pt x="374332" y="89535"/>
                  </a:lnTo>
                  <a:lnTo>
                    <a:pt x="403860" y="47625"/>
                  </a:lnTo>
                  <a:lnTo>
                    <a:pt x="448627" y="54292"/>
                  </a:lnTo>
                  <a:lnTo>
                    <a:pt x="495300" y="0"/>
                  </a:lnTo>
                  <a:lnTo>
                    <a:pt x="530542" y="3810"/>
                  </a:lnTo>
                  <a:lnTo>
                    <a:pt x="531495" y="19050"/>
                  </a:lnTo>
                  <a:lnTo>
                    <a:pt x="540067" y="27622"/>
                  </a:lnTo>
                  <a:lnTo>
                    <a:pt x="533400" y="47625"/>
                  </a:lnTo>
                  <a:lnTo>
                    <a:pt x="567690" y="62865"/>
                  </a:lnTo>
                  <a:lnTo>
                    <a:pt x="571500" y="83820"/>
                  </a:lnTo>
                  <a:lnTo>
                    <a:pt x="605790" y="77152"/>
                  </a:lnTo>
                  <a:lnTo>
                    <a:pt x="616267" y="102870"/>
                  </a:lnTo>
                  <a:lnTo>
                    <a:pt x="639127" y="112395"/>
                  </a:lnTo>
                  <a:lnTo>
                    <a:pt x="640080" y="131445"/>
                  </a:lnTo>
                  <a:lnTo>
                    <a:pt x="657225" y="148590"/>
                  </a:lnTo>
                  <a:lnTo>
                    <a:pt x="678180" y="142875"/>
                  </a:lnTo>
                  <a:lnTo>
                    <a:pt x="702945" y="142875"/>
                  </a:lnTo>
                  <a:lnTo>
                    <a:pt x="706755" y="160020"/>
                  </a:lnTo>
                  <a:lnTo>
                    <a:pt x="722947" y="160020"/>
                  </a:lnTo>
                  <a:lnTo>
                    <a:pt x="734377" y="173355"/>
                  </a:lnTo>
                  <a:lnTo>
                    <a:pt x="725805" y="203835"/>
                  </a:lnTo>
                  <a:lnTo>
                    <a:pt x="738188" y="203835"/>
                  </a:lnTo>
                  <a:lnTo>
                    <a:pt x="747713" y="188595"/>
                  </a:lnTo>
                  <a:lnTo>
                    <a:pt x="757238" y="198120"/>
                  </a:lnTo>
                  <a:lnTo>
                    <a:pt x="757238" y="217170"/>
                  </a:lnTo>
                  <a:lnTo>
                    <a:pt x="782955" y="22479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44" name="Рисунок 3">
              <a:extLst>
                <a:ext uri="{FF2B5EF4-FFF2-40B4-BE49-F238E27FC236}">
                  <a16:creationId xmlns:a16="http://schemas.microsoft.com/office/drawing/2014/main" id="{A3469F1C-7B3B-4A32-A6A4-A18C374D41D8}"/>
                </a:ext>
              </a:extLst>
            </p:cNvPr>
            <p:cNvGrpSpPr/>
            <p:nvPr/>
          </p:nvGrpSpPr>
          <p:grpSpPr>
            <a:xfrm>
              <a:off x="8179596" y="4607818"/>
              <a:ext cx="752955" cy="712707"/>
              <a:chOff x="9455467" y="3539490"/>
              <a:chExt cx="1167764" cy="1270634"/>
            </a:xfrm>
            <a:grpFill/>
          </p:grpSpPr>
          <p:sp>
            <p:nvSpPr>
              <p:cNvPr id="363" name="Полилиния: фигура 134">
                <a:extLst>
                  <a:ext uri="{FF2B5EF4-FFF2-40B4-BE49-F238E27FC236}">
                    <a16:creationId xmlns:a16="http://schemas.microsoft.com/office/drawing/2014/main" id="{1AB914D7-8C13-405D-A6E4-31E02A5F9915}"/>
                  </a:ext>
                </a:extLst>
              </p:cNvPr>
              <p:cNvSpPr/>
              <p:nvPr/>
            </p:nvSpPr>
            <p:spPr>
              <a:xfrm>
                <a:off x="9455467" y="4006215"/>
                <a:ext cx="735012" cy="803909"/>
              </a:xfrm>
              <a:custGeom>
                <a:avLst/>
                <a:gdLst>
                  <a:gd name="connsiteX0" fmla="*/ 714375 w 735012"/>
                  <a:gd name="connsiteY0" fmla="*/ 653415 h 803909"/>
                  <a:gd name="connsiteX1" fmla="*/ 685800 w 735012"/>
                  <a:gd name="connsiteY1" fmla="*/ 637222 h 803909"/>
                  <a:gd name="connsiteX2" fmla="*/ 669607 w 735012"/>
                  <a:gd name="connsiteY2" fmla="*/ 653415 h 803909"/>
                  <a:gd name="connsiteX3" fmla="*/ 642938 w 735012"/>
                  <a:gd name="connsiteY3" fmla="*/ 652463 h 803909"/>
                  <a:gd name="connsiteX4" fmla="*/ 631507 w 735012"/>
                  <a:gd name="connsiteY4" fmla="*/ 629603 h 803909"/>
                  <a:gd name="connsiteX5" fmla="*/ 610552 w 735012"/>
                  <a:gd name="connsiteY5" fmla="*/ 629603 h 803909"/>
                  <a:gd name="connsiteX6" fmla="*/ 592455 w 735012"/>
                  <a:gd name="connsiteY6" fmla="*/ 611505 h 803909"/>
                  <a:gd name="connsiteX7" fmla="*/ 561022 w 735012"/>
                  <a:gd name="connsiteY7" fmla="*/ 611505 h 803909"/>
                  <a:gd name="connsiteX8" fmla="*/ 540068 w 735012"/>
                  <a:gd name="connsiteY8" fmla="*/ 598170 h 803909"/>
                  <a:gd name="connsiteX9" fmla="*/ 515302 w 735012"/>
                  <a:gd name="connsiteY9" fmla="*/ 573405 h 803909"/>
                  <a:gd name="connsiteX10" fmla="*/ 499110 w 735012"/>
                  <a:gd name="connsiteY10" fmla="*/ 557213 h 803909"/>
                  <a:gd name="connsiteX11" fmla="*/ 498157 w 735012"/>
                  <a:gd name="connsiteY11" fmla="*/ 519113 h 803909"/>
                  <a:gd name="connsiteX12" fmla="*/ 481965 w 735012"/>
                  <a:gd name="connsiteY12" fmla="*/ 493395 h 803909"/>
                  <a:gd name="connsiteX13" fmla="*/ 461010 w 735012"/>
                  <a:gd name="connsiteY13" fmla="*/ 461963 h 803909"/>
                  <a:gd name="connsiteX14" fmla="*/ 461010 w 735012"/>
                  <a:gd name="connsiteY14" fmla="*/ 447675 h 803909"/>
                  <a:gd name="connsiteX15" fmla="*/ 465772 w 735012"/>
                  <a:gd name="connsiteY15" fmla="*/ 429578 h 803909"/>
                  <a:gd name="connsiteX16" fmla="*/ 461010 w 735012"/>
                  <a:gd name="connsiteY16" fmla="*/ 403860 h 803909"/>
                  <a:gd name="connsiteX17" fmla="*/ 479107 w 735012"/>
                  <a:gd name="connsiteY17" fmla="*/ 403860 h 803909"/>
                  <a:gd name="connsiteX18" fmla="*/ 501968 w 735012"/>
                  <a:gd name="connsiteY18" fmla="*/ 396240 h 803909"/>
                  <a:gd name="connsiteX19" fmla="*/ 514350 w 735012"/>
                  <a:gd name="connsiteY19" fmla="*/ 383857 h 803909"/>
                  <a:gd name="connsiteX20" fmla="*/ 519113 w 735012"/>
                  <a:gd name="connsiteY20" fmla="*/ 367665 h 803909"/>
                  <a:gd name="connsiteX21" fmla="*/ 484822 w 735012"/>
                  <a:gd name="connsiteY21" fmla="*/ 354330 h 803909"/>
                  <a:gd name="connsiteX22" fmla="*/ 464820 w 735012"/>
                  <a:gd name="connsiteY22" fmla="*/ 338138 h 803909"/>
                  <a:gd name="connsiteX23" fmla="*/ 434340 w 735012"/>
                  <a:gd name="connsiteY23" fmla="*/ 320040 h 803909"/>
                  <a:gd name="connsiteX24" fmla="*/ 399097 w 735012"/>
                  <a:gd name="connsiteY24" fmla="*/ 301942 h 803909"/>
                  <a:gd name="connsiteX25" fmla="*/ 372427 w 735012"/>
                  <a:gd name="connsiteY25" fmla="*/ 279082 h 803909"/>
                  <a:gd name="connsiteX26" fmla="*/ 330518 w 735012"/>
                  <a:gd name="connsiteY26" fmla="*/ 256222 h 803909"/>
                  <a:gd name="connsiteX27" fmla="*/ 300038 w 735012"/>
                  <a:gd name="connsiteY27" fmla="*/ 229553 h 803909"/>
                  <a:gd name="connsiteX28" fmla="*/ 268605 w 735012"/>
                  <a:gd name="connsiteY28" fmla="*/ 217170 h 803909"/>
                  <a:gd name="connsiteX29" fmla="*/ 245745 w 735012"/>
                  <a:gd name="connsiteY29" fmla="*/ 211455 h 803909"/>
                  <a:gd name="connsiteX30" fmla="*/ 209550 w 735012"/>
                  <a:gd name="connsiteY30" fmla="*/ 174307 h 803909"/>
                  <a:gd name="connsiteX31" fmla="*/ 190500 w 735012"/>
                  <a:gd name="connsiteY31" fmla="*/ 155257 h 803909"/>
                  <a:gd name="connsiteX32" fmla="*/ 178118 w 735012"/>
                  <a:gd name="connsiteY32" fmla="*/ 121920 h 803909"/>
                  <a:gd name="connsiteX33" fmla="*/ 163830 w 735012"/>
                  <a:gd name="connsiteY33" fmla="*/ 100965 h 803909"/>
                  <a:gd name="connsiteX34" fmla="*/ 145732 w 735012"/>
                  <a:gd name="connsiteY34" fmla="*/ 100965 h 803909"/>
                  <a:gd name="connsiteX35" fmla="*/ 111443 w 735012"/>
                  <a:gd name="connsiteY35" fmla="*/ 79057 h 803909"/>
                  <a:gd name="connsiteX36" fmla="*/ 103822 w 735012"/>
                  <a:gd name="connsiteY36" fmla="*/ 59055 h 803909"/>
                  <a:gd name="connsiteX37" fmla="*/ 73343 w 735012"/>
                  <a:gd name="connsiteY37" fmla="*/ 53340 h 803909"/>
                  <a:gd name="connsiteX38" fmla="*/ 56197 w 735012"/>
                  <a:gd name="connsiteY38" fmla="*/ 36195 h 803909"/>
                  <a:gd name="connsiteX39" fmla="*/ 47625 w 735012"/>
                  <a:gd name="connsiteY39" fmla="*/ 16192 h 803909"/>
                  <a:gd name="connsiteX40" fmla="*/ 31432 w 735012"/>
                  <a:gd name="connsiteY40" fmla="*/ 8572 h 803909"/>
                  <a:gd name="connsiteX41" fmla="*/ 0 w 735012"/>
                  <a:gd name="connsiteY41" fmla="*/ 0 h 803909"/>
                  <a:gd name="connsiteX42" fmla="*/ 0 w 735012"/>
                  <a:gd name="connsiteY42" fmla="*/ 18097 h 803909"/>
                  <a:gd name="connsiteX43" fmla="*/ 7620 w 735012"/>
                  <a:gd name="connsiteY43" fmla="*/ 39053 h 803909"/>
                  <a:gd name="connsiteX44" fmla="*/ 17145 w 735012"/>
                  <a:gd name="connsiteY44" fmla="*/ 36195 h 803909"/>
                  <a:gd name="connsiteX45" fmla="*/ 40957 w 735012"/>
                  <a:gd name="connsiteY45" fmla="*/ 44767 h 803909"/>
                  <a:gd name="connsiteX46" fmla="*/ 57150 w 735012"/>
                  <a:gd name="connsiteY46" fmla="*/ 60960 h 803909"/>
                  <a:gd name="connsiteX47" fmla="*/ 57150 w 735012"/>
                  <a:gd name="connsiteY47" fmla="*/ 70485 h 803909"/>
                  <a:gd name="connsiteX48" fmla="*/ 73343 w 735012"/>
                  <a:gd name="connsiteY48" fmla="*/ 86678 h 803909"/>
                  <a:gd name="connsiteX49" fmla="*/ 68580 w 735012"/>
                  <a:gd name="connsiteY49" fmla="*/ 111442 h 803909"/>
                  <a:gd name="connsiteX50" fmla="*/ 40957 w 735012"/>
                  <a:gd name="connsiteY50" fmla="*/ 102870 h 803909"/>
                  <a:gd name="connsiteX51" fmla="*/ 40957 w 735012"/>
                  <a:gd name="connsiteY51" fmla="*/ 120967 h 803909"/>
                  <a:gd name="connsiteX52" fmla="*/ 32385 w 735012"/>
                  <a:gd name="connsiteY52" fmla="*/ 145732 h 803909"/>
                  <a:gd name="connsiteX53" fmla="*/ 66675 w 735012"/>
                  <a:gd name="connsiteY53" fmla="*/ 157163 h 803909"/>
                  <a:gd name="connsiteX54" fmla="*/ 83820 w 735012"/>
                  <a:gd name="connsiteY54" fmla="*/ 188595 h 803909"/>
                  <a:gd name="connsiteX55" fmla="*/ 115252 w 735012"/>
                  <a:gd name="connsiteY55" fmla="*/ 220028 h 803909"/>
                  <a:gd name="connsiteX56" fmla="*/ 115252 w 735012"/>
                  <a:gd name="connsiteY56" fmla="*/ 238125 h 803909"/>
                  <a:gd name="connsiteX57" fmla="*/ 144780 w 735012"/>
                  <a:gd name="connsiteY57" fmla="*/ 278130 h 803909"/>
                  <a:gd name="connsiteX58" fmla="*/ 166688 w 735012"/>
                  <a:gd name="connsiteY58" fmla="*/ 280988 h 803909"/>
                  <a:gd name="connsiteX59" fmla="*/ 202882 w 735012"/>
                  <a:gd name="connsiteY59" fmla="*/ 297180 h 803909"/>
                  <a:gd name="connsiteX60" fmla="*/ 249555 w 735012"/>
                  <a:gd name="connsiteY60" fmla="*/ 318135 h 803909"/>
                  <a:gd name="connsiteX61" fmla="*/ 266700 w 735012"/>
                  <a:gd name="connsiteY61" fmla="*/ 345757 h 803909"/>
                  <a:gd name="connsiteX62" fmla="*/ 293370 w 735012"/>
                  <a:gd name="connsiteY62" fmla="*/ 381953 h 803909"/>
                  <a:gd name="connsiteX63" fmla="*/ 323850 w 735012"/>
                  <a:gd name="connsiteY63" fmla="*/ 412432 h 803909"/>
                  <a:gd name="connsiteX64" fmla="*/ 360045 w 735012"/>
                  <a:gd name="connsiteY64" fmla="*/ 448628 h 803909"/>
                  <a:gd name="connsiteX65" fmla="*/ 404813 w 735012"/>
                  <a:gd name="connsiteY65" fmla="*/ 510540 h 803909"/>
                  <a:gd name="connsiteX66" fmla="*/ 425768 w 735012"/>
                  <a:gd name="connsiteY66" fmla="*/ 554355 h 803909"/>
                  <a:gd name="connsiteX67" fmla="*/ 450532 w 735012"/>
                  <a:gd name="connsiteY67" fmla="*/ 561975 h 803909"/>
                  <a:gd name="connsiteX68" fmla="*/ 476250 w 735012"/>
                  <a:gd name="connsiteY68" fmla="*/ 576263 h 803909"/>
                  <a:gd name="connsiteX69" fmla="*/ 501015 w 735012"/>
                  <a:gd name="connsiteY69" fmla="*/ 599122 h 803909"/>
                  <a:gd name="connsiteX70" fmla="*/ 521018 w 735012"/>
                  <a:gd name="connsiteY70" fmla="*/ 637222 h 803909"/>
                  <a:gd name="connsiteX71" fmla="*/ 537210 w 735012"/>
                  <a:gd name="connsiteY71" fmla="*/ 658178 h 803909"/>
                  <a:gd name="connsiteX72" fmla="*/ 560070 w 735012"/>
                  <a:gd name="connsiteY72" fmla="*/ 681038 h 803909"/>
                  <a:gd name="connsiteX73" fmla="*/ 584835 w 735012"/>
                  <a:gd name="connsiteY73" fmla="*/ 705803 h 803909"/>
                  <a:gd name="connsiteX74" fmla="*/ 584835 w 735012"/>
                  <a:gd name="connsiteY74" fmla="*/ 728663 h 803909"/>
                  <a:gd name="connsiteX75" fmla="*/ 621030 w 735012"/>
                  <a:gd name="connsiteY75" fmla="*/ 762953 h 803909"/>
                  <a:gd name="connsiteX76" fmla="*/ 641985 w 735012"/>
                  <a:gd name="connsiteY76" fmla="*/ 783907 h 803909"/>
                  <a:gd name="connsiteX77" fmla="*/ 658177 w 735012"/>
                  <a:gd name="connsiteY77" fmla="*/ 803910 h 803909"/>
                  <a:gd name="connsiteX78" fmla="*/ 678180 w 735012"/>
                  <a:gd name="connsiteY78" fmla="*/ 787717 h 803909"/>
                  <a:gd name="connsiteX79" fmla="*/ 663893 w 735012"/>
                  <a:gd name="connsiteY79" fmla="*/ 756285 h 803909"/>
                  <a:gd name="connsiteX80" fmla="*/ 643890 w 735012"/>
                  <a:gd name="connsiteY80" fmla="*/ 736282 h 803909"/>
                  <a:gd name="connsiteX81" fmla="*/ 638175 w 735012"/>
                  <a:gd name="connsiteY81" fmla="*/ 711517 h 803909"/>
                  <a:gd name="connsiteX82" fmla="*/ 647700 w 735012"/>
                  <a:gd name="connsiteY82" fmla="*/ 686753 h 803909"/>
                  <a:gd name="connsiteX83" fmla="*/ 679132 w 735012"/>
                  <a:gd name="connsiteY83" fmla="*/ 686753 h 803909"/>
                  <a:gd name="connsiteX84" fmla="*/ 693420 w 735012"/>
                  <a:gd name="connsiteY84" fmla="*/ 672465 h 803909"/>
                  <a:gd name="connsiteX85" fmla="*/ 732472 w 735012"/>
                  <a:gd name="connsiteY85" fmla="*/ 688657 h 803909"/>
                  <a:gd name="connsiteX86" fmla="*/ 732472 w 735012"/>
                  <a:gd name="connsiteY86" fmla="*/ 674370 h 803909"/>
                  <a:gd name="connsiteX87" fmla="*/ 714375 w 735012"/>
                  <a:gd name="connsiteY87" fmla="*/ 653415 h 803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735012" h="803909">
                    <a:moveTo>
                      <a:pt x="714375" y="653415"/>
                    </a:moveTo>
                    <a:lnTo>
                      <a:pt x="685800" y="637222"/>
                    </a:lnTo>
                    <a:lnTo>
                      <a:pt x="669607" y="653415"/>
                    </a:lnTo>
                    <a:lnTo>
                      <a:pt x="642938" y="652463"/>
                    </a:lnTo>
                    <a:lnTo>
                      <a:pt x="631507" y="629603"/>
                    </a:lnTo>
                    <a:lnTo>
                      <a:pt x="610552" y="629603"/>
                    </a:lnTo>
                    <a:lnTo>
                      <a:pt x="592455" y="611505"/>
                    </a:lnTo>
                    <a:lnTo>
                      <a:pt x="561022" y="611505"/>
                    </a:lnTo>
                    <a:lnTo>
                      <a:pt x="540068" y="598170"/>
                    </a:lnTo>
                    <a:lnTo>
                      <a:pt x="515302" y="573405"/>
                    </a:lnTo>
                    <a:lnTo>
                      <a:pt x="499110" y="557213"/>
                    </a:lnTo>
                    <a:cubicBezTo>
                      <a:pt x="499110" y="557213"/>
                      <a:pt x="494347" y="522922"/>
                      <a:pt x="498157" y="519113"/>
                    </a:cubicBezTo>
                    <a:cubicBezTo>
                      <a:pt x="501968" y="515303"/>
                      <a:pt x="481965" y="493395"/>
                      <a:pt x="481965" y="493395"/>
                    </a:cubicBezTo>
                    <a:lnTo>
                      <a:pt x="461010" y="461963"/>
                    </a:lnTo>
                    <a:lnTo>
                      <a:pt x="461010" y="447675"/>
                    </a:lnTo>
                    <a:lnTo>
                      <a:pt x="465772" y="429578"/>
                    </a:lnTo>
                    <a:lnTo>
                      <a:pt x="461010" y="403860"/>
                    </a:lnTo>
                    <a:lnTo>
                      <a:pt x="479107" y="403860"/>
                    </a:lnTo>
                    <a:lnTo>
                      <a:pt x="501968" y="396240"/>
                    </a:lnTo>
                    <a:lnTo>
                      <a:pt x="514350" y="383857"/>
                    </a:lnTo>
                    <a:lnTo>
                      <a:pt x="519113" y="367665"/>
                    </a:lnTo>
                    <a:lnTo>
                      <a:pt x="484822" y="354330"/>
                    </a:lnTo>
                    <a:lnTo>
                      <a:pt x="464820" y="338138"/>
                    </a:lnTo>
                    <a:lnTo>
                      <a:pt x="434340" y="320040"/>
                    </a:lnTo>
                    <a:lnTo>
                      <a:pt x="399097" y="301942"/>
                    </a:lnTo>
                    <a:lnTo>
                      <a:pt x="372427" y="279082"/>
                    </a:lnTo>
                    <a:lnTo>
                      <a:pt x="330518" y="256222"/>
                    </a:lnTo>
                    <a:lnTo>
                      <a:pt x="300038" y="229553"/>
                    </a:lnTo>
                    <a:lnTo>
                      <a:pt x="268605" y="217170"/>
                    </a:lnTo>
                    <a:lnTo>
                      <a:pt x="245745" y="211455"/>
                    </a:lnTo>
                    <a:lnTo>
                      <a:pt x="209550" y="174307"/>
                    </a:lnTo>
                    <a:lnTo>
                      <a:pt x="190500" y="155257"/>
                    </a:lnTo>
                    <a:lnTo>
                      <a:pt x="178118" y="121920"/>
                    </a:lnTo>
                    <a:lnTo>
                      <a:pt x="163830" y="100965"/>
                    </a:lnTo>
                    <a:lnTo>
                      <a:pt x="145732" y="100965"/>
                    </a:lnTo>
                    <a:lnTo>
                      <a:pt x="111443" y="79057"/>
                    </a:lnTo>
                    <a:lnTo>
                      <a:pt x="103822" y="59055"/>
                    </a:lnTo>
                    <a:lnTo>
                      <a:pt x="73343" y="53340"/>
                    </a:lnTo>
                    <a:lnTo>
                      <a:pt x="56197" y="36195"/>
                    </a:lnTo>
                    <a:lnTo>
                      <a:pt x="47625" y="16192"/>
                    </a:lnTo>
                    <a:lnTo>
                      <a:pt x="31432" y="8572"/>
                    </a:lnTo>
                    <a:lnTo>
                      <a:pt x="0" y="0"/>
                    </a:lnTo>
                    <a:lnTo>
                      <a:pt x="0" y="18097"/>
                    </a:lnTo>
                    <a:lnTo>
                      <a:pt x="7620" y="39053"/>
                    </a:lnTo>
                    <a:lnTo>
                      <a:pt x="17145" y="36195"/>
                    </a:lnTo>
                    <a:lnTo>
                      <a:pt x="40957" y="44767"/>
                    </a:lnTo>
                    <a:lnTo>
                      <a:pt x="57150" y="60960"/>
                    </a:lnTo>
                    <a:lnTo>
                      <a:pt x="57150" y="70485"/>
                    </a:lnTo>
                    <a:lnTo>
                      <a:pt x="73343" y="86678"/>
                    </a:lnTo>
                    <a:lnTo>
                      <a:pt x="68580" y="111442"/>
                    </a:lnTo>
                    <a:lnTo>
                      <a:pt x="40957" y="102870"/>
                    </a:lnTo>
                    <a:lnTo>
                      <a:pt x="40957" y="120967"/>
                    </a:lnTo>
                    <a:lnTo>
                      <a:pt x="32385" y="145732"/>
                    </a:lnTo>
                    <a:lnTo>
                      <a:pt x="66675" y="157163"/>
                    </a:lnTo>
                    <a:lnTo>
                      <a:pt x="83820" y="188595"/>
                    </a:lnTo>
                    <a:lnTo>
                      <a:pt x="115252" y="220028"/>
                    </a:lnTo>
                    <a:lnTo>
                      <a:pt x="115252" y="238125"/>
                    </a:lnTo>
                    <a:lnTo>
                      <a:pt x="144780" y="278130"/>
                    </a:lnTo>
                    <a:lnTo>
                      <a:pt x="166688" y="280988"/>
                    </a:lnTo>
                    <a:lnTo>
                      <a:pt x="202882" y="297180"/>
                    </a:lnTo>
                    <a:lnTo>
                      <a:pt x="249555" y="318135"/>
                    </a:lnTo>
                    <a:lnTo>
                      <a:pt x="266700" y="345757"/>
                    </a:lnTo>
                    <a:lnTo>
                      <a:pt x="293370" y="381953"/>
                    </a:lnTo>
                    <a:lnTo>
                      <a:pt x="323850" y="412432"/>
                    </a:lnTo>
                    <a:lnTo>
                      <a:pt x="360045" y="448628"/>
                    </a:lnTo>
                    <a:lnTo>
                      <a:pt x="404813" y="510540"/>
                    </a:lnTo>
                    <a:lnTo>
                      <a:pt x="425768" y="554355"/>
                    </a:lnTo>
                    <a:lnTo>
                      <a:pt x="450532" y="561975"/>
                    </a:lnTo>
                    <a:lnTo>
                      <a:pt x="476250" y="576263"/>
                    </a:lnTo>
                    <a:lnTo>
                      <a:pt x="501015" y="599122"/>
                    </a:lnTo>
                    <a:lnTo>
                      <a:pt x="521018" y="637222"/>
                    </a:lnTo>
                    <a:lnTo>
                      <a:pt x="537210" y="658178"/>
                    </a:lnTo>
                    <a:lnTo>
                      <a:pt x="560070" y="681038"/>
                    </a:lnTo>
                    <a:lnTo>
                      <a:pt x="584835" y="705803"/>
                    </a:lnTo>
                    <a:lnTo>
                      <a:pt x="584835" y="728663"/>
                    </a:lnTo>
                    <a:lnTo>
                      <a:pt x="621030" y="762953"/>
                    </a:lnTo>
                    <a:lnTo>
                      <a:pt x="641985" y="783907"/>
                    </a:lnTo>
                    <a:lnTo>
                      <a:pt x="658177" y="803910"/>
                    </a:lnTo>
                    <a:lnTo>
                      <a:pt x="678180" y="787717"/>
                    </a:lnTo>
                    <a:lnTo>
                      <a:pt x="663893" y="756285"/>
                    </a:lnTo>
                    <a:lnTo>
                      <a:pt x="643890" y="736282"/>
                    </a:lnTo>
                    <a:lnTo>
                      <a:pt x="638175" y="711517"/>
                    </a:lnTo>
                    <a:lnTo>
                      <a:pt x="647700" y="686753"/>
                    </a:lnTo>
                    <a:lnTo>
                      <a:pt x="679132" y="686753"/>
                    </a:lnTo>
                    <a:lnTo>
                      <a:pt x="693420" y="672465"/>
                    </a:lnTo>
                    <a:cubicBezTo>
                      <a:pt x="693420" y="672465"/>
                      <a:pt x="726757" y="688657"/>
                      <a:pt x="732472" y="688657"/>
                    </a:cubicBezTo>
                    <a:cubicBezTo>
                      <a:pt x="738188" y="688657"/>
                      <a:pt x="732472" y="674370"/>
                      <a:pt x="732472" y="674370"/>
                    </a:cubicBezTo>
                    <a:lnTo>
                      <a:pt x="714375" y="65341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4" name="Полилиния: фигура 135">
                <a:extLst>
                  <a:ext uri="{FF2B5EF4-FFF2-40B4-BE49-F238E27FC236}">
                    <a16:creationId xmlns:a16="http://schemas.microsoft.com/office/drawing/2014/main" id="{3A4A087E-64D5-4E77-9D4F-84E0E06902F1}"/>
                  </a:ext>
                </a:extLst>
              </p:cNvPr>
              <p:cNvSpPr/>
              <p:nvPr/>
            </p:nvSpPr>
            <p:spPr>
              <a:xfrm>
                <a:off x="10505122" y="4676775"/>
                <a:ext cx="24764" cy="57150"/>
              </a:xfrm>
              <a:custGeom>
                <a:avLst/>
                <a:gdLst>
                  <a:gd name="connsiteX0" fmla="*/ 4763 w 24764"/>
                  <a:gd name="connsiteY0" fmla="*/ 29528 h 57150"/>
                  <a:gd name="connsiteX1" fmla="*/ 7620 w 24764"/>
                  <a:gd name="connsiteY1" fmla="*/ 53340 h 57150"/>
                  <a:gd name="connsiteX2" fmla="*/ 17145 w 24764"/>
                  <a:gd name="connsiteY2" fmla="*/ 57150 h 57150"/>
                  <a:gd name="connsiteX3" fmla="*/ 17145 w 24764"/>
                  <a:gd name="connsiteY3" fmla="*/ 38100 h 57150"/>
                  <a:gd name="connsiteX4" fmla="*/ 24765 w 24764"/>
                  <a:gd name="connsiteY4" fmla="*/ 21907 h 57150"/>
                  <a:gd name="connsiteX5" fmla="*/ 24765 w 24764"/>
                  <a:gd name="connsiteY5" fmla="*/ 0 h 57150"/>
                  <a:gd name="connsiteX6" fmla="*/ 0 w 24764"/>
                  <a:gd name="connsiteY6" fmla="*/ 381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64" h="57150">
                    <a:moveTo>
                      <a:pt x="4763" y="29528"/>
                    </a:moveTo>
                    <a:lnTo>
                      <a:pt x="7620" y="53340"/>
                    </a:lnTo>
                    <a:lnTo>
                      <a:pt x="17145" y="57150"/>
                    </a:lnTo>
                    <a:lnTo>
                      <a:pt x="17145" y="38100"/>
                    </a:lnTo>
                    <a:lnTo>
                      <a:pt x="24765" y="21907"/>
                    </a:lnTo>
                    <a:lnTo>
                      <a:pt x="24765" y="0"/>
                    </a:lnTo>
                    <a:lnTo>
                      <a:pt x="0" y="381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Полилиния: фигура 136">
                <a:extLst>
                  <a:ext uri="{FF2B5EF4-FFF2-40B4-BE49-F238E27FC236}">
                    <a16:creationId xmlns:a16="http://schemas.microsoft.com/office/drawing/2014/main" id="{EC1257E1-C7F5-4F1B-9ADA-F67089866643}"/>
                  </a:ext>
                </a:extLst>
              </p:cNvPr>
              <p:cNvSpPr/>
              <p:nvPr/>
            </p:nvSpPr>
            <p:spPr>
              <a:xfrm>
                <a:off x="10589894" y="4694872"/>
                <a:ext cx="15240" cy="20002"/>
              </a:xfrm>
              <a:custGeom>
                <a:avLst/>
                <a:gdLst>
                  <a:gd name="connsiteX0" fmla="*/ 0 w 15240"/>
                  <a:gd name="connsiteY0" fmla="*/ 11430 h 20002"/>
                  <a:gd name="connsiteX1" fmla="*/ 15240 w 15240"/>
                  <a:gd name="connsiteY1" fmla="*/ 20003 h 20002"/>
                  <a:gd name="connsiteX2" fmla="*/ 15240 w 15240"/>
                  <a:gd name="connsiteY2" fmla="*/ 953 h 20002"/>
                  <a:gd name="connsiteX3" fmla="*/ 0 w 15240"/>
                  <a:gd name="connsiteY3" fmla="*/ 0 h 20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" h="20002">
                    <a:moveTo>
                      <a:pt x="0" y="11430"/>
                    </a:moveTo>
                    <a:lnTo>
                      <a:pt x="15240" y="20003"/>
                    </a:lnTo>
                    <a:lnTo>
                      <a:pt x="15240" y="95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6" name="Полилиния: фигура 137">
                <a:extLst>
                  <a:ext uri="{FF2B5EF4-FFF2-40B4-BE49-F238E27FC236}">
                    <a16:creationId xmlns:a16="http://schemas.microsoft.com/office/drawing/2014/main" id="{EB7E67FC-4786-4F4B-B2DA-4182F45CB902}"/>
                  </a:ext>
                </a:extLst>
              </p:cNvPr>
              <p:cNvSpPr/>
              <p:nvPr/>
            </p:nvSpPr>
            <p:spPr>
              <a:xfrm>
                <a:off x="10535602" y="4495800"/>
                <a:ext cx="29527" cy="106680"/>
              </a:xfrm>
              <a:custGeom>
                <a:avLst/>
                <a:gdLst>
                  <a:gd name="connsiteX0" fmla="*/ 26670 w 29527"/>
                  <a:gd name="connsiteY0" fmla="*/ 5715 h 106680"/>
                  <a:gd name="connsiteX1" fmla="*/ 6668 w 29527"/>
                  <a:gd name="connsiteY1" fmla="*/ 0 h 106680"/>
                  <a:gd name="connsiteX2" fmla="*/ 0 w 29527"/>
                  <a:gd name="connsiteY2" fmla="*/ 31432 h 106680"/>
                  <a:gd name="connsiteX3" fmla="*/ 8573 w 29527"/>
                  <a:gd name="connsiteY3" fmla="*/ 40005 h 106680"/>
                  <a:gd name="connsiteX4" fmla="*/ 953 w 29527"/>
                  <a:gd name="connsiteY4" fmla="*/ 63818 h 106680"/>
                  <a:gd name="connsiteX5" fmla="*/ 3810 w 29527"/>
                  <a:gd name="connsiteY5" fmla="*/ 100013 h 106680"/>
                  <a:gd name="connsiteX6" fmla="*/ 18098 w 29527"/>
                  <a:gd name="connsiteY6" fmla="*/ 106680 h 106680"/>
                  <a:gd name="connsiteX7" fmla="*/ 23813 w 29527"/>
                  <a:gd name="connsiteY7" fmla="*/ 86678 h 106680"/>
                  <a:gd name="connsiteX8" fmla="*/ 16193 w 29527"/>
                  <a:gd name="connsiteY8" fmla="*/ 47625 h 106680"/>
                  <a:gd name="connsiteX9" fmla="*/ 29528 w 29527"/>
                  <a:gd name="connsiteY9" fmla="*/ 34290 h 10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527" h="106680">
                    <a:moveTo>
                      <a:pt x="26670" y="5715"/>
                    </a:moveTo>
                    <a:lnTo>
                      <a:pt x="6668" y="0"/>
                    </a:lnTo>
                    <a:lnTo>
                      <a:pt x="0" y="31432"/>
                    </a:lnTo>
                    <a:lnTo>
                      <a:pt x="8573" y="40005"/>
                    </a:lnTo>
                    <a:lnTo>
                      <a:pt x="953" y="63818"/>
                    </a:lnTo>
                    <a:lnTo>
                      <a:pt x="3810" y="100013"/>
                    </a:lnTo>
                    <a:lnTo>
                      <a:pt x="18098" y="106680"/>
                    </a:lnTo>
                    <a:lnTo>
                      <a:pt x="23813" y="86678"/>
                    </a:lnTo>
                    <a:lnTo>
                      <a:pt x="16193" y="47625"/>
                    </a:lnTo>
                    <a:lnTo>
                      <a:pt x="29528" y="3429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7" name="Полилиния: фигура 138">
                <a:extLst>
                  <a:ext uri="{FF2B5EF4-FFF2-40B4-BE49-F238E27FC236}">
                    <a16:creationId xmlns:a16="http://schemas.microsoft.com/office/drawing/2014/main" id="{E04829AA-0BBC-4D52-BD58-5E0782D91573}"/>
                  </a:ext>
                </a:extLst>
              </p:cNvPr>
              <p:cNvSpPr/>
              <p:nvPr/>
            </p:nvSpPr>
            <p:spPr>
              <a:xfrm>
                <a:off x="10569892" y="4434840"/>
                <a:ext cx="14287" cy="26669"/>
              </a:xfrm>
              <a:custGeom>
                <a:avLst/>
                <a:gdLst>
                  <a:gd name="connsiteX0" fmla="*/ 0 w 14287"/>
                  <a:gd name="connsiteY0" fmla="*/ 5715 h 26669"/>
                  <a:gd name="connsiteX1" fmla="*/ 4763 w 14287"/>
                  <a:gd name="connsiteY1" fmla="*/ 26670 h 26669"/>
                  <a:gd name="connsiteX2" fmla="*/ 14288 w 14287"/>
                  <a:gd name="connsiteY2" fmla="*/ 12382 h 26669"/>
                  <a:gd name="connsiteX3" fmla="*/ 5715 w 14287"/>
                  <a:gd name="connsiteY3" fmla="*/ 0 h 2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" h="26669">
                    <a:moveTo>
                      <a:pt x="0" y="5715"/>
                    </a:moveTo>
                    <a:lnTo>
                      <a:pt x="4763" y="26670"/>
                    </a:lnTo>
                    <a:lnTo>
                      <a:pt x="14288" y="12382"/>
                    </a:lnTo>
                    <a:lnTo>
                      <a:pt x="5715" y="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8" name="Полилиния: фигура 139">
                <a:extLst>
                  <a:ext uri="{FF2B5EF4-FFF2-40B4-BE49-F238E27FC236}">
                    <a16:creationId xmlns:a16="http://schemas.microsoft.com/office/drawing/2014/main" id="{035DD17A-395B-46C3-B1A7-6DC8B674040D}"/>
                  </a:ext>
                </a:extLst>
              </p:cNvPr>
              <p:cNvSpPr/>
              <p:nvPr/>
            </p:nvSpPr>
            <p:spPr>
              <a:xfrm>
                <a:off x="10587989" y="4271962"/>
                <a:ext cx="26670" cy="92392"/>
              </a:xfrm>
              <a:custGeom>
                <a:avLst/>
                <a:gdLst>
                  <a:gd name="connsiteX0" fmla="*/ 25718 w 26670"/>
                  <a:gd name="connsiteY0" fmla="*/ 22860 h 92392"/>
                  <a:gd name="connsiteX1" fmla="*/ 21908 w 26670"/>
                  <a:gd name="connsiteY1" fmla="*/ 0 h 92392"/>
                  <a:gd name="connsiteX2" fmla="*/ 4763 w 26670"/>
                  <a:gd name="connsiteY2" fmla="*/ 16193 h 92392"/>
                  <a:gd name="connsiteX3" fmla="*/ 0 w 26670"/>
                  <a:gd name="connsiteY3" fmla="*/ 37147 h 92392"/>
                  <a:gd name="connsiteX4" fmla="*/ 8573 w 26670"/>
                  <a:gd name="connsiteY4" fmla="*/ 56197 h 92392"/>
                  <a:gd name="connsiteX5" fmla="*/ 2858 w 26670"/>
                  <a:gd name="connsiteY5" fmla="*/ 88582 h 92392"/>
                  <a:gd name="connsiteX6" fmla="*/ 19050 w 26670"/>
                  <a:gd name="connsiteY6" fmla="*/ 92393 h 92392"/>
                  <a:gd name="connsiteX7" fmla="*/ 26670 w 26670"/>
                  <a:gd name="connsiteY7" fmla="*/ 72390 h 92392"/>
                  <a:gd name="connsiteX8" fmla="*/ 21908 w 26670"/>
                  <a:gd name="connsiteY8" fmla="*/ 45720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670" h="92392">
                    <a:moveTo>
                      <a:pt x="25718" y="22860"/>
                    </a:moveTo>
                    <a:lnTo>
                      <a:pt x="21908" y="0"/>
                    </a:lnTo>
                    <a:lnTo>
                      <a:pt x="4763" y="16193"/>
                    </a:lnTo>
                    <a:lnTo>
                      <a:pt x="0" y="37147"/>
                    </a:lnTo>
                    <a:lnTo>
                      <a:pt x="8573" y="56197"/>
                    </a:lnTo>
                    <a:lnTo>
                      <a:pt x="2858" y="88582"/>
                    </a:lnTo>
                    <a:lnTo>
                      <a:pt x="19050" y="92393"/>
                    </a:lnTo>
                    <a:lnTo>
                      <a:pt x="26670" y="72390"/>
                    </a:lnTo>
                    <a:lnTo>
                      <a:pt x="21908" y="4572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9" name="Полилиния: фигура 140">
                <a:extLst>
                  <a:ext uri="{FF2B5EF4-FFF2-40B4-BE49-F238E27FC236}">
                    <a16:creationId xmlns:a16="http://schemas.microsoft.com/office/drawing/2014/main" id="{C1FF6C41-EBD5-44C9-97A7-22CF4ACC438B}"/>
                  </a:ext>
                </a:extLst>
              </p:cNvPr>
              <p:cNvSpPr/>
              <p:nvPr/>
            </p:nvSpPr>
            <p:spPr>
              <a:xfrm>
                <a:off x="10607039" y="4087177"/>
                <a:ext cx="16192" cy="49529"/>
              </a:xfrm>
              <a:custGeom>
                <a:avLst/>
                <a:gdLst>
                  <a:gd name="connsiteX0" fmla="*/ 11430 w 16192"/>
                  <a:gd name="connsiteY0" fmla="*/ 28575 h 49529"/>
                  <a:gd name="connsiteX1" fmla="*/ 11430 w 16192"/>
                  <a:gd name="connsiteY1" fmla="*/ 15240 h 49529"/>
                  <a:gd name="connsiteX2" fmla="*/ 11430 w 16192"/>
                  <a:gd name="connsiteY2" fmla="*/ 0 h 49529"/>
                  <a:gd name="connsiteX3" fmla="*/ 0 w 16192"/>
                  <a:gd name="connsiteY3" fmla="*/ 953 h 49529"/>
                  <a:gd name="connsiteX4" fmla="*/ 0 w 16192"/>
                  <a:gd name="connsiteY4" fmla="*/ 27622 h 49529"/>
                  <a:gd name="connsiteX5" fmla="*/ 0 w 16192"/>
                  <a:gd name="connsiteY5" fmla="*/ 49530 h 49529"/>
                  <a:gd name="connsiteX6" fmla="*/ 16193 w 16192"/>
                  <a:gd name="connsiteY6" fmla="*/ 49530 h 49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192" h="49529">
                    <a:moveTo>
                      <a:pt x="11430" y="28575"/>
                    </a:moveTo>
                    <a:lnTo>
                      <a:pt x="11430" y="15240"/>
                    </a:lnTo>
                    <a:lnTo>
                      <a:pt x="11430" y="0"/>
                    </a:lnTo>
                    <a:lnTo>
                      <a:pt x="0" y="953"/>
                    </a:lnTo>
                    <a:lnTo>
                      <a:pt x="0" y="27622"/>
                    </a:lnTo>
                    <a:lnTo>
                      <a:pt x="0" y="49530"/>
                    </a:lnTo>
                    <a:lnTo>
                      <a:pt x="16193" y="4953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0" name="Полилиния: фигура 141">
                <a:extLst>
                  <a:ext uri="{FF2B5EF4-FFF2-40B4-BE49-F238E27FC236}">
                    <a16:creationId xmlns:a16="http://schemas.microsoft.com/office/drawing/2014/main" id="{43AC754A-5DA0-46B3-A8AA-F10698EE6907}"/>
                  </a:ext>
                </a:extLst>
              </p:cNvPr>
              <p:cNvSpPr/>
              <p:nvPr/>
            </p:nvSpPr>
            <p:spPr>
              <a:xfrm>
                <a:off x="10436542" y="3539490"/>
                <a:ext cx="57150" cy="126682"/>
              </a:xfrm>
              <a:custGeom>
                <a:avLst/>
                <a:gdLst>
                  <a:gd name="connsiteX0" fmla="*/ 29527 w 57150"/>
                  <a:gd name="connsiteY0" fmla="*/ 34290 h 126682"/>
                  <a:gd name="connsiteX1" fmla="*/ 30480 w 57150"/>
                  <a:gd name="connsiteY1" fmla="*/ 12382 h 126682"/>
                  <a:gd name="connsiteX2" fmla="*/ 19050 w 57150"/>
                  <a:gd name="connsiteY2" fmla="*/ 0 h 126682"/>
                  <a:gd name="connsiteX3" fmla="*/ 11430 w 57150"/>
                  <a:gd name="connsiteY3" fmla="*/ 21907 h 126682"/>
                  <a:gd name="connsiteX4" fmla="*/ 0 w 57150"/>
                  <a:gd name="connsiteY4" fmla="*/ 34290 h 126682"/>
                  <a:gd name="connsiteX5" fmla="*/ 13335 w 57150"/>
                  <a:gd name="connsiteY5" fmla="*/ 47625 h 126682"/>
                  <a:gd name="connsiteX6" fmla="*/ 20955 w 57150"/>
                  <a:gd name="connsiteY6" fmla="*/ 63817 h 126682"/>
                  <a:gd name="connsiteX7" fmla="*/ 19050 w 57150"/>
                  <a:gd name="connsiteY7" fmla="*/ 85725 h 126682"/>
                  <a:gd name="connsiteX8" fmla="*/ 17145 w 57150"/>
                  <a:gd name="connsiteY8" fmla="*/ 113347 h 126682"/>
                  <a:gd name="connsiteX9" fmla="*/ 30480 w 57150"/>
                  <a:gd name="connsiteY9" fmla="*/ 126682 h 126682"/>
                  <a:gd name="connsiteX10" fmla="*/ 43815 w 57150"/>
                  <a:gd name="connsiteY10" fmla="*/ 119063 h 126682"/>
                  <a:gd name="connsiteX11" fmla="*/ 43815 w 57150"/>
                  <a:gd name="connsiteY11" fmla="*/ 89535 h 126682"/>
                  <a:gd name="connsiteX12" fmla="*/ 57150 w 57150"/>
                  <a:gd name="connsiteY12" fmla="*/ 76200 h 126682"/>
                  <a:gd name="connsiteX13" fmla="*/ 46672 w 57150"/>
                  <a:gd name="connsiteY13" fmla="*/ 51435 h 126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7150" h="126682">
                    <a:moveTo>
                      <a:pt x="29527" y="34290"/>
                    </a:moveTo>
                    <a:lnTo>
                      <a:pt x="30480" y="12382"/>
                    </a:lnTo>
                    <a:lnTo>
                      <a:pt x="19050" y="0"/>
                    </a:lnTo>
                    <a:lnTo>
                      <a:pt x="11430" y="21907"/>
                    </a:lnTo>
                    <a:lnTo>
                      <a:pt x="0" y="34290"/>
                    </a:lnTo>
                    <a:lnTo>
                      <a:pt x="13335" y="47625"/>
                    </a:lnTo>
                    <a:lnTo>
                      <a:pt x="20955" y="63817"/>
                    </a:lnTo>
                    <a:lnTo>
                      <a:pt x="19050" y="85725"/>
                    </a:lnTo>
                    <a:lnTo>
                      <a:pt x="17145" y="113347"/>
                    </a:lnTo>
                    <a:lnTo>
                      <a:pt x="30480" y="126682"/>
                    </a:lnTo>
                    <a:lnTo>
                      <a:pt x="43815" y="119063"/>
                    </a:lnTo>
                    <a:lnTo>
                      <a:pt x="43815" y="89535"/>
                    </a:lnTo>
                    <a:lnTo>
                      <a:pt x="57150" y="76200"/>
                    </a:lnTo>
                    <a:lnTo>
                      <a:pt x="46672" y="5143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1" name="Полилиния: фигура 142">
                <a:extLst>
                  <a:ext uri="{FF2B5EF4-FFF2-40B4-BE49-F238E27FC236}">
                    <a16:creationId xmlns:a16="http://schemas.microsoft.com/office/drawing/2014/main" id="{FFA1FBE6-74BE-4510-88F1-DB7392B0BD02}"/>
                  </a:ext>
                </a:extLst>
              </p:cNvPr>
              <p:cNvSpPr/>
              <p:nvPr/>
            </p:nvSpPr>
            <p:spPr>
              <a:xfrm>
                <a:off x="10507980" y="3729990"/>
                <a:ext cx="20002" cy="24765"/>
              </a:xfrm>
              <a:custGeom>
                <a:avLst/>
                <a:gdLst>
                  <a:gd name="connsiteX0" fmla="*/ 20002 w 20002"/>
                  <a:gd name="connsiteY0" fmla="*/ 13335 h 24765"/>
                  <a:gd name="connsiteX1" fmla="*/ 0 w 20002"/>
                  <a:gd name="connsiteY1" fmla="*/ 0 h 24765"/>
                  <a:gd name="connsiteX2" fmla="*/ 0 w 20002"/>
                  <a:gd name="connsiteY2" fmla="*/ 18097 h 24765"/>
                  <a:gd name="connsiteX3" fmla="*/ 12382 w 20002"/>
                  <a:gd name="connsiteY3" fmla="*/ 24765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002" h="24765">
                    <a:moveTo>
                      <a:pt x="20002" y="13335"/>
                    </a:moveTo>
                    <a:lnTo>
                      <a:pt x="0" y="0"/>
                    </a:lnTo>
                    <a:lnTo>
                      <a:pt x="0" y="18097"/>
                    </a:lnTo>
                    <a:lnTo>
                      <a:pt x="12382" y="2476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45" name="Рисунок 3">
              <a:extLst>
                <a:ext uri="{FF2B5EF4-FFF2-40B4-BE49-F238E27FC236}">
                  <a16:creationId xmlns:a16="http://schemas.microsoft.com/office/drawing/2014/main" id="{8878133F-9232-4AE5-97C0-6038CC8238D3}"/>
                </a:ext>
              </a:extLst>
            </p:cNvPr>
            <p:cNvGrpSpPr/>
            <p:nvPr/>
          </p:nvGrpSpPr>
          <p:grpSpPr>
            <a:xfrm>
              <a:off x="8061065" y="3641335"/>
              <a:ext cx="786120" cy="949920"/>
              <a:chOff x="9271635" y="1816417"/>
              <a:chExt cx="1219200" cy="1693545"/>
            </a:xfrm>
            <a:grpFill/>
          </p:grpSpPr>
          <p:sp>
            <p:nvSpPr>
              <p:cNvPr id="359" name="Полилиния: фигура 144">
                <a:extLst>
                  <a:ext uri="{FF2B5EF4-FFF2-40B4-BE49-F238E27FC236}">
                    <a16:creationId xmlns:a16="http://schemas.microsoft.com/office/drawing/2014/main" id="{A25B51DC-F394-4DD9-A886-625576BA922E}"/>
                  </a:ext>
                </a:extLst>
              </p:cNvPr>
              <p:cNvSpPr/>
              <p:nvPr/>
            </p:nvSpPr>
            <p:spPr>
              <a:xfrm>
                <a:off x="9271635" y="1816417"/>
                <a:ext cx="1190625" cy="1693545"/>
              </a:xfrm>
              <a:custGeom>
                <a:avLst/>
                <a:gdLst>
                  <a:gd name="connsiteX0" fmla="*/ 1164907 w 1190625"/>
                  <a:gd name="connsiteY0" fmla="*/ 1567815 h 1693545"/>
                  <a:gd name="connsiteX1" fmla="*/ 1159192 w 1190625"/>
                  <a:gd name="connsiteY1" fmla="*/ 1523048 h 1693545"/>
                  <a:gd name="connsiteX2" fmla="*/ 1132522 w 1190625"/>
                  <a:gd name="connsiteY2" fmla="*/ 1497330 h 1693545"/>
                  <a:gd name="connsiteX3" fmla="*/ 1095375 w 1190625"/>
                  <a:gd name="connsiteY3" fmla="*/ 1460183 h 1693545"/>
                  <a:gd name="connsiteX4" fmla="*/ 1071563 w 1190625"/>
                  <a:gd name="connsiteY4" fmla="*/ 1450658 h 1693545"/>
                  <a:gd name="connsiteX5" fmla="*/ 1057275 w 1190625"/>
                  <a:gd name="connsiteY5" fmla="*/ 1400175 h 1693545"/>
                  <a:gd name="connsiteX6" fmla="*/ 1068705 w 1190625"/>
                  <a:gd name="connsiteY6" fmla="*/ 1374458 h 1693545"/>
                  <a:gd name="connsiteX7" fmla="*/ 1068705 w 1190625"/>
                  <a:gd name="connsiteY7" fmla="*/ 1348740 h 1693545"/>
                  <a:gd name="connsiteX8" fmla="*/ 1100138 w 1190625"/>
                  <a:gd name="connsiteY8" fmla="*/ 1344930 h 1693545"/>
                  <a:gd name="connsiteX9" fmla="*/ 1100138 w 1190625"/>
                  <a:gd name="connsiteY9" fmla="*/ 1327785 h 1693545"/>
                  <a:gd name="connsiteX10" fmla="*/ 1059180 w 1190625"/>
                  <a:gd name="connsiteY10" fmla="*/ 1318260 h 1693545"/>
                  <a:gd name="connsiteX11" fmla="*/ 1046797 w 1190625"/>
                  <a:gd name="connsiteY11" fmla="*/ 1305878 h 1693545"/>
                  <a:gd name="connsiteX12" fmla="*/ 1022032 w 1190625"/>
                  <a:gd name="connsiteY12" fmla="*/ 1296353 h 1693545"/>
                  <a:gd name="connsiteX13" fmla="*/ 993457 w 1190625"/>
                  <a:gd name="connsiteY13" fmla="*/ 1252538 h 1693545"/>
                  <a:gd name="connsiteX14" fmla="*/ 983932 w 1190625"/>
                  <a:gd name="connsiteY14" fmla="*/ 1196340 h 1693545"/>
                  <a:gd name="connsiteX15" fmla="*/ 998220 w 1190625"/>
                  <a:gd name="connsiteY15" fmla="*/ 1164908 h 1693545"/>
                  <a:gd name="connsiteX16" fmla="*/ 1022032 w 1190625"/>
                  <a:gd name="connsiteY16" fmla="*/ 1149668 h 1693545"/>
                  <a:gd name="connsiteX17" fmla="*/ 1039177 w 1190625"/>
                  <a:gd name="connsiteY17" fmla="*/ 1138238 h 1693545"/>
                  <a:gd name="connsiteX18" fmla="*/ 1029652 w 1190625"/>
                  <a:gd name="connsiteY18" fmla="*/ 1112520 h 1693545"/>
                  <a:gd name="connsiteX19" fmla="*/ 1001077 w 1190625"/>
                  <a:gd name="connsiteY19" fmla="*/ 1089660 h 1693545"/>
                  <a:gd name="connsiteX20" fmla="*/ 953452 w 1190625"/>
                  <a:gd name="connsiteY20" fmla="*/ 1095375 h 1693545"/>
                  <a:gd name="connsiteX21" fmla="*/ 933450 w 1190625"/>
                  <a:gd name="connsiteY21" fmla="*/ 1075373 h 1693545"/>
                  <a:gd name="connsiteX22" fmla="*/ 907732 w 1190625"/>
                  <a:gd name="connsiteY22" fmla="*/ 1068705 h 1693545"/>
                  <a:gd name="connsiteX23" fmla="*/ 878205 w 1190625"/>
                  <a:gd name="connsiteY23" fmla="*/ 1019175 h 1693545"/>
                  <a:gd name="connsiteX24" fmla="*/ 869632 w 1190625"/>
                  <a:gd name="connsiteY24" fmla="*/ 984885 h 1693545"/>
                  <a:gd name="connsiteX25" fmla="*/ 898207 w 1190625"/>
                  <a:gd name="connsiteY25" fmla="*/ 976313 h 1693545"/>
                  <a:gd name="connsiteX26" fmla="*/ 909638 w 1190625"/>
                  <a:gd name="connsiteY26" fmla="*/ 949643 h 1693545"/>
                  <a:gd name="connsiteX27" fmla="*/ 882015 w 1190625"/>
                  <a:gd name="connsiteY27" fmla="*/ 922020 h 1693545"/>
                  <a:gd name="connsiteX28" fmla="*/ 859155 w 1190625"/>
                  <a:gd name="connsiteY28" fmla="*/ 922020 h 1693545"/>
                  <a:gd name="connsiteX29" fmla="*/ 844867 w 1190625"/>
                  <a:gd name="connsiteY29" fmla="*/ 936308 h 1693545"/>
                  <a:gd name="connsiteX30" fmla="*/ 808672 w 1190625"/>
                  <a:gd name="connsiteY30" fmla="*/ 927735 h 1693545"/>
                  <a:gd name="connsiteX31" fmla="*/ 771525 w 1190625"/>
                  <a:gd name="connsiteY31" fmla="*/ 902018 h 1693545"/>
                  <a:gd name="connsiteX32" fmla="*/ 764857 w 1190625"/>
                  <a:gd name="connsiteY32" fmla="*/ 869633 h 1693545"/>
                  <a:gd name="connsiteX33" fmla="*/ 727710 w 1190625"/>
                  <a:gd name="connsiteY33" fmla="*/ 832485 h 1693545"/>
                  <a:gd name="connsiteX34" fmla="*/ 718185 w 1190625"/>
                  <a:gd name="connsiteY34" fmla="*/ 853440 h 1693545"/>
                  <a:gd name="connsiteX35" fmla="*/ 704850 w 1190625"/>
                  <a:gd name="connsiteY35" fmla="*/ 866775 h 1693545"/>
                  <a:gd name="connsiteX36" fmla="*/ 704850 w 1190625"/>
                  <a:gd name="connsiteY36" fmla="*/ 879158 h 1693545"/>
                  <a:gd name="connsiteX37" fmla="*/ 715327 w 1190625"/>
                  <a:gd name="connsiteY37" fmla="*/ 902970 h 1693545"/>
                  <a:gd name="connsiteX38" fmla="*/ 676275 w 1190625"/>
                  <a:gd name="connsiteY38" fmla="*/ 902970 h 1693545"/>
                  <a:gd name="connsiteX39" fmla="*/ 653415 w 1190625"/>
                  <a:gd name="connsiteY39" fmla="*/ 880110 h 1693545"/>
                  <a:gd name="connsiteX40" fmla="*/ 614363 w 1190625"/>
                  <a:gd name="connsiteY40" fmla="*/ 860108 h 1693545"/>
                  <a:gd name="connsiteX41" fmla="*/ 610552 w 1190625"/>
                  <a:gd name="connsiteY41" fmla="*/ 828675 h 1693545"/>
                  <a:gd name="connsiteX42" fmla="*/ 604838 w 1190625"/>
                  <a:gd name="connsiteY42" fmla="*/ 789623 h 1693545"/>
                  <a:gd name="connsiteX43" fmla="*/ 578167 w 1190625"/>
                  <a:gd name="connsiteY43" fmla="*/ 762953 h 1693545"/>
                  <a:gd name="connsiteX44" fmla="*/ 558165 w 1190625"/>
                  <a:gd name="connsiteY44" fmla="*/ 742950 h 1693545"/>
                  <a:gd name="connsiteX45" fmla="*/ 541020 w 1190625"/>
                  <a:gd name="connsiteY45" fmla="*/ 725805 h 1693545"/>
                  <a:gd name="connsiteX46" fmla="*/ 520065 w 1190625"/>
                  <a:gd name="connsiteY46" fmla="*/ 690563 h 1693545"/>
                  <a:gd name="connsiteX47" fmla="*/ 535305 w 1190625"/>
                  <a:gd name="connsiteY47" fmla="*/ 675323 h 1693545"/>
                  <a:gd name="connsiteX48" fmla="*/ 535305 w 1190625"/>
                  <a:gd name="connsiteY48" fmla="*/ 638175 h 1693545"/>
                  <a:gd name="connsiteX49" fmla="*/ 552450 w 1190625"/>
                  <a:gd name="connsiteY49" fmla="*/ 638175 h 1693545"/>
                  <a:gd name="connsiteX50" fmla="*/ 578167 w 1190625"/>
                  <a:gd name="connsiteY50" fmla="*/ 612458 h 1693545"/>
                  <a:gd name="connsiteX51" fmla="*/ 552450 w 1190625"/>
                  <a:gd name="connsiteY51" fmla="*/ 600075 h 1693545"/>
                  <a:gd name="connsiteX52" fmla="*/ 552450 w 1190625"/>
                  <a:gd name="connsiteY52" fmla="*/ 573405 h 1693545"/>
                  <a:gd name="connsiteX53" fmla="*/ 537210 w 1190625"/>
                  <a:gd name="connsiteY53" fmla="*/ 532448 h 1693545"/>
                  <a:gd name="connsiteX54" fmla="*/ 554355 w 1190625"/>
                  <a:gd name="connsiteY54" fmla="*/ 531495 h 1693545"/>
                  <a:gd name="connsiteX55" fmla="*/ 574357 w 1190625"/>
                  <a:gd name="connsiteY55" fmla="*/ 551498 h 1693545"/>
                  <a:gd name="connsiteX56" fmla="*/ 601027 w 1190625"/>
                  <a:gd name="connsiteY56" fmla="*/ 563880 h 1693545"/>
                  <a:gd name="connsiteX57" fmla="*/ 601027 w 1190625"/>
                  <a:gd name="connsiteY57" fmla="*/ 541020 h 1693545"/>
                  <a:gd name="connsiteX58" fmla="*/ 577215 w 1190625"/>
                  <a:gd name="connsiteY58" fmla="*/ 503873 h 1693545"/>
                  <a:gd name="connsiteX59" fmla="*/ 577215 w 1190625"/>
                  <a:gd name="connsiteY59" fmla="*/ 482917 h 1693545"/>
                  <a:gd name="connsiteX60" fmla="*/ 588645 w 1190625"/>
                  <a:gd name="connsiteY60" fmla="*/ 443865 h 1693545"/>
                  <a:gd name="connsiteX61" fmla="*/ 573405 w 1190625"/>
                  <a:gd name="connsiteY61" fmla="*/ 428625 h 1693545"/>
                  <a:gd name="connsiteX62" fmla="*/ 602932 w 1190625"/>
                  <a:gd name="connsiteY62" fmla="*/ 386715 h 1693545"/>
                  <a:gd name="connsiteX63" fmla="*/ 621030 w 1190625"/>
                  <a:gd name="connsiteY63" fmla="*/ 344805 h 1693545"/>
                  <a:gd name="connsiteX64" fmla="*/ 656272 w 1190625"/>
                  <a:gd name="connsiteY64" fmla="*/ 333375 h 1693545"/>
                  <a:gd name="connsiteX65" fmla="*/ 681990 w 1190625"/>
                  <a:gd name="connsiteY65" fmla="*/ 345758 h 1693545"/>
                  <a:gd name="connsiteX66" fmla="*/ 705802 w 1190625"/>
                  <a:gd name="connsiteY66" fmla="*/ 324803 h 1693545"/>
                  <a:gd name="connsiteX67" fmla="*/ 690563 w 1190625"/>
                  <a:gd name="connsiteY67" fmla="*/ 309563 h 1693545"/>
                  <a:gd name="connsiteX68" fmla="*/ 666750 w 1190625"/>
                  <a:gd name="connsiteY68" fmla="*/ 282892 h 1693545"/>
                  <a:gd name="connsiteX69" fmla="*/ 652463 w 1190625"/>
                  <a:gd name="connsiteY69" fmla="*/ 226695 h 1693545"/>
                  <a:gd name="connsiteX70" fmla="*/ 652463 w 1190625"/>
                  <a:gd name="connsiteY70" fmla="*/ 185738 h 1693545"/>
                  <a:gd name="connsiteX71" fmla="*/ 625792 w 1190625"/>
                  <a:gd name="connsiteY71" fmla="*/ 161925 h 1693545"/>
                  <a:gd name="connsiteX72" fmla="*/ 611505 w 1190625"/>
                  <a:gd name="connsiteY72" fmla="*/ 118110 h 1693545"/>
                  <a:gd name="connsiteX73" fmla="*/ 604838 w 1190625"/>
                  <a:gd name="connsiteY73" fmla="*/ 73343 h 1693545"/>
                  <a:gd name="connsiteX74" fmla="*/ 590550 w 1190625"/>
                  <a:gd name="connsiteY74" fmla="*/ 39053 h 1693545"/>
                  <a:gd name="connsiteX75" fmla="*/ 581977 w 1190625"/>
                  <a:gd name="connsiteY75" fmla="*/ 0 h 1693545"/>
                  <a:gd name="connsiteX76" fmla="*/ 566738 w 1190625"/>
                  <a:gd name="connsiteY76" fmla="*/ 21908 h 1693545"/>
                  <a:gd name="connsiteX77" fmla="*/ 541972 w 1190625"/>
                  <a:gd name="connsiteY77" fmla="*/ 23813 h 1693545"/>
                  <a:gd name="connsiteX78" fmla="*/ 524827 w 1190625"/>
                  <a:gd name="connsiteY78" fmla="*/ 5715 h 1693545"/>
                  <a:gd name="connsiteX79" fmla="*/ 503872 w 1190625"/>
                  <a:gd name="connsiteY79" fmla="*/ 12383 h 1693545"/>
                  <a:gd name="connsiteX80" fmla="*/ 498157 w 1190625"/>
                  <a:gd name="connsiteY80" fmla="*/ 48578 h 1693545"/>
                  <a:gd name="connsiteX81" fmla="*/ 487680 w 1190625"/>
                  <a:gd name="connsiteY81" fmla="*/ 84773 h 1693545"/>
                  <a:gd name="connsiteX82" fmla="*/ 466725 w 1190625"/>
                  <a:gd name="connsiteY82" fmla="*/ 117158 h 1693545"/>
                  <a:gd name="connsiteX83" fmla="*/ 479107 w 1190625"/>
                  <a:gd name="connsiteY83" fmla="*/ 135255 h 1693545"/>
                  <a:gd name="connsiteX84" fmla="*/ 464820 w 1190625"/>
                  <a:gd name="connsiteY84" fmla="*/ 178118 h 1693545"/>
                  <a:gd name="connsiteX85" fmla="*/ 450532 w 1190625"/>
                  <a:gd name="connsiteY85" fmla="*/ 209550 h 1693545"/>
                  <a:gd name="connsiteX86" fmla="*/ 426720 w 1190625"/>
                  <a:gd name="connsiteY86" fmla="*/ 223838 h 1693545"/>
                  <a:gd name="connsiteX87" fmla="*/ 410527 w 1190625"/>
                  <a:gd name="connsiteY87" fmla="*/ 207645 h 1693545"/>
                  <a:gd name="connsiteX88" fmla="*/ 389572 w 1190625"/>
                  <a:gd name="connsiteY88" fmla="*/ 214313 h 1693545"/>
                  <a:gd name="connsiteX89" fmla="*/ 370522 w 1190625"/>
                  <a:gd name="connsiteY89" fmla="*/ 233363 h 1693545"/>
                  <a:gd name="connsiteX90" fmla="*/ 345757 w 1190625"/>
                  <a:gd name="connsiteY90" fmla="*/ 238125 h 1693545"/>
                  <a:gd name="connsiteX91" fmla="*/ 323850 w 1190625"/>
                  <a:gd name="connsiteY91" fmla="*/ 266700 h 1693545"/>
                  <a:gd name="connsiteX92" fmla="*/ 306705 w 1190625"/>
                  <a:gd name="connsiteY92" fmla="*/ 249555 h 1693545"/>
                  <a:gd name="connsiteX93" fmla="*/ 298132 w 1190625"/>
                  <a:gd name="connsiteY93" fmla="*/ 225743 h 1693545"/>
                  <a:gd name="connsiteX94" fmla="*/ 286702 w 1190625"/>
                  <a:gd name="connsiteY94" fmla="*/ 203835 h 1693545"/>
                  <a:gd name="connsiteX95" fmla="*/ 279082 w 1190625"/>
                  <a:gd name="connsiteY95" fmla="*/ 174308 h 1693545"/>
                  <a:gd name="connsiteX96" fmla="*/ 260985 w 1190625"/>
                  <a:gd name="connsiteY96" fmla="*/ 168593 h 1693545"/>
                  <a:gd name="connsiteX97" fmla="*/ 237172 w 1190625"/>
                  <a:gd name="connsiteY97" fmla="*/ 185738 h 1693545"/>
                  <a:gd name="connsiteX98" fmla="*/ 222885 w 1190625"/>
                  <a:gd name="connsiteY98" fmla="*/ 200025 h 1693545"/>
                  <a:gd name="connsiteX99" fmla="*/ 202882 w 1190625"/>
                  <a:gd name="connsiteY99" fmla="*/ 191453 h 1693545"/>
                  <a:gd name="connsiteX100" fmla="*/ 169545 w 1190625"/>
                  <a:gd name="connsiteY100" fmla="*/ 197168 h 1693545"/>
                  <a:gd name="connsiteX101" fmla="*/ 176213 w 1190625"/>
                  <a:gd name="connsiteY101" fmla="*/ 218123 h 1693545"/>
                  <a:gd name="connsiteX102" fmla="*/ 164782 w 1190625"/>
                  <a:gd name="connsiteY102" fmla="*/ 235268 h 1693545"/>
                  <a:gd name="connsiteX103" fmla="*/ 149542 w 1190625"/>
                  <a:gd name="connsiteY103" fmla="*/ 230505 h 1693545"/>
                  <a:gd name="connsiteX104" fmla="*/ 116205 w 1190625"/>
                  <a:gd name="connsiteY104" fmla="*/ 240983 h 1693545"/>
                  <a:gd name="connsiteX105" fmla="*/ 116205 w 1190625"/>
                  <a:gd name="connsiteY105" fmla="*/ 265748 h 1693545"/>
                  <a:gd name="connsiteX106" fmla="*/ 100965 w 1190625"/>
                  <a:gd name="connsiteY106" fmla="*/ 277178 h 1693545"/>
                  <a:gd name="connsiteX107" fmla="*/ 91440 w 1190625"/>
                  <a:gd name="connsiteY107" fmla="*/ 306705 h 1693545"/>
                  <a:gd name="connsiteX108" fmla="*/ 67627 w 1190625"/>
                  <a:gd name="connsiteY108" fmla="*/ 304800 h 1693545"/>
                  <a:gd name="connsiteX109" fmla="*/ 39052 w 1190625"/>
                  <a:gd name="connsiteY109" fmla="*/ 325755 h 1693545"/>
                  <a:gd name="connsiteX110" fmla="*/ 49530 w 1190625"/>
                  <a:gd name="connsiteY110" fmla="*/ 336233 h 1693545"/>
                  <a:gd name="connsiteX111" fmla="*/ 35242 w 1190625"/>
                  <a:gd name="connsiteY111" fmla="*/ 350520 h 1693545"/>
                  <a:gd name="connsiteX112" fmla="*/ 12382 w 1190625"/>
                  <a:gd name="connsiteY112" fmla="*/ 362903 h 1693545"/>
                  <a:gd name="connsiteX113" fmla="*/ 0 w 1190625"/>
                  <a:gd name="connsiteY113" fmla="*/ 388620 h 1693545"/>
                  <a:gd name="connsiteX114" fmla="*/ 0 w 1190625"/>
                  <a:gd name="connsiteY114" fmla="*/ 413385 h 1693545"/>
                  <a:gd name="connsiteX115" fmla="*/ 10477 w 1190625"/>
                  <a:gd name="connsiteY115" fmla="*/ 424815 h 1693545"/>
                  <a:gd name="connsiteX116" fmla="*/ 45720 w 1190625"/>
                  <a:gd name="connsiteY116" fmla="*/ 428625 h 1693545"/>
                  <a:gd name="connsiteX117" fmla="*/ 46672 w 1190625"/>
                  <a:gd name="connsiteY117" fmla="*/ 443865 h 1693545"/>
                  <a:gd name="connsiteX118" fmla="*/ 55245 w 1190625"/>
                  <a:gd name="connsiteY118" fmla="*/ 452438 h 1693545"/>
                  <a:gd name="connsiteX119" fmla="*/ 48577 w 1190625"/>
                  <a:gd name="connsiteY119" fmla="*/ 472440 h 1693545"/>
                  <a:gd name="connsiteX120" fmla="*/ 82867 w 1190625"/>
                  <a:gd name="connsiteY120" fmla="*/ 487680 h 1693545"/>
                  <a:gd name="connsiteX121" fmla="*/ 86677 w 1190625"/>
                  <a:gd name="connsiteY121" fmla="*/ 508635 h 1693545"/>
                  <a:gd name="connsiteX122" fmla="*/ 120967 w 1190625"/>
                  <a:gd name="connsiteY122" fmla="*/ 501967 h 1693545"/>
                  <a:gd name="connsiteX123" fmla="*/ 131445 w 1190625"/>
                  <a:gd name="connsiteY123" fmla="*/ 527685 h 1693545"/>
                  <a:gd name="connsiteX124" fmla="*/ 154305 w 1190625"/>
                  <a:gd name="connsiteY124" fmla="*/ 537210 h 1693545"/>
                  <a:gd name="connsiteX125" fmla="*/ 155257 w 1190625"/>
                  <a:gd name="connsiteY125" fmla="*/ 556260 h 1693545"/>
                  <a:gd name="connsiteX126" fmla="*/ 172402 w 1190625"/>
                  <a:gd name="connsiteY126" fmla="*/ 573405 h 1693545"/>
                  <a:gd name="connsiteX127" fmla="*/ 193357 w 1190625"/>
                  <a:gd name="connsiteY127" fmla="*/ 567690 h 1693545"/>
                  <a:gd name="connsiteX128" fmla="*/ 218122 w 1190625"/>
                  <a:gd name="connsiteY128" fmla="*/ 567690 h 1693545"/>
                  <a:gd name="connsiteX129" fmla="*/ 221932 w 1190625"/>
                  <a:gd name="connsiteY129" fmla="*/ 584835 h 1693545"/>
                  <a:gd name="connsiteX130" fmla="*/ 238125 w 1190625"/>
                  <a:gd name="connsiteY130" fmla="*/ 584835 h 1693545"/>
                  <a:gd name="connsiteX131" fmla="*/ 249555 w 1190625"/>
                  <a:gd name="connsiteY131" fmla="*/ 598170 h 1693545"/>
                  <a:gd name="connsiteX132" fmla="*/ 240982 w 1190625"/>
                  <a:gd name="connsiteY132" fmla="*/ 628650 h 1693545"/>
                  <a:gd name="connsiteX133" fmla="*/ 253365 w 1190625"/>
                  <a:gd name="connsiteY133" fmla="*/ 628650 h 1693545"/>
                  <a:gd name="connsiteX134" fmla="*/ 262890 w 1190625"/>
                  <a:gd name="connsiteY134" fmla="*/ 613410 h 1693545"/>
                  <a:gd name="connsiteX135" fmla="*/ 272415 w 1190625"/>
                  <a:gd name="connsiteY135" fmla="*/ 622935 h 1693545"/>
                  <a:gd name="connsiteX136" fmla="*/ 272415 w 1190625"/>
                  <a:gd name="connsiteY136" fmla="*/ 641985 h 1693545"/>
                  <a:gd name="connsiteX137" fmla="*/ 301942 w 1190625"/>
                  <a:gd name="connsiteY137" fmla="*/ 645795 h 1693545"/>
                  <a:gd name="connsiteX138" fmla="*/ 315277 w 1190625"/>
                  <a:gd name="connsiteY138" fmla="*/ 626745 h 1693545"/>
                  <a:gd name="connsiteX139" fmla="*/ 327660 w 1190625"/>
                  <a:gd name="connsiteY139" fmla="*/ 627698 h 1693545"/>
                  <a:gd name="connsiteX140" fmla="*/ 330517 w 1190625"/>
                  <a:gd name="connsiteY140" fmla="*/ 609600 h 1693545"/>
                  <a:gd name="connsiteX141" fmla="*/ 301942 w 1190625"/>
                  <a:gd name="connsiteY141" fmla="*/ 609600 h 1693545"/>
                  <a:gd name="connsiteX142" fmla="*/ 279082 w 1190625"/>
                  <a:gd name="connsiteY142" fmla="*/ 586740 h 1693545"/>
                  <a:gd name="connsiteX143" fmla="*/ 254317 w 1190625"/>
                  <a:gd name="connsiteY143" fmla="*/ 561975 h 1693545"/>
                  <a:gd name="connsiteX144" fmla="*/ 237172 w 1190625"/>
                  <a:gd name="connsiteY144" fmla="*/ 546735 h 1693545"/>
                  <a:gd name="connsiteX145" fmla="*/ 245745 w 1190625"/>
                  <a:gd name="connsiteY145" fmla="*/ 523875 h 1693545"/>
                  <a:gd name="connsiteX146" fmla="*/ 245745 w 1190625"/>
                  <a:gd name="connsiteY146" fmla="*/ 494348 h 1693545"/>
                  <a:gd name="connsiteX147" fmla="*/ 277177 w 1190625"/>
                  <a:gd name="connsiteY147" fmla="*/ 477203 h 1693545"/>
                  <a:gd name="connsiteX148" fmla="*/ 299085 w 1190625"/>
                  <a:gd name="connsiteY148" fmla="*/ 455295 h 1693545"/>
                  <a:gd name="connsiteX149" fmla="*/ 308610 w 1190625"/>
                  <a:gd name="connsiteY149" fmla="*/ 464820 h 1693545"/>
                  <a:gd name="connsiteX150" fmla="*/ 281940 w 1190625"/>
                  <a:gd name="connsiteY150" fmla="*/ 490538 h 1693545"/>
                  <a:gd name="connsiteX151" fmla="*/ 281940 w 1190625"/>
                  <a:gd name="connsiteY151" fmla="*/ 522923 h 1693545"/>
                  <a:gd name="connsiteX152" fmla="*/ 311467 w 1190625"/>
                  <a:gd name="connsiteY152" fmla="*/ 541020 h 1693545"/>
                  <a:gd name="connsiteX153" fmla="*/ 331470 w 1190625"/>
                  <a:gd name="connsiteY153" fmla="*/ 566738 h 1693545"/>
                  <a:gd name="connsiteX154" fmla="*/ 347663 w 1190625"/>
                  <a:gd name="connsiteY154" fmla="*/ 582930 h 1693545"/>
                  <a:gd name="connsiteX155" fmla="*/ 365760 w 1190625"/>
                  <a:gd name="connsiteY155" fmla="*/ 589598 h 1693545"/>
                  <a:gd name="connsiteX156" fmla="*/ 383857 w 1190625"/>
                  <a:gd name="connsiteY156" fmla="*/ 589598 h 1693545"/>
                  <a:gd name="connsiteX157" fmla="*/ 401955 w 1190625"/>
                  <a:gd name="connsiteY157" fmla="*/ 624840 h 1693545"/>
                  <a:gd name="connsiteX158" fmla="*/ 419100 w 1190625"/>
                  <a:gd name="connsiteY158" fmla="*/ 641985 h 1693545"/>
                  <a:gd name="connsiteX159" fmla="*/ 419100 w 1190625"/>
                  <a:gd name="connsiteY159" fmla="*/ 665798 h 1693545"/>
                  <a:gd name="connsiteX160" fmla="*/ 419100 w 1190625"/>
                  <a:gd name="connsiteY160" fmla="*/ 685800 h 1693545"/>
                  <a:gd name="connsiteX161" fmla="*/ 409575 w 1190625"/>
                  <a:gd name="connsiteY161" fmla="*/ 720090 h 1693545"/>
                  <a:gd name="connsiteX162" fmla="*/ 410527 w 1190625"/>
                  <a:gd name="connsiteY162" fmla="*/ 748665 h 1693545"/>
                  <a:gd name="connsiteX163" fmla="*/ 427672 w 1190625"/>
                  <a:gd name="connsiteY163" fmla="*/ 762953 h 1693545"/>
                  <a:gd name="connsiteX164" fmla="*/ 444817 w 1190625"/>
                  <a:gd name="connsiteY164" fmla="*/ 815340 h 1693545"/>
                  <a:gd name="connsiteX165" fmla="*/ 459105 w 1190625"/>
                  <a:gd name="connsiteY165" fmla="*/ 850583 h 1693545"/>
                  <a:gd name="connsiteX166" fmla="*/ 471488 w 1190625"/>
                  <a:gd name="connsiteY166" fmla="*/ 894398 h 1693545"/>
                  <a:gd name="connsiteX167" fmla="*/ 482917 w 1190625"/>
                  <a:gd name="connsiteY167" fmla="*/ 941070 h 1693545"/>
                  <a:gd name="connsiteX168" fmla="*/ 509588 w 1190625"/>
                  <a:gd name="connsiteY168" fmla="*/ 976313 h 1693545"/>
                  <a:gd name="connsiteX169" fmla="*/ 526732 w 1190625"/>
                  <a:gd name="connsiteY169" fmla="*/ 1028700 h 1693545"/>
                  <a:gd name="connsiteX170" fmla="*/ 533400 w 1190625"/>
                  <a:gd name="connsiteY170" fmla="*/ 1073468 h 1693545"/>
                  <a:gd name="connsiteX171" fmla="*/ 547688 w 1190625"/>
                  <a:gd name="connsiteY171" fmla="*/ 1115378 h 1693545"/>
                  <a:gd name="connsiteX172" fmla="*/ 537210 w 1190625"/>
                  <a:gd name="connsiteY172" fmla="*/ 1125855 h 1693545"/>
                  <a:gd name="connsiteX173" fmla="*/ 524827 w 1190625"/>
                  <a:gd name="connsiteY173" fmla="*/ 1138238 h 1693545"/>
                  <a:gd name="connsiteX174" fmla="*/ 538163 w 1190625"/>
                  <a:gd name="connsiteY174" fmla="*/ 1161098 h 1693545"/>
                  <a:gd name="connsiteX175" fmla="*/ 528638 w 1190625"/>
                  <a:gd name="connsiteY175" fmla="*/ 1182053 h 1693545"/>
                  <a:gd name="connsiteX176" fmla="*/ 516255 w 1190625"/>
                  <a:gd name="connsiteY176" fmla="*/ 1194435 h 1693545"/>
                  <a:gd name="connsiteX177" fmla="*/ 516255 w 1190625"/>
                  <a:gd name="connsiteY177" fmla="*/ 1206818 h 1693545"/>
                  <a:gd name="connsiteX178" fmla="*/ 541972 w 1190625"/>
                  <a:gd name="connsiteY178" fmla="*/ 1212533 h 1693545"/>
                  <a:gd name="connsiteX179" fmla="*/ 565785 w 1190625"/>
                  <a:gd name="connsiteY179" fmla="*/ 1246823 h 1693545"/>
                  <a:gd name="connsiteX180" fmla="*/ 569595 w 1190625"/>
                  <a:gd name="connsiteY180" fmla="*/ 1279208 h 1693545"/>
                  <a:gd name="connsiteX181" fmla="*/ 589597 w 1190625"/>
                  <a:gd name="connsiteY181" fmla="*/ 1299210 h 1693545"/>
                  <a:gd name="connsiteX182" fmla="*/ 589597 w 1190625"/>
                  <a:gd name="connsiteY182" fmla="*/ 1328738 h 1693545"/>
                  <a:gd name="connsiteX183" fmla="*/ 618172 w 1190625"/>
                  <a:gd name="connsiteY183" fmla="*/ 1358265 h 1693545"/>
                  <a:gd name="connsiteX184" fmla="*/ 659130 w 1190625"/>
                  <a:gd name="connsiteY184" fmla="*/ 1399223 h 1693545"/>
                  <a:gd name="connsiteX185" fmla="*/ 677227 w 1190625"/>
                  <a:gd name="connsiteY185" fmla="*/ 1433513 h 1693545"/>
                  <a:gd name="connsiteX186" fmla="*/ 715327 w 1190625"/>
                  <a:gd name="connsiteY186" fmla="*/ 1459230 h 1693545"/>
                  <a:gd name="connsiteX187" fmla="*/ 754380 w 1190625"/>
                  <a:gd name="connsiteY187" fmla="*/ 1480185 h 1693545"/>
                  <a:gd name="connsiteX188" fmla="*/ 815340 w 1190625"/>
                  <a:gd name="connsiteY188" fmla="*/ 1498283 h 1693545"/>
                  <a:gd name="connsiteX189" fmla="*/ 843915 w 1190625"/>
                  <a:gd name="connsiteY189" fmla="*/ 1503998 h 1693545"/>
                  <a:gd name="connsiteX190" fmla="*/ 869632 w 1190625"/>
                  <a:gd name="connsiteY190" fmla="*/ 1521143 h 1693545"/>
                  <a:gd name="connsiteX191" fmla="*/ 884872 w 1190625"/>
                  <a:gd name="connsiteY191" fmla="*/ 1542098 h 1693545"/>
                  <a:gd name="connsiteX192" fmla="*/ 938213 w 1190625"/>
                  <a:gd name="connsiteY192" fmla="*/ 1570673 h 1693545"/>
                  <a:gd name="connsiteX193" fmla="*/ 984885 w 1190625"/>
                  <a:gd name="connsiteY193" fmla="*/ 1590675 h 1693545"/>
                  <a:gd name="connsiteX194" fmla="*/ 1034415 w 1190625"/>
                  <a:gd name="connsiteY194" fmla="*/ 1613535 h 1693545"/>
                  <a:gd name="connsiteX195" fmla="*/ 1060132 w 1190625"/>
                  <a:gd name="connsiteY195" fmla="*/ 1639252 h 1693545"/>
                  <a:gd name="connsiteX196" fmla="*/ 1088707 w 1190625"/>
                  <a:gd name="connsiteY196" fmla="*/ 1639252 h 1693545"/>
                  <a:gd name="connsiteX197" fmla="*/ 1108710 w 1190625"/>
                  <a:gd name="connsiteY197" fmla="*/ 1659255 h 1693545"/>
                  <a:gd name="connsiteX198" fmla="*/ 1134427 w 1190625"/>
                  <a:gd name="connsiteY198" fmla="*/ 1672590 h 1693545"/>
                  <a:gd name="connsiteX199" fmla="*/ 1175385 w 1190625"/>
                  <a:gd name="connsiteY199" fmla="*/ 1672590 h 1693545"/>
                  <a:gd name="connsiteX200" fmla="*/ 1190625 w 1190625"/>
                  <a:gd name="connsiteY200" fmla="*/ 1693545 h 1693545"/>
                  <a:gd name="connsiteX201" fmla="*/ 1190625 w 1190625"/>
                  <a:gd name="connsiteY201" fmla="*/ 1664970 h 1693545"/>
                  <a:gd name="connsiteX202" fmla="*/ 1183957 w 1190625"/>
                  <a:gd name="connsiteY202" fmla="*/ 1626870 h 1693545"/>
                  <a:gd name="connsiteX203" fmla="*/ 1164907 w 1190625"/>
                  <a:gd name="connsiteY203" fmla="*/ 1567815 h 1693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</a:cxnLst>
                <a:rect l="l" t="t" r="r" b="b"/>
                <a:pathLst>
                  <a:path w="1190625" h="1693545">
                    <a:moveTo>
                      <a:pt x="1164907" y="1567815"/>
                    </a:moveTo>
                    <a:lnTo>
                      <a:pt x="1159192" y="1523048"/>
                    </a:lnTo>
                    <a:lnTo>
                      <a:pt x="1132522" y="1497330"/>
                    </a:lnTo>
                    <a:lnTo>
                      <a:pt x="1095375" y="1460183"/>
                    </a:lnTo>
                    <a:lnTo>
                      <a:pt x="1071563" y="1450658"/>
                    </a:lnTo>
                    <a:lnTo>
                      <a:pt x="1057275" y="1400175"/>
                    </a:lnTo>
                    <a:lnTo>
                      <a:pt x="1068705" y="1374458"/>
                    </a:lnTo>
                    <a:lnTo>
                      <a:pt x="1068705" y="1348740"/>
                    </a:lnTo>
                    <a:lnTo>
                      <a:pt x="1100138" y="1344930"/>
                    </a:lnTo>
                    <a:lnTo>
                      <a:pt x="1100138" y="1327785"/>
                    </a:lnTo>
                    <a:lnTo>
                      <a:pt x="1059180" y="1318260"/>
                    </a:lnTo>
                    <a:lnTo>
                      <a:pt x="1046797" y="1305878"/>
                    </a:lnTo>
                    <a:lnTo>
                      <a:pt x="1022032" y="1296353"/>
                    </a:lnTo>
                    <a:lnTo>
                      <a:pt x="993457" y="1252538"/>
                    </a:lnTo>
                    <a:lnTo>
                      <a:pt x="983932" y="1196340"/>
                    </a:lnTo>
                    <a:lnTo>
                      <a:pt x="998220" y="1164908"/>
                    </a:lnTo>
                    <a:lnTo>
                      <a:pt x="1022032" y="1149668"/>
                    </a:lnTo>
                    <a:lnTo>
                      <a:pt x="1039177" y="1138238"/>
                    </a:lnTo>
                    <a:lnTo>
                      <a:pt x="1029652" y="1112520"/>
                    </a:lnTo>
                    <a:lnTo>
                      <a:pt x="1001077" y="1089660"/>
                    </a:lnTo>
                    <a:lnTo>
                      <a:pt x="953452" y="1095375"/>
                    </a:lnTo>
                    <a:lnTo>
                      <a:pt x="933450" y="1075373"/>
                    </a:lnTo>
                    <a:lnTo>
                      <a:pt x="907732" y="1068705"/>
                    </a:lnTo>
                    <a:lnTo>
                      <a:pt x="878205" y="1019175"/>
                    </a:lnTo>
                    <a:lnTo>
                      <a:pt x="869632" y="984885"/>
                    </a:lnTo>
                    <a:lnTo>
                      <a:pt x="898207" y="976313"/>
                    </a:lnTo>
                    <a:lnTo>
                      <a:pt x="909638" y="949643"/>
                    </a:lnTo>
                    <a:lnTo>
                      <a:pt x="882015" y="922020"/>
                    </a:lnTo>
                    <a:lnTo>
                      <a:pt x="859155" y="922020"/>
                    </a:lnTo>
                    <a:lnTo>
                      <a:pt x="844867" y="936308"/>
                    </a:lnTo>
                    <a:lnTo>
                      <a:pt x="808672" y="927735"/>
                    </a:lnTo>
                    <a:lnTo>
                      <a:pt x="771525" y="902018"/>
                    </a:lnTo>
                    <a:lnTo>
                      <a:pt x="764857" y="869633"/>
                    </a:lnTo>
                    <a:lnTo>
                      <a:pt x="727710" y="832485"/>
                    </a:lnTo>
                    <a:lnTo>
                      <a:pt x="718185" y="853440"/>
                    </a:lnTo>
                    <a:lnTo>
                      <a:pt x="704850" y="866775"/>
                    </a:lnTo>
                    <a:lnTo>
                      <a:pt x="704850" y="879158"/>
                    </a:lnTo>
                    <a:lnTo>
                      <a:pt x="715327" y="902970"/>
                    </a:lnTo>
                    <a:lnTo>
                      <a:pt x="676275" y="902970"/>
                    </a:lnTo>
                    <a:lnTo>
                      <a:pt x="653415" y="880110"/>
                    </a:lnTo>
                    <a:lnTo>
                      <a:pt x="614363" y="860108"/>
                    </a:lnTo>
                    <a:lnTo>
                      <a:pt x="610552" y="828675"/>
                    </a:lnTo>
                    <a:lnTo>
                      <a:pt x="604838" y="789623"/>
                    </a:lnTo>
                    <a:lnTo>
                      <a:pt x="578167" y="762953"/>
                    </a:lnTo>
                    <a:lnTo>
                      <a:pt x="558165" y="742950"/>
                    </a:lnTo>
                    <a:lnTo>
                      <a:pt x="541020" y="725805"/>
                    </a:lnTo>
                    <a:lnTo>
                      <a:pt x="520065" y="690563"/>
                    </a:lnTo>
                    <a:lnTo>
                      <a:pt x="535305" y="675323"/>
                    </a:lnTo>
                    <a:lnTo>
                      <a:pt x="535305" y="638175"/>
                    </a:lnTo>
                    <a:lnTo>
                      <a:pt x="552450" y="638175"/>
                    </a:lnTo>
                    <a:lnTo>
                      <a:pt x="578167" y="612458"/>
                    </a:lnTo>
                    <a:lnTo>
                      <a:pt x="552450" y="600075"/>
                    </a:lnTo>
                    <a:lnTo>
                      <a:pt x="552450" y="573405"/>
                    </a:lnTo>
                    <a:lnTo>
                      <a:pt x="537210" y="532448"/>
                    </a:lnTo>
                    <a:lnTo>
                      <a:pt x="554355" y="531495"/>
                    </a:lnTo>
                    <a:lnTo>
                      <a:pt x="574357" y="551498"/>
                    </a:lnTo>
                    <a:lnTo>
                      <a:pt x="601027" y="563880"/>
                    </a:lnTo>
                    <a:lnTo>
                      <a:pt x="601027" y="541020"/>
                    </a:lnTo>
                    <a:lnTo>
                      <a:pt x="577215" y="503873"/>
                    </a:lnTo>
                    <a:lnTo>
                      <a:pt x="577215" y="482917"/>
                    </a:lnTo>
                    <a:lnTo>
                      <a:pt x="588645" y="443865"/>
                    </a:lnTo>
                    <a:lnTo>
                      <a:pt x="573405" y="428625"/>
                    </a:lnTo>
                    <a:lnTo>
                      <a:pt x="602932" y="386715"/>
                    </a:lnTo>
                    <a:lnTo>
                      <a:pt x="621030" y="344805"/>
                    </a:lnTo>
                    <a:lnTo>
                      <a:pt x="656272" y="333375"/>
                    </a:lnTo>
                    <a:lnTo>
                      <a:pt x="681990" y="345758"/>
                    </a:lnTo>
                    <a:lnTo>
                      <a:pt x="705802" y="324803"/>
                    </a:lnTo>
                    <a:lnTo>
                      <a:pt x="690563" y="309563"/>
                    </a:lnTo>
                    <a:lnTo>
                      <a:pt x="666750" y="282892"/>
                    </a:lnTo>
                    <a:lnTo>
                      <a:pt x="652463" y="226695"/>
                    </a:lnTo>
                    <a:lnTo>
                      <a:pt x="652463" y="185738"/>
                    </a:lnTo>
                    <a:lnTo>
                      <a:pt x="625792" y="161925"/>
                    </a:lnTo>
                    <a:lnTo>
                      <a:pt x="611505" y="118110"/>
                    </a:lnTo>
                    <a:lnTo>
                      <a:pt x="604838" y="73343"/>
                    </a:lnTo>
                    <a:lnTo>
                      <a:pt x="590550" y="39053"/>
                    </a:lnTo>
                    <a:lnTo>
                      <a:pt x="581977" y="0"/>
                    </a:lnTo>
                    <a:lnTo>
                      <a:pt x="566738" y="21908"/>
                    </a:lnTo>
                    <a:lnTo>
                      <a:pt x="541972" y="23813"/>
                    </a:lnTo>
                    <a:lnTo>
                      <a:pt x="524827" y="5715"/>
                    </a:lnTo>
                    <a:lnTo>
                      <a:pt x="503872" y="12383"/>
                    </a:lnTo>
                    <a:lnTo>
                      <a:pt x="498157" y="48578"/>
                    </a:lnTo>
                    <a:lnTo>
                      <a:pt x="487680" y="84773"/>
                    </a:lnTo>
                    <a:lnTo>
                      <a:pt x="466725" y="117158"/>
                    </a:lnTo>
                    <a:cubicBezTo>
                      <a:pt x="466725" y="117158"/>
                      <a:pt x="479107" y="129540"/>
                      <a:pt x="479107" y="135255"/>
                    </a:cubicBezTo>
                    <a:cubicBezTo>
                      <a:pt x="479107" y="140970"/>
                      <a:pt x="464820" y="178118"/>
                      <a:pt x="464820" y="178118"/>
                    </a:cubicBezTo>
                    <a:lnTo>
                      <a:pt x="450532" y="209550"/>
                    </a:lnTo>
                    <a:lnTo>
                      <a:pt x="426720" y="223838"/>
                    </a:lnTo>
                    <a:lnTo>
                      <a:pt x="410527" y="207645"/>
                    </a:lnTo>
                    <a:lnTo>
                      <a:pt x="389572" y="214313"/>
                    </a:lnTo>
                    <a:lnTo>
                      <a:pt x="370522" y="233363"/>
                    </a:lnTo>
                    <a:lnTo>
                      <a:pt x="345757" y="238125"/>
                    </a:lnTo>
                    <a:lnTo>
                      <a:pt x="323850" y="266700"/>
                    </a:lnTo>
                    <a:lnTo>
                      <a:pt x="306705" y="249555"/>
                    </a:lnTo>
                    <a:lnTo>
                      <a:pt x="298132" y="225743"/>
                    </a:lnTo>
                    <a:lnTo>
                      <a:pt x="286702" y="203835"/>
                    </a:lnTo>
                    <a:lnTo>
                      <a:pt x="279082" y="174308"/>
                    </a:lnTo>
                    <a:lnTo>
                      <a:pt x="260985" y="168593"/>
                    </a:lnTo>
                    <a:lnTo>
                      <a:pt x="237172" y="185738"/>
                    </a:lnTo>
                    <a:lnTo>
                      <a:pt x="222885" y="200025"/>
                    </a:lnTo>
                    <a:lnTo>
                      <a:pt x="202882" y="191453"/>
                    </a:lnTo>
                    <a:lnTo>
                      <a:pt x="169545" y="197168"/>
                    </a:lnTo>
                    <a:lnTo>
                      <a:pt x="176213" y="218123"/>
                    </a:lnTo>
                    <a:lnTo>
                      <a:pt x="164782" y="235268"/>
                    </a:lnTo>
                    <a:lnTo>
                      <a:pt x="149542" y="230505"/>
                    </a:lnTo>
                    <a:lnTo>
                      <a:pt x="116205" y="240983"/>
                    </a:lnTo>
                    <a:lnTo>
                      <a:pt x="116205" y="265748"/>
                    </a:lnTo>
                    <a:lnTo>
                      <a:pt x="100965" y="277178"/>
                    </a:lnTo>
                    <a:lnTo>
                      <a:pt x="91440" y="306705"/>
                    </a:lnTo>
                    <a:lnTo>
                      <a:pt x="67627" y="304800"/>
                    </a:lnTo>
                    <a:lnTo>
                      <a:pt x="39052" y="325755"/>
                    </a:lnTo>
                    <a:lnTo>
                      <a:pt x="49530" y="336233"/>
                    </a:lnTo>
                    <a:lnTo>
                      <a:pt x="35242" y="350520"/>
                    </a:lnTo>
                    <a:lnTo>
                      <a:pt x="12382" y="362903"/>
                    </a:lnTo>
                    <a:lnTo>
                      <a:pt x="0" y="388620"/>
                    </a:lnTo>
                    <a:lnTo>
                      <a:pt x="0" y="413385"/>
                    </a:lnTo>
                    <a:lnTo>
                      <a:pt x="10477" y="424815"/>
                    </a:lnTo>
                    <a:lnTo>
                      <a:pt x="45720" y="428625"/>
                    </a:lnTo>
                    <a:lnTo>
                      <a:pt x="46672" y="443865"/>
                    </a:lnTo>
                    <a:lnTo>
                      <a:pt x="55245" y="452438"/>
                    </a:lnTo>
                    <a:lnTo>
                      <a:pt x="48577" y="472440"/>
                    </a:lnTo>
                    <a:lnTo>
                      <a:pt x="82867" y="487680"/>
                    </a:lnTo>
                    <a:lnTo>
                      <a:pt x="86677" y="508635"/>
                    </a:lnTo>
                    <a:lnTo>
                      <a:pt x="120967" y="501967"/>
                    </a:lnTo>
                    <a:lnTo>
                      <a:pt x="131445" y="527685"/>
                    </a:lnTo>
                    <a:lnTo>
                      <a:pt x="154305" y="537210"/>
                    </a:lnTo>
                    <a:cubicBezTo>
                      <a:pt x="154305" y="537210"/>
                      <a:pt x="155257" y="552450"/>
                      <a:pt x="155257" y="556260"/>
                    </a:cubicBezTo>
                    <a:cubicBezTo>
                      <a:pt x="155257" y="560070"/>
                      <a:pt x="172402" y="573405"/>
                      <a:pt x="172402" y="573405"/>
                    </a:cubicBezTo>
                    <a:lnTo>
                      <a:pt x="193357" y="567690"/>
                    </a:lnTo>
                    <a:lnTo>
                      <a:pt x="218122" y="567690"/>
                    </a:lnTo>
                    <a:lnTo>
                      <a:pt x="221932" y="584835"/>
                    </a:lnTo>
                    <a:lnTo>
                      <a:pt x="238125" y="584835"/>
                    </a:lnTo>
                    <a:lnTo>
                      <a:pt x="249555" y="598170"/>
                    </a:lnTo>
                    <a:lnTo>
                      <a:pt x="240982" y="628650"/>
                    </a:lnTo>
                    <a:lnTo>
                      <a:pt x="253365" y="628650"/>
                    </a:lnTo>
                    <a:lnTo>
                      <a:pt x="262890" y="613410"/>
                    </a:lnTo>
                    <a:lnTo>
                      <a:pt x="272415" y="622935"/>
                    </a:lnTo>
                    <a:lnTo>
                      <a:pt x="272415" y="641985"/>
                    </a:lnTo>
                    <a:lnTo>
                      <a:pt x="301942" y="645795"/>
                    </a:lnTo>
                    <a:lnTo>
                      <a:pt x="315277" y="626745"/>
                    </a:lnTo>
                    <a:lnTo>
                      <a:pt x="327660" y="627698"/>
                    </a:lnTo>
                    <a:lnTo>
                      <a:pt x="330517" y="609600"/>
                    </a:lnTo>
                    <a:lnTo>
                      <a:pt x="301942" y="609600"/>
                    </a:lnTo>
                    <a:lnTo>
                      <a:pt x="279082" y="586740"/>
                    </a:lnTo>
                    <a:lnTo>
                      <a:pt x="254317" y="561975"/>
                    </a:lnTo>
                    <a:lnTo>
                      <a:pt x="237172" y="546735"/>
                    </a:lnTo>
                    <a:lnTo>
                      <a:pt x="245745" y="523875"/>
                    </a:lnTo>
                    <a:lnTo>
                      <a:pt x="245745" y="494348"/>
                    </a:lnTo>
                    <a:lnTo>
                      <a:pt x="277177" y="477203"/>
                    </a:lnTo>
                    <a:lnTo>
                      <a:pt x="299085" y="455295"/>
                    </a:lnTo>
                    <a:lnTo>
                      <a:pt x="308610" y="464820"/>
                    </a:lnTo>
                    <a:lnTo>
                      <a:pt x="281940" y="490538"/>
                    </a:lnTo>
                    <a:lnTo>
                      <a:pt x="281940" y="522923"/>
                    </a:lnTo>
                    <a:lnTo>
                      <a:pt x="311467" y="541020"/>
                    </a:lnTo>
                    <a:lnTo>
                      <a:pt x="331470" y="566738"/>
                    </a:lnTo>
                    <a:lnTo>
                      <a:pt x="347663" y="582930"/>
                    </a:lnTo>
                    <a:lnTo>
                      <a:pt x="365760" y="589598"/>
                    </a:lnTo>
                    <a:lnTo>
                      <a:pt x="383857" y="589598"/>
                    </a:lnTo>
                    <a:lnTo>
                      <a:pt x="401955" y="624840"/>
                    </a:lnTo>
                    <a:lnTo>
                      <a:pt x="419100" y="641985"/>
                    </a:lnTo>
                    <a:lnTo>
                      <a:pt x="419100" y="665798"/>
                    </a:lnTo>
                    <a:lnTo>
                      <a:pt x="419100" y="685800"/>
                    </a:lnTo>
                    <a:lnTo>
                      <a:pt x="409575" y="720090"/>
                    </a:lnTo>
                    <a:lnTo>
                      <a:pt x="410527" y="748665"/>
                    </a:lnTo>
                    <a:lnTo>
                      <a:pt x="427672" y="762953"/>
                    </a:lnTo>
                    <a:lnTo>
                      <a:pt x="444817" y="815340"/>
                    </a:lnTo>
                    <a:lnTo>
                      <a:pt x="459105" y="850583"/>
                    </a:lnTo>
                    <a:lnTo>
                      <a:pt x="471488" y="894398"/>
                    </a:lnTo>
                    <a:lnTo>
                      <a:pt x="482917" y="941070"/>
                    </a:lnTo>
                    <a:lnTo>
                      <a:pt x="509588" y="976313"/>
                    </a:lnTo>
                    <a:lnTo>
                      <a:pt x="526732" y="1028700"/>
                    </a:lnTo>
                    <a:lnTo>
                      <a:pt x="533400" y="1073468"/>
                    </a:lnTo>
                    <a:lnTo>
                      <a:pt x="547688" y="1115378"/>
                    </a:lnTo>
                    <a:lnTo>
                      <a:pt x="537210" y="1125855"/>
                    </a:lnTo>
                    <a:lnTo>
                      <a:pt x="524827" y="1138238"/>
                    </a:lnTo>
                    <a:lnTo>
                      <a:pt x="538163" y="1161098"/>
                    </a:lnTo>
                    <a:lnTo>
                      <a:pt x="528638" y="1182053"/>
                    </a:lnTo>
                    <a:lnTo>
                      <a:pt x="516255" y="1194435"/>
                    </a:lnTo>
                    <a:lnTo>
                      <a:pt x="516255" y="1206818"/>
                    </a:lnTo>
                    <a:lnTo>
                      <a:pt x="541972" y="1212533"/>
                    </a:lnTo>
                    <a:lnTo>
                      <a:pt x="565785" y="1246823"/>
                    </a:lnTo>
                    <a:lnTo>
                      <a:pt x="569595" y="1279208"/>
                    </a:lnTo>
                    <a:lnTo>
                      <a:pt x="589597" y="1299210"/>
                    </a:lnTo>
                    <a:lnTo>
                      <a:pt x="589597" y="1328738"/>
                    </a:lnTo>
                    <a:lnTo>
                      <a:pt x="618172" y="1358265"/>
                    </a:lnTo>
                    <a:lnTo>
                      <a:pt x="659130" y="1399223"/>
                    </a:lnTo>
                    <a:cubicBezTo>
                      <a:pt x="659130" y="1399223"/>
                      <a:pt x="671513" y="1426845"/>
                      <a:pt x="677227" y="1433513"/>
                    </a:cubicBezTo>
                    <a:lnTo>
                      <a:pt x="715327" y="1459230"/>
                    </a:lnTo>
                    <a:lnTo>
                      <a:pt x="754380" y="1480185"/>
                    </a:lnTo>
                    <a:lnTo>
                      <a:pt x="815340" y="1498283"/>
                    </a:lnTo>
                    <a:lnTo>
                      <a:pt x="843915" y="1503998"/>
                    </a:lnTo>
                    <a:lnTo>
                      <a:pt x="869632" y="1521143"/>
                    </a:lnTo>
                    <a:lnTo>
                      <a:pt x="884872" y="1542098"/>
                    </a:lnTo>
                    <a:lnTo>
                      <a:pt x="938213" y="1570673"/>
                    </a:lnTo>
                    <a:lnTo>
                      <a:pt x="984885" y="1590675"/>
                    </a:lnTo>
                    <a:lnTo>
                      <a:pt x="1034415" y="1613535"/>
                    </a:lnTo>
                    <a:lnTo>
                      <a:pt x="1060132" y="1639252"/>
                    </a:lnTo>
                    <a:lnTo>
                      <a:pt x="1088707" y="1639252"/>
                    </a:lnTo>
                    <a:lnTo>
                      <a:pt x="1108710" y="1659255"/>
                    </a:lnTo>
                    <a:lnTo>
                      <a:pt x="1134427" y="1672590"/>
                    </a:lnTo>
                    <a:lnTo>
                      <a:pt x="1175385" y="1672590"/>
                    </a:lnTo>
                    <a:lnTo>
                      <a:pt x="1190625" y="1693545"/>
                    </a:lnTo>
                    <a:lnTo>
                      <a:pt x="1190625" y="1664970"/>
                    </a:lnTo>
                    <a:lnTo>
                      <a:pt x="1183957" y="1626870"/>
                    </a:lnTo>
                    <a:lnTo>
                      <a:pt x="1164907" y="156781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0" name="Полилиния: фигура 145">
                <a:extLst>
                  <a:ext uri="{FF2B5EF4-FFF2-40B4-BE49-F238E27FC236}">
                    <a16:creationId xmlns:a16="http://schemas.microsoft.com/office/drawing/2014/main" id="{EC0D174B-EEFB-4F2A-ADCD-E86730D6F587}"/>
                  </a:ext>
                </a:extLst>
              </p:cNvPr>
              <p:cNvSpPr/>
              <p:nvPr/>
            </p:nvSpPr>
            <p:spPr>
              <a:xfrm>
                <a:off x="9893617" y="2503170"/>
                <a:ext cx="44767" cy="111442"/>
              </a:xfrm>
              <a:custGeom>
                <a:avLst/>
                <a:gdLst>
                  <a:gd name="connsiteX0" fmla="*/ 40005 w 44767"/>
                  <a:gd name="connsiteY0" fmla="*/ 9525 h 111442"/>
                  <a:gd name="connsiteX1" fmla="*/ 17145 w 44767"/>
                  <a:gd name="connsiteY1" fmla="*/ 0 h 111442"/>
                  <a:gd name="connsiteX2" fmla="*/ 1905 w 44767"/>
                  <a:gd name="connsiteY2" fmla="*/ 8572 h 111442"/>
                  <a:gd name="connsiteX3" fmla="*/ 1905 w 44767"/>
                  <a:gd name="connsiteY3" fmla="*/ 35242 h 111442"/>
                  <a:gd name="connsiteX4" fmla="*/ 0 w 44767"/>
                  <a:gd name="connsiteY4" fmla="*/ 60008 h 111442"/>
                  <a:gd name="connsiteX5" fmla="*/ 14288 w 44767"/>
                  <a:gd name="connsiteY5" fmla="*/ 69533 h 111442"/>
                  <a:gd name="connsiteX6" fmla="*/ 23813 w 44767"/>
                  <a:gd name="connsiteY6" fmla="*/ 81915 h 111442"/>
                  <a:gd name="connsiteX7" fmla="*/ 25718 w 44767"/>
                  <a:gd name="connsiteY7" fmla="*/ 103822 h 111442"/>
                  <a:gd name="connsiteX8" fmla="*/ 44768 w 44767"/>
                  <a:gd name="connsiteY8" fmla="*/ 111442 h 111442"/>
                  <a:gd name="connsiteX9" fmla="*/ 40005 w 44767"/>
                  <a:gd name="connsiteY9" fmla="*/ 88583 h 111442"/>
                  <a:gd name="connsiteX10" fmla="*/ 31432 w 44767"/>
                  <a:gd name="connsiteY10" fmla="*/ 72390 h 111442"/>
                  <a:gd name="connsiteX11" fmla="*/ 40005 w 44767"/>
                  <a:gd name="connsiteY11" fmla="*/ 4381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4767" h="111442">
                    <a:moveTo>
                      <a:pt x="40005" y="9525"/>
                    </a:moveTo>
                    <a:lnTo>
                      <a:pt x="17145" y="0"/>
                    </a:lnTo>
                    <a:lnTo>
                      <a:pt x="1905" y="8572"/>
                    </a:lnTo>
                    <a:lnTo>
                      <a:pt x="1905" y="35242"/>
                    </a:lnTo>
                    <a:lnTo>
                      <a:pt x="0" y="60008"/>
                    </a:lnTo>
                    <a:lnTo>
                      <a:pt x="14288" y="69533"/>
                    </a:lnTo>
                    <a:lnTo>
                      <a:pt x="23813" y="81915"/>
                    </a:lnTo>
                    <a:lnTo>
                      <a:pt x="25718" y="103822"/>
                    </a:lnTo>
                    <a:lnTo>
                      <a:pt x="44768" y="111442"/>
                    </a:lnTo>
                    <a:lnTo>
                      <a:pt x="40005" y="88583"/>
                    </a:lnTo>
                    <a:lnTo>
                      <a:pt x="31432" y="72390"/>
                    </a:lnTo>
                    <a:lnTo>
                      <a:pt x="40005" y="43815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1" name="Полилиния: фигура 146">
                <a:extLst>
                  <a:ext uri="{FF2B5EF4-FFF2-40B4-BE49-F238E27FC236}">
                    <a16:creationId xmlns:a16="http://schemas.microsoft.com/office/drawing/2014/main" id="{5BB11828-B872-4B1D-B307-CC29272AB2FF}"/>
                  </a:ext>
                </a:extLst>
              </p:cNvPr>
              <p:cNvSpPr/>
              <p:nvPr/>
            </p:nvSpPr>
            <p:spPr>
              <a:xfrm>
                <a:off x="10353675" y="2638425"/>
                <a:ext cx="85725" cy="25717"/>
              </a:xfrm>
              <a:custGeom>
                <a:avLst/>
                <a:gdLst>
                  <a:gd name="connsiteX0" fmla="*/ 38100 w 85725"/>
                  <a:gd name="connsiteY0" fmla="*/ 25717 h 25717"/>
                  <a:gd name="connsiteX1" fmla="*/ 67627 w 85725"/>
                  <a:gd name="connsiteY1" fmla="*/ 25717 h 25717"/>
                  <a:gd name="connsiteX2" fmla="*/ 85725 w 85725"/>
                  <a:gd name="connsiteY2" fmla="*/ 7620 h 25717"/>
                  <a:gd name="connsiteX3" fmla="*/ 62865 w 85725"/>
                  <a:gd name="connsiteY3" fmla="*/ 0 h 25717"/>
                  <a:gd name="connsiteX4" fmla="*/ 39052 w 85725"/>
                  <a:gd name="connsiteY4" fmla="*/ 9525 h 25717"/>
                  <a:gd name="connsiteX5" fmla="*/ 17145 w 85725"/>
                  <a:gd name="connsiteY5" fmla="*/ 953 h 25717"/>
                  <a:gd name="connsiteX6" fmla="*/ 0 w 85725"/>
                  <a:gd name="connsiteY6" fmla="*/ 7620 h 25717"/>
                  <a:gd name="connsiteX7" fmla="*/ 8573 w 85725"/>
                  <a:gd name="connsiteY7" fmla="*/ 25717 h 25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5725" h="25717">
                    <a:moveTo>
                      <a:pt x="38100" y="25717"/>
                    </a:moveTo>
                    <a:lnTo>
                      <a:pt x="67627" y="25717"/>
                    </a:lnTo>
                    <a:lnTo>
                      <a:pt x="85725" y="7620"/>
                    </a:lnTo>
                    <a:lnTo>
                      <a:pt x="62865" y="0"/>
                    </a:lnTo>
                    <a:lnTo>
                      <a:pt x="39052" y="9525"/>
                    </a:lnTo>
                    <a:lnTo>
                      <a:pt x="17145" y="953"/>
                    </a:lnTo>
                    <a:lnTo>
                      <a:pt x="0" y="7620"/>
                    </a:lnTo>
                    <a:lnTo>
                      <a:pt x="8573" y="25717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Полилиния: фигура 147">
                <a:extLst>
                  <a:ext uri="{FF2B5EF4-FFF2-40B4-BE49-F238E27FC236}">
                    <a16:creationId xmlns:a16="http://schemas.microsoft.com/office/drawing/2014/main" id="{138DBDE5-66A9-4FD1-845B-BF970F9E5FB8}"/>
                  </a:ext>
                </a:extLst>
              </p:cNvPr>
              <p:cNvSpPr/>
              <p:nvPr/>
            </p:nvSpPr>
            <p:spPr>
              <a:xfrm>
                <a:off x="10458450" y="2572702"/>
                <a:ext cx="32385" cy="22859"/>
              </a:xfrm>
              <a:custGeom>
                <a:avLst/>
                <a:gdLst>
                  <a:gd name="connsiteX0" fmla="*/ 16193 w 32385"/>
                  <a:gd name="connsiteY0" fmla="*/ 3810 h 22859"/>
                  <a:gd name="connsiteX1" fmla="*/ 0 w 32385"/>
                  <a:gd name="connsiteY1" fmla="*/ 14288 h 22859"/>
                  <a:gd name="connsiteX2" fmla="*/ 8573 w 32385"/>
                  <a:gd name="connsiteY2" fmla="*/ 22860 h 22859"/>
                  <a:gd name="connsiteX3" fmla="*/ 20955 w 32385"/>
                  <a:gd name="connsiteY3" fmla="*/ 11430 h 22859"/>
                  <a:gd name="connsiteX4" fmla="*/ 32385 w 32385"/>
                  <a:gd name="connsiteY4" fmla="*/ 0 h 22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385" h="22859">
                    <a:moveTo>
                      <a:pt x="16193" y="3810"/>
                    </a:moveTo>
                    <a:lnTo>
                      <a:pt x="0" y="14288"/>
                    </a:lnTo>
                    <a:lnTo>
                      <a:pt x="8573" y="22860"/>
                    </a:lnTo>
                    <a:lnTo>
                      <a:pt x="20955" y="11430"/>
                    </a:lnTo>
                    <a:lnTo>
                      <a:pt x="32385" y="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46" name="Рисунок 3">
              <a:extLst>
                <a:ext uri="{FF2B5EF4-FFF2-40B4-BE49-F238E27FC236}">
                  <a16:creationId xmlns:a16="http://schemas.microsoft.com/office/drawing/2014/main" id="{0A0FD479-360D-454F-BA67-911EE4012DCA}"/>
                </a:ext>
              </a:extLst>
            </p:cNvPr>
            <p:cNvGrpSpPr/>
            <p:nvPr/>
          </p:nvGrpSpPr>
          <p:grpSpPr>
            <a:xfrm>
              <a:off x="7712838" y="3116413"/>
              <a:ext cx="738829" cy="829452"/>
              <a:chOff x="8731567" y="880570"/>
              <a:chExt cx="1145857" cy="1478771"/>
            </a:xfrm>
            <a:grpFill/>
          </p:grpSpPr>
          <p:sp>
            <p:nvSpPr>
              <p:cNvPr id="357" name="Полилиния: фигура 149">
                <a:extLst>
                  <a:ext uri="{FF2B5EF4-FFF2-40B4-BE49-F238E27FC236}">
                    <a16:creationId xmlns:a16="http://schemas.microsoft.com/office/drawing/2014/main" id="{964B0380-6466-4913-9993-F3117DF6F96E}"/>
                  </a:ext>
                </a:extLst>
              </p:cNvPr>
              <p:cNvSpPr/>
              <p:nvPr/>
            </p:nvSpPr>
            <p:spPr>
              <a:xfrm>
                <a:off x="8731567" y="880570"/>
                <a:ext cx="1145857" cy="1478771"/>
              </a:xfrm>
              <a:custGeom>
                <a:avLst/>
                <a:gdLst>
                  <a:gd name="connsiteX0" fmla="*/ 1117282 w 1145857"/>
                  <a:gd name="connsiteY0" fmla="*/ 935847 h 1478771"/>
                  <a:gd name="connsiteX1" fmla="*/ 1117282 w 1145857"/>
                  <a:gd name="connsiteY1" fmla="*/ 885364 h 1478771"/>
                  <a:gd name="connsiteX2" fmla="*/ 1107757 w 1145857"/>
                  <a:gd name="connsiteY2" fmla="*/ 840597 h 1478771"/>
                  <a:gd name="connsiteX3" fmla="*/ 1083945 w 1145857"/>
                  <a:gd name="connsiteY3" fmla="*/ 803449 h 1478771"/>
                  <a:gd name="connsiteX4" fmla="*/ 1094422 w 1145857"/>
                  <a:gd name="connsiteY4" fmla="*/ 792972 h 1478771"/>
                  <a:gd name="connsiteX5" fmla="*/ 1061085 w 1145857"/>
                  <a:gd name="connsiteY5" fmla="*/ 771064 h 1478771"/>
                  <a:gd name="connsiteX6" fmla="*/ 1069657 w 1145857"/>
                  <a:gd name="connsiteY6" fmla="*/ 757729 h 1478771"/>
                  <a:gd name="connsiteX7" fmla="*/ 1099185 w 1145857"/>
                  <a:gd name="connsiteY7" fmla="*/ 757729 h 1478771"/>
                  <a:gd name="connsiteX8" fmla="*/ 1117282 w 1145857"/>
                  <a:gd name="connsiteY8" fmla="*/ 718677 h 1478771"/>
                  <a:gd name="connsiteX9" fmla="*/ 1145857 w 1145857"/>
                  <a:gd name="connsiteY9" fmla="*/ 707247 h 1478771"/>
                  <a:gd name="connsiteX10" fmla="*/ 1145857 w 1145857"/>
                  <a:gd name="connsiteY10" fmla="*/ 677719 h 1478771"/>
                  <a:gd name="connsiteX11" fmla="*/ 1125855 w 1145857"/>
                  <a:gd name="connsiteY11" fmla="*/ 657717 h 1478771"/>
                  <a:gd name="connsiteX12" fmla="*/ 1115377 w 1145857"/>
                  <a:gd name="connsiteY12" fmla="*/ 632952 h 1478771"/>
                  <a:gd name="connsiteX13" fmla="*/ 1092518 w 1145857"/>
                  <a:gd name="connsiteY13" fmla="*/ 650097 h 1478771"/>
                  <a:gd name="connsiteX14" fmla="*/ 1077277 w 1145857"/>
                  <a:gd name="connsiteY14" fmla="*/ 637714 h 1478771"/>
                  <a:gd name="connsiteX15" fmla="*/ 1059180 w 1145857"/>
                  <a:gd name="connsiteY15" fmla="*/ 640572 h 1478771"/>
                  <a:gd name="connsiteX16" fmla="*/ 1043940 w 1145857"/>
                  <a:gd name="connsiteY16" fmla="*/ 655812 h 1478771"/>
                  <a:gd name="connsiteX17" fmla="*/ 1019175 w 1145857"/>
                  <a:gd name="connsiteY17" fmla="*/ 655812 h 1478771"/>
                  <a:gd name="connsiteX18" fmla="*/ 1012507 w 1145857"/>
                  <a:gd name="connsiteY18" fmla="*/ 669147 h 1478771"/>
                  <a:gd name="connsiteX19" fmla="*/ 986790 w 1145857"/>
                  <a:gd name="connsiteY19" fmla="*/ 669147 h 1478771"/>
                  <a:gd name="connsiteX20" fmla="*/ 986790 w 1145857"/>
                  <a:gd name="connsiteY20" fmla="*/ 649144 h 1478771"/>
                  <a:gd name="connsiteX21" fmla="*/ 955357 w 1145857"/>
                  <a:gd name="connsiteY21" fmla="*/ 650097 h 1478771"/>
                  <a:gd name="connsiteX22" fmla="*/ 938213 w 1145857"/>
                  <a:gd name="connsiteY22" fmla="*/ 652954 h 1478771"/>
                  <a:gd name="connsiteX23" fmla="*/ 917257 w 1145857"/>
                  <a:gd name="connsiteY23" fmla="*/ 652002 h 1478771"/>
                  <a:gd name="connsiteX24" fmla="*/ 908685 w 1145857"/>
                  <a:gd name="connsiteY24" fmla="*/ 666289 h 1478771"/>
                  <a:gd name="connsiteX25" fmla="*/ 890588 w 1145857"/>
                  <a:gd name="connsiteY25" fmla="*/ 684387 h 1478771"/>
                  <a:gd name="connsiteX26" fmla="*/ 860107 w 1145857"/>
                  <a:gd name="connsiteY26" fmla="*/ 685339 h 1478771"/>
                  <a:gd name="connsiteX27" fmla="*/ 842963 w 1145857"/>
                  <a:gd name="connsiteY27" fmla="*/ 697722 h 1478771"/>
                  <a:gd name="connsiteX28" fmla="*/ 842963 w 1145857"/>
                  <a:gd name="connsiteY28" fmla="*/ 724392 h 1478771"/>
                  <a:gd name="connsiteX29" fmla="*/ 824865 w 1145857"/>
                  <a:gd name="connsiteY29" fmla="*/ 731059 h 1478771"/>
                  <a:gd name="connsiteX30" fmla="*/ 810577 w 1145857"/>
                  <a:gd name="connsiteY30" fmla="*/ 716772 h 1478771"/>
                  <a:gd name="connsiteX31" fmla="*/ 833438 w 1145857"/>
                  <a:gd name="connsiteY31" fmla="*/ 690102 h 1478771"/>
                  <a:gd name="connsiteX32" fmla="*/ 818197 w 1145857"/>
                  <a:gd name="connsiteY32" fmla="*/ 690102 h 1478771"/>
                  <a:gd name="connsiteX33" fmla="*/ 794385 w 1145857"/>
                  <a:gd name="connsiteY33" fmla="*/ 699627 h 1478771"/>
                  <a:gd name="connsiteX34" fmla="*/ 803910 w 1145857"/>
                  <a:gd name="connsiteY34" fmla="*/ 676767 h 1478771"/>
                  <a:gd name="connsiteX35" fmla="*/ 833438 w 1145857"/>
                  <a:gd name="connsiteY35" fmla="*/ 664384 h 1478771"/>
                  <a:gd name="connsiteX36" fmla="*/ 854393 w 1145857"/>
                  <a:gd name="connsiteY36" fmla="*/ 664384 h 1478771"/>
                  <a:gd name="connsiteX37" fmla="*/ 877252 w 1145857"/>
                  <a:gd name="connsiteY37" fmla="*/ 627237 h 1478771"/>
                  <a:gd name="connsiteX38" fmla="*/ 871538 w 1145857"/>
                  <a:gd name="connsiteY38" fmla="*/ 594852 h 1478771"/>
                  <a:gd name="connsiteX39" fmla="*/ 860107 w 1145857"/>
                  <a:gd name="connsiteY39" fmla="*/ 553894 h 1478771"/>
                  <a:gd name="connsiteX40" fmla="*/ 837247 w 1145857"/>
                  <a:gd name="connsiteY40" fmla="*/ 531034 h 1478771"/>
                  <a:gd name="connsiteX41" fmla="*/ 815340 w 1145857"/>
                  <a:gd name="connsiteY41" fmla="*/ 509127 h 1478771"/>
                  <a:gd name="connsiteX42" fmla="*/ 802957 w 1145857"/>
                  <a:gd name="connsiteY42" fmla="*/ 521509 h 1478771"/>
                  <a:gd name="connsiteX43" fmla="*/ 802005 w 1145857"/>
                  <a:gd name="connsiteY43" fmla="*/ 494839 h 1478771"/>
                  <a:gd name="connsiteX44" fmla="*/ 781050 w 1145857"/>
                  <a:gd name="connsiteY44" fmla="*/ 494839 h 1478771"/>
                  <a:gd name="connsiteX45" fmla="*/ 749618 w 1145857"/>
                  <a:gd name="connsiteY45" fmla="*/ 503412 h 1478771"/>
                  <a:gd name="connsiteX46" fmla="*/ 730568 w 1145857"/>
                  <a:gd name="connsiteY46" fmla="*/ 484362 h 1478771"/>
                  <a:gd name="connsiteX47" fmla="*/ 730568 w 1145857"/>
                  <a:gd name="connsiteY47" fmla="*/ 465312 h 1478771"/>
                  <a:gd name="connsiteX48" fmla="*/ 705802 w 1145857"/>
                  <a:gd name="connsiteY48" fmla="*/ 461502 h 1478771"/>
                  <a:gd name="connsiteX49" fmla="*/ 714375 w 1145857"/>
                  <a:gd name="connsiteY49" fmla="*/ 452929 h 1478771"/>
                  <a:gd name="connsiteX50" fmla="*/ 726757 w 1145857"/>
                  <a:gd name="connsiteY50" fmla="*/ 447214 h 1478771"/>
                  <a:gd name="connsiteX51" fmla="*/ 716280 w 1145857"/>
                  <a:gd name="connsiteY51" fmla="*/ 436737 h 1478771"/>
                  <a:gd name="connsiteX52" fmla="*/ 718185 w 1145857"/>
                  <a:gd name="connsiteY52" fmla="*/ 423402 h 1478771"/>
                  <a:gd name="connsiteX53" fmla="*/ 732472 w 1145857"/>
                  <a:gd name="connsiteY53" fmla="*/ 431974 h 1478771"/>
                  <a:gd name="connsiteX54" fmla="*/ 747713 w 1145857"/>
                  <a:gd name="connsiteY54" fmla="*/ 444357 h 1478771"/>
                  <a:gd name="connsiteX55" fmla="*/ 774382 w 1145857"/>
                  <a:gd name="connsiteY55" fmla="*/ 444357 h 1478771"/>
                  <a:gd name="connsiteX56" fmla="*/ 792480 w 1145857"/>
                  <a:gd name="connsiteY56" fmla="*/ 430069 h 1478771"/>
                  <a:gd name="connsiteX57" fmla="*/ 810577 w 1145857"/>
                  <a:gd name="connsiteY57" fmla="*/ 444357 h 1478771"/>
                  <a:gd name="connsiteX58" fmla="*/ 833438 w 1145857"/>
                  <a:gd name="connsiteY58" fmla="*/ 421497 h 1478771"/>
                  <a:gd name="connsiteX59" fmla="*/ 833438 w 1145857"/>
                  <a:gd name="connsiteY59" fmla="*/ 385302 h 1478771"/>
                  <a:gd name="connsiteX60" fmla="*/ 822960 w 1145857"/>
                  <a:gd name="connsiteY60" fmla="*/ 364347 h 1478771"/>
                  <a:gd name="connsiteX61" fmla="*/ 846772 w 1145857"/>
                  <a:gd name="connsiteY61" fmla="*/ 329104 h 1478771"/>
                  <a:gd name="connsiteX62" fmla="*/ 873443 w 1145857"/>
                  <a:gd name="connsiteY62" fmla="*/ 329104 h 1478771"/>
                  <a:gd name="connsiteX63" fmla="*/ 894397 w 1145857"/>
                  <a:gd name="connsiteY63" fmla="*/ 337677 h 1478771"/>
                  <a:gd name="connsiteX64" fmla="*/ 923925 w 1145857"/>
                  <a:gd name="connsiteY64" fmla="*/ 328152 h 1478771"/>
                  <a:gd name="connsiteX65" fmla="*/ 939165 w 1145857"/>
                  <a:gd name="connsiteY65" fmla="*/ 293862 h 1478771"/>
                  <a:gd name="connsiteX66" fmla="*/ 968693 w 1145857"/>
                  <a:gd name="connsiteY66" fmla="*/ 261477 h 1478771"/>
                  <a:gd name="connsiteX67" fmla="*/ 1001077 w 1145857"/>
                  <a:gd name="connsiteY67" fmla="*/ 258619 h 1478771"/>
                  <a:gd name="connsiteX68" fmla="*/ 1013460 w 1145857"/>
                  <a:gd name="connsiteY68" fmla="*/ 221472 h 1478771"/>
                  <a:gd name="connsiteX69" fmla="*/ 989647 w 1145857"/>
                  <a:gd name="connsiteY69" fmla="*/ 214804 h 1478771"/>
                  <a:gd name="connsiteX70" fmla="*/ 989647 w 1145857"/>
                  <a:gd name="connsiteY70" fmla="*/ 203374 h 1478771"/>
                  <a:gd name="connsiteX71" fmla="*/ 1019175 w 1145857"/>
                  <a:gd name="connsiteY71" fmla="*/ 203374 h 1478771"/>
                  <a:gd name="connsiteX72" fmla="*/ 1009650 w 1145857"/>
                  <a:gd name="connsiteY72" fmla="*/ 180514 h 1478771"/>
                  <a:gd name="connsiteX73" fmla="*/ 1009650 w 1145857"/>
                  <a:gd name="connsiteY73" fmla="*/ 162417 h 1478771"/>
                  <a:gd name="connsiteX74" fmla="*/ 994410 w 1145857"/>
                  <a:gd name="connsiteY74" fmla="*/ 182419 h 1478771"/>
                  <a:gd name="connsiteX75" fmla="*/ 979170 w 1145857"/>
                  <a:gd name="connsiteY75" fmla="*/ 186229 h 1478771"/>
                  <a:gd name="connsiteX76" fmla="*/ 961072 w 1145857"/>
                  <a:gd name="connsiteY76" fmla="*/ 157654 h 1478771"/>
                  <a:gd name="connsiteX77" fmla="*/ 935355 w 1145857"/>
                  <a:gd name="connsiteY77" fmla="*/ 131937 h 1478771"/>
                  <a:gd name="connsiteX78" fmla="*/ 935355 w 1145857"/>
                  <a:gd name="connsiteY78" fmla="*/ 147177 h 1478771"/>
                  <a:gd name="connsiteX79" fmla="*/ 902018 w 1145857"/>
                  <a:gd name="connsiteY79" fmla="*/ 134794 h 1478771"/>
                  <a:gd name="connsiteX80" fmla="*/ 886777 w 1145857"/>
                  <a:gd name="connsiteY80" fmla="*/ 150034 h 1478771"/>
                  <a:gd name="connsiteX81" fmla="*/ 861060 w 1145857"/>
                  <a:gd name="connsiteY81" fmla="*/ 146224 h 1478771"/>
                  <a:gd name="connsiteX82" fmla="*/ 893445 w 1145857"/>
                  <a:gd name="connsiteY82" fmla="*/ 125269 h 1478771"/>
                  <a:gd name="connsiteX83" fmla="*/ 893445 w 1145857"/>
                  <a:gd name="connsiteY83" fmla="*/ 95742 h 1478771"/>
                  <a:gd name="connsiteX84" fmla="*/ 893445 w 1145857"/>
                  <a:gd name="connsiteY84" fmla="*/ 78597 h 1478771"/>
                  <a:gd name="connsiteX85" fmla="*/ 863918 w 1145857"/>
                  <a:gd name="connsiteY85" fmla="*/ 87169 h 1478771"/>
                  <a:gd name="connsiteX86" fmla="*/ 879157 w 1145857"/>
                  <a:gd name="connsiteY86" fmla="*/ 54784 h 1478771"/>
                  <a:gd name="connsiteX87" fmla="*/ 864870 w 1145857"/>
                  <a:gd name="connsiteY87" fmla="*/ 40497 h 1478771"/>
                  <a:gd name="connsiteX88" fmla="*/ 846772 w 1145857"/>
                  <a:gd name="connsiteY88" fmla="*/ 25257 h 1478771"/>
                  <a:gd name="connsiteX89" fmla="*/ 846772 w 1145857"/>
                  <a:gd name="connsiteY89" fmla="*/ 1444 h 1478771"/>
                  <a:gd name="connsiteX90" fmla="*/ 814388 w 1145857"/>
                  <a:gd name="connsiteY90" fmla="*/ 16684 h 1478771"/>
                  <a:gd name="connsiteX91" fmla="*/ 788670 w 1145857"/>
                  <a:gd name="connsiteY91" fmla="*/ 51927 h 1478771"/>
                  <a:gd name="connsiteX92" fmla="*/ 779145 w 1145857"/>
                  <a:gd name="connsiteY92" fmla="*/ 51927 h 1478771"/>
                  <a:gd name="connsiteX93" fmla="*/ 745807 w 1145857"/>
                  <a:gd name="connsiteY93" fmla="*/ 61452 h 1478771"/>
                  <a:gd name="connsiteX94" fmla="*/ 726757 w 1145857"/>
                  <a:gd name="connsiteY94" fmla="*/ 81454 h 1478771"/>
                  <a:gd name="connsiteX95" fmla="*/ 712470 w 1145857"/>
                  <a:gd name="connsiteY95" fmla="*/ 101457 h 1478771"/>
                  <a:gd name="connsiteX96" fmla="*/ 709613 w 1145857"/>
                  <a:gd name="connsiteY96" fmla="*/ 127174 h 1478771"/>
                  <a:gd name="connsiteX97" fmla="*/ 694372 w 1145857"/>
                  <a:gd name="connsiteY97" fmla="*/ 126222 h 1478771"/>
                  <a:gd name="connsiteX98" fmla="*/ 694372 w 1145857"/>
                  <a:gd name="connsiteY98" fmla="*/ 138604 h 1478771"/>
                  <a:gd name="connsiteX99" fmla="*/ 717232 w 1145857"/>
                  <a:gd name="connsiteY99" fmla="*/ 144319 h 1478771"/>
                  <a:gd name="connsiteX100" fmla="*/ 690563 w 1145857"/>
                  <a:gd name="connsiteY100" fmla="*/ 162417 h 1478771"/>
                  <a:gd name="connsiteX101" fmla="*/ 681990 w 1145857"/>
                  <a:gd name="connsiteY101" fmla="*/ 188134 h 1478771"/>
                  <a:gd name="connsiteX102" fmla="*/ 707707 w 1145857"/>
                  <a:gd name="connsiteY102" fmla="*/ 194802 h 1478771"/>
                  <a:gd name="connsiteX103" fmla="*/ 746760 w 1145857"/>
                  <a:gd name="connsiteY103" fmla="*/ 197659 h 1478771"/>
                  <a:gd name="connsiteX104" fmla="*/ 781050 w 1145857"/>
                  <a:gd name="connsiteY104" fmla="*/ 190992 h 1478771"/>
                  <a:gd name="connsiteX105" fmla="*/ 781050 w 1145857"/>
                  <a:gd name="connsiteY105" fmla="*/ 208137 h 1478771"/>
                  <a:gd name="connsiteX106" fmla="*/ 746760 w 1145857"/>
                  <a:gd name="connsiteY106" fmla="*/ 226234 h 1478771"/>
                  <a:gd name="connsiteX107" fmla="*/ 727710 w 1145857"/>
                  <a:gd name="connsiteY107" fmla="*/ 245284 h 1478771"/>
                  <a:gd name="connsiteX108" fmla="*/ 699135 w 1145857"/>
                  <a:gd name="connsiteY108" fmla="*/ 223377 h 1478771"/>
                  <a:gd name="connsiteX109" fmla="*/ 666750 w 1145857"/>
                  <a:gd name="connsiteY109" fmla="*/ 232902 h 1478771"/>
                  <a:gd name="connsiteX110" fmla="*/ 643890 w 1145857"/>
                  <a:gd name="connsiteY110" fmla="*/ 210042 h 1478771"/>
                  <a:gd name="connsiteX111" fmla="*/ 623888 w 1145857"/>
                  <a:gd name="connsiteY111" fmla="*/ 221472 h 1478771"/>
                  <a:gd name="connsiteX112" fmla="*/ 592455 w 1145857"/>
                  <a:gd name="connsiteY112" fmla="*/ 235759 h 1478771"/>
                  <a:gd name="connsiteX113" fmla="*/ 566738 w 1145857"/>
                  <a:gd name="connsiteY113" fmla="*/ 262429 h 1478771"/>
                  <a:gd name="connsiteX114" fmla="*/ 519113 w 1145857"/>
                  <a:gd name="connsiteY114" fmla="*/ 276717 h 1478771"/>
                  <a:gd name="connsiteX115" fmla="*/ 493395 w 1145857"/>
                  <a:gd name="connsiteY115" fmla="*/ 313864 h 1478771"/>
                  <a:gd name="connsiteX116" fmla="*/ 458152 w 1145857"/>
                  <a:gd name="connsiteY116" fmla="*/ 328152 h 1478771"/>
                  <a:gd name="connsiteX117" fmla="*/ 429577 w 1145857"/>
                  <a:gd name="connsiteY117" fmla="*/ 356727 h 1478771"/>
                  <a:gd name="connsiteX118" fmla="*/ 401002 w 1145857"/>
                  <a:gd name="connsiteY118" fmla="*/ 385302 h 1478771"/>
                  <a:gd name="connsiteX119" fmla="*/ 370522 w 1145857"/>
                  <a:gd name="connsiteY119" fmla="*/ 403399 h 1478771"/>
                  <a:gd name="connsiteX120" fmla="*/ 328613 w 1145857"/>
                  <a:gd name="connsiteY120" fmla="*/ 421497 h 1478771"/>
                  <a:gd name="connsiteX121" fmla="*/ 306705 w 1145857"/>
                  <a:gd name="connsiteY121" fmla="*/ 443404 h 1478771"/>
                  <a:gd name="connsiteX122" fmla="*/ 259080 w 1145857"/>
                  <a:gd name="connsiteY122" fmla="*/ 491029 h 1478771"/>
                  <a:gd name="connsiteX123" fmla="*/ 216218 w 1145857"/>
                  <a:gd name="connsiteY123" fmla="*/ 532939 h 1478771"/>
                  <a:gd name="connsiteX124" fmla="*/ 204788 w 1145857"/>
                  <a:gd name="connsiteY124" fmla="*/ 573897 h 1478771"/>
                  <a:gd name="connsiteX125" fmla="*/ 180975 w 1145857"/>
                  <a:gd name="connsiteY125" fmla="*/ 609139 h 1478771"/>
                  <a:gd name="connsiteX126" fmla="*/ 172402 w 1145857"/>
                  <a:gd name="connsiteY126" fmla="*/ 634857 h 1478771"/>
                  <a:gd name="connsiteX127" fmla="*/ 180975 w 1145857"/>
                  <a:gd name="connsiteY127" fmla="*/ 658669 h 1478771"/>
                  <a:gd name="connsiteX128" fmla="*/ 160972 w 1145857"/>
                  <a:gd name="connsiteY128" fmla="*/ 658669 h 1478771"/>
                  <a:gd name="connsiteX129" fmla="*/ 138113 w 1145857"/>
                  <a:gd name="connsiteY129" fmla="*/ 671052 h 1478771"/>
                  <a:gd name="connsiteX130" fmla="*/ 135255 w 1145857"/>
                  <a:gd name="connsiteY130" fmla="*/ 700579 h 1478771"/>
                  <a:gd name="connsiteX131" fmla="*/ 109538 w 1145857"/>
                  <a:gd name="connsiteY131" fmla="*/ 712962 h 1478771"/>
                  <a:gd name="connsiteX132" fmla="*/ 102870 w 1145857"/>
                  <a:gd name="connsiteY132" fmla="*/ 739632 h 1478771"/>
                  <a:gd name="connsiteX133" fmla="*/ 102870 w 1145857"/>
                  <a:gd name="connsiteY133" fmla="*/ 754872 h 1478771"/>
                  <a:gd name="connsiteX134" fmla="*/ 131445 w 1145857"/>
                  <a:gd name="connsiteY134" fmla="*/ 754872 h 1478771"/>
                  <a:gd name="connsiteX135" fmla="*/ 140018 w 1145857"/>
                  <a:gd name="connsiteY135" fmla="*/ 774874 h 1478771"/>
                  <a:gd name="connsiteX136" fmla="*/ 175260 w 1145857"/>
                  <a:gd name="connsiteY136" fmla="*/ 769159 h 1478771"/>
                  <a:gd name="connsiteX137" fmla="*/ 222885 w 1145857"/>
                  <a:gd name="connsiteY137" fmla="*/ 790114 h 1478771"/>
                  <a:gd name="connsiteX138" fmla="*/ 238125 w 1145857"/>
                  <a:gd name="connsiteY138" fmla="*/ 792972 h 1478771"/>
                  <a:gd name="connsiteX139" fmla="*/ 246697 w 1145857"/>
                  <a:gd name="connsiteY139" fmla="*/ 815832 h 1478771"/>
                  <a:gd name="connsiteX140" fmla="*/ 240030 w 1145857"/>
                  <a:gd name="connsiteY140" fmla="*/ 838692 h 1478771"/>
                  <a:gd name="connsiteX141" fmla="*/ 211455 w 1145857"/>
                  <a:gd name="connsiteY141" fmla="*/ 845359 h 1478771"/>
                  <a:gd name="connsiteX142" fmla="*/ 180022 w 1145857"/>
                  <a:gd name="connsiteY142" fmla="*/ 859647 h 1478771"/>
                  <a:gd name="connsiteX143" fmla="*/ 157163 w 1145857"/>
                  <a:gd name="connsiteY143" fmla="*/ 868219 h 1478771"/>
                  <a:gd name="connsiteX144" fmla="*/ 124777 w 1145857"/>
                  <a:gd name="connsiteY144" fmla="*/ 868219 h 1478771"/>
                  <a:gd name="connsiteX145" fmla="*/ 103822 w 1145857"/>
                  <a:gd name="connsiteY145" fmla="*/ 847264 h 1478771"/>
                  <a:gd name="connsiteX146" fmla="*/ 123825 w 1145857"/>
                  <a:gd name="connsiteY146" fmla="*/ 827262 h 1478771"/>
                  <a:gd name="connsiteX147" fmla="*/ 97155 w 1145857"/>
                  <a:gd name="connsiteY147" fmla="*/ 800592 h 1478771"/>
                  <a:gd name="connsiteX148" fmla="*/ 81915 w 1145857"/>
                  <a:gd name="connsiteY148" fmla="*/ 815832 h 1478771"/>
                  <a:gd name="connsiteX149" fmla="*/ 66675 w 1145857"/>
                  <a:gd name="connsiteY149" fmla="*/ 844407 h 1478771"/>
                  <a:gd name="connsiteX150" fmla="*/ 86677 w 1145857"/>
                  <a:gd name="connsiteY150" fmla="*/ 872982 h 1478771"/>
                  <a:gd name="connsiteX151" fmla="*/ 80963 w 1145857"/>
                  <a:gd name="connsiteY151" fmla="*/ 890127 h 1478771"/>
                  <a:gd name="connsiteX152" fmla="*/ 95250 w 1145857"/>
                  <a:gd name="connsiteY152" fmla="*/ 904414 h 1478771"/>
                  <a:gd name="connsiteX153" fmla="*/ 86677 w 1145857"/>
                  <a:gd name="connsiteY153" fmla="*/ 938704 h 1478771"/>
                  <a:gd name="connsiteX154" fmla="*/ 51435 w 1145857"/>
                  <a:gd name="connsiteY154" fmla="*/ 964422 h 1478771"/>
                  <a:gd name="connsiteX155" fmla="*/ 51435 w 1145857"/>
                  <a:gd name="connsiteY155" fmla="*/ 992997 h 1478771"/>
                  <a:gd name="connsiteX156" fmla="*/ 33338 w 1145857"/>
                  <a:gd name="connsiteY156" fmla="*/ 1011094 h 1478771"/>
                  <a:gd name="connsiteX157" fmla="*/ 12382 w 1145857"/>
                  <a:gd name="connsiteY157" fmla="*/ 1011094 h 1478771"/>
                  <a:gd name="connsiteX158" fmla="*/ 0 w 1145857"/>
                  <a:gd name="connsiteY158" fmla="*/ 1034907 h 1478771"/>
                  <a:gd name="connsiteX159" fmla="*/ 0 w 1145857"/>
                  <a:gd name="connsiteY159" fmla="*/ 1081579 h 1478771"/>
                  <a:gd name="connsiteX160" fmla="*/ 11430 w 1145857"/>
                  <a:gd name="connsiteY160" fmla="*/ 1097772 h 1478771"/>
                  <a:gd name="connsiteX161" fmla="*/ 44768 w 1145857"/>
                  <a:gd name="connsiteY161" fmla="*/ 1109202 h 1478771"/>
                  <a:gd name="connsiteX162" fmla="*/ 73343 w 1145857"/>
                  <a:gd name="connsiteY162" fmla="*/ 1113012 h 1478771"/>
                  <a:gd name="connsiteX163" fmla="*/ 80010 w 1145857"/>
                  <a:gd name="connsiteY163" fmla="*/ 1131109 h 1478771"/>
                  <a:gd name="connsiteX164" fmla="*/ 105727 w 1145857"/>
                  <a:gd name="connsiteY164" fmla="*/ 1140634 h 1478771"/>
                  <a:gd name="connsiteX165" fmla="*/ 127635 w 1145857"/>
                  <a:gd name="connsiteY165" fmla="*/ 1177782 h 1478771"/>
                  <a:gd name="connsiteX166" fmla="*/ 98107 w 1145857"/>
                  <a:gd name="connsiteY166" fmla="*/ 1195879 h 1478771"/>
                  <a:gd name="connsiteX167" fmla="*/ 84772 w 1145857"/>
                  <a:gd name="connsiteY167" fmla="*/ 1229217 h 1478771"/>
                  <a:gd name="connsiteX168" fmla="*/ 84772 w 1145857"/>
                  <a:gd name="connsiteY168" fmla="*/ 1257792 h 1478771"/>
                  <a:gd name="connsiteX169" fmla="*/ 65722 w 1145857"/>
                  <a:gd name="connsiteY169" fmla="*/ 1271127 h 1478771"/>
                  <a:gd name="connsiteX170" fmla="*/ 65722 w 1145857"/>
                  <a:gd name="connsiteY170" fmla="*/ 1300654 h 1478771"/>
                  <a:gd name="connsiteX171" fmla="*/ 48577 w 1145857"/>
                  <a:gd name="connsiteY171" fmla="*/ 1327325 h 1478771"/>
                  <a:gd name="connsiteX172" fmla="*/ 60007 w 1145857"/>
                  <a:gd name="connsiteY172" fmla="*/ 1355900 h 1478771"/>
                  <a:gd name="connsiteX173" fmla="*/ 81915 w 1145857"/>
                  <a:gd name="connsiteY173" fmla="*/ 1368282 h 1478771"/>
                  <a:gd name="connsiteX174" fmla="*/ 81915 w 1145857"/>
                  <a:gd name="connsiteY174" fmla="*/ 1400667 h 1478771"/>
                  <a:gd name="connsiteX175" fmla="*/ 110490 w 1145857"/>
                  <a:gd name="connsiteY175" fmla="*/ 1405429 h 1478771"/>
                  <a:gd name="connsiteX176" fmla="*/ 137160 w 1145857"/>
                  <a:gd name="connsiteY176" fmla="*/ 1416859 h 1478771"/>
                  <a:gd name="connsiteX177" fmla="*/ 166688 w 1145857"/>
                  <a:gd name="connsiteY177" fmla="*/ 1407334 h 1478771"/>
                  <a:gd name="connsiteX178" fmla="*/ 189547 w 1145857"/>
                  <a:gd name="connsiteY178" fmla="*/ 1407334 h 1478771"/>
                  <a:gd name="connsiteX179" fmla="*/ 206693 w 1145857"/>
                  <a:gd name="connsiteY179" fmla="*/ 1424479 h 1478771"/>
                  <a:gd name="connsiteX180" fmla="*/ 221932 w 1145857"/>
                  <a:gd name="connsiteY180" fmla="*/ 1454007 h 1478771"/>
                  <a:gd name="connsiteX181" fmla="*/ 238125 w 1145857"/>
                  <a:gd name="connsiteY181" fmla="*/ 1454007 h 1478771"/>
                  <a:gd name="connsiteX182" fmla="*/ 269557 w 1145857"/>
                  <a:gd name="connsiteY182" fmla="*/ 1440672 h 1478771"/>
                  <a:gd name="connsiteX183" fmla="*/ 283845 w 1145857"/>
                  <a:gd name="connsiteY183" fmla="*/ 1454959 h 1478771"/>
                  <a:gd name="connsiteX184" fmla="*/ 300990 w 1145857"/>
                  <a:gd name="connsiteY184" fmla="*/ 1478772 h 1478771"/>
                  <a:gd name="connsiteX185" fmla="*/ 324802 w 1145857"/>
                  <a:gd name="connsiteY185" fmla="*/ 1478772 h 1478771"/>
                  <a:gd name="connsiteX186" fmla="*/ 353377 w 1145857"/>
                  <a:gd name="connsiteY186" fmla="*/ 1468295 h 1478771"/>
                  <a:gd name="connsiteX187" fmla="*/ 361950 w 1145857"/>
                  <a:gd name="connsiteY187" fmla="*/ 1450197 h 1478771"/>
                  <a:gd name="connsiteX188" fmla="*/ 391477 w 1145857"/>
                  <a:gd name="connsiteY188" fmla="*/ 1455912 h 1478771"/>
                  <a:gd name="connsiteX189" fmla="*/ 424815 w 1145857"/>
                  <a:gd name="connsiteY189" fmla="*/ 1452102 h 1478771"/>
                  <a:gd name="connsiteX190" fmla="*/ 454343 w 1145857"/>
                  <a:gd name="connsiteY190" fmla="*/ 1410192 h 1478771"/>
                  <a:gd name="connsiteX191" fmla="*/ 499110 w 1145857"/>
                  <a:gd name="connsiteY191" fmla="*/ 1416859 h 1478771"/>
                  <a:gd name="connsiteX192" fmla="*/ 519113 w 1145857"/>
                  <a:gd name="connsiteY192" fmla="*/ 1396857 h 1478771"/>
                  <a:gd name="connsiteX193" fmla="*/ 545782 w 1145857"/>
                  <a:gd name="connsiteY193" fmla="*/ 1361614 h 1478771"/>
                  <a:gd name="connsiteX194" fmla="*/ 535305 w 1145857"/>
                  <a:gd name="connsiteY194" fmla="*/ 1350184 h 1478771"/>
                  <a:gd name="connsiteX195" fmla="*/ 535305 w 1145857"/>
                  <a:gd name="connsiteY195" fmla="*/ 1325420 h 1478771"/>
                  <a:gd name="connsiteX196" fmla="*/ 547688 w 1145857"/>
                  <a:gd name="connsiteY196" fmla="*/ 1299702 h 1478771"/>
                  <a:gd name="connsiteX197" fmla="*/ 570547 w 1145857"/>
                  <a:gd name="connsiteY197" fmla="*/ 1287320 h 1478771"/>
                  <a:gd name="connsiteX198" fmla="*/ 584835 w 1145857"/>
                  <a:gd name="connsiteY198" fmla="*/ 1273032 h 1478771"/>
                  <a:gd name="connsiteX199" fmla="*/ 574357 w 1145857"/>
                  <a:gd name="connsiteY199" fmla="*/ 1262554 h 1478771"/>
                  <a:gd name="connsiteX200" fmla="*/ 581025 w 1145857"/>
                  <a:gd name="connsiteY200" fmla="*/ 1255887 h 1478771"/>
                  <a:gd name="connsiteX201" fmla="*/ 601980 w 1145857"/>
                  <a:gd name="connsiteY201" fmla="*/ 1241600 h 1478771"/>
                  <a:gd name="connsiteX202" fmla="*/ 625793 w 1145857"/>
                  <a:gd name="connsiteY202" fmla="*/ 1243504 h 1478771"/>
                  <a:gd name="connsiteX203" fmla="*/ 631507 w 1145857"/>
                  <a:gd name="connsiteY203" fmla="*/ 1216834 h 1478771"/>
                  <a:gd name="connsiteX204" fmla="*/ 649605 w 1145857"/>
                  <a:gd name="connsiteY204" fmla="*/ 1202547 h 1478771"/>
                  <a:gd name="connsiteX205" fmla="*/ 649605 w 1145857"/>
                  <a:gd name="connsiteY205" fmla="*/ 1177782 h 1478771"/>
                  <a:gd name="connsiteX206" fmla="*/ 682943 w 1145857"/>
                  <a:gd name="connsiteY206" fmla="*/ 1167304 h 1478771"/>
                  <a:gd name="connsiteX207" fmla="*/ 698182 w 1145857"/>
                  <a:gd name="connsiteY207" fmla="*/ 1172067 h 1478771"/>
                  <a:gd name="connsiteX208" fmla="*/ 709613 w 1145857"/>
                  <a:gd name="connsiteY208" fmla="*/ 1154922 h 1478771"/>
                  <a:gd name="connsiteX209" fmla="*/ 702945 w 1145857"/>
                  <a:gd name="connsiteY209" fmla="*/ 1133967 h 1478771"/>
                  <a:gd name="connsiteX210" fmla="*/ 736282 w 1145857"/>
                  <a:gd name="connsiteY210" fmla="*/ 1128252 h 1478771"/>
                  <a:gd name="connsiteX211" fmla="*/ 756285 w 1145857"/>
                  <a:gd name="connsiteY211" fmla="*/ 1136825 h 1478771"/>
                  <a:gd name="connsiteX212" fmla="*/ 770572 w 1145857"/>
                  <a:gd name="connsiteY212" fmla="*/ 1122537 h 1478771"/>
                  <a:gd name="connsiteX213" fmla="*/ 794385 w 1145857"/>
                  <a:gd name="connsiteY213" fmla="*/ 1105392 h 1478771"/>
                  <a:gd name="connsiteX214" fmla="*/ 812482 w 1145857"/>
                  <a:gd name="connsiteY214" fmla="*/ 1111107 h 1478771"/>
                  <a:gd name="connsiteX215" fmla="*/ 820102 w 1145857"/>
                  <a:gd name="connsiteY215" fmla="*/ 1140634 h 1478771"/>
                  <a:gd name="connsiteX216" fmla="*/ 831532 w 1145857"/>
                  <a:gd name="connsiteY216" fmla="*/ 1162542 h 1478771"/>
                  <a:gd name="connsiteX217" fmla="*/ 840105 w 1145857"/>
                  <a:gd name="connsiteY217" fmla="*/ 1186354 h 1478771"/>
                  <a:gd name="connsiteX218" fmla="*/ 857250 w 1145857"/>
                  <a:gd name="connsiteY218" fmla="*/ 1203500 h 1478771"/>
                  <a:gd name="connsiteX219" fmla="*/ 879157 w 1145857"/>
                  <a:gd name="connsiteY219" fmla="*/ 1174925 h 1478771"/>
                  <a:gd name="connsiteX220" fmla="*/ 903922 w 1145857"/>
                  <a:gd name="connsiteY220" fmla="*/ 1170162 h 1478771"/>
                  <a:gd name="connsiteX221" fmla="*/ 922972 w 1145857"/>
                  <a:gd name="connsiteY221" fmla="*/ 1151112 h 1478771"/>
                  <a:gd name="connsiteX222" fmla="*/ 943927 w 1145857"/>
                  <a:gd name="connsiteY222" fmla="*/ 1144444 h 1478771"/>
                  <a:gd name="connsiteX223" fmla="*/ 960120 w 1145857"/>
                  <a:gd name="connsiteY223" fmla="*/ 1160637 h 1478771"/>
                  <a:gd name="connsiteX224" fmla="*/ 983932 w 1145857"/>
                  <a:gd name="connsiteY224" fmla="*/ 1146350 h 1478771"/>
                  <a:gd name="connsiteX225" fmla="*/ 998220 w 1145857"/>
                  <a:gd name="connsiteY225" fmla="*/ 1114917 h 1478771"/>
                  <a:gd name="connsiteX226" fmla="*/ 1012507 w 1145857"/>
                  <a:gd name="connsiteY226" fmla="*/ 1072054 h 1478771"/>
                  <a:gd name="connsiteX227" fmla="*/ 1000125 w 1145857"/>
                  <a:gd name="connsiteY227" fmla="*/ 1053957 h 1478771"/>
                  <a:gd name="connsiteX228" fmla="*/ 1021080 w 1145857"/>
                  <a:gd name="connsiteY228" fmla="*/ 1021572 h 1478771"/>
                  <a:gd name="connsiteX229" fmla="*/ 1031557 w 1145857"/>
                  <a:gd name="connsiteY229" fmla="*/ 985377 h 1478771"/>
                  <a:gd name="connsiteX230" fmla="*/ 1037272 w 1145857"/>
                  <a:gd name="connsiteY230" fmla="*/ 949182 h 1478771"/>
                  <a:gd name="connsiteX231" fmla="*/ 1058227 w 1145857"/>
                  <a:gd name="connsiteY231" fmla="*/ 942514 h 1478771"/>
                  <a:gd name="connsiteX232" fmla="*/ 1076325 w 1145857"/>
                  <a:gd name="connsiteY232" fmla="*/ 960612 h 1478771"/>
                  <a:gd name="connsiteX233" fmla="*/ 1101090 w 1145857"/>
                  <a:gd name="connsiteY233" fmla="*/ 958707 h 1478771"/>
                  <a:gd name="connsiteX234" fmla="*/ 1117282 w 1145857"/>
                  <a:gd name="connsiteY234" fmla="*/ 935847 h 1478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</a:cxnLst>
                <a:rect l="l" t="t" r="r" b="b"/>
                <a:pathLst>
                  <a:path w="1145857" h="1478771">
                    <a:moveTo>
                      <a:pt x="1117282" y="935847"/>
                    </a:moveTo>
                    <a:lnTo>
                      <a:pt x="1117282" y="885364"/>
                    </a:lnTo>
                    <a:lnTo>
                      <a:pt x="1107757" y="840597"/>
                    </a:lnTo>
                    <a:lnTo>
                      <a:pt x="1083945" y="803449"/>
                    </a:lnTo>
                    <a:lnTo>
                      <a:pt x="1094422" y="792972"/>
                    </a:lnTo>
                    <a:lnTo>
                      <a:pt x="1061085" y="771064"/>
                    </a:lnTo>
                    <a:lnTo>
                      <a:pt x="1069657" y="757729"/>
                    </a:lnTo>
                    <a:lnTo>
                      <a:pt x="1099185" y="757729"/>
                    </a:lnTo>
                    <a:lnTo>
                      <a:pt x="1117282" y="718677"/>
                    </a:lnTo>
                    <a:lnTo>
                      <a:pt x="1145857" y="707247"/>
                    </a:lnTo>
                    <a:lnTo>
                      <a:pt x="1145857" y="677719"/>
                    </a:lnTo>
                    <a:lnTo>
                      <a:pt x="1125855" y="657717"/>
                    </a:lnTo>
                    <a:lnTo>
                      <a:pt x="1115377" y="632952"/>
                    </a:lnTo>
                    <a:lnTo>
                      <a:pt x="1092518" y="650097"/>
                    </a:lnTo>
                    <a:lnTo>
                      <a:pt x="1077277" y="637714"/>
                    </a:lnTo>
                    <a:lnTo>
                      <a:pt x="1059180" y="640572"/>
                    </a:lnTo>
                    <a:lnTo>
                      <a:pt x="1043940" y="655812"/>
                    </a:lnTo>
                    <a:lnTo>
                      <a:pt x="1019175" y="655812"/>
                    </a:lnTo>
                    <a:lnTo>
                      <a:pt x="1012507" y="669147"/>
                    </a:lnTo>
                    <a:lnTo>
                      <a:pt x="986790" y="669147"/>
                    </a:lnTo>
                    <a:lnTo>
                      <a:pt x="986790" y="649144"/>
                    </a:lnTo>
                    <a:lnTo>
                      <a:pt x="955357" y="650097"/>
                    </a:lnTo>
                    <a:lnTo>
                      <a:pt x="938213" y="652954"/>
                    </a:lnTo>
                    <a:lnTo>
                      <a:pt x="917257" y="652002"/>
                    </a:lnTo>
                    <a:lnTo>
                      <a:pt x="908685" y="666289"/>
                    </a:lnTo>
                    <a:lnTo>
                      <a:pt x="890588" y="684387"/>
                    </a:lnTo>
                    <a:lnTo>
                      <a:pt x="860107" y="685339"/>
                    </a:lnTo>
                    <a:lnTo>
                      <a:pt x="842963" y="697722"/>
                    </a:lnTo>
                    <a:lnTo>
                      <a:pt x="842963" y="724392"/>
                    </a:lnTo>
                    <a:lnTo>
                      <a:pt x="824865" y="731059"/>
                    </a:lnTo>
                    <a:lnTo>
                      <a:pt x="810577" y="716772"/>
                    </a:lnTo>
                    <a:lnTo>
                      <a:pt x="833438" y="690102"/>
                    </a:lnTo>
                    <a:lnTo>
                      <a:pt x="818197" y="690102"/>
                    </a:lnTo>
                    <a:lnTo>
                      <a:pt x="794385" y="699627"/>
                    </a:lnTo>
                    <a:lnTo>
                      <a:pt x="803910" y="676767"/>
                    </a:lnTo>
                    <a:lnTo>
                      <a:pt x="833438" y="664384"/>
                    </a:lnTo>
                    <a:lnTo>
                      <a:pt x="854393" y="664384"/>
                    </a:lnTo>
                    <a:lnTo>
                      <a:pt x="877252" y="627237"/>
                    </a:lnTo>
                    <a:lnTo>
                      <a:pt x="871538" y="594852"/>
                    </a:lnTo>
                    <a:lnTo>
                      <a:pt x="860107" y="553894"/>
                    </a:lnTo>
                    <a:lnTo>
                      <a:pt x="837247" y="531034"/>
                    </a:lnTo>
                    <a:lnTo>
                      <a:pt x="815340" y="509127"/>
                    </a:lnTo>
                    <a:lnTo>
                      <a:pt x="802957" y="521509"/>
                    </a:lnTo>
                    <a:lnTo>
                      <a:pt x="802005" y="494839"/>
                    </a:lnTo>
                    <a:lnTo>
                      <a:pt x="781050" y="494839"/>
                    </a:lnTo>
                    <a:lnTo>
                      <a:pt x="749618" y="503412"/>
                    </a:lnTo>
                    <a:lnTo>
                      <a:pt x="730568" y="484362"/>
                    </a:lnTo>
                    <a:lnTo>
                      <a:pt x="730568" y="465312"/>
                    </a:lnTo>
                    <a:lnTo>
                      <a:pt x="705802" y="461502"/>
                    </a:lnTo>
                    <a:lnTo>
                      <a:pt x="714375" y="452929"/>
                    </a:lnTo>
                    <a:lnTo>
                      <a:pt x="726757" y="447214"/>
                    </a:lnTo>
                    <a:lnTo>
                      <a:pt x="716280" y="436737"/>
                    </a:lnTo>
                    <a:lnTo>
                      <a:pt x="718185" y="423402"/>
                    </a:lnTo>
                    <a:lnTo>
                      <a:pt x="732472" y="431974"/>
                    </a:lnTo>
                    <a:lnTo>
                      <a:pt x="747713" y="444357"/>
                    </a:lnTo>
                    <a:lnTo>
                      <a:pt x="774382" y="444357"/>
                    </a:lnTo>
                    <a:lnTo>
                      <a:pt x="792480" y="430069"/>
                    </a:lnTo>
                    <a:lnTo>
                      <a:pt x="810577" y="444357"/>
                    </a:lnTo>
                    <a:lnTo>
                      <a:pt x="833438" y="421497"/>
                    </a:lnTo>
                    <a:lnTo>
                      <a:pt x="833438" y="385302"/>
                    </a:lnTo>
                    <a:lnTo>
                      <a:pt x="822960" y="364347"/>
                    </a:lnTo>
                    <a:lnTo>
                      <a:pt x="846772" y="329104"/>
                    </a:lnTo>
                    <a:lnTo>
                      <a:pt x="873443" y="329104"/>
                    </a:lnTo>
                    <a:lnTo>
                      <a:pt x="894397" y="337677"/>
                    </a:lnTo>
                    <a:lnTo>
                      <a:pt x="923925" y="328152"/>
                    </a:lnTo>
                    <a:lnTo>
                      <a:pt x="939165" y="293862"/>
                    </a:lnTo>
                    <a:lnTo>
                      <a:pt x="968693" y="261477"/>
                    </a:lnTo>
                    <a:lnTo>
                      <a:pt x="1001077" y="258619"/>
                    </a:lnTo>
                    <a:lnTo>
                      <a:pt x="1013460" y="221472"/>
                    </a:lnTo>
                    <a:lnTo>
                      <a:pt x="989647" y="214804"/>
                    </a:lnTo>
                    <a:lnTo>
                      <a:pt x="989647" y="203374"/>
                    </a:lnTo>
                    <a:lnTo>
                      <a:pt x="1019175" y="203374"/>
                    </a:lnTo>
                    <a:lnTo>
                      <a:pt x="1009650" y="180514"/>
                    </a:lnTo>
                    <a:lnTo>
                      <a:pt x="1009650" y="162417"/>
                    </a:lnTo>
                    <a:lnTo>
                      <a:pt x="994410" y="182419"/>
                    </a:lnTo>
                    <a:lnTo>
                      <a:pt x="979170" y="186229"/>
                    </a:lnTo>
                    <a:lnTo>
                      <a:pt x="961072" y="157654"/>
                    </a:lnTo>
                    <a:lnTo>
                      <a:pt x="935355" y="131937"/>
                    </a:lnTo>
                    <a:lnTo>
                      <a:pt x="935355" y="147177"/>
                    </a:lnTo>
                    <a:lnTo>
                      <a:pt x="902018" y="134794"/>
                    </a:lnTo>
                    <a:lnTo>
                      <a:pt x="886777" y="150034"/>
                    </a:lnTo>
                    <a:lnTo>
                      <a:pt x="861060" y="146224"/>
                    </a:lnTo>
                    <a:lnTo>
                      <a:pt x="893445" y="125269"/>
                    </a:lnTo>
                    <a:lnTo>
                      <a:pt x="893445" y="95742"/>
                    </a:lnTo>
                    <a:cubicBezTo>
                      <a:pt x="893445" y="95742"/>
                      <a:pt x="902018" y="70024"/>
                      <a:pt x="893445" y="78597"/>
                    </a:cubicBezTo>
                    <a:cubicBezTo>
                      <a:pt x="884872" y="87169"/>
                      <a:pt x="863918" y="87169"/>
                      <a:pt x="863918" y="87169"/>
                    </a:cubicBezTo>
                    <a:lnTo>
                      <a:pt x="879157" y="54784"/>
                    </a:lnTo>
                    <a:lnTo>
                      <a:pt x="864870" y="40497"/>
                    </a:lnTo>
                    <a:lnTo>
                      <a:pt x="846772" y="25257"/>
                    </a:lnTo>
                    <a:cubicBezTo>
                      <a:pt x="846772" y="25257"/>
                      <a:pt x="855345" y="-7128"/>
                      <a:pt x="846772" y="1444"/>
                    </a:cubicBezTo>
                    <a:cubicBezTo>
                      <a:pt x="838200" y="10017"/>
                      <a:pt x="814388" y="16684"/>
                      <a:pt x="814388" y="16684"/>
                    </a:cubicBezTo>
                    <a:lnTo>
                      <a:pt x="788670" y="51927"/>
                    </a:lnTo>
                    <a:lnTo>
                      <a:pt x="779145" y="51927"/>
                    </a:lnTo>
                    <a:lnTo>
                      <a:pt x="745807" y="61452"/>
                    </a:lnTo>
                    <a:lnTo>
                      <a:pt x="726757" y="81454"/>
                    </a:lnTo>
                    <a:lnTo>
                      <a:pt x="712470" y="101457"/>
                    </a:lnTo>
                    <a:lnTo>
                      <a:pt x="709613" y="127174"/>
                    </a:lnTo>
                    <a:lnTo>
                      <a:pt x="694372" y="126222"/>
                    </a:lnTo>
                    <a:lnTo>
                      <a:pt x="694372" y="138604"/>
                    </a:lnTo>
                    <a:lnTo>
                      <a:pt x="717232" y="144319"/>
                    </a:lnTo>
                    <a:lnTo>
                      <a:pt x="690563" y="162417"/>
                    </a:lnTo>
                    <a:lnTo>
                      <a:pt x="681990" y="188134"/>
                    </a:lnTo>
                    <a:lnTo>
                      <a:pt x="707707" y="194802"/>
                    </a:lnTo>
                    <a:lnTo>
                      <a:pt x="746760" y="197659"/>
                    </a:lnTo>
                    <a:lnTo>
                      <a:pt x="781050" y="190992"/>
                    </a:lnTo>
                    <a:lnTo>
                      <a:pt x="781050" y="208137"/>
                    </a:lnTo>
                    <a:lnTo>
                      <a:pt x="746760" y="226234"/>
                    </a:lnTo>
                    <a:lnTo>
                      <a:pt x="727710" y="245284"/>
                    </a:lnTo>
                    <a:lnTo>
                      <a:pt x="699135" y="223377"/>
                    </a:lnTo>
                    <a:lnTo>
                      <a:pt x="666750" y="232902"/>
                    </a:lnTo>
                    <a:lnTo>
                      <a:pt x="643890" y="210042"/>
                    </a:lnTo>
                    <a:lnTo>
                      <a:pt x="623888" y="221472"/>
                    </a:lnTo>
                    <a:lnTo>
                      <a:pt x="592455" y="235759"/>
                    </a:lnTo>
                    <a:lnTo>
                      <a:pt x="566738" y="262429"/>
                    </a:lnTo>
                    <a:lnTo>
                      <a:pt x="519113" y="276717"/>
                    </a:lnTo>
                    <a:lnTo>
                      <a:pt x="493395" y="313864"/>
                    </a:lnTo>
                    <a:lnTo>
                      <a:pt x="458152" y="328152"/>
                    </a:lnTo>
                    <a:lnTo>
                      <a:pt x="429577" y="356727"/>
                    </a:lnTo>
                    <a:lnTo>
                      <a:pt x="401002" y="385302"/>
                    </a:lnTo>
                    <a:lnTo>
                      <a:pt x="370522" y="403399"/>
                    </a:lnTo>
                    <a:lnTo>
                      <a:pt x="328613" y="421497"/>
                    </a:lnTo>
                    <a:lnTo>
                      <a:pt x="306705" y="443404"/>
                    </a:lnTo>
                    <a:lnTo>
                      <a:pt x="259080" y="491029"/>
                    </a:lnTo>
                    <a:lnTo>
                      <a:pt x="216218" y="532939"/>
                    </a:lnTo>
                    <a:lnTo>
                      <a:pt x="204788" y="573897"/>
                    </a:lnTo>
                    <a:lnTo>
                      <a:pt x="180975" y="609139"/>
                    </a:lnTo>
                    <a:lnTo>
                      <a:pt x="172402" y="634857"/>
                    </a:lnTo>
                    <a:lnTo>
                      <a:pt x="180975" y="658669"/>
                    </a:lnTo>
                    <a:lnTo>
                      <a:pt x="160972" y="658669"/>
                    </a:lnTo>
                    <a:lnTo>
                      <a:pt x="138113" y="671052"/>
                    </a:lnTo>
                    <a:lnTo>
                      <a:pt x="135255" y="700579"/>
                    </a:lnTo>
                    <a:lnTo>
                      <a:pt x="109538" y="712962"/>
                    </a:lnTo>
                    <a:lnTo>
                      <a:pt x="102870" y="739632"/>
                    </a:lnTo>
                    <a:lnTo>
                      <a:pt x="102870" y="754872"/>
                    </a:lnTo>
                    <a:lnTo>
                      <a:pt x="131445" y="754872"/>
                    </a:lnTo>
                    <a:lnTo>
                      <a:pt x="140018" y="774874"/>
                    </a:lnTo>
                    <a:lnTo>
                      <a:pt x="175260" y="769159"/>
                    </a:lnTo>
                    <a:lnTo>
                      <a:pt x="222885" y="790114"/>
                    </a:lnTo>
                    <a:lnTo>
                      <a:pt x="238125" y="792972"/>
                    </a:lnTo>
                    <a:lnTo>
                      <a:pt x="246697" y="815832"/>
                    </a:lnTo>
                    <a:lnTo>
                      <a:pt x="240030" y="838692"/>
                    </a:lnTo>
                    <a:lnTo>
                      <a:pt x="211455" y="845359"/>
                    </a:lnTo>
                    <a:lnTo>
                      <a:pt x="180022" y="859647"/>
                    </a:lnTo>
                    <a:lnTo>
                      <a:pt x="157163" y="868219"/>
                    </a:lnTo>
                    <a:lnTo>
                      <a:pt x="124777" y="868219"/>
                    </a:lnTo>
                    <a:lnTo>
                      <a:pt x="103822" y="847264"/>
                    </a:lnTo>
                    <a:lnTo>
                      <a:pt x="123825" y="827262"/>
                    </a:lnTo>
                    <a:lnTo>
                      <a:pt x="97155" y="800592"/>
                    </a:lnTo>
                    <a:lnTo>
                      <a:pt x="81915" y="815832"/>
                    </a:lnTo>
                    <a:lnTo>
                      <a:pt x="66675" y="844407"/>
                    </a:lnTo>
                    <a:lnTo>
                      <a:pt x="86677" y="872982"/>
                    </a:lnTo>
                    <a:lnTo>
                      <a:pt x="80963" y="890127"/>
                    </a:lnTo>
                    <a:lnTo>
                      <a:pt x="95250" y="904414"/>
                    </a:lnTo>
                    <a:lnTo>
                      <a:pt x="86677" y="938704"/>
                    </a:lnTo>
                    <a:lnTo>
                      <a:pt x="51435" y="964422"/>
                    </a:lnTo>
                    <a:lnTo>
                      <a:pt x="51435" y="992997"/>
                    </a:lnTo>
                    <a:lnTo>
                      <a:pt x="33338" y="1011094"/>
                    </a:lnTo>
                    <a:lnTo>
                      <a:pt x="12382" y="1011094"/>
                    </a:lnTo>
                    <a:lnTo>
                      <a:pt x="0" y="1034907"/>
                    </a:lnTo>
                    <a:lnTo>
                      <a:pt x="0" y="1081579"/>
                    </a:lnTo>
                    <a:lnTo>
                      <a:pt x="11430" y="1097772"/>
                    </a:lnTo>
                    <a:lnTo>
                      <a:pt x="44768" y="1109202"/>
                    </a:lnTo>
                    <a:lnTo>
                      <a:pt x="73343" y="1113012"/>
                    </a:lnTo>
                    <a:lnTo>
                      <a:pt x="80010" y="1131109"/>
                    </a:lnTo>
                    <a:lnTo>
                      <a:pt x="105727" y="1140634"/>
                    </a:lnTo>
                    <a:lnTo>
                      <a:pt x="127635" y="1177782"/>
                    </a:lnTo>
                    <a:lnTo>
                      <a:pt x="98107" y="1195879"/>
                    </a:lnTo>
                    <a:lnTo>
                      <a:pt x="84772" y="1229217"/>
                    </a:lnTo>
                    <a:lnTo>
                      <a:pt x="84772" y="1257792"/>
                    </a:lnTo>
                    <a:lnTo>
                      <a:pt x="65722" y="1271127"/>
                    </a:lnTo>
                    <a:lnTo>
                      <a:pt x="65722" y="1300654"/>
                    </a:lnTo>
                    <a:lnTo>
                      <a:pt x="48577" y="1327325"/>
                    </a:lnTo>
                    <a:lnTo>
                      <a:pt x="60007" y="1355900"/>
                    </a:lnTo>
                    <a:lnTo>
                      <a:pt x="81915" y="1368282"/>
                    </a:lnTo>
                    <a:lnTo>
                      <a:pt x="81915" y="1400667"/>
                    </a:lnTo>
                    <a:lnTo>
                      <a:pt x="110490" y="1405429"/>
                    </a:lnTo>
                    <a:lnTo>
                      <a:pt x="137160" y="1416859"/>
                    </a:lnTo>
                    <a:lnTo>
                      <a:pt x="166688" y="1407334"/>
                    </a:lnTo>
                    <a:lnTo>
                      <a:pt x="189547" y="1407334"/>
                    </a:lnTo>
                    <a:lnTo>
                      <a:pt x="206693" y="1424479"/>
                    </a:lnTo>
                    <a:lnTo>
                      <a:pt x="221932" y="1454007"/>
                    </a:lnTo>
                    <a:lnTo>
                      <a:pt x="238125" y="1454007"/>
                    </a:lnTo>
                    <a:lnTo>
                      <a:pt x="269557" y="1440672"/>
                    </a:lnTo>
                    <a:lnTo>
                      <a:pt x="283845" y="1454959"/>
                    </a:lnTo>
                    <a:lnTo>
                      <a:pt x="300990" y="1478772"/>
                    </a:lnTo>
                    <a:lnTo>
                      <a:pt x="324802" y="1478772"/>
                    </a:lnTo>
                    <a:lnTo>
                      <a:pt x="353377" y="1468295"/>
                    </a:lnTo>
                    <a:lnTo>
                      <a:pt x="361950" y="1450197"/>
                    </a:lnTo>
                    <a:lnTo>
                      <a:pt x="391477" y="1455912"/>
                    </a:lnTo>
                    <a:lnTo>
                      <a:pt x="424815" y="1452102"/>
                    </a:lnTo>
                    <a:lnTo>
                      <a:pt x="454343" y="1410192"/>
                    </a:lnTo>
                    <a:lnTo>
                      <a:pt x="499110" y="1416859"/>
                    </a:lnTo>
                    <a:lnTo>
                      <a:pt x="519113" y="1396857"/>
                    </a:lnTo>
                    <a:lnTo>
                      <a:pt x="545782" y="1361614"/>
                    </a:lnTo>
                    <a:lnTo>
                      <a:pt x="535305" y="1350184"/>
                    </a:lnTo>
                    <a:lnTo>
                      <a:pt x="535305" y="1325420"/>
                    </a:lnTo>
                    <a:lnTo>
                      <a:pt x="547688" y="1299702"/>
                    </a:lnTo>
                    <a:lnTo>
                      <a:pt x="570547" y="1287320"/>
                    </a:lnTo>
                    <a:lnTo>
                      <a:pt x="584835" y="1273032"/>
                    </a:lnTo>
                    <a:lnTo>
                      <a:pt x="574357" y="1262554"/>
                    </a:lnTo>
                    <a:lnTo>
                      <a:pt x="581025" y="1255887"/>
                    </a:lnTo>
                    <a:lnTo>
                      <a:pt x="601980" y="1241600"/>
                    </a:lnTo>
                    <a:lnTo>
                      <a:pt x="625793" y="1243504"/>
                    </a:lnTo>
                    <a:lnTo>
                      <a:pt x="631507" y="1216834"/>
                    </a:lnTo>
                    <a:lnTo>
                      <a:pt x="649605" y="1202547"/>
                    </a:lnTo>
                    <a:lnTo>
                      <a:pt x="649605" y="1177782"/>
                    </a:lnTo>
                    <a:lnTo>
                      <a:pt x="682943" y="1167304"/>
                    </a:lnTo>
                    <a:lnTo>
                      <a:pt x="698182" y="1172067"/>
                    </a:lnTo>
                    <a:lnTo>
                      <a:pt x="709613" y="1154922"/>
                    </a:lnTo>
                    <a:lnTo>
                      <a:pt x="702945" y="1133967"/>
                    </a:lnTo>
                    <a:lnTo>
                      <a:pt x="736282" y="1128252"/>
                    </a:lnTo>
                    <a:lnTo>
                      <a:pt x="756285" y="1136825"/>
                    </a:lnTo>
                    <a:lnTo>
                      <a:pt x="770572" y="1122537"/>
                    </a:lnTo>
                    <a:lnTo>
                      <a:pt x="794385" y="1105392"/>
                    </a:lnTo>
                    <a:lnTo>
                      <a:pt x="812482" y="1111107"/>
                    </a:lnTo>
                    <a:lnTo>
                      <a:pt x="820102" y="1140634"/>
                    </a:lnTo>
                    <a:lnTo>
                      <a:pt x="831532" y="1162542"/>
                    </a:lnTo>
                    <a:lnTo>
                      <a:pt x="840105" y="1186354"/>
                    </a:lnTo>
                    <a:lnTo>
                      <a:pt x="857250" y="1203500"/>
                    </a:lnTo>
                    <a:lnTo>
                      <a:pt x="879157" y="1174925"/>
                    </a:lnTo>
                    <a:lnTo>
                      <a:pt x="903922" y="1170162"/>
                    </a:lnTo>
                    <a:lnTo>
                      <a:pt x="922972" y="1151112"/>
                    </a:lnTo>
                    <a:lnTo>
                      <a:pt x="943927" y="1144444"/>
                    </a:lnTo>
                    <a:lnTo>
                      <a:pt x="960120" y="1160637"/>
                    </a:lnTo>
                    <a:lnTo>
                      <a:pt x="983932" y="1146350"/>
                    </a:lnTo>
                    <a:lnTo>
                      <a:pt x="998220" y="1114917"/>
                    </a:lnTo>
                    <a:lnTo>
                      <a:pt x="1012507" y="1072054"/>
                    </a:lnTo>
                    <a:lnTo>
                      <a:pt x="1000125" y="1053957"/>
                    </a:lnTo>
                    <a:lnTo>
                      <a:pt x="1021080" y="1021572"/>
                    </a:lnTo>
                    <a:lnTo>
                      <a:pt x="1031557" y="985377"/>
                    </a:lnTo>
                    <a:lnTo>
                      <a:pt x="1037272" y="949182"/>
                    </a:lnTo>
                    <a:lnTo>
                      <a:pt x="1058227" y="942514"/>
                    </a:lnTo>
                    <a:lnTo>
                      <a:pt x="1076325" y="960612"/>
                    </a:lnTo>
                    <a:lnTo>
                      <a:pt x="1101090" y="958707"/>
                    </a:lnTo>
                    <a:lnTo>
                      <a:pt x="1117282" y="935847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8" name="Полилиния: фигура 150">
                <a:extLst>
                  <a:ext uri="{FF2B5EF4-FFF2-40B4-BE49-F238E27FC236}">
                    <a16:creationId xmlns:a16="http://schemas.microsoft.com/office/drawing/2014/main" id="{F13E7D9D-1855-4FCB-83D1-15D3C357C98C}"/>
                  </a:ext>
                </a:extLst>
              </p:cNvPr>
              <p:cNvSpPr/>
              <p:nvPr/>
            </p:nvSpPr>
            <p:spPr>
              <a:xfrm>
                <a:off x="8792527" y="1102994"/>
                <a:ext cx="87630" cy="160019"/>
              </a:xfrm>
              <a:custGeom>
                <a:avLst/>
                <a:gdLst>
                  <a:gd name="connsiteX0" fmla="*/ 65723 w 87630"/>
                  <a:gd name="connsiteY0" fmla="*/ 4763 h 160019"/>
                  <a:gd name="connsiteX1" fmla="*/ 55245 w 87630"/>
                  <a:gd name="connsiteY1" fmla="*/ 0 h 160019"/>
                  <a:gd name="connsiteX2" fmla="*/ 44768 w 87630"/>
                  <a:gd name="connsiteY2" fmla="*/ 10478 h 160019"/>
                  <a:gd name="connsiteX3" fmla="*/ 23813 w 87630"/>
                  <a:gd name="connsiteY3" fmla="*/ 21908 h 160019"/>
                  <a:gd name="connsiteX4" fmla="*/ 5715 w 87630"/>
                  <a:gd name="connsiteY4" fmla="*/ 39053 h 160019"/>
                  <a:gd name="connsiteX5" fmla="*/ 7620 w 87630"/>
                  <a:gd name="connsiteY5" fmla="*/ 69533 h 160019"/>
                  <a:gd name="connsiteX6" fmla="*/ 0 w 87630"/>
                  <a:gd name="connsiteY6" fmla="*/ 77153 h 160019"/>
                  <a:gd name="connsiteX7" fmla="*/ 3810 w 87630"/>
                  <a:gd name="connsiteY7" fmla="*/ 100965 h 160019"/>
                  <a:gd name="connsiteX8" fmla="*/ 18098 w 87630"/>
                  <a:gd name="connsiteY8" fmla="*/ 121920 h 160019"/>
                  <a:gd name="connsiteX9" fmla="*/ 32385 w 87630"/>
                  <a:gd name="connsiteY9" fmla="*/ 155258 h 160019"/>
                  <a:gd name="connsiteX10" fmla="*/ 55245 w 87630"/>
                  <a:gd name="connsiteY10" fmla="*/ 160020 h 160019"/>
                  <a:gd name="connsiteX11" fmla="*/ 70485 w 87630"/>
                  <a:gd name="connsiteY11" fmla="*/ 144780 h 160019"/>
                  <a:gd name="connsiteX12" fmla="*/ 81915 w 87630"/>
                  <a:gd name="connsiteY12" fmla="*/ 123825 h 160019"/>
                  <a:gd name="connsiteX13" fmla="*/ 68580 w 87630"/>
                  <a:gd name="connsiteY13" fmla="*/ 110490 h 160019"/>
                  <a:gd name="connsiteX14" fmla="*/ 87630 w 87630"/>
                  <a:gd name="connsiteY14" fmla="*/ 83820 h 160019"/>
                  <a:gd name="connsiteX15" fmla="*/ 84773 w 87630"/>
                  <a:gd name="connsiteY15" fmla="*/ 54293 h 160019"/>
                  <a:gd name="connsiteX16" fmla="*/ 84773 w 87630"/>
                  <a:gd name="connsiteY16" fmla="*/ 19050 h 160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7630" h="160019">
                    <a:moveTo>
                      <a:pt x="65723" y="4763"/>
                    </a:moveTo>
                    <a:lnTo>
                      <a:pt x="55245" y="0"/>
                    </a:lnTo>
                    <a:lnTo>
                      <a:pt x="44768" y="10478"/>
                    </a:lnTo>
                    <a:lnTo>
                      <a:pt x="23813" y="21908"/>
                    </a:lnTo>
                    <a:lnTo>
                      <a:pt x="5715" y="39053"/>
                    </a:lnTo>
                    <a:lnTo>
                      <a:pt x="7620" y="69533"/>
                    </a:lnTo>
                    <a:lnTo>
                      <a:pt x="0" y="77153"/>
                    </a:lnTo>
                    <a:lnTo>
                      <a:pt x="3810" y="100965"/>
                    </a:lnTo>
                    <a:lnTo>
                      <a:pt x="18098" y="121920"/>
                    </a:lnTo>
                    <a:lnTo>
                      <a:pt x="32385" y="155258"/>
                    </a:lnTo>
                    <a:lnTo>
                      <a:pt x="55245" y="160020"/>
                    </a:lnTo>
                    <a:lnTo>
                      <a:pt x="70485" y="144780"/>
                    </a:lnTo>
                    <a:lnTo>
                      <a:pt x="81915" y="123825"/>
                    </a:lnTo>
                    <a:lnTo>
                      <a:pt x="68580" y="110490"/>
                    </a:lnTo>
                    <a:lnTo>
                      <a:pt x="87630" y="83820"/>
                    </a:lnTo>
                    <a:lnTo>
                      <a:pt x="84773" y="54293"/>
                    </a:lnTo>
                    <a:lnTo>
                      <a:pt x="84773" y="1905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47" name="Рисунок 3">
              <a:extLst>
                <a:ext uri="{FF2B5EF4-FFF2-40B4-BE49-F238E27FC236}">
                  <a16:creationId xmlns:a16="http://schemas.microsoft.com/office/drawing/2014/main" id="{F91FC010-F202-4881-BD1D-9396D9E5D5AA}"/>
                </a:ext>
              </a:extLst>
            </p:cNvPr>
            <p:cNvGrpSpPr/>
            <p:nvPr/>
          </p:nvGrpSpPr>
          <p:grpSpPr>
            <a:xfrm>
              <a:off x="7616416" y="4414949"/>
              <a:ext cx="792261" cy="1093637"/>
              <a:chOff x="8582025" y="3195637"/>
              <a:chExt cx="1228725" cy="1949767"/>
            </a:xfrm>
            <a:grpFill/>
          </p:grpSpPr>
          <p:sp>
            <p:nvSpPr>
              <p:cNvPr id="355" name="Полилиния: фигура 152">
                <a:extLst>
                  <a:ext uri="{FF2B5EF4-FFF2-40B4-BE49-F238E27FC236}">
                    <a16:creationId xmlns:a16="http://schemas.microsoft.com/office/drawing/2014/main" id="{609FF259-F837-408D-BA14-D0C8DA960B0D}"/>
                  </a:ext>
                </a:extLst>
              </p:cNvPr>
              <p:cNvSpPr/>
              <p:nvPr/>
            </p:nvSpPr>
            <p:spPr>
              <a:xfrm>
                <a:off x="9122092" y="4163377"/>
                <a:ext cx="48577" cy="56197"/>
              </a:xfrm>
              <a:custGeom>
                <a:avLst/>
                <a:gdLst>
                  <a:gd name="connsiteX0" fmla="*/ 11430 w 48577"/>
                  <a:gd name="connsiteY0" fmla="*/ 5715 h 56197"/>
                  <a:gd name="connsiteX1" fmla="*/ 0 w 48577"/>
                  <a:gd name="connsiteY1" fmla="*/ 19050 h 56197"/>
                  <a:gd name="connsiteX2" fmla="*/ 0 w 48577"/>
                  <a:gd name="connsiteY2" fmla="*/ 36195 h 56197"/>
                  <a:gd name="connsiteX3" fmla="*/ 0 w 48577"/>
                  <a:gd name="connsiteY3" fmla="*/ 54292 h 56197"/>
                  <a:gd name="connsiteX4" fmla="*/ 20002 w 48577"/>
                  <a:gd name="connsiteY4" fmla="*/ 45720 h 56197"/>
                  <a:gd name="connsiteX5" fmla="*/ 31432 w 48577"/>
                  <a:gd name="connsiteY5" fmla="*/ 56197 h 56197"/>
                  <a:gd name="connsiteX6" fmla="*/ 43815 w 48577"/>
                  <a:gd name="connsiteY6" fmla="*/ 44767 h 56197"/>
                  <a:gd name="connsiteX7" fmla="*/ 48577 w 48577"/>
                  <a:gd name="connsiteY7" fmla="*/ 20003 h 56197"/>
                  <a:gd name="connsiteX8" fmla="*/ 35243 w 48577"/>
                  <a:gd name="connsiteY8" fmla="*/ 0 h 56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577" h="56197">
                    <a:moveTo>
                      <a:pt x="11430" y="5715"/>
                    </a:moveTo>
                    <a:lnTo>
                      <a:pt x="0" y="19050"/>
                    </a:lnTo>
                    <a:lnTo>
                      <a:pt x="0" y="36195"/>
                    </a:lnTo>
                    <a:lnTo>
                      <a:pt x="0" y="54292"/>
                    </a:lnTo>
                    <a:lnTo>
                      <a:pt x="20002" y="45720"/>
                    </a:lnTo>
                    <a:lnTo>
                      <a:pt x="31432" y="56197"/>
                    </a:lnTo>
                    <a:lnTo>
                      <a:pt x="43815" y="44767"/>
                    </a:lnTo>
                    <a:lnTo>
                      <a:pt x="48577" y="20003"/>
                    </a:lnTo>
                    <a:lnTo>
                      <a:pt x="35243" y="0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6" name="Полилиния: фигура 153">
                <a:extLst>
                  <a:ext uri="{FF2B5EF4-FFF2-40B4-BE49-F238E27FC236}">
                    <a16:creationId xmlns:a16="http://schemas.microsoft.com/office/drawing/2014/main" id="{6572817F-AC43-42A5-AD53-8B876B6D5EFF}"/>
                  </a:ext>
                </a:extLst>
              </p:cNvPr>
              <p:cNvSpPr/>
              <p:nvPr/>
            </p:nvSpPr>
            <p:spPr>
              <a:xfrm>
                <a:off x="8582025" y="3195637"/>
                <a:ext cx="1228725" cy="1949767"/>
              </a:xfrm>
              <a:custGeom>
                <a:avLst/>
                <a:gdLst>
                  <a:gd name="connsiteX0" fmla="*/ 124777 w 1228725"/>
                  <a:gd name="connsiteY0" fmla="*/ 1193482 h 1949767"/>
                  <a:gd name="connsiteX1" fmla="*/ 108585 w 1228725"/>
                  <a:gd name="connsiteY1" fmla="*/ 1156335 h 1949767"/>
                  <a:gd name="connsiteX2" fmla="*/ 108585 w 1228725"/>
                  <a:gd name="connsiteY2" fmla="*/ 1127760 h 1949767"/>
                  <a:gd name="connsiteX3" fmla="*/ 90488 w 1228725"/>
                  <a:gd name="connsiteY3" fmla="*/ 1109663 h 1949767"/>
                  <a:gd name="connsiteX4" fmla="*/ 106680 w 1228725"/>
                  <a:gd name="connsiteY4" fmla="*/ 1093470 h 1949767"/>
                  <a:gd name="connsiteX5" fmla="*/ 111443 w 1228725"/>
                  <a:gd name="connsiteY5" fmla="*/ 1057275 h 1949767"/>
                  <a:gd name="connsiteX6" fmla="*/ 72390 w 1228725"/>
                  <a:gd name="connsiteY6" fmla="*/ 1040130 h 1949767"/>
                  <a:gd name="connsiteX7" fmla="*/ 40957 w 1228725"/>
                  <a:gd name="connsiteY7" fmla="*/ 1040130 h 1949767"/>
                  <a:gd name="connsiteX8" fmla="*/ 37148 w 1228725"/>
                  <a:gd name="connsiteY8" fmla="*/ 1022032 h 1949767"/>
                  <a:gd name="connsiteX9" fmla="*/ 59055 w 1228725"/>
                  <a:gd name="connsiteY9" fmla="*/ 1017270 h 1949767"/>
                  <a:gd name="connsiteX10" fmla="*/ 47625 w 1228725"/>
                  <a:gd name="connsiteY10" fmla="*/ 994410 h 1949767"/>
                  <a:gd name="connsiteX11" fmla="*/ 53340 w 1228725"/>
                  <a:gd name="connsiteY11" fmla="*/ 951547 h 1949767"/>
                  <a:gd name="connsiteX12" fmla="*/ 26670 w 1228725"/>
                  <a:gd name="connsiteY12" fmla="*/ 946785 h 1949767"/>
                  <a:gd name="connsiteX13" fmla="*/ 0 w 1228725"/>
                  <a:gd name="connsiteY13" fmla="*/ 919163 h 1949767"/>
                  <a:gd name="connsiteX14" fmla="*/ 22860 w 1228725"/>
                  <a:gd name="connsiteY14" fmla="*/ 913447 h 1949767"/>
                  <a:gd name="connsiteX15" fmla="*/ 25718 w 1228725"/>
                  <a:gd name="connsiteY15" fmla="*/ 880110 h 1949767"/>
                  <a:gd name="connsiteX16" fmla="*/ 15240 w 1228725"/>
                  <a:gd name="connsiteY16" fmla="*/ 869632 h 1949767"/>
                  <a:gd name="connsiteX17" fmla="*/ 9525 w 1228725"/>
                  <a:gd name="connsiteY17" fmla="*/ 851535 h 1949767"/>
                  <a:gd name="connsiteX18" fmla="*/ 18098 w 1228725"/>
                  <a:gd name="connsiteY18" fmla="*/ 829628 h 1949767"/>
                  <a:gd name="connsiteX19" fmla="*/ 0 w 1228725"/>
                  <a:gd name="connsiteY19" fmla="*/ 811530 h 1949767"/>
                  <a:gd name="connsiteX20" fmla="*/ 15240 w 1228725"/>
                  <a:gd name="connsiteY20" fmla="*/ 791528 h 1949767"/>
                  <a:gd name="connsiteX21" fmla="*/ 2857 w 1228725"/>
                  <a:gd name="connsiteY21" fmla="*/ 779145 h 1949767"/>
                  <a:gd name="connsiteX22" fmla="*/ 2857 w 1228725"/>
                  <a:gd name="connsiteY22" fmla="*/ 748665 h 1949767"/>
                  <a:gd name="connsiteX23" fmla="*/ 31432 w 1228725"/>
                  <a:gd name="connsiteY23" fmla="*/ 733425 h 1949767"/>
                  <a:gd name="connsiteX24" fmla="*/ 50482 w 1228725"/>
                  <a:gd name="connsiteY24" fmla="*/ 722947 h 1949767"/>
                  <a:gd name="connsiteX25" fmla="*/ 73343 w 1228725"/>
                  <a:gd name="connsiteY25" fmla="*/ 725805 h 1949767"/>
                  <a:gd name="connsiteX26" fmla="*/ 92393 w 1228725"/>
                  <a:gd name="connsiteY26" fmla="*/ 706755 h 1949767"/>
                  <a:gd name="connsiteX27" fmla="*/ 117157 w 1228725"/>
                  <a:gd name="connsiteY27" fmla="*/ 696278 h 1949767"/>
                  <a:gd name="connsiteX28" fmla="*/ 120968 w 1228725"/>
                  <a:gd name="connsiteY28" fmla="*/ 671513 h 1949767"/>
                  <a:gd name="connsiteX29" fmla="*/ 104775 w 1228725"/>
                  <a:gd name="connsiteY29" fmla="*/ 655320 h 1949767"/>
                  <a:gd name="connsiteX30" fmla="*/ 114300 w 1228725"/>
                  <a:gd name="connsiteY30" fmla="*/ 631507 h 1949767"/>
                  <a:gd name="connsiteX31" fmla="*/ 146685 w 1228725"/>
                  <a:gd name="connsiteY31" fmla="*/ 625793 h 1949767"/>
                  <a:gd name="connsiteX32" fmla="*/ 189548 w 1228725"/>
                  <a:gd name="connsiteY32" fmla="*/ 582930 h 1949767"/>
                  <a:gd name="connsiteX33" fmla="*/ 187643 w 1228725"/>
                  <a:gd name="connsiteY33" fmla="*/ 534353 h 1949767"/>
                  <a:gd name="connsiteX34" fmla="*/ 218123 w 1228725"/>
                  <a:gd name="connsiteY34" fmla="*/ 523875 h 1949767"/>
                  <a:gd name="connsiteX35" fmla="*/ 218123 w 1228725"/>
                  <a:gd name="connsiteY35" fmla="*/ 507682 h 1949767"/>
                  <a:gd name="connsiteX36" fmla="*/ 187643 w 1228725"/>
                  <a:gd name="connsiteY36" fmla="*/ 477203 h 1949767"/>
                  <a:gd name="connsiteX37" fmla="*/ 180975 w 1228725"/>
                  <a:gd name="connsiteY37" fmla="*/ 455295 h 1949767"/>
                  <a:gd name="connsiteX38" fmla="*/ 146685 w 1228725"/>
                  <a:gd name="connsiteY38" fmla="*/ 421005 h 1949767"/>
                  <a:gd name="connsiteX39" fmla="*/ 124777 w 1228725"/>
                  <a:gd name="connsiteY39" fmla="*/ 416243 h 1949767"/>
                  <a:gd name="connsiteX40" fmla="*/ 120015 w 1228725"/>
                  <a:gd name="connsiteY40" fmla="*/ 388620 h 1949767"/>
                  <a:gd name="connsiteX41" fmla="*/ 125730 w 1228725"/>
                  <a:gd name="connsiteY41" fmla="*/ 356235 h 1949767"/>
                  <a:gd name="connsiteX42" fmla="*/ 108585 w 1228725"/>
                  <a:gd name="connsiteY42" fmla="*/ 339090 h 1949767"/>
                  <a:gd name="connsiteX43" fmla="*/ 134302 w 1228725"/>
                  <a:gd name="connsiteY43" fmla="*/ 304800 h 1949767"/>
                  <a:gd name="connsiteX44" fmla="*/ 134302 w 1228725"/>
                  <a:gd name="connsiteY44" fmla="*/ 275272 h 1949767"/>
                  <a:gd name="connsiteX45" fmla="*/ 136207 w 1228725"/>
                  <a:gd name="connsiteY45" fmla="*/ 238125 h 1949767"/>
                  <a:gd name="connsiteX46" fmla="*/ 122873 w 1228725"/>
                  <a:gd name="connsiteY46" fmla="*/ 224790 h 1949767"/>
                  <a:gd name="connsiteX47" fmla="*/ 116205 w 1228725"/>
                  <a:gd name="connsiteY47" fmla="*/ 198120 h 1949767"/>
                  <a:gd name="connsiteX48" fmla="*/ 103823 w 1228725"/>
                  <a:gd name="connsiteY48" fmla="*/ 185738 h 1949767"/>
                  <a:gd name="connsiteX49" fmla="*/ 102870 w 1228725"/>
                  <a:gd name="connsiteY49" fmla="*/ 153353 h 1949767"/>
                  <a:gd name="connsiteX50" fmla="*/ 127635 w 1228725"/>
                  <a:gd name="connsiteY50" fmla="*/ 147638 h 1949767"/>
                  <a:gd name="connsiteX51" fmla="*/ 148590 w 1228725"/>
                  <a:gd name="connsiteY51" fmla="*/ 153353 h 1949767"/>
                  <a:gd name="connsiteX52" fmla="*/ 176213 w 1228725"/>
                  <a:gd name="connsiteY52" fmla="*/ 168593 h 1949767"/>
                  <a:gd name="connsiteX53" fmla="*/ 203835 w 1228725"/>
                  <a:gd name="connsiteY53" fmla="*/ 154305 h 1949767"/>
                  <a:gd name="connsiteX54" fmla="*/ 225743 w 1228725"/>
                  <a:gd name="connsiteY54" fmla="*/ 147638 h 1949767"/>
                  <a:gd name="connsiteX55" fmla="*/ 247650 w 1228725"/>
                  <a:gd name="connsiteY55" fmla="*/ 125730 h 1949767"/>
                  <a:gd name="connsiteX56" fmla="*/ 263843 w 1228725"/>
                  <a:gd name="connsiteY56" fmla="*/ 97155 h 1949767"/>
                  <a:gd name="connsiteX57" fmla="*/ 284798 w 1228725"/>
                  <a:gd name="connsiteY57" fmla="*/ 98108 h 1949767"/>
                  <a:gd name="connsiteX58" fmla="*/ 297180 w 1228725"/>
                  <a:gd name="connsiteY58" fmla="*/ 90488 h 1949767"/>
                  <a:gd name="connsiteX59" fmla="*/ 306705 w 1228725"/>
                  <a:gd name="connsiteY59" fmla="*/ 100013 h 1949767"/>
                  <a:gd name="connsiteX60" fmla="*/ 318135 w 1228725"/>
                  <a:gd name="connsiteY60" fmla="*/ 96203 h 1949767"/>
                  <a:gd name="connsiteX61" fmla="*/ 318135 w 1228725"/>
                  <a:gd name="connsiteY61" fmla="*/ 72390 h 1949767"/>
                  <a:gd name="connsiteX62" fmla="*/ 316230 w 1228725"/>
                  <a:gd name="connsiteY62" fmla="*/ 33338 h 1949767"/>
                  <a:gd name="connsiteX63" fmla="*/ 339090 w 1228725"/>
                  <a:gd name="connsiteY63" fmla="*/ 34290 h 1949767"/>
                  <a:gd name="connsiteX64" fmla="*/ 367665 w 1228725"/>
                  <a:gd name="connsiteY64" fmla="*/ 0 h 1949767"/>
                  <a:gd name="connsiteX65" fmla="*/ 421957 w 1228725"/>
                  <a:gd name="connsiteY65" fmla="*/ 2858 h 1949767"/>
                  <a:gd name="connsiteX66" fmla="*/ 472440 w 1228725"/>
                  <a:gd name="connsiteY66" fmla="*/ 32385 h 1949767"/>
                  <a:gd name="connsiteX67" fmla="*/ 491490 w 1228725"/>
                  <a:gd name="connsiteY67" fmla="*/ 39053 h 1949767"/>
                  <a:gd name="connsiteX68" fmla="*/ 491490 w 1228725"/>
                  <a:gd name="connsiteY68" fmla="*/ 60008 h 1949767"/>
                  <a:gd name="connsiteX69" fmla="*/ 512445 w 1228725"/>
                  <a:gd name="connsiteY69" fmla="*/ 88583 h 1949767"/>
                  <a:gd name="connsiteX70" fmla="*/ 485775 w 1228725"/>
                  <a:gd name="connsiteY70" fmla="*/ 103822 h 1949767"/>
                  <a:gd name="connsiteX71" fmla="*/ 485775 w 1228725"/>
                  <a:gd name="connsiteY71" fmla="*/ 135255 h 1949767"/>
                  <a:gd name="connsiteX72" fmla="*/ 501968 w 1228725"/>
                  <a:gd name="connsiteY72" fmla="*/ 158115 h 1949767"/>
                  <a:gd name="connsiteX73" fmla="*/ 521018 w 1228725"/>
                  <a:gd name="connsiteY73" fmla="*/ 157163 h 1949767"/>
                  <a:gd name="connsiteX74" fmla="*/ 541973 w 1228725"/>
                  <a:gd name="connsiteY74" fmla="*/ 131445 h 1949767"/>
                  <a:gd name="connsiteX75" fmla="*/ 566738 w 1228725"/>
                  <a:gd name="connsiteY75" fmla="*/ 132397 h 1949767"/>
                  <a:gd name="connsiteX76" fmla="*/ 583882 w 1228725"/>
                  <a:gd name="connsiteY76" fmla="*/ 140970 h 1949767"/>
                  <a:gd name="connsiteX77" fmla="*/ 596265 w 1228725"/>
                  <a:gd name="connsiteY77" fmla="*/ 129540 h 1949767"/>
                  <a:gd name="connsiteX78" fmla="*/ 613410 w 1228725"/>
                  <a:gd name="connsiteY78" fmla="*/ 129540 h 1949767"/>
                  <a:gd name="connsiteX79" fmla="*/ 643890 w 1228725"/>
                  <a:gd name="connsiteY79" fmla="*/ 160020 h 1949767"/>
                  <a:gd name="connsiteX80" fmla="*/ 650557 w 1228725"/>
                  <a:gd name="connsiteY80" fmla="*/ 181928 h 1949767"/>
                  <a:gd name="connsiteX81" fmla="*/ 633413 w 1228725"/>
                  <a:gd name="connsiteY81" fmla="*/ 181928 h 1949767"/>
                  <a:gd name="connsiteX82" fmla="*/ 616268 w 1228725"/>
                  <a:gd name="connsiteY82" fmla="*/ 197168 h 1949767"/>
                  <a:gd name="connsiteX83" fmla="*/ 627698 w 1228725"/>
                  <a:gd name="connsiteY83" fmla="*/ 215265 h 1949767"/>
                  <a:gd name="connsiteX84" fmla="*/ 636270 w 1228725"/>
                  <a:gd name="connsiteY84" fmla="*/ 223838 h 1949767"/>
                  <a:gd name="connsiteX85" fmla="*/ 612457 w 1228725"/>
                  <a:gd name="connsiteY85" fmla="*/ 239078 h 1949767"/>
                  <a:gd name="connsiteX86" fmla="*/ 580073 w 1228725"/>
                  <a:gd name="connsiteY86" fmla="*/ 239078 h 1949767"/>
                  <a:gd name="connsiteX87" fmla="*/ 548640 w 1228725"/>
                  <a:gd name="connsiteY87" fmla="*/ 270510 h 1949767"/>
                  <a:gd name="connsiteX88" fmla="*/ 528638 w 1228725"/>
                  <a:gd name="connsiteY88" fmla="*/ 290513 h 1949767"/>
                  <a:gd name="connsiteX89" fmla="*/ 505777 w 1228725"/>
                  <a:gd name="connsiteY89" fmla="*/ 328613 h 1949767"/>
                  <a:gd name="connsiteX90" fmla="*/ 481965 w 1228725"/>
                  <a:gd name="connsiteY90" fmla="*/ 352425 h 1949767"/>
                  <a:gd name="connsiteX91" fmla="*/ 458152 w 1228725"/>
                  <a:gd name="connsiteY91" fmla="*/ 400050 h 1949767"/>
                  <a:gd name="connsiteX92" fmla="*/ 454343 w 1228725"/>
                  <a:gd name="connsiteY92" fmla="*/ 446722 h 1949767"/>
                  <a:gd name="connsiteX93" fmla="*/ 477202 w 1228725"/>
                  <a:gd name="connsiteY93" fmla="*/ 491490 h 1949767"/>
                  <a:gd name="connsiteX94" fmla="*/ 456248 w 1228725"/>
                  <a:gd name="connsiteY94" fmla="*/ 512445 h 1949767"/>
                  <a:gd name="connsiteX95" fmla="*/ 449580 w 1228725"/>
                  <a:gd name="connsiteY95" fmla="*/ 557213 h 1949767"/>
                  <a:gd name="connsiteX96" fmla="*/ 461963 w 1228725"/>
                  <a:gd name="connsiteY96" fmla="*/ 589597 h 1949767"/>
                  <a:gd name="connsiteX97" fmla="*/ 481965 w 1228725"/>
                  <a:gd name="connsiteY97" fmla="*/ 609600 h 1949767"/>
                  <a:gd name="connsiteX98" fmla="*/ 464820 w 1228725"/>
                  <a:gd name="connsiteY98" fmla="*/ 638175 h 1949767"/>
                  <a:gd name="connsiteX99" fmla="*/ 464820 w 1228725"/>
                  <a:gd name="connsiteY99" fmla="*/ 676275 h 1949767"/>
                  <a:gd name="connsiteX100" fmla="*/ 464820 w 1228725"/>
                  <a:gd name="connsiteY100" fmla="*/ 726757 h 1949767"/>
                  <a:gd name="connsiteX101" fmla="*/ 457200 w 1228725"/>
                  <a:gd name="connsiteY101" fmla="*/ 766763 h 1949767"/>
                  <a:gd name="connsiteX102" fmla="*/ 457200 w 1228725"/>
                  <a:gd name="connsiteY102" fmla="*/ 814388 h 1949767"/>
                  <a:gd name="connsiteX103" fmla="*/ 471488 w 1228725"/>
                  <a:gd name="connsiteY103" fmla="*/ 829628 h 1949767"/>
                  <a:gd name="connsiteX104" fmla="*/ 471488 w 1228725"/>
                  <a:gd name="connsiteY104" fmla="*/ 863918 h 1949767"/>
                  <a:gd name="connsiteX105" fmla="*/ 471488 w 1228725"/>
                  <a:gd name="connsiteY105" fmla="*/ 902018 h 1949767"/>
                  <a:gd name="connsiteX106" fmla="*/ 459105 w 1228725"/>
                  <a:gd name="connsiteY106" fmla="*/ 949643 h 1949767"/>
                  <a:gd name="connsiteX107" fmla="*/ 459105 w 1228725"/>
                  <a:gd name="connsiteY107" fmla="*/ 988695 h 1949767"/>
                  <a:gd name="connsiteX108" fmla="*/ 438150 w 1228725"/>
                  <a:gd name="connsiteY108" fmla="*/ 1023938 h 1949767"/>
                  <a:gd name="connsiteX109" fmla="*/ 438150 w 1228725"/>
                  <a:gd name="connsiteY109" fmla="*/ 1059180 h 1949767"/>
                  <a:gd name="connsiteX110" fmla="*/ 426720 w 1228725"/>
                  <a:gd name="connsiteY110" fmla="*/ 1090613 h 1949767"/>
                  <a:gd name="connsiteX111" fmla="*/ 439102 w 1228725"/>
                  <a:gd name="connsiteY111" fmla="*/ 1119188 h 1949767"/>
                  <a:gd name="connsiteX112" fmla="*/ 461010 w 1228725"/>
                  <a:gd name="connsiteY112" fmla="*/ 1119188 h 1949767"/>
                  <a:gd name="connsiteX113" fmla="*/ 477202 w 1228725"/>
                  <a:gd name="connsiteY113" fmla="*/ 1102995 h 1949767"/>
                  <a:gd name="connsiteX114" fmla="*/ 500063 w 1228725"/>
                  <a:gd name="connsiteY114" fmla="*/ 1102995 h 1949767"/>
                  <a:gd name="connsiteX115" fmla="*/ 518160 w 1228725"/>
                  <a:gd name="connsiteY115" fmla="*/ 1084898 h 1949767"/>
                  <a:gd name="connsiteX116" fmla="*/ 538163 w 1228725"/>
                  <a:gd name="connsiteY116" fmla="*/ 1064895 h 1949767"/>
                  <a:gd name="connsiteX117" fmla="*/ 552450 w 1228725"/>
                  <a:gd name="connsiteY117" fmla="*/ 1079182 h 1949767"/>
                  <a:gd name="connsiteX118" fmla="*/ 569595 w 1228725"/>
                  <a:gd name="connsiteY118" fmla="*/ 1087755 h 1949767"/>
                  <a:gd name="connsiteX119" fmla="*/ 569595 w 1228725"/>
                  <a:gd name="connsiteY119" fmla="*/ 1105853 h 1949767"/>
                  <a:gd name="connsiteX120" fmla="*/ 582930 w 1228725"/>
                  <a:gd name="connsiteY120" fmla="*/ 1130618 h 1949767"/>
                  <a:gd name="connsiteX121" fmla="*/ 600075 w 1228725"/>
                  <a:gd name="connsiteY121" fmla="*/ 1147763 h 1949767"/>
                  <a:gd name="connsiteX122" fmla="*/ 615315 w 1228725"/>
                  <a:gd name="connsiteY122" fmla="*/ 1132523 h 1949767"/>
                  <a:gd name="connsiteX123" fmla="*/ 615315 w 1228725"/>
                  <a:gd name="connsiteY123" fmla="*/ 1109663 h 1949767"/>
                  <a:gd name="connsiteX124" fmla="*/ 595313 w 1228725"/>
                  <a:gd name="connsiteY124" fmla="*/ 1101090 h 1949767"/>
                  <a:gd name="connsiteX125" fmla="*/ 595313 w 1228725"/>
                  <a:gd name="connsiteY125" fmla="*/ 1080135 h 1949767"/>
                  <a:gd name="connsiteX126" fmla="*/ 610552 w 1228725"/>
                  <a:gd name="connsiteY126" fmla="*/ 1062990 h 1949767"/>
                  <a:gd name="connsiteX127" fmla="*/ 610552 w 1228725"/>
                  <a:gd name="connsiteY127" fmla="*/ 1077278 h 1949767"/>
                  <a:gd name="connsiteX128" fmla="*/ 627698 w 1228725"/>
                  <a:gd name="connsiteY128" fmla="*/ 1089660 h 1949767"/>
                  <a:gd name="connsiteX129" fmla="*/ 636270 w 1228725"/>
                  <a:gd name="connsiteY129" fmla="*/ 1086803 h 1949767"/>
                  <a:gd name="connsiteX130" fmla="*/ 644843 w 1228725"/>
                  <a:gd name="connsiteY130" fmla="*/ 1095375 h 1949767"/>
                  <a:gd name="connsiteX131" fmla="*/ 644843 w 1228725"/>
                  <a:gd name="connsiteY131" fmla="*/ 1121093 h 1949767"/>
                  <a:gd name="connsiteX132" fmla="*/ 644843 w 1228725"/>
                  <a:gd name="connsiteY132" fmla="*/ 1139190 h 1949767"/>
                  <a:gd name="connsiteX133" fmla="*/ 673418 w 1228725"/>
                  <a:gd name="connsiteY133" fmla="*/ 1127760 h 1949767"/>
                  <a:gd name="connsiteX134" fmla="*/ 673418 w 1228725"/>
                  <a:gd name="connsiteY134" fmla="*/ 1113473 h 1949767"/>
                  <a:gd name="connsiteX135" fmla="*/ 688657 w 1228725"/>
                  <a:gd name="connsiteY135" fmla="*/ 1092518 h 1949767"/>
                  <a:gd name="connsiteX136" fmla="*/ 698182 w 1228725"/>
                  <a:gd name="connsiteY136" fmla="*/ 1083945 h 1949767"/>
                  <a:gd name="connsiteX137" fmla="*/ 713423 w 1228725"/>
                  <a:gd name="connsiteY137" fmla="*/ 1095375 h 1949767"/>
                  <a:gd name="connsiteX138" fmla="*/ 717232 w 1228725"/>
                  <a:gd name="connsiteY138" fmla="*/ 1072515 h 1949767"/>
                  <a:gd name="connsiteX139" fmla="*/ 703898 w 1228725"/>
                  <a:gd name="connsiteY139" fmla="*/ 1059180 h 1949767"/>
                  <a:gd name="connsiteX140" fmla="*/ 691515 w 1228725"/>
                  <a:gd name="connsiteY140" fmla="*/ 1035368 h 1949767"/>
                  <a:gd name="connsiteX141" fmla="*/ 676275 w 1228725"/>
                  <a:gd name="connsiteY141" fmla="*/ 1006793 h 1949767"/>
                  <a:gd name="connsiteX142" fmla="*/ 701993 w 1228725"/>
                  <a:gd name="connsiteY142" fmla="*/ 992505 h 1949767"/>
                  <a:gd name="connsiteX143" fmla="*/ 717232 w 1228725"/>
                  <a:gd name="connsiteY143" fmla="*/ 977265 h 1949767"/>
                  <a:gd name="connsiteX144" fmla="*/ 748665 w 1228725"/>
                  <a:gd name="connsiteY144" fmla="*/ 970597 h 1949767"/>
                  <a:gd name="connsiteX145" fmla="*/ 785813 w 1228725"/>
                  <a:gd name="connsiteY145" fmla="*/ 970597 h 1949767"/>
                  <a:gd name="connsiteX146" fmla="*/ 816293 w 1228725"/>
                  <a:gd name="connsiteY146" fmla="*/ 974407 h 1949767"/>
                  <a:gd name="connsiteX147" fmla="*/ 829627 w 1228725"/>
                  <a:gd name="connsiteY147" fmla="*/ 987743 h 1949767"/>
                  <a:gd name="connsiteX148" fmla="*/ 868680 w 1228725"/>
                  <a:gd name="connsiteY148" fmla="*/ 982028 h 1949767"/>
                  <a:gd name="connsiteX149" fmla="*/ 895350 w 1228725"/>
                  <a:gd name="connsiteY149" fmla="*/ 973455 h 1949767"/>
                  <a:gd name="connsiteX150" fmla="*/ 913448 w 1228725"/>
                  <a:gd name="connsiteY150" fmla="*/ 991553 h 1949767"/>
                  <a:gd name="connsiteX151" fmla="*/ 900113 w 1228725"/>
                  <a:gd name="connsiteY151" fmla="*/ 1004888 h 1949767"/>
                  <a:gd name="connsiteX152" fmla="*/ 890588 w 1228725"/>
                  <a:gd name="connsiteY152" fmla="*/ 1014413 h 1949767"/>
                  <a:gd name="connsiteX153" fmla="*/ 882015 w 1228725"/>
                  <a:gd name="connsiteY153" fmla="*/ 1029653 h 1949767"/>
                  <a:gd name="connsiteX154" fmla="*/ 905827 w 1228725"/>
                  <a:gd name="connsiteY154" fmla="*/ 1029653 h 1949767"/>
                  <a:gd name="connsiteX155" fmla="*/ 931545 w 1228725"/>
                  <a:gd name="connsiteY155" fmla="*/ 1029653 h 1949767"/>
                  <a:gd name="connsiteX156" fmla="*/ 937260 w 1228725"/>
                  <a:gd name="connsiteY156" fmla="*/ 1047750 h 1949767"/>
                  <a:gd name="connsiteX157" fmla="*/ 958215 w 1228725"/>
                  <a:gd name="connsiteY157" fmla="*/ 1068705 h 1949767"/>
                  <a:gd name="connsiteX158" fmla="*/ 983932 w 1228725"/>
                  <a:gd name="connsiteY158" fmla="*/ 1064895 h 1949767"/>
                  <a:gd name="connsiteX159" fmla="*/ 997268 w 1228725"/>
                  <a:gd name="connsiteY159" fmla="*/ 1078230 h 1949767"/>
                  <a:gd name="connsiteX160" fmla="*/ 1011555 w 1228725"/>
                  <a:gd name="connsiteY160" fmla="*/ 1104900 h 1949767"/>
                  <a:gd name="connsiteX161" fmla="*/ 1015365 w 1228725"/>
                  <a:gd name="connsiteY161" fmla="*/ 1158240 h 1949767"/>
                  <a:gd name="connsiteX162" fmla="*/ 1033463 w 1228725"/>
                  <a:gd name="connsiteY162" fmla="*/ 1214438 h 1949767"/>
                  <a:gd name="connsiteX163" fmla="*/ 1062038 w 1228725"/>
                  <a:gd name="connsiteY163" fmla="*/ 1256348 h 1949767"/>
                  <a:gd name="connsiteX164" fmla="*/ 1098232 w 1228725"/>
                  <a:gd name="connsiteY164" fmla="*/ 1292543 h 1949767"/>
                  <a:gd name="connsiteX165" fmla="*/ 1112520 w 1228725"/>
                  <a:gd name="connsiteY165" fmla="*/ 1306830 h 1949767"/>
                  <a:gd name="connsiteX166" fmla="*/ 1119188 w 1228725"/>
                  <a:gd name="connsiteY166" fmla="*/ 1330643 h 1949767"/>
                  <a:gd name="connsiteX167" fmla="*/ 1147763 w 1228725"/>
                  <a:gd name="connsiteY167" fmla="*/ 1359218 h 1949767"/>
                  <a:gd name="connsiteX168" fmla="*/ 1167765 w 1228725"/>
                  <a:gd name="connsiteY168" fmla="*/ 1393507 h 1949767"/>
                  <a:gd name="connsiteX169" fmla="*/ 1174432 w 1228725"/>
                  <a:gd name="connsiteY169" fmla="*/ 1413510 h 1949767"/>
                  <a:gd name="connsiteX170" fmla="*/ 1200150 w 1228725"/>
                  <a:gd name="connsiteY170" fmla="*/ 1453515 h 1949767"/>
                  <a:gd name="connsiteX171" fmla="*/ 1222057 w 1228725"/>
                  <a:gd name="connsiteY171" fmla="*/ 1475423 h 1949767"/>
                  <a:gd name="connsiteX172" fmla="*/ 1222057 w 1228725"/>
                  <a:gd name="connsiteY172" fmla="*/ 1534478 h 1949767"/>
                  <a:gd name="connsiteX173" fmla="*/ 1213485 w 1228725"/>
                  <a:gd name="connsiteY173" fmla="*/ 1584960 h 1949767"/>
                  <a:gd name="connsiteX174" fmla="*/ 1228725 w 1228725"/>
                  <a:gd name="connsiteY174" fmla="*/ 1635443 h 1949767"/>
                  <a:gd name="connsiteX175" fmla="*/ 1205865 w 1228725"/>
                  <a:gd name="connsiteY175" fmla="*/ 1654493 h 1949767"/>
                  <a:gd name="connsiteX176" fmla="*/ 1182052 w 1228725"/>
                  <a:gd name="connsiteY176" fmla="*/ 1637348 h 1949767"/>
                  <a:gd name="connsiteX177" fmla="*/ 1188720 w 1228725"/>
                  <a:gd name="connsiteY177" fmla="*/ 1623060 h 1949767"/>
                  <a:gd name="connsiteX178" fmla="*/ 1180148 w 1228725"/>
                  <a:gd name="connsiteY178" fmla="*/ 1605915 h 1949767"/>
                  <a:gd name="connsiteX179" fmla="*/ 1160145 w 1228725"/>
                  <a:gd name="connsiteY179" fmla="*/ 1606868 h 1949767"/>
                  <a:gd name="connsiteX180" fmla="*/ 1144905 w 1228725"/>
                  <a:gd name="connsiteY180" fmla="*/ 1591628 h 1949767"/>
                  <a:gd name="connsiteX181" fmla="*/ 1124902 w 1228725"/>
                  <a:gd name="connsiteY181" fmla="*/ 1576388 h 1949767"/>
                  <a:gd name="connsiteX182" fmla="*/ 1107757 w 1228725"/>
                  <a:gd name="connsiteY182" fmla="*/ 1579245 h 1949767"/>
                  <a:gd name="connsiteX183" fmla="*/ 1097280 w 1228725"/>
                  <a:gd name="connsiteY183" fmla="*/ 1618298 h 1949767"/>
                  <a:gd name="connsiteX184" fmla="*/ 1068705 w 1228725"/>
                  <a:gd name="connsiteY184" fmla="*/ 1642110 h 1949767"/>
                  <a:gd name="connsiteX185" fmla="*/ 1073468 w 1228725"/>
                  <a:gd name="connsiteY185" fmla="*/ 1661160 h 1949767"/>
                  <a:gd name="connsiteX186" fmla="*/ 1099185 w 1228725"/>
                  <a:gd name="connsiteY186" fmla="*/ 1664018 h 1949767"/>
                  <a:gd name="connsiteX187" fmla="*/ 1105852 w 1228725"/>
                  <a:gd name="connsiteY187" fmla="*/ 1684020 h 1949767"/>
                  <a:gd name="connsiteX188" fmla="*/ 1129665 w 1228725"/>
                  <a:gd name="connsiteY188" fmla="*/ 1681163 h 1949767"/>
                  <a:gd name="connsiteX189" fmla="*/ 1139190 w 1228725"/>
                  <a:gd name="connsiteY189" fmla="*/ 1664018 h 1949767"/>
                  <a:gd name="connsiteX190" fmla="*/ 1149668 w 1228725"/>
                  <a:gd name="connsiteY190" fmla="*/ 1666875 h 1949767"/>
                  <a:gd name="connsiteX191" fmla="*/ 1160145 w 1228725"/>
                  <a:gd name="connsiteY191" fmla="*/ 1694498 h 1949767"/>
                  <a:gd name="connsiteX192" fmla="*/ 1157288 w 1228725"/>
                  <a:gd name="connsiteY192" fmla="*/ 1722120 h 1949767"/>
                  <a:gd name="connsiteX193" fmla="*/ 1148715 w 1228725"/>
                  <a:gd name="connsiteY193" fmla="*/ 1742123 h 1949767"/>
                  <a:gd name="connsiteX194" fmla="*/ 1115377 w 1228725"/>
                  <a:gd name="connsiteY194" fmla="*/ 1754505 h 1949767"/>
                  <a:gd name="connsiteX195" fmla="*/ 1110615 w 1228725"/>
                  <a:gd name="connsiteY195" fmla="*/ 1778318 h 1949767"/>
                  <a:gd name="connsiteX196" fmla="*/ 1127760 w 1228725"/>
                  <a:gd name="connsiteY196" fmla="*/ 1783080 h 1949767"/>
                  <a:gd name="connsiteX197" fmla="*/ 1127760 w 1228725"/>
                  <a:gd name="connsiteY197" fmla="*/ 1823085 h 1949767"/>
                  <a:gd name="connsiteX198" fmla="*/ 1105852 w 1228725"/>
                  <a:gd name="connsiteY198" fmla="*/ 1851660 h 1949767"/>
                  <a:gd name="connsiteX199" fmla="*/ 1077277 w 1228725"/>
                  <a:gd name="connsiteY199" fmla="*/ 1855470 h 1949767"/>
                  <a:gd name="connsiteX200" fmla="*/ 1074420 w 1228725"/>
                  <a:gd name="connsiteY200" fmla="*/ 1864043 h 1949767"/>
                  <a:gd name="connsiteX201" fmla="*/ 1045845 w 1228725"/>
                  <a:gd name="connsiteY201" fmla="*/ 1860232 h 1949767"/>
                  <a:gd name="connsiteX202" fmla="*/ 1039177 w 1228725"/>
                  <a:gd name="connsiteY202" fmla="*/ 1869757 h 1949767"/>
                  <a:gd name="connsiteX203" fmla="*/ 1020127 w 1228725"/>
                  <a:gd name="connsiteY203" fmla="*/ 1870710 h 1949767"/>
                  <a:gd name="connsiteX204" fmla="*/ 1014413 w 1228725"/>
                  <a:gd name="connsiteY204" fmla="*/ 1864995 h 1949767"/>
                  <a:gd name="connsiteX205" fmla="*/ 994410 w 1228725"/>
                  <a:gd name="connsiteY205" fmla="*/ 1859280 h 1949767"/>
                  <a:gd name="connsiteX206" fmla="*/ 969645 w 1228725"/>
                  <a:gd name="connsiteY206" fmla="*/ 1892618 h 1949767"/>
                  <a:gd name="connsiteX207" fmla="*/ 965835 w 1228725"/>
                  <a:gd name="connsiteY207" fmla="*/ 1919288 h 1949767"/>
                  <a:gd name="connsiteX208" fmla="*/ 981075 w 1228725"/>
                  <a:gd name="connsiteY208" fmla="*/ 1934528 h 1949767"/>
                  <a:gd name="connsiteX209" fmla="*/ 981075 w 1228725"/>
                  <a:gd name="connsiteY209" fmla="*/ 1945957 h 1949767"/>
                  <a:gd name="connsiteX210" fmla="*/ 953452 w 1228725"/>
                  <a:gd name="connsiteY210" fmla="*/ 1949768 h 1949767"/>
                  <a:gd name="connsiteX211" fmla="*/ 946785 w 1228725"/>
                  <a:gd name="connsiteY211" fmla="*/ 1918335 h 1949767"/>
                  <a:gd name="connsiteX212" fmla="*/ 918210 w 1228725"/>
                  <a:gd name="connsiteY212" fmla="*/ 1888807 h 1949767"/>
                  <a:gd name="connsiteX213" fmla="*/ 939165 w 1228725"/>
                  <a:gd name="connsiteY213" fmla="*/ 1867853 h 1949767"/>
                  <a:gd name="connsiteX214" fmla="*/ 939165 w 1228725"/>
                  <a:gd name="connsiteY214" fmla="*/ 1836420 h 1949767"/>
                  <a:gd name="connsiteX215" fmla="*/ 921068 w 1228725"/>
                  <a:gd name="connsiteY215" fmla="*/ 1818323 h 1949767"/>
                  <a:gd name="connsiteX216" fmla="*/ 901065 w 1228725"/>
                  <a:gd name="connsiteY216" fmla="*/ 1797368 h 1949767"/>
                  <a:gd name="connsiteX217" fmla="*/ 895350 w 1228725"/>
                  <a:gd name="connsiteY217" fmla="*/ 1779270 h 1949767"/>
                  <a:gd name="connsiteX218" fmla="*/ 898207 w 1228725"/>
                  <a:gd name="connsiteY218" fmla="*/ 1763078 h 1949767"/>
                  <a:gd name="connsiteX219" fmla="*/ 888682 w 1228725"/>
                  <a:gd name="connsiteY219" fmla="*/ 1753553 h 1949767"/>
                  <a:gd name="connsiteX220" fmla="*/ 891540 w 1228725"/>
                  <a:gd name="connsiteY220" fmla="*/ 1730693 h 1949767"/>
                  <a:gd name="connsiteX221" fmla="*/ 867727 w 1228725"/>
                  <a:gd name="connsiteY221" fmla="*/ 1740218 h 1949767"/>
                  <a:gd name="connsiteX222" fmla="*/ 839152 w 1228725"/>
                  <a:gd name="connsiteY222" fmla="*/ 1744028 h 1949767"/>
                  <a:gd name="connsiteX223" fmla="*/ 824865 w 1228725"/>
                  <a:gd name="connsiteY223" fmla="*/ 1770698 h 1949767"/>
                  <a:gd name="connsiteX224" fmla="*/ 785813 w 1228725"/>
                  <a:gd name="connsiteY224" fmla="*/ 1779270 h 1949767"/>
                  <a:gd name="connsiteX225" fmla="*/ 767715 w 1228725"/>
                  <a:gd name="connsiteY225" fmla="*/ 1804035 h 1949767"/>
                  <a:gd name="connsiteX226" fmla="*/ 740093 w 1228725"/>
                  <a:gd name="connsiteY226" fmla="*/ 1770698 h 1949767"/>
                  <a:gd name="connsiteX227" fmla="*/ 717232 w 1228725"/>
                  <a:gd name="connsiteY227" fmla="*/ 1760220 h 1949767"/>
                  <a:gd name="connsiteX228" fmla="*/ 696277 w 1228725"/>
                  <a:gd name="connsiteY228" fmla="*/ 1768793 h 1949767"/>
                  <a:gd name="connsiteX229" fmla="*/ 685800 w 1228725"/>
                  <a:gd name="connsiteY229" fmla="*/ 1774507 h 1949767"/>
                  <a:gd name="connsiteX230" fmla="*/ 661988 w 1228725"/>
                  <a:gd name="connsiteY230" fmla="*/ 1770698 h 1949767"/>
                  <a:gd name="connsiteX231" fmla="*/ 639127 w 1228725"/>
                  <a:gd name="connsiteY231" fmla="*/ 1773555 h 1949767"/>
                  <a:gd name="connsiteX232" fmla="*/ 641985 w 1228725"/>
                  <a:gd name="connsiteY232" fmla="*/ 1803082 h 1949767"/>
                  <a:gd name="connsiteX233" fmla="*/ 628650 w 1228725"/>
                  <a:gd name="connsiteY233" fmla="*/ 1816418 h 1949767"/>
                  <a:gd name="connsiteX234" fmla="*/ 615315 w 1228725"/>
                  <a:gd name="connsiteY234" fmla="*/ 1841182 h 1949767"/>
                  <a:gd name="connsiteX235" fmla="*/ 599123 w 1228725"/>
                  <a:gd name="connsiteY235" fmla="*/ 1837373 h 1949767"/>
                  <a:gd name="connsiteX236" fmla="*/ 598170 w 1228725"/>
                  <a:gd name="connsiteY236" fmla="*/ 1804035 h 1949767"/>
                  <a:gd name="connsiteX237" fmla="*/ 582930 w 1228725"/>
                  <a:gd name="connsiteY237" fmla="*/ 1791653 h 1949767"/>
                  <a:gd name="connsiteX238" fmla="*/ 570548 w 1228725"/>
                  <a:gd name="connsiteY238" fmla="*/ 1788795 h 1949767"/>
                  <a:gd name="connsiteX239" fmla="*/ 567690 w 1228725"/>
                  <a:gd name="connsiteY239" fmla="*/ 1768793 h 1949767"/>
                  <a:gd name="connsiteX240" fmla="*/ 541020 w 1228725"/>
                  <a:gd name="connsiteY240" fmla="*/ 1749743 h 1949767"/>
                  <a:gd name="connsiteX241" fmla="*/ 535305 w 1228725"/>
                  <a:gd name="connsiteY241" fmla="*/ 1727835 h 1949767"/>
                  <a:gd name="connsiteX242" fmla="*/ 504825 w 1228725"/>
                  <a:gd name="connsiteY242" fmla="*/ 1724978 h 1949767"/>
                  <a:gd name="connsiteX243" fmla="*/ 492443 w 1228725"/>
                  <a:gd name="connsiteY243" fmla="*/ 1737360 h 1949767"/>
                  <a:gd name="connsiteX244" fmla="*/ 477202 w 1228725"/>
                  <a:gd name="connsiteY244" fmla="*/ 1713548 h 1949767"/>
                  <a:gd name="connsiteX245" fmla="*/ 462915 w 1228725"/>
                  <a:gd name="connsiteY245" fmla="*/ 1713548 h 1949767"/>
                  <a:gd name="connsiteX246" fmla="*/ 447675 w 1228725"/>
                  <a:gd name="connsiteY246" fmla="*/ 1698307 h 1949767"/>
                  <a:gd name="connsiteX247" fmla="*/ 441960 w 1228725"/>
                  <a:gd name="connsiteY247" fmla="*/ 1641157 h 1949767"/>
                  <a:gd name="connsiteX248" fmla="*/ 455295 w 1228725"/>
                  <a:gd name="connsiteY248" fmla="*/ 1617345 h 1949767"/>
                  <a:gd name="connsiteX249" fmla="*/ 438150 w 1228725"/>
                  <a:gd name="connsiteY249" fmla="*/ 1591628 h 1949767"/>
                  <a:gd name="connsiteX250" fmla="*/ 457200 w 1228725"/>
                  <a:gd name="connsiteY250" fmla="*/ 1568768 h 1949767"/>
                  <a:gd name="connsiteX251" fmla="*/ 458152 w 1228725"/>
                  <a:gd name="connsiteY251" fmla="*/ 1549718 h 1949767"/>
                  <a:gd name="connsiteX252" fmla="*/ 481965 w 1228725"/>
                  <a:gd name="connsiteY252" fmla="*/ 1527810 h 1949767"/>
                  <a:gd name="connsiteX253" fmla="*/ 484823 w 1228725"/>
                  <a:gd name="connsiteY253" fmla="*/ 1486853 h 1949767"/>
                  <a:gd name="connsiteX254" fmla="*/ 510540 w 1228725"/>
                  <a:gd name="connsiteY254" fmla="*/ 1458278 h 1949767"/>
                  <a:gd name="connsiteX255" fmla="*/ 509588 w 1228725"/>
                  <a:gd name="connsiteY255" fmla="*/ 1439228 h 1949767"/>
                  <a:gd name="connsiteX256" fmla="*/ 481013 w 1228725"/>
                  <a:gd name="connsiteY256" fmla="*/ 1410653 h 1949767"/>
                  <a:gd name="connsiteX257" fmla="*/ 492443 w 1228725"/>
                  <a:gd name="connsiteY257" fmla="*/ 1395413 h 1949767"/>
                  <a:gd name="connsiteX258" fmla="*/ 517207 w 1228725"/>
                  <a:gd name="connsiteY258" fmla="*/ 1396365 h 1949767"/>
                  <a:gd name="connsiteX259" fmla="*/ 562927 w 1228725"/>
                  <a:gd name="connsiteY259" fmla="*/ 1379220 h 1949767"/>
                  <a:gd name="connsiteX260" fmla="*/ 573405 w 1228725"/>
                  <a:gd name="connsiteY260" fmla="*/ 1343978 h 1949767"/>
                  <a:gd name="connsiteX261" fmla="*/ 547688 w 1228725"/>
                  <a:gd name="connsiteY261" fmla="*/ 1325880 h 1949767"/>
                  <a:gd name="connsiteX262" fmla="*/ 540068 w 1228725"/>
                  <a:gd name="connsiteY262" fmla="*/ 1283018 h 1949767"/>
                  <a:gd name="connsiteX263" fmla="*/ 515302 w 1228725"/>
                  <a:gd name="connsiteY263" fmla="*/ 1258253 h 1949767"/>
                  <a:gd name="connsiteX264" fmla="*/ 488632 w 1228725"/>
                  <a:gd name="connsiteY264" fmla="*/ 1261110 h 1949767"/>
                  <a:gd name="connsiteX265" fmla="*/ 473393 w 1228725"/>
                  <a:gd name="connsiteY265" fmla="*/ 1287780 h 1949767"/>
                  <a:gd name="connsiteX266" fmla="*/ 458152 w 1228725"/>
                  <a:gd name="connsiteY266" fmla="*/ 1303020 h 1949767"/>
                  <a:gd name="connsiteX267" fmla="*/ 430530 w 1228725"/>
                  <a:gd name="connsiteY267" fmla="*/ 1307782 h 1949767"/>
                  <a:gd name="connsiteX268" fmla="*/ 422910 w 1228725"/>
                  <a:gd name="connsiteY268" fmla="*/ 1329690 h 1949767"/>
                  <a:gd name="connsiteX269" fmla="*/ 428625 w 1228725"/>
                  <a:gd name="connsiteY269" fmla="*/ 1356360 h 1949767"/>
                  <a:gd name="connsiteX270" fmla="*/ 419100 w 1228725"/>
                  <a:gd name="connsiteY270" fmla="*/ 1365885 h 1949767"/>
                  <a:gd name="connsiteX271" fmla="*/ 392430 w 1228725"/>
                  <a:gd name="connsiteY271" fmla="*/ 1375410 h 1949767"/>
                  <a:gd name="connsiteX272" fmla="*/ 379095 w 1228725"/>
                  <a:gd name="connsiteY272" fmla="*/ 1394460 h 1949767"/>
                  <a:gd name="connsiteX273" fmla="*/ 366713 w 1228725"/>
                  <a:gd name="connsiteY273" fmla="*/ 1413510 h 1949767"/>
                  <a:gd name="connsiteX274" fmla="*/ 349568 w 1228725"/>
                  <a:gd name="connsiteY274" fmla="*/ 1412557 h 1949767"/>
                  <a:gd name="connsiteX275" fmla="*/ 332423 w 1228725"/>
                  <a:gd name="connsiteY275" fmla="*/ 1427798 h 1949767"/>
                  <a:gd name="connsiteX276" fmla="*/ 293370 w 1228725"/>
                  <a:gd name="connsiteY276" fmla="*/ 1374457 h 1949767"/>
                  <a:gd name="connsiteX277" fmla="*/ 271463 w 1228725"/>
                  <a:gd name="connsiteY277" fmla="*/ 1382078 h 1949767"/>
                  <a:gd name="connsiteX278" fmla="*/ 259080 w 1228725"/>
                  <a:gd name="connsiteY278" fmla="*/ 1392555 h 1949767"/>
                  <a:gd name="connsiteX279" fmla="*/ 224790 w 1228725"/>
                  <a:gd name="connsiteY279" fmla="*/ 1387793 h 1949767"/>
                  <a:gd name="connsiteX280" fmla="*/ 206693 w 1228725"/>
                  <a:gd name="connsiteY280" fmla="*/ 1365885 h 1949767"/>
                  <a:gd name="connsiteX281" fmla="*/ 217170 w 1228725"/>
                  <a:gd name="connsiteY281" fmla="*/ 1342073 h 1949767"/>
                  <a:gd name="connsiteX282" fmla="*/ 234315 w 1228725"/>
                  <a:gd name="connsiteY282" fmla="*/ 1332548 h 1949767"/>
                  <a:gd name="connsiteX283" fmla="*/ 234315 w 1228725"/>
                  <a:gd name="connsiteY283" fmla="*/ 1313498 h 1949767"/>
                  <a:gd name="connsiteX284" fmla="*/ 219075 w 1228725"/>
                  <a:gd name="connsiteY284" fmla="*/ 1287780 h 1949767"/>
                  <a:gd name="connsiteX285" fmla="*/ 226695 w 1228725"/>
                  <a:gd name="connsiteY285" fmla="*/ 1268730 h 1949767"/>
                  <a:gd name="connsiteX286" fmla="*/ 236220 w 1228725"/>
                  <a:gd name="connsiteY286" fmla="*/ 1269682 h 1949767"/>
                  <a:gd name="connsiteX287" fmla="*/ 236220 w 1228725"/>
                  <a:gd name="connsiteY287" fmla="*/ 1225868 h 1949767"/>
                  <a:gd name="connsiteX288" fmla="*/ 253365 w 1228725"/>
                  <a:gd name="connsiteY288" fmla="*/ 1202055 h 1949767"/>
                  <a:gd name="connsiteX289" fmla="*/ 252413 w 1228725"/>
                  <a:gd name="connsiteY289" fmla="*/ 1183005 h 1949767"/>
                  <a:gd name="connsiteX290" fmla="*/ 261938 w 1228725"/>
                  <a:gd name="connsiteY290" fmla="*/ 1158240 h 1949767"/>
                  <a:gd name="connsiteX291" fmla="*/ 236220 w 1228725"/>
                  <a:gd name="connsiteY291" fmla="*/ 1143953 h 1949767"/>
                  <a:gd name="connsiteX292" fmla="*/ 210502 w 1228725"/>
                  <a:gd name="connsiteY292" fmla="*/ 1148715 h 1949767"/>
                  <a:gd name="connsiteX293" fmla="*/ 190500 w 1228725"/>
                  <a:gd name="connsiteY293" fmla="*/ 1168718 h 1949767"/>
                  <a:gd name="connsiteX294" fmla="*/ 167640 w 1228725"/>
                  <a:gd name="connsiteY294" fmla="*/ 1171575 h 1949767"/>
                  <a:gd name="connsiteX295" fmla="*/ 152400 w 1228725"/>
                  <a:gd name="connsiteY295" fmla="*/ 1191578 h 1949767"/>
                  <a:gd name="connsiteX296" fmla="*/ 134302 w 1228725"/>
                  <a:gd name="connsiteY296" fmla="*/ 1200150 h 1949767"/>
                  <a:gd name="connsiteX297" fmla="*/ 124777 w 1228725"/>
                  <a:gd name="connsiteY297" fmla="*/ 1193482 h 1949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</a:cxnLst>
                <a:rect l="l" t="t" r="r" b="b"/>
                <a:pathLst>
                  <a:path w="1228725" h="1949767">
                    <a:moveTo>
                      <a:pt x="124777" y="1193482"/>
                    </a:moveTo>
                    <a:lnTo>
                      <a:pt x="108585" y="1156335"/>
                    </a:lnTo>
                    <a:lnTo>
                      <a:pt x="108585" y="1127760"/>
                    </a:lnTo>
                    <a:lnTo>
                      <a:pt x="90488" y="1109663"/>
                    </a:lnTo>
                    <a:lnTo>
                      <a:pt x="106680" y="1093470"/>
                    </a:lnTo>
                    <a:lnTo>
                      <a:pt x="111443" y="1057275"/>
                    </a:lnTo>
                    <a:lnTo>
                      <a:pt x="72390" y="1040130"/>
                    </a:lnTo>
                    <a:lnTo>
                      <a:pt x="40957" y="1040130"/>
                    </a:lnTo>
                    <a:lnTo>
                      <a:pt x="37148" y="1022032"/>
                    </a:lnTo>
                    <a:lnTo>
                      <a:pt x="59055" y="1017270"/>
                    </a:lnTo>
                    <a:lnTo>
                      <a:pt x="47625" y="994410"/>
                    </a:lnTo>
                    <a:lnTo>
                      <a:pt x="53340" y="951547"/>
                    </a:lnTo>
                    <a:lnTo>
                      <a:pt x="26670" y="946785"/>
                    </a:lnTo>
                    <a:lnTo>
                      <a:pt x="0" y="919163"/>
                    </a:lnTo>
                    <a:lnTo>
                      <a:pt x="22860" y="913447"/>
                    </a:lnTo>
                    <a:lnTo>
                      <a:pt x="25718" y="880110"/>
                    </a:lnTo>
                    <a:lnTo>
                      <a:pt x="15240" y="869632"/>
                    </a:lnTo>
                    <a:lnTo>
                      <a:pt x="9525" y="851535"/>
                    </a:lnTo>
                    <a:lnTo>
                      <a:pt x="18098" y="829628"/>
                    </a:lnTo>
                    <a:lnTo>
                      <a:pt x="0" y="811530"/>
                    </a:lnTo>
                    <a:lnTo>
                      <a:pt x="15240" y="791528"/>
                    </a:lnTo>
                    <a:lnTo>
                      <a:pt x="2857" y="779145"/>
                    </a:lnTo>
                    <a:lnTo>
                      <a:pt x="2857" y="748665"/>
                    </a:lnTo>
                    <a:lnTo>
                      <a:pt x="31432" y="733425"/>
                    </a:lnTo>
                    <a:lnTo>
                      <a:pt x="50482" y="722947"/>
                    </a:lnTo>
                    <a:lnTo>
                      <a:pt x="73343" y="725805"/>
                    </a:lnTo>
                    <a:lnTo>
                      <a:pt x="92393" y="706755"/>
                    </a:lnTo>
                    <a:lnTo>
                      <a:pt x="117157" y="696278"/>
                    </a:lnTo>
                    <a:lnTo>
                      <a:pt x="120968" y="671513"/>
                    </a:lnTo>
                    <a:lnTo>
                      <a:pt x="104775" y="655320"/>
                    </a:lnTo>
                    <a:lnTo>
                      <a:pt x="114300" y="631507"/>
                    </a:lnTo>
                    <a:lnTo>
                      <a:pt x="146685" y="625793"/>
                    </a:lnTo>
                    <a:lnTo>
                      <a:pt x="189548" y="582930"/>
                    </a:lnTo>
                    <a:lnTo>
                      <a:pt x="187643" y="534353"/>
                    </a:lnTo>
                    <a:lnTo>
                      <a:pt x="218123" y="523875"/>
                    </a:lnTo>
                    <a:lnTo>
                      <a:pt x="218123" y="507682"/>
                    </a:lnTo>
                    <a:lnTo>
                      <a:pt x="187643" y="477203"/>
                    </a:lnTo>
                    <a:lnTo>
                      <a:pt x="180975" y="455295"/>
                    </a:lnTo>
                    <a:lnTo>
                      <a:pt x="146685" y="421005"/>
                    </a:lnTo>
                    <a:lnTo>
                      <a:pt x="124777" y="416243"/>
                    </a:lnTo>
                    <a:lnTo>
                      <a:pt x="120015" y="388620"/>
                    </a:lnTo>
                    <a:lnTo>
                      <a:pt x="125730" y="356235"/>
                    </a:lnTo>
                    <a:lnTo>
                      <a:pt x="108585" y="339090"/>
                    </a:lnTo>
                    <a:lnTo>
                      <a:pt x="134302" y="304800"/>
                    </a:lnTo>
                    <a:lnTo>
                      <a:pt x="134302" y="275272"/>
                    </a:lnTo>
                    <a:lnTo>
                      <a:pt x="136207" y="238125"/>
                    </a:lnTo>
                    <a:lnTo>
                      <a:pt x="122873" y="224790"/>
                    </a:lnTo>
                    <a:lnTo>
                      <a:pt x="116205" y="198120"/>
                    </a:lnTo>
                    <a:lnTo>
                      <a:pt x="103823" y="185738"/>
                    </a:lnTo>
                    <a:lnTo>
                      <a:pt x="102870" y="153353"/>
                    </a:lnTo>
                    <a:lnTo>
                      <a:pt x="127635" y="147638"/>
                    </a:lnTo>
                    <a:lnTo>
                      <a:pt x="148590" y="153353"/>
                    </a:lnTo>
                    <a:lnTo>
                      <a:pt x="176213" y="168593"/>
                    </a:lnTo>
                    <a:lnTo>
                      <a:pt x="203835" y="154305"/>
                    </a:lnTo>
                    <a:lnTo>
                      <a:pt x="225743" y="147638"/>
                    </a:lnTo>
                    <a:lnTo>
                      <a:pt x="247650" y="125730"/>
                    </a:lnTo>
                    <a:lnTo>
                      <a:pt x="263843" y="97155"/>
                    </a:lnTo>
                    <a:lnTo>
                      <a:pt x="284798" y="98108"/>
                    </a:lnTo>
                    <a:lnTo>
                      <a:pt x="297180" y="90488"/>
                    </a:lnTo>
                    <a:lnTo>
                      <a:pt x="306705" y="100013"/>
                    </a:lnTo>
                    <a:lnTo>
                      <a:pt x="318135" y="96203"/>
                    </a:lnTo>
                    <a:lnTo>
                      <a:pt x="318135" y="72390"/>
                    </a:lnTo>
                    <a:lnTo>
                      <a:pt x="316230" y="33338"/>
                    </a:lnTo>
                    <a:lnTo>
                      <a:pt x="339090" y="34290"/>
                    </a:lnTo>
                    <a:lnTo>
                      <a:pt x="367665" y="0"/>
                    </a:lnTo>
                    <a:lnTo>
                      <a:pt x="421957" y="2858"/>
                    </a:lnTo>
                    <a:lnTo>
                      <a:pt x="472440" y="32385"/>
                    </a:lnTo>
                    <a:lnTo>
                      <a:pt x="491490" y="39053"/>
                    </a:lnTo>
                    <a:lnTo>
                      <a:pt x="491490" y="60008"/>
                    </a:lnTo>
                    <a:lnTo>
                      <a:pt x="512445" y="88583"/>
                    </a:lnTo>
                    <a:lnTo>
                      <a:pt x="485775" y="103822"/>
                    </a:lnTo>
                    <a:lnTo>
                      <a:pt x="485775" y="135255"/>
                    </a:lnTo>
                    <a:lnTo>
                      <a:pt x="501968" y="158115"/>
                    </a:lnTo>
                    <a:lnTo>
                      <a:pt x="521018" y="157163"/>
                    </a:lnTo>
                    <a:lnTo>
                      <a:pt x="541973" y="131445"/>
                    </a:lnTo>
                    <a:lnTo>
                      <a:pt x="566738" y="132397"/>
                    </a:lnTo>
                    <a:lnTo>
                      <a:pt x="583882" y="140970"/>
                    </a:lnTo>
                    <a:lnTo>
                      <a:pt x="596265" y="129540"/>
                    </a:lnTo>
                    <a:lnTo>
                      <a:pt x="613410" y="129540"/>
                    </a:lnTo>
                    <a:lnTo>
                      <a:pt x="643890" y="160020"/>
                    </a:lnTo>
                    <a:lnTo>
                      <a:pt x="650557" y="181928"/>
                    </a:lnTo>
                    <a:lnTo>
                      <a:pt x="633413" y="181928"/>
                    </a:lnTo>
                    <a:lnTo>
                      <a:pt x="616268" y="197168"/>
                    </a:lnTo>
                    <a:lnTo>
                      <a:pt x="627698" y="215265"/>
                    </a:lnTo>
                    <a:lnTo>
                      <a:pt x="636270" y="223838"/>
                    </a:lnTo>
                    <a:lnTo>
                      <a:pt x="612457" y="239078"/>
                    </a:lnTo>
                    <a:lnTo>
                      <a:pt x="580073" y="239078"/>
                    </a:lnTo>
                    <a:lnTo>
                      <a:pt x="548640" y="270510"/>
                    </a:lnTo>
                    <a:lnTo>
                      <a:pt x="528638" y="290513"/>
                    </a:lnTo>
                    <a:lnTo>
                      <a:pt x="505777" y="328613"/>
                    </a:lnTo>
                    <a:lnTo>
                      <a:pt x="481965" y="352425"/>
                    </a:lnTo>
                    <a:lnTo>
                      <a:pt x="458152" y="400050"/>
                    </a:lnTo>
                    <a:lnTo>
                      <a:pt x="454343" y="446722"/>
                    </a:lnTo>
                    <a:lnTo>
                      <a:pt x="477202" y="491490"/>
                    </a:lnTo>
                    <a:lnTo>
                      <a:pt x="456248" y="512445"/>
                    </a:lnTo>
                    <a:lnTo>
                      <a:pt x="449580" y="557213"/>
                    </a:lnTo>
                    <a:lnTo>
                      <a:pt x="461963" y="589597"/>
                    </a:lnTo>
                    <a:lnTo>
                      <a:pt x="481965" y="609600"/>
                    </a:lnTo>
                    <a:lnTo>
                      <a:pt x="464820" y="638175"/>
                    </a:lnTo>
                    <a:lnTo>
                      <a:pt x="464820" y="676275"/>
                    </a:lnTo>
                    <a:lnTo>
                      <a:pt x="464820" y="726757"/>
                    </a:lnTo>
                    <a:lnTo>
                      <a:pt x="457200" y="766763"/>
                    </a:lnTo>
                    <a:lnTo>
                      <a:pt x="457200" y="814388"/>
                    </a:lnTo>
                    <a:lnTo>
                      <a:pt x="471488" y="829628"/>
                    </a:lnTo>
                    <a:lnTo>
                      <a:pt x="471488" y="863918"/>
                    </a:lnTo>
                    <a:lnTo>
                      <a:pt x="471488" y="902018"/>
                    </a:lnTo>
                    <a:lnTo>
                      <a:pt x="459105" y="949643"/>
                    </a:lnTo>
                    <a:lnTo>
                      <a:pt x="459105" y="988695"/>
                    </a:lnTo>
                    <a:lnTo>
                      <a:pt x="438150" y="1023938"/>
                    </a:lnTo>
                    <a:lnTo>
                      <a:pt x="438150" y="1059180"/>
                    </a:lnTo>
                    <a:lnTo>
                      <a:pt x="426720" y="1090613"/>
                    </a:lnTo>
                    <a:lnTo>
                      <a:pt x="439102" y="1119188"/>
                    </a:lnTo>
                    <a:lnTo>
                      <a:pt x="461010" y="1119188"/>
                    </a:lnTo>
                    <a:lnTo>
                      <a:pt x="477202" y="1102995"/>
                    </a:lnTo>
                    <a:lnTo>
                      <a:pt x="500063" y="1102995"/>
                    </a:lnTo>
                    <a:lnTo>
                      <a:pt x="518160" y="1084898"/>
                    </a:lnTo>
                    <a:lnTo>
                      <a:pt x="538163" y="1064895"/>
                    </a:lnTo>
                    <a:lnTo>
                      <a:pt x="552450" y="1079182"/>
                    </a:lnTo>
                    <a:lnTo>
                      <a:pt x="569595" y="1087755"/>
                    </a:lnTo>
                    <a:lnTo>
                      <a:pt x="569595" y="1105853"/>
                    </a:lnTo>
                    <a:lnTo>
                      <a:pt x="582930" y="1130618"/>
                    </a:lnTo>
                    <a:lnTo>
                      <a:pt x="600075" y="1147763"/>
                    </a:lnTo>
                    <a:lnTo>
                      <a:pt x="615315" y="1132523"/>
                    </a:lnTo>
                    <a:lnTo>
                      <a:pt x="615315" y="1109663"/>
                    </a:lnTo>
                    <a:lnTo>
                      <a:pt x="595313" y="1101090"/>
                    </a:lnTo>
                    <a:lnTo>
                      <a:pt x="595313" y="1080135"/>
                    </a:lnTo>
                    <a:lnTo>
                      <a:pt x="610552" y="1062990"/>
                    </a:lnTo>
                    <a:lnTo>
                      <a:pt x="610552" y="1077278"/>
                    </a:lnTo>
                    <a:lnTo>
                      <a:pt x="627698" y="1089660"/>
                    </a:lnTo>
                    <a:lnTo>
                      <a:pt x="636270" y="1086803"/>
                    </a:lnTo>
                    <a:lnTo>
                      <a:pt x="644843" y="1095375"/>
                    </a:lnTo>
                    <a:lnTo>
                      <a:pt x="644843" y="1121093"/>
                    </a:lnTo>
                    <a:lnTo>
                      <a:pt x="644843" y="1139190"/>
                    </a:lnTo>
                    <a:lnTo>
                      <a:pt x="673418" y="1127760"/>
                    </a:lnTo>
                    <a:lnTo>
                      <a:pt x="673418" y="1113473"/>
                    </a:lnTo>
                    <a:lnTo>
                      <a:pt x="688657" y="1092518"/>
                    </a:lnTo>
                    <a:lnTo>
                      <a:pt x="698182" y="1083945"/>
                    </a:lnTo>
                    <a:lnTo>
                      <a:pt x="713423" y="1095375"/>
                    </a:lnTo>
                    <a:lnTo>
                      <a:pt x="717232" y="1072515"/>
                    </a:lnTo>
                    <a:lnTo>
                      <a:pt x="703898" y="1059180"/>
                    </a:lnTo>
                    <a:lnTo>
                      <a:pt x="691515" y="1035368"/>
                    </a:lnTo>
                    <a:lnTo>
                      <a:pt x="676275" y="1006793"/>
                    </a:lnTo>
                    <a:lnTo>
                      <a:pt x="701993" y="992505"/>
                    </a:lnTo>
                    <a:lnTo>
                      <a:pt x="717232" y="977265"/>
                    </a:lnTo>
                    <a:lnTo>
                      <a:pt x="748665" y="970597"/>
                    </a:lnTo>
                    <a:lnTo>
                      <a:pt x="785813" y="970597"/>
                    </a:lnTo>
                    <a:lnTo>
                      <a:pt x="816293" y="974407"/>
                    </a:lnTo>
                    <a:lnTo>
                      <a:pt x="829627" y="987743"/>
                    </a:lnTo>
                    <a:cubicBezTo>
                      <a:pt x="829627" y="987743"/>
                      <a:pt x="862013" y="982028"/>
                      <a:pt x="868680" y="982028"/>
                    </a:cubicBezTo>
                    <a:cubicBezTo>
                      <a:pt x="875348" y="982028"/>
                      <a:pt x="895350" y="973455"/>
                      <a:pt x="895350" y="973455"/>
                    </a:cubicBezTo>
                    <a:lnTo>
                      <a:pt x="913448" y="991553"/>
                    </a:lnTo>
                    <a:lnTo>
                      <a:pt x="900113" y="1004888"/>
                    </a:lnTo>
                    <a:lnTo>
                      <a:pt x="890588" y="1014413"/>
                    </a:lnTo>
                    <a:lnTo>
                      <a:pt x="882015" y="1029653"/>
                    </a:lnTo>
                    <a:lnTo>
                      <a:pt x="905827" y="1029653"/>
                    </a:lnTo>
                    <a:lnTo>
                      <a:pt x="931545" y="1029653"/>
                    </a:lnTo>
                    <a:lnTo>
                      <a:pt x="937260" y="1047750"/>
                    </a:lnTo>
                    <a:lnTo>
                      <a:pt x="958215" y="1068705"/>
                    </a:lnTo>
                    <a:lnTo>
                      <a:pt x="983932" y="1064895"/>
                    </a:lnTo>
                    <a:lnTo>
                      <a:pt x="997268" y="1078230"/>
                    </a:lnTo>
                    <a:lnTo>
                      <a:pt x="1011555" y="1104900"/>
                    </a:lnTo>
                    <a:lnTo>
                      <a:pt x="1015365" y="1158240"/>
                    </a:lnTo>
                    <a:lnTo>
                      <a:pt x="1033463" y="1214438"/>
                    </a:lnTo>
                    <a:lnTo>
                      <a:pt x="1062038" y="1256348"/>
                    </a:lnTo>
                    <a:lnTo>
                      <a:pt x="1098232" y="1292543"/>
                    </a:lnTo>
                    <a:lnTo>
                      <a:pt x="1112520" y="1306830"/>
                    </a:lnTo>
                    <a:lnTo>
                      <a:pt x="1119188" y="1330643"/>
                    </a:lnTo>
                    <a:lnTo>
                      <a:pt x="1147763" y="1359218"/>
                    </a:lnTo>
                    <a:lnTo>
                      <a:pt x="1167765" y="1393507"/>
                    </a:lnTo>
                    <a:lnTo>
                      <a:pt x="1174432" y="1413510"/>
                    </a:lnTo>
                    <a:lnTo>
                      <a:pt x="1200150" y="1453515"/>
                    </a:lnTo>
                    <a:lnTo>
                      <a:pt x="1222057" y="1475423"/>
                    </a:lnTo>
                    <a:lnTo>
                      <a:pt x="1222057" y="1534478"/>
                    </a:lnTo>
                    <a:lnTo>
                      <a:pt x="1213485" y="1584960"/>
                    </a:lnTo>
                    <a:lnTo>
                      <a:pt x="1228725" y="1635443"/>
                    </a:lnTo>
                    <a:lnTo>
                      <a:pt x="1205865" y="1654493"/>
                    </a:lnTo>
                    <a:lnTo>
                      <a:pt x="1182052" y="1637348"/>
                    </a:lnTo>
                    <a:lnTo>
                      <a:pt x="1188720" y="1623060"/>
                    </a:lnTo>
                    <a:lnTo>
                      <a:pt x="1180148" y="1605915"/>
                    </a:lnTo>
                    <a:lnTo>
                      <a:pt x="1160145" y="1606868"/>
                    </a:lnTo>
                    <a:lnTo>
                      <a:pt x="1144905" y="1591628"/>
                    </a:lnTo>
                    <a:lnTo>
                      <a:pt x="1124902" y="1576388"/>
                    </a:lnTo>
                    <a:lnTo>
                      <a:pt x="1107757" y="1579245"/>
                    </a:lnTo>
                    <a:lnTo>
                      <a:pt x="1097280" y="1618298"/>
                    </a:lnTo>
                    <a:lnTo>
                      <a:pt x="1068705" y="1642110"/>
                    </a:lnTo>
                    <a:lnTo>
                      <a:pt x="1073468" y="1661160"/>
                    </a:lnTo>
                    <a:lnTo>
                      <a:pt x="1099185" y="1664018"/>
                    </a:lnTo>
                    <a:lnTo>
                      <a:pt x="1105852" y="1684020"/>
                    </a:lnTo>
                    <a:lnTo>
                      <a:pt x="1129665" y="1681163"/>
                    </a:lnTo>
                    <a:lnTo>
                      <a:pt x="1139190" y="1664018"/>
                    </a:lnTo>
                    <a:lnTo>
                      <a:pt x="1149668" y="1666875"/>
                    </a:lnTo>
                    <a:lnTo>
                      <a:pt x="1160145" y="1694498"/>
                    </a:lnTo>
                    <a:lnTo>
                      <a:pt x="1157288" y="1722120"/>
                    </a:lnTo>
                    <a:lnTo>
                      <a:pt x="1148715" y="1742123"/>
                    </a:lnTo>
                    <a:lnTo>
                      <a:pt x="1115377" y="1754505"/>
                    </a:lnTo>
                    <a:lnTo>
                      <a:pt x="1110615" y="1778318"/>
                    </a:lnTo>
                    <a:lnTo>
                      <a:pt x="1127760" y="1783080"/>
                    </a:lnTo>
                    <a:lnTo>
                      <a:pt x="1127760" y="1823085"/>
                    </a:lnTo>
                    <a:lnTo>
                      <a:pt x="1105852" y="1851660"/>
                    </a:lnTo>
                    <a:lnTo>
                      <a:pt x="1077277" y="1855470"/>
                    </a:lnTo>
                    <a:lnTo>
                      <a:pt x="1074420" y="1864043"/>
                    </a:lnTo>
                    <a:lnTo>
                      <a:pt x="1045845" y="1860232"/>
                    </a:lnTo>
                    <a:lnTo>
                      <a:pt x="1039177" y="1869757"/>
                    </a:lnTo>
                    <a:lnTo>
                      <a:pt x="1020127" y="1870710"/>
                    </a:lnTo>
                    <a:lnTo>
                      <a:pt x="1014413" y="1864995"/>
                    </a:lnTo>
                    <a:lnTo>
                      <a:pt x="994410" y="1859280"/>
                    </a:lnTo>
                    <a:lnTo>
                      <a:pt x="969645" y="1892618"/>
                    </a:lnTo>
                    <a:lnTo>
                      <a:pt x="965835" y="1919288"/>
                    </a:lnTo>
                    <a:lnTo>
                      <a:pt x="981075" y="1934528"/>
                    </a:lnTo>
                    <a:lnTo>
                      <a:pt x="981075" y="1945957"/>
                    </a:lnTo>
                    <a:lnTo>
                      <a:pt x="953452" y="1949768"/>
                    </a:lnTo>
                    <a:lnTo>
                      <a:pt x="946785" y="1918335"/>
                    </a:lnTo>
                    <a:lnTo>
                      <a:pt x="918210" y="1888807"/>
                    </a:lnTo>
                    <a:lnTo>
                      <a:pt x="939165" y="1867853"/>
                    </a:lnTo>
                    <a:lnTo>
                      <a:pt x="939165" y="1836420"/>
                    </a:lnTo>
                    <a:lnTo>
                      <a:pt x="921068" y="1818323"/>
                    </a:lnTo>
                    <a:lnTo>
                      <a:pt x="901065" y="1797368"/>
                    </a:lnTo>
                    <a:lnTo>
                      <a:pt x="895350" y="1779270"/>
                    </a:lnTo>
                    <a:lnTo>
                      <a:pt x="898207" y="1763078"/>
                    </a:lnTo>
                    <a:lnTo>
                      <a:pt x="888682" y="1753553"/>
                    </a:lnTo>
                    <a:lnTo>
                      <a:pt x="891540" y="1730693"/>
                    </a:lnTo>
                    <a:lnTo>
                      <a:pt x="867727" y="1740218"/>
                    </a:lnTo>
                    <a:lnTo>
                      <a:pt x="839152" y="1744028"/>
                    </a:lnTo>
                    <a:lnTo>
                      <a:pt x="824865" y="1770698"/>
                    </a:lnTo>
                    <a:lnTo>
                      <a:pt x="785813" y="1779270"/>
                    </a:lnTo>
                    <a:lnTo>
                      <a:pt x="767715" y="1804035"/>
                    </a:lnTo>
                    <a:lnTo>
                      <a:pt x="740093" y="1770698"/>
                    </a:lnTo>
                    <a:lnTo>
                      <a:pt x="717232" y="1760220"/>
                    </a:lnTo>
                    <a:lnTo>
                      <a:pt x="696277" y="1768793"/>
                    </a:lnTo>
                    <a:lnTo>
                      <a:pt x="685800" y="1774507"/>
                    </a:lnTo>
                    <a:lnTo>
                      <a:pt x="661988" y="1770698"/>
                    </a:lnTo>
                    <a:lnTo>
                      <a:pt x="639127" y="1773555"/>
                    </a:lnTo>
                    <a:lnTo>
                      <a:pt x="641985" y="1803082"/>
                    </a:lnTo>
                    <a:cubicBezTo>
                      <a:pt x="641985" y="1803082"/>
                      <a:pt x="632460" y="1819275"/>
                      <a:pt x="628650" y="1816418"/>
                    </a:cubicBezTo>
                    <a:cubicBezTo>
                      <a:pt x="625793" y="1813560"/>
                      <a:pt x="615315" y="1841182"/>
                      <a:pt x="615315" y="1841182"/>
                    </a:cubicBezTo>
                    <a:lnTo>
                      <a:pt x="599123" y="1837373"/>
                    </a:lnTo>
                    <a:lnTo>
                      <a:pt x="598170" y="1804035"/>
                    </a:lnTo>
                    <a:lnTo>
                      <a:pt x="582930" y="1791653"/>
                    </a:lnTo>
                    <a:lnTo>
                      <a:pt x="570548" y="1788795"/>
                    </a:lnTo>
                    <a:lnTo>
                      <a:pt x="567690" y="1768793"/>
                    </a:lnTo>
                    <a:lnTo>
                      <a:pt x="541020" y="1749743"/>
                    </a:lnTo>
                    <a:lnTo>
                      <a:pt x="535305" y="1727835"/>
                    </a:lnTo>
                    <a:lnTo>
                      <a:pt x="504825" y="1724978"/>
                    </a:lnTo>
                    <a:lnTo>
                      <a:pt x="492443" y="1737360"/>
                    </a:lnTo>
                    <a:lnTo>
                      <a:pt x="477202" y="1713548"/>
                    </a:lnTo>
                    <a:lnTo>
                      <a:pt x="462915" y="1713548"/>
                    </a:lnTo>
                    <a:lnTo>
                      <a:pt x="447675" y="1698307"/>
                    </a:lnTo>
                    <a:lnTo>
                      <a:pt x="441960" y="1641157"/>
                    </a:lnTo>
                    <a:lnTo>
                      <a:pt x="455295" y="1617345"/>
                    </a:lnTo>
                    <a:lnTo>
                      <a:pt x="438150" y="1591628"/>
                    </a:lnTo>
                    <a:lnTo>
                      <a:pt x="457200" y="1568768"/>
                    </a:lnTo>
                    <a:lnTo>
                      <a:pt x="458152" y="1549718"/>
                    </a:lnTo>
                    <a:lnTo>
                      <a:pt x="481965" y="1527810"/>
                    </a:lnTo>
                    <a:lnTo>
                      <a:pt x="484823" y="1486853"/>
                    </a:lnTo>
                    <a:cubicBezTo>
                      <a:pt x="484823" y="1486853"/>
                      <a:pt x="510540" y="1461135"/>
                      <a:pt x="510540" y="1458278"/>
                    </a:cubicBezTo>
                    <a:cubicBezTo>
                      <a:pt x="510540" y="1455420"/>
                      <a:pt x="509588" y="1439228"/>
                      <a:pt x="509588" y="1439228"/>
                    </a:cubicBezTo>
                    <a:lnTo>
                      <a:pt x="481013" y="1410653"/>
                    </a:lnTo>
                    <a:lnTo>
                      <a:pt x="492443" y="1395413"/>
                    </a:lnTo>
                    <a:lnTo>
                      <a:pt x="517207" y="1396365"/>
                    </a:lnTo>
                    <a:lnTo>
                      <a:pt x="562927" y="1379220"/>
                    </a:lnTo>
                    <a:lnTo>
                      <a:pt x="573405" y="1343978"/>
                    </a:lnTo>
                    <a:lnTo>
                      <a:pt x="547688" y="1325880"/>
                    </a:lnTo>
                    <a:lnTo>
                      <a:pt x="540068" y="1283018"/>
                    </a:lnTo>
                    <a:lnTo>
                      <a:pt x="515302" y="1258253"/>
                    </a:lnTo>
                    <a:lnTo>
                      <a:pt x="488632" y="1261110"/>
                    </a:lnTo>
                    <a:lnTo>
                      <a:pt x="473393" y="1287780"/>
                    </a:lnTo>
                    <a:lnTo>
                      <a:pt x="458152" y="1303020"/>
                    </a:lnTo>
                    <a:lnTo>
                      <a:pt x="430530" y="1307782"/>
                    </a:lnTo>
                    <a:lnTo>
                      <a:pt x="422910" y="1329690"/>
                    </a:lnTo>
                    <a:lnTo>
                      <a:pt x="428625" y="1356360"/>
                    </a:lnTo>
                    <a:lnTo>
                      <a:pt x="419100" y="1365885"/>
                    </a:lnTo>
                    <a:lnTo>
                      <a:pt x="392430" y="1375410"/>
                    </a:lnTo>
                    <a:lnTo>
                      <a:pt x="379095" y="1394460"/>
                    </a:lnTo>
                    <a:lnTo>
                      <a:pt x="366713" y="1413510"/>
                    </a:lnTo>
                    <a:cubicBezTo>
                      <a:pt x="366713" y="1413510"/>
                      <a:pt x="351473" y="1410653"/>
                      <a:pt x="349568" y="1412557"/>
                    </a:cubicBezTo>
                    <a:cubicBezTo>
                      <a:pt x="347663" y="1414463"/>
                      <a:pt x="332423" y="1427798"/>
                      <a:pt x="332423" y="1427798"/>
                    </a:cubicBezTo>
                    <a:lnTo>
                      <a:pt x="293370" y="1374457"/>
                    </a:lnTo>
                    <a:lnTo>
                      <a:pt x="271463" y="1382078"/>
                    </a:lnTo>
                    <a:lnTo>
                      <a:pt x="259080" y="1392555"/>
                    </a:lnTo>
                    <a:lnTo>
                      <a:pt x="224790" y="1387793"/>
                    </a:lnTo>
                    <a:lnTo>
                      <a:pt x="206693" y="1365885"/>
                    </a:lnTo>
                    <a:lnTo>
                      <a:pt x="217170" y="1342073"/>
                    </a:lnTo>
                    <a:lnTo>
                      <a:pt x="234315" y="1332548"/>
                    </a:lnTo>
                    <a:lnTo>
                      <a:pt x="234315" y="1313498"/>
                    </a:lnTo>
                    <a:lnTo>
                      <a:pt x="219075" y="1287780"/>
                    </a:lnTo>
                    <a:lnTo>
                      <a:pt x="226695" y="1268730"/>
                    </a:lnTo>
                    <a:lnTo>
                      <a:pt x="236220" y="1269682"/>
                    </a:lnTo>
                    <a:lnTo>
                      <a:pt x="236220" y="1225868"/>
                    </a:lnTo>
                    <a:lnTo>
                      <a:pt x="253365" y="1202055"/>
                    </a:lnTo>
                    <a:lnTo>
                      <a:pt x="252413" y="1183005"/>
                    </a:lnTo>
                    <a:lnTo>
                      <a:pt x="261938" y="1158240"/>
                    </a:lnTo>
                    <a:lnTo>
                      <a:pt x="236220" y="1143953"/>
                    </a:lnTo>
                    <a:lnTo>
                      <a:pt x="210502" y="1148715"/>
                    </a:lnTo>
                    <a:lnTo>
                      <a:pt x="190500" y="1168718"/>
                    </a:lnTo>
                    <a:lnTo>
                      <a:pt x="167640" y="1171575"/>
                    </a:lnTo>
                    <a:lnTo>
                      <a:pt x="152400" y="1191578"/>
                    </a:lnTo>
                    <a:lnTo>
                      <a:pt x="134302" y="1200150"/>
                    </a:lnTo>
                    <a:lnTo>
                      <a:pt x="124777" y="1193482"/>
                    </a:lnTo>
                    <a:close/>
                  </a:path>
                </a:pathLst>
              </a:custGeom>
              <a:grpFill/>
              <a:ln w="2381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>
                  <a:ln>
                    <a:noFill/>
                  </a:ln>
                  <a:solidFill>
                    <a:srgbClr val="57565A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48" name="Полилиния: фигура 164">
              <a:extLst>
                <a:ext uri="{FF2B5EF4-FFF2-40B4-BE49-F238E27FC236}">
                  <a16:creationId xmlns:a16="http://schemas.microsoft.com/office/drawing/2014/main" id="{2D4D11FF-F577-474B-ACED-DCFF113C63B7}"/>
                </a:ext>
              </a:extLst>
            </p:cNvPr>
            <p:cNvSpPr/>
            <p:nvPr/>
          </p:nvSpPr>
          <p:spPr>
            <a:xfrm>
              <a:off x="3770570" y="4324124"/>
              <a:ext cx="269614" cy="255377"/>
            </a:xfrm>
            <a:custGeom>
              <a:avLst/>
              <a:gdLst>
                <a:gd name="connsiteX0" fmla="*/ 150495 w 418147"/>
                <a:gd name="connsiteY0" fmla="*/ 0 h 455294"/>
                <a:gd name="connsiteX1" fmla="*/ 280035 w 418147"/>
                <a:gd name="connsiteY1" fmla="*/ 0 h 455294"/>
                <a:gd name="connsiteX2" fmla="*/ 280035 w 418147"/>
                <a:gd name="connsiteY2" fmla="*/ 41910 h 455294"/>
                <a:gd name="connsiteX3" fmla="*/ 295275 w 418147"/>
                <a:gd name="connsiteY3" fmla="*/ 94297 h 455294"/>
                <a:gd name="connsiteX4" fmla="*/ 348615 w 418147"/>
                <a:gd name="connsiteY4" fmla="*/ 248603 h 455294"/>
                <a:gd name="connsiteX5" fmla="*/ 381952 w 418147"/>
                <a:gd name="connsiteY5" fmla="*/ 263842 h 455294"/>
                <a:gd name="connsiteX6" fmla="*/ 401955 w 418147"/>
                <a:gd name="connsiteY6" fmla="*/ 300990 h 455294"/>
                <a:gd name="connsiteX7" fmla="*/ 418147 w 418147"/>
                <a:gd name="connsiteY7" fmla="*/ 360045 h 455294"/>
                <a:gd name="connsiteX8" fmla="*/ 397192 w 418147"/>
                <a:gd name="connsiteY8" fmla="*/ 402907 h 455294"/>
                <a:gd name="connsiteX9" fmla="*/ 379095 w 418147"/>
                <a:gd name="connsiteY9" fmla="*/ 426720 h 455294"/>
                <a:gd name="connsiteX10" fmla="*/ 360997 w 418147"/>
                <a:gd name="connsiteY10" fmla="*/ 428625 h 455294"/>
                <a:gd name="connsiteX11" fmla="*/ 352425 w 418147"/>
                <a:gd name="connsiteY11" fmla="*/ 443865 h 455294"/>
                <a:gd name="connsiteX12" fmla="*/ 324802 w 418147"/>
                <a:gd name="connsiteY12" fmla="*/ 440055 h 455294"/>
                <a:gd name="connsiteX13" fmla="*/ 310515 w 418147"/>
                <a:gd name="connsiteY13" fmla="*/ 455295 h 455294"/>
                <a:gd name="connsiteX14" fmla="*/ 299085 w 418147"/>
                <a:gd name="connsiteY14" fmla="*/ 413385 h 455294"/>
                <a:gd name="connsiteX15" fmla="*/ 287655 w 418147"/>
                <a:gd name="connsiteY15" fmla="*/ 401955 h 455294"/>
                <a:gd name="connsiteX16" fmla="*/ 271463 w 418147"/>
                <a:gd name="connsiteY16" fmla="*/ 396240 h 455294"/>
                <a:gd name="connsiteX17" fmla="*/ 280035 w 418147"/>
                <a:gd name="connsiteY17" fmla="*/ 378143 h 455294"/>
                <a:gd name="connsiteX18" fmla="*/ 280035 w 418147"/>
                <a:gd name="connsiteY18" fmla="*/ 361950 h 455294"/>
                <a:gd name="connsiteX19" fmla="*/ 262890 w 418147"/>
                <a:gd name="connsiteY19" fmla="*/ 353378 h 455294"/>
                <a:gd name="connsiteX20" fmla="*/ 260033 w 418147"/>
                <a:gd name="connsiteY20" fmla="*/ 337185 h 455294"/>
                <a:gd name="connsiteX21" fmla="*/ 240030 w 418147"/>
                <a:gd name="connsiteY21" fmla="*/ 335280 h 455294"/>
                <a:gd name="connsiteX22" fmla="*/ 227647 w 418147"/>
                <a:gd name="connsiteY22" fmla="*/ 347663 h 455294"/>
                <a:gd name="connsiteX23" fmla="*/ 212408 w 418147"/>
                <a:gd name="connsiteY23" fmla="*/ 328613 h 455294"/>
                <a:gd name="connsiteX24" fmla="*/ 217170 w 418147"/>
                <a:gd name="connsiteY24" fmla="*/ 291465 h 455294"/>
                <a:gd name="connsiteX25" fmla="*/ 204788 w 418147"/>
                <a:gd name="connsiteY25" fmla="*/ 288607 h 455294"/>
                <a:gd name="connsiteX26" fmla="*/ 190500 w 418147"/>
                <a:gd name="connsiteY26" fmla="*/ 274320 h 455294"/>
                <a:gd name="connsiteX27" fmla="*/ 176213 w 418147"/>
                <a:gd name="connsiteY27" fmla="*/ 285750 h 455294"/>
                <a:gd name="connsiteX28" fmla="*/ 161925 w 418147"/>
                <a:gd name="connsiteY28" fmla="*/ 289560 h 455294"/>
                <a:gd name="connsiteX29" fmla="*/ 140017 w 418147"/>
                <a:gd name="connsiteY29" fmla="*/ 280035 h 455294"/>
                <a:gd name="connsiteX30" fmla="*/ 118110 w 418147"/>
                <a:gd name="connsiteY30" fmla="*/ 278130 h 455294"/>
                <a:gd name="connsiteX31" fmla="*/ 85725 w 418147"/>
                <a:gd name="connsiteY31" fmla="*/ 278130 h 455294"/>
                <a:gd name="connsiteX32" fmla="*/ 75247 w 418147"/>
                <a:gd name="connsiteY32" fmla="*/ 258128 h 455294"/>
                <a:gd name="connsiteX33" fmla="*/ 63817 w 418147"/>
                <a:gd name="connsiteY33" fmla="*/ 263842 h 455294"/>
                <a:gd name="connsiteX34" fmla="*/ 53340 w 418147"/>
                <a:gd name="connsiteY34" fmla="*/ 274320 h 455294"/>
                <a:gd name="connsiteX35" fmla="*/ 34290 w 418147"/>
                <a:gd name="connsiteY35" fmla="*/ 272415 h 455294"/>
                <a:gd name="connsiteX36" fmla="*/ 28575 w 418147"/>
                <a:gd name="connsiteY36" fmla="*/ 244792 h 455294"/>
                <a:gd name="connsiteX37" fmla="*/ 36195 w 418147"/>
                <a:gd name="connsiteY37" fmla="*/ 220028 h 455294"/>
                <a:gd name="connsiteX38" fmla="*/ 27622 w 418147"/>
                <a:gd name="connsiteY38" fmla="*/ 199072 h 455294"/>
                <a:gd name="connsiteX39" fmla="*/ 25717 w 418147"/>
                <a:gd name="connsiteY39" fmla="*/ 179070 h 455294"/>
                <a:gd name="connsiteX40" fmla="*/ 7620 w 418147"/>
                <a:gd name="connsiteY40" fmla="*/ 160972 h 455294"/>
                <a:gd name="connsiteX41" fmla="*/ 17145 w 418147"/>
                <a:gd name="connsiteY41" fmla="*/ 140970 h 455294"/>
                <a:gd name="connsiteX42" fmla="*/ 0 w 418147"/>
                <a:gd name="connsiteY42" fmla="*/ 121920 h 455294"/>
                <a:gd name="connsiteX43" fmla="*/ 28575 w 418147"/>
                <a:gd name="connsiteY43" fmla="*/ 104775 h 455294"/>
                <a:gd name="connsiteX44" fmla="*/ 66675 w 418147"/>
                <a:gd name="connsiteY44" fmla="*/ 113347 h 455294"/>
                <a:gd name="connsiteX45" fmla="*/ 72390 w 418147"/>
                <a:gd name="connsiteY45" fmla="*/ 92392 h 455294"/>
                <a:gd name="connsiteX46" fmla="*/ 84772 w 418147"/>
                <a:gd name="connsiteY46" fmla="*/ 79058 h 455294"/>
                <a:gd name="connsiteX47" fmla="*/ 108585 w 418147"/>
                <a:gd name="connsiteY47" fmla="*/ 90488 h 455294"/>
                <a:gd name="connsiteX48" fmla="*/ 128588 w 418147"/>
                <a:gd name="connsiteY48" fmla="*/ 111442 h 455294"/>
                <a:gd name="connsiteX49" fmla="*/ 159067 w 418147"/>
                <a:gd name="connsiteY49" fmla="*/ 121920 h 455294"/>
                <a:gd name="connsiteX50" fmla="*/ 170497 w 418147"/>
                <a:gd name="connsiteY50" fmla="*/ 146685 h 455294"/>
                <a:gd name="connsiteX51" fmla="*/ 165735 w 418147"/>
                <a:gd name="connsiteY51" fmla="*/ 152400 h 455294"/>
                <a:gd name="connsiteX52" fmla="*/ 165735 w 418147"/>
                <a:gd name="connsiteY52" fmla="*/ 160020 h 455294"/>
                <a:gd name="connsiteX53" fmla="*/ 159067 w 418147"/>
                <a:gd name="connsiteY53" fmla="*/ 184785 h 455294"/>
                <a:gd name="connsiteX54" fmla="*/ 169545 w 418147"/>
                <a:gd name="connsiteY54" fmla="*/ 182880 h 455294"/>
                <a:gd name="connsiteX55" fmla="*/ 181927 w 418147"/>
                <a:gd name="connsiteY55" fmla="*/ 192405 h 455294"/>
                <a:gd name="connsiteX56" fmla="*/ 187642 w 418147"/>
                <a:gd name="connsiteY56" fmla="*/ 187642 h 455294"/>
                <a:gd name="connsiteX57" fmla="*/ 193358 w 418147"/>
                <a:gd name="connsiteY57" fmla="*/ 187642 h 455294"/>
                <a:gd name="connsiteX58" fmla="*/ 205740 w 418147"/>
                <a:gd name="connsiteY58" fmla="*/ 181928 h 455294"/>
                <a:gd name="connsiteX59" fmla="*/ 205740 w 418147"/>
                <a:gd name="connsiteY59" fmla="*/ 171450 h 455294"/>
                <a:gd name="connsiteX60" fmla="*/ 212408 w 418147"/>
                <a:gd name="connsiteY60" fmla="*/ 162878 h 455294"/>
                <a:gd name="connsiteX61" fmla="*/ 212408 w 418147"/>
                <a:gd name="connsiteY61" fmla="*/ 152400 h 455294"/>
                <a:gd name="connsiteX62" fmla="*/ 208597 w 418147"/>
                <a:gd name="connsiteY62" fmla="*/ 147638 h 455294"/>
                <a:gd name="connsiteX63" fmla="*/ 199072 w 418147"/>
                <a:gd name="connsiteY63" fmla="*/ 158115 h 455294"/>
                <a:gd name="connsiteX64" fmla="*/ 196215 w 418147"/>
                <a:gd name="connsiteY64" fmla="*/ 117158 h 455294"/>
                <a:gd name="connsiteX65" fmla="*/ 170497 w 418147"/>
                <a:gd name="connsiteY65" fmla="*/ 95250 h 455294"/>
                <a:gd name="connsiteX66" fmla="*/ 170497 w 418147"/>
                <a:gd name="connsiteY66" fmla="*/ 46672 h 455294"/>
                <a:gd name="connsiteX67" fmla="*/ 193358 w 418147"/>
                <a:gd name="connsiteY67" fmla="*/ 40958 h 455294"/>
                <a:gd name="connsiteX68" fmla="*/ 200025 w 418147"/>
                <a:gd name="connsiteY68" fmla="*/ 34290 h 455294"/>
                <a:gd name="connsiteX69" fmla="*/ 169545 w 418147"/>
                <a:gd name="connsiteY69" fmla="*/ 20955 h 45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418147" h="455294">
                  <a:moveTo>
                    <a:pt x="150495" y="0"/>
                  </a:moveTo>
                  <a:lnTo>
                    <a:pt x="280035" y="0"/>
                  </a:lnTo>
                  <a:lnTo>
                    <a:pt x="280035" y="41910"/>
                  </a:lnTo>
                  <a:lnTo>
                    <a:pt x="295275" y="94297"/>
                  </a:lnTo>
                  <a:lnTo>
                    <a:pt x="348615" y="248603"/>
                  </a:lnTo>
                  <a:lnTo>
                    <a:pt x="381952" y="263842"/>
                  </a:lnTo>
                  <a:lnTo>
                    <a:pt x="401955" y="300990"/>
                  </a:lnTo>
                  <a:lnTo>
                    <a:pt x="418147" y="360045"/>
                  </a:lnTo>
                  <a:lnTo>
                    <a:pt x="397192" y="402907"/>
                  </a:lnTo>
                  <a:lnTo>
                    <a:pt x="379095" y="426720"/>
                  </a:lnTo>
                  <a:lnTo>
                    <a:pt x="360997" y="428625"/>
                  </a:lnTo>
                  <a:lnTo>
                    <a:pt x="352425" y="443865"/>
                  </a:lnTo>
                  <a:lnTo>
                    <a:pt x="324802" y="440055"/>
                  </a:lnTo>
                  <a:lnTo>
                    <a:pt x="310515" y="455295"/>
                  </a:lnTo>
                  <a:lnTo>
                    <a:pt x="299085" y="413385"/>
                  </a:lnTo>
                  <a:lnTo>
                    <a:pt x="287655" y="401955"/>
                  </a:lnTo>
                  <a:lnTo>
                    <a:pt x="271463" y="396240"/>
                  </a:lnTo>
                  <a:lnTo>
                    <a:pt x="280035" y="378143"/>
                  </a:lnTo>
                  <a:lnTo>
                    <a:pt x="280035" y="361950"/>
                  </a:lnTo>
                  <a:lnTo>
                    <a:pt x="262890" y="353378"/>
                  </a:lnTo>
                  <a:lnTo>
                    <a:pt x="260033" y="337185"/>
                  </a:lnTo>
                  <a:lnTo>
                    <a:pt x="240030" y="335280"/>
                  </a:lnTo>
                  <a:lnTo>
                    <a:pt x="227647" y="347663"/>
                  </a:lnTo>
                  <a:lnTo>
                    <a:pt x="212408" y="328613"/>
                  </a:lnTo>
                  <a:lnTo>
                    <a:pt x="217170" y="291465"/>
                  </a:lnTo>
                  <a:lnTo>
                    <a:pt x="204788" y="288607"/>
                  </a:lnTo>
                  <a:lnTo>
                    <a:pt x="190500" y="274320"/>
                  </a:lnTo>
                  <a:lnTo>
                    <a:pt x="176213" y="285750"/>
                  </a:lnTo>
                  <a:lnTo>
                    <a:pt x="161925" y="289560"/>
                  </a:lnTo>
                  <a:lnTo>
                    <a:pt x="140017" y="280035"/>
                  </a:lnTo>
                  <a:lnTo>
                    <a:pt x="118110" y="278130"/>
                  </a:lnTo>
                  <a:lnTo>
                    <a:pt x="85725" y="278130"/>
                  </a:lnTo>
                  <a:lnTo>
                    <a:pt x="75247" y="258128"/>
                  </a:lnTo>
                  <a:lnTo>
                    <a:pt x="63817" y="263842"/>
                  </a:lnTo>
                  <a:lnTo>
                    <a:pt x="53340" y="274320"/>
                  </a:lnTo>
                  <a:lnTo>
                    <a:pt x="34290" y="272415"/>
                  </a:lnTo>
                  <a:lnTo>
                    <a:pt x="28575" y="244792"/>
                  </a:lnTo>
                  <a:lnTo>
                    <a:pt x="36195" y="220028"/>
                  </a:lnTo>
                  <a:lnTo>
                    <a:pt x="27622" y="199072"/>
                  </a:lnTo>
                  <a:lnTo>
                    <a:pt x="25717" y="179070"/>
                  </a:lnTo>
                  <a:lnTo>
                    <a:pt x="7620" y="160972"/>
                  </a:lnTo>
                  <a:lnTo>
                    <a:pt x="17145" y="140970"/>
                  </a:lnTo>
                  <a:lnTo>
                    <a:pt x="0" y="121920"/>
                  </a:lnTo>
                  <a:lnTo>
                    <a:pt x="28575" y="104775"/>
                  </a:lnTo>
                  <a:lnTo>
                    <a:pt x="66675" y="113347"/>
                  </a:lnTo>
                  <a:lnTo>
                    <a:pt x="72390" y="92392"/>
                  </a:lnTo>
                  <a:lnTo>
                    <a:pt x="84772" y="79058"/>
                  </a:lnTo>
                  <a:lnTo>
                    <a:pt x="108585" y="90488"/>
                  </a:lnTo>
                  <a:lnTo>
                    <a:pt x="128588" y="111442"/>
                  </a:lnTo>
                  <a:lnTo>
                    <a:pt x="159067" y="121920"/>
                  </a:lnTo>
                  <a:lnTo>
                    <a:pt x="170497" y="146685"/>
                  </a:lnTo>
                  <a:lnTo>
                    <a:pt x="165735" y="152400"/>
                  </a:lnTo>
                  <a:lnTo>
                    <a:pt x="165735" y="160020"/>
                  </a:lnTo>
                  <a:lnTo>
                    <a:pt x="159067" y="184785"/>
                  </a:lnTo>
                  <a:lnTo>
                    <a:pt x="169545" y="182880"/>
                  </a:lnTo>
                  <a:lnTo>
                    <a:pt x="181927" y="192405"/>
                  </a:lnTo>
                  <a:lnTo>
                    <a:pt x="187642" y="187642"/>
                  </a:lnTo>
                  <a:lnTo>
                    <a:pt x="193358" y="187642"/>
                  </a:lnTo>
                  <a:lnTo>
                    <a:pt x="205740" y="181928"/>
                  </a:lnTo>
                  <a:lnTo>
                    <a:pt x="205740" y="171450"/>
                  </a:lnTo>
                  <a:lnTo>
                    <a:pt x="212408" y="162878"/>
                  </a:lnTo>
                  <a:lnTo>
                    <a:pt x="212408" y="152400"/>
                  </a:lnTo>
                  <a:lnTo>
                    <a:pt x="208597" y="147638"/>
                  </a:lnTo>
                  <a:lnTo>
                    <a:pt x="199072" y="158115"/>
                  </a:lnTo>
                  <a:lnTo>
                    <a:pt x="196215" y="117158"/>
                  </a:lnTo>
                  <a:lnTo>
                    <a:pt x="170497" y="95250"/>
                  </a:lnTo>
                  <a:lnTo>
                    <a:pt x="170497" y="46672"/>
                  </a:lnTo>
                  <a:lnTo>
                    <a:pt x="193358" y="40958"/>
                  </a:lnTo>
                  <a:lnTo>
                    <a:pt x="200025" y="34290"/>
                  </a:lnTo>
                  <a:lnTo>
                    <a:pt x="169545" y="20955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9" name="Полилиния: фигура 165">
              <a:extLst>
                <a:ext uri="{FF2B5EF4-FFF2-40B4-BE49-F238E27FC236}">
                  <a16:creationId xmlns:a16="http://schemas.microsoft.com/office/drawing/2014/main" id="{54E316D0-901F-4087-B9A7-11033F3A6AF0}"/>
                </a:ext>
              </a:extLst>
            </p:cNvPr>
            <p:cNvSpPr/>
            <p:nvPr/>
          </p:nvSpPr>
          <p:spPr>
            <a:xfrm>
              <a:off x="3951132" y="4099199"/>
              <a:ext cx="410870" cy="426876"/>
            </a:xfrm>
            <a:custGeom>
              <a:avLst/>
              <a:gdLst>
                <a:gd name="connsiteX0" fmla="*/ 0 w 637222"/>
                <a:gd name="connsiteY0" fmla="*/ 401003 h 761047"/>
                <a:gd name="connsiteX1" fmla="*/ 0 w 637222"/>
                <a:gd name="connsiteY1" fmla="*/ 442913 h 761047"/>
                <a:gd name="connsiteX2" fmla="*/ 15240 w 637222"/>
                <a:gd name="connsiteY2" fmla="*/ 495300 h 761047"/>
                <a:gd name="connsiteX3" fmla="*/ 68580 w 637222"/>
                <a:gd name="connsiteY3" fmla="*/ 649605 h 761047"/>
                <a:gd name="connsiteX4" fmla="*/ 101917 w 637222"/>
                <a:gd name="connsiteY4" fmla="*/ 664845 h 761047"/>
                <a:gd name="connsiteX5" fmla="*/ 121920 w 637222"/>
                <a:gd name="connsiteY5" fmla="*/ 701993 h 761047"/>
                <a:gd name="connsiteX6" fmla="*/ 138113 w 637222"/>
                <a:gd name="connsiteY6" fmla="*/ 761047 h 761047"/>
                <a:gd name="connsiteX7" fmla="*/ 169545 w 637222"/>
                <a:gd name="connsiteY7" fmla="*/ 743903 h 761047"/>
                <a:gd name="connsiteX8" fmla="*/ 190500 w 637222"/>
                <a:gd name="connsiteY8" fmla="*/ 713422 h 761047"/>
                <a:gd name="connsiteX9" fmla="*/ 205740 w 637222"/>
                <a:gd name="connsiteY9" fmla="*/ 721995 h 761047"/>
                <a:gd name="connsiteX10" fmla="*/ 232410 w 637222"/>
                <a:gd name="connsiteY10" fmla="*/ 707708 h 761047"/>
                <a:gd name="connsiteX11" fmla="*/ 255270 w 637222"/>
                <a:gd name="connsiteY11" fmla="*/ 700088 h 761047"/>
                <a:gd name="connsiteX12" fmla="*/ 279083 w 637222"/>
                <a:gd name="connsiteY12" fmla="*/ 703897 h 761047"/>
                <a:gd name="connsiteX13" fmla="*/ 299085 w 637222"/>
                <a:gd name="connsiteY13" fmla="*/ 713422 h 761047"/>
                <a:gd name="connsiteX14" fmla="*/ 322898 w 637222"/>
                <a:gd name="connsiteY14" fmla="*/ 708660 h 761047"/>
                <a:gd name="connsiteX15" fmla="*/ 340995 w 637222"/>
                <a:gd name="connsiteY15" fmla="*/ 719138 h 761047"/>
                <a:gd name="connsiteX16" fmla="*/ 341948 w 637222"/>
                <a:gd name="connsiteY16" fmla="*/ 732472 h 761047"/>
                <a:gd name="connsiteX17" fmla="*/ 361950 w 637222"/>
                <a:gd name="connsiteY17" fmla="*/ 754380 h 761047"/>
                <a:gd name="connsiteX18" fmla="*/ 372428 w 637222"/>
                <a:gd name="connsiteY18" fmla="*/ 741997 h 761047"/>
                <a:gd name="connsiteX19" fmla="*/ 382905 w 637222"/>
                <a:gd name="connsiteY19" fmla="*/ 740093 h 761047"/>
                <a:gd name="connsiteX20" fmla="*/ 410528 w 637222"/>
                <a:gd name="connsiteY20" fmla="*/ 711518 h 761047"/>
                <a:gd name="connsiteX21" fmla="*/ 415290 w 637222"/>
                <a:gd name="connsiteY21" fmla="*/ 689610 h 761047"/>
                <a:gd name="connsiteX22" fmla="*/ 412433 w 637222"/>
                <a:gd name="connsiteY22" fmla="*/ 670560 h 761047"/>
                <a:gd name="connsiteX23" fmla="*/ 436245 w 637222"/>
                <a:gd name="connsiteY23" fmla="*/ 662940 h 761047"/>
                <a:gd name="connsiteX24" fmla="*/ 446723 w 637222"/>
                <a:gd name="connsiteY24" fmla="*/ 634365 h 761047"/>
                <a:gd name="connsiteX25" fmla="*/ 420053 w 637222"/>
                <a:gd name="connsiteY25" fmla="*/ 607695 h 761047"/>
                <a:gd name="connsiteX26" fmla="*/ 423863 w 637222"/>
                <a:gd name="connsiteY26" fmla="*/ 572453 h 761047"/>
                <a:gd name="connsiteX27" fmla="*/ 430530 w 637222"/>
                <a:gd name="connsiteY27" fmla="*/ 556260 h 761047"/>
                <a:gd name="connsiteX28" fmla="*/ 447675 w 637222"/>
                <a:gd name="connsiteY28" fmla="*/ 547688 h 761047"/>
                <a:gd name="connsiteX29" fmla="*/ 456248 w 637222"/>
                <a:gd name="connsiteY29" fmla="*/ 527685 h 761047"/>
                <a:gd name="connsiteX30" fmla="*/ 455295 w 637222"/>
                <a:gd name="connsiteY30" fmla="*/ 505778 h 761047"/>
                <a:gd name="connsiteX31" fmla="*/ 463867 w 637222"/>
                <a:gd name="connsiteY31" fmla="*/ 496253 h 761047"/>
                <a:gd name="connsiteX32" fmla="*/ 474345 w 637222"/>
                <a:gd name="connsiteY32" fmla="*/ 509588 h 761047"/>
                <a:gd name="connsiteX33" fmla="*/ 481013 w 637222"/>
                <a:gd name="connsiteY33" fmla="*/ 503873 h 761047"/>
                <a:gd name="connsiteX34" fmla="*/ 495300 w 637222"/>
                <a:gd name="connsiteY34" fmla="*/ 513398 h 761047"/>
                <a:gd name="connsiteX35" fmla="*/ 513398 w 637222"/>
                <a:gd name="connsiteY35" fmla="*/ 487680 h 761047"/>
                <a:gd name="connsiteX36" fmla="*/ 534353 w 637222"/>
                <a:gd name="connsiteY36" fmla="*/ 452438 h 761047"/>
                <a:gd name="connsiteX37" fmla="*/ 513398 w 637222"/>
                <a:gd name="connsiteY37" fmla="*/ 385763 h 761047"/>
                <a:gd name="connsiteX38" fmla="*/ 539115 w 637222"/>
                <a:gd name="connsiteY38" fmla="*/ 360045 h 761047"/>
                <a:gd name="connsiteX39" fmla="*/ 549593 w 637222"/>
                <a:gd name="connsiteY39" fmla="*/ 309563 h 761047"/>
                <a:gd name="connsiteX40" fmla="*/ 577215 w 637222"/>
                <a:gd name="connsiteY40" fmla="*/ 281940 h 761047"/>
                <a:gd name="connsiteX41" fmla="*/ 611505 w 637222"/>
                <a:gd name="connsiteY41" fmla="*/ 271463 h 761047"/>
                <a:gd name="connsiteX42" fmla="*/ 631508 w 637222"/>
                <a:gd name="connsiteY42" fmla="*/ 227648 h 761047"/>
                <a:gd name="connsiteX43" fmla="*/ 637223 w 637222"/>
                <a:gd name="connsiteY43" fmla="*/ 196215 h 761047"/>
                <a:gd name="connsiteX44" fmla="*/ 617220 w 637222"/>
                <a:gd name="connsiteY44" fmla="*/ 176213 h 761047"/>
                <a:gd name="connsiteX45" fmla="*/ 632460 w 637222"/>
                <a:gd name="connsiteY45" fmla="*/ 160973 h 761047"/>
                <a:gd name="connsiteX46" fmla="*/ 631508 w 637222"/>
                <a:gd name="connsiteY46" fmla="*/ 124778 h 761047"/>
                <a:gd name="connsiteX47" fmla="*/ 614363 w 637222"/>
                <a:gd name="connsiteY47" fmla="*/ 125730 h 761047"/>
                <a:gd name="connsiteX48" fmla="*/ 599123 w 637222"/>
                <a:gd name="connsiteY48" fmla="*/ 117158 h 761047"/>
                <a:gd name="connsiteX49" fmla="*/ 575310 w 637222"/>
                <a:gd name="connsiteY49" fmla="*/ 122873 h 761047"/>
                <a:gd name="connsiteX50" fmla="*/ 560070 w 637222"/>
                <a:gd name="connsiteY50" fmla="*/ 107633 h 761047"/>
                <a:gd name="connsiteX51" fmla="*/ 567690 w 637222"/>
                <a:gd name="connsiteY51" fmla="*/ 86678 h 761047"/>
                <a:gd name="connsiteX52" fmla="*/ 570548 w 637222"/>
                <a:gd name="connsiteY52" fmla="*/ 61913 h 761047"/>
                <a:gd name="connsiteX53" fmla="*/ 502920 w 637222"/>
                <a:gd name="connsiteY53" fmla="*/ 0 h 761047"/>
                <a:gd name="connsiteX54" fmla="*/ 450533 w 637222"/>
                <a:gd name="connsiteY54" fmla="*/ 98108 h 761047"/>
                <a:gd name="connsiteX55" fmla="*/ 426720 w 637222"/>
                <a:gd name="connsiteY55" fmla="*/ 86678 h 761047"/>
                <a:gd name="connsiteX56" fmla="*/ 377190 w 637222"/>
                <a:gd name="connsiteY56" fmla="*/ 125730 h 761047"/>
                <a:gd name="connsiteX57" fmla="*/ 355283 w 637222"/>
                <a:gd name="connsiteY57" fmla="*/ 127635 h 761047"/>
                <a:gd name="connsiteX58" fmla="*/ 355283 w 637222"/>
                <a:gd name="connsiteY58" fmla="*/ 175260 h 761047"/>
                <a:gd name="connsiteX59" fmla="*/ 329565 w 637222"/>
                <a:gd name="connsiteY59" fmla="*/ 185738 h 761047"/>
                <a:gd name="connsiteX60" fmla="*/ 329565 w 637222"/>
                <a:gd name="connsiteY60" fmla="*/ 221933 h 761047"/>
                <a:gd name="connsiteX61" fmla="*/ 295275 w 637222"/>
                <a:gd name="connsiteY61" fmla="*/ 248603 h 761047"/>
                <a:gd name="connsiteX62" fmla="*/ 256223 w 637222"/>
                <a:gd name="connsiteY62" fmla="*/ 248603 h 761047"/>
                <a:gd name="connsiteX63" fmla="*/ 246698 w 637222"/>
                <a:gd name="connsiteY63" fmla="*/ 341948 h 761047"/>
                <a:gd name="connsiteX64" fmla="*/ 246698 w 637222"/>
                <a:gd name="connsiteY64" fmla="*/ 379095 h 761047"/>
                <a:gd name="connsiteX65" fmla="*/ 186690 w 637222"/>
                <a:gd name="connsiteY65" fmla="*/ 400050 h 761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637222" h="761047">
                  <a:moveTo>
                    <a:pt x="0" y="401003"/>
                  </a:moveTo>
                  <a:lnTo>
                    <a:pt x="0" y="442913"/>
                  </a:lnTo>
                  <a:lnTo>
                    <a:pt x="15240" y="495300"/>
                  </a:lnTo>
                  <a:lnTo>
                    <a:pt x="68580" y="649605"/>
                  </a:lnTo>
                  <a:lnTo>
                    <a:pt x="101917" y="664845"/>
                  </a:lnTo>
                  <a:lnTo>
                    <a:pt x="121920" y="701993"/>
                  </a:lnTo>
                  <a:lnTo>
                    <a:pt x="138113" y="761047"/>
                  </a:lnTo>
                  <a:lnTo>
                    <a:pt x="169545" y="743903"/>
                  </a:lnTo>
                  <a:lnTo>
                    <a:pt x="190500" y="713422"/>
                  </a:lnTo>
                  <a:lnTo>
                    <a:pt x="205740" y="721995"/>
                  </a:lnTo>
                  <a:lnTo>
                    <a:pt x="232410" y="707708"/>
                  </a:lnTo>
                  <a:lnTo>
                    <a:pt x="255270" y="700088"/>
                  </a:lnTo>
                  <a:lnTo>
                    <a:pt x="279083" y="703897"/>
                  </a:lnTo>
                  <a:lnTo>
                    <a:pt x="299085" y="713422"/>
                  </a:lnTo>
                  <a:lnTo>
                    <a:pt x="322898" y="708660"/>
                  </a:lnTo>
                  <a:lnTo>
                    <a:pt x="340995" y="719138"/>
                  </a:lnTo>
                  <a:lnTo>
                    <a:pt x="341948" y="732472"/>
                  </a:lnTo>
                  <a:lnTo>
                    <a:pt x="361950" y="754380"/>
                  </a:lnTo>
                  <a:lnTo>
                    <a:pt x="372428" y="741997"/>
                  </a:lnTo>
                  <a:lnTo>
                    <a:pt x="382905" y="740093"/>
                  </a:lnTo>
                  <a:lnTo>
                    <a:pt x="410528" y="711518"/>
                  </a:lnTo>
                  <a:lnTo>
                    <a:pt x="415290" y="689610"/>
                  </a:lnTo>
                  <a:lnTo>
                    <a:pt x="412433" y="670560"/>
                  </a:lnTo>
                  <a:lnTo>
                    <a:pt x="436245" y="662940"/>
                  </a:lnTo>
                  <a:lnTo>
                    <a:pt x="446723" y="634365"/>
                  </a:lnTo>
                  <a:lnTo>
                    <a:pt x="420053" y="607695"/>
                  </a:lnTo>
                  <a:lnTo>
                    <a:pt x="423863" y="572453"/>
                  </a:lnTo>
                  <a:lnTo>
                    <a:pt x="430530" y="556260"/>
                  </a:lnTo>
                  <a:lnTo>
                    <a:pt x="447675" y="547688"/>
                  </a:lnTo>
                  <a:lnTo>
                    <a:pt x="456248" y="527685"/>
                  </a:lnTo>
                  <a:lnTo>
                    <a:pt x="455295" y="505778"/>
                  </a:lnTo>
                  <a:lnTo>
                    <a:pt x="463867" y="496253"/>
                  </a:lnTo>
                  <a:lnTo>
                    <a:pt x="474345" y="509588"/>
                  </a:lnTo>
                  <a:lnTo>
                    <a:pt x="481013" y="503873"/>
                  </a:lnTo>
                  <a:lnTo>
                    <a:pt x="495300" y="513398"/>
                  </a:lnTo>
                  <a:lnTo>
                    <a:pt x="513398" y="487680"/>
                  </a:lnTo>
                  <a:lnTo>
                    <a:pt x="534353" y="452438"/>
                  </a:lnTo>
                  <a:lnTo>
                    <a:pt x="513398" y="385763"/>
                  </a:lnTo>
                  <a:lnTo>
                    <a:pt x="539115" y="360045"/>
                  </a:lnTo>
                  <a:lnTo>
                    <a:pt x="549593" y="309563"/>
                  </a:lnTo>
                  <a:lnTo>
                    <a:pt x="577215" y="281940"/>
                  </a:lnTo>
                  <a:lnTo>
                    <a:pt x="611505" y="271463"/>
                  </a:lnTo>
                  <a:lnTo>
                    <a:pt x="631508" y="227648"/>
                  </a:lnTo>
                  <a:lnTo>
                    <a:pt x="637223" y="196215"/>
                  </a:lnTo>
                  <a:lnTo>
                    <a:pt x="617220" y="176213"/>
                  </a:lnTo>
                  <a:lnTo>
                    <a:pt x="632460" y="160973"/>
                  </a:lnTo>
                  <a:lnTo>
                    <a:pt x="631508" y="124778"/>
                  </a:lnTo>
                  <a:lnTo>
                    <a:pt x="614363" y="125730"/>
                  </a:lnTo>
                  <a:lnTo>
                    <a:pt x="599123" y="117158"/>
                  </a:lnTo>
                  <a:lnTo>
                    <a:pt x="575310" y="122873"/>
                  </a:lnTo>
                  <a:lnTo>
                    <a:pt x="560070" y="107633"/>
                  </a:lnTo>
                  <a:lnTo>
                    <a:pt x="567690" y="86678"/>
                  </a:lnTo>
                  <a:lnTo>
                    <a:pt x="570548" y="61913"/>
                  </a:lnTo>
                  <a:lnTo>
                    <a:pt x="502920" y="0"/>
                  </a:lnTo>
                  <a:lnTo>
                    <a:pt x="450533" y="98108"/>
                  </a:lnTo>
                  <a:lnTo>
                    <a:pt x="426720" y="86678"/>
                  </a:lnTo>
                  <a:lnTo>
                    <a:pt x="377190" y="125730"/>
                  </a:lnTo>
                  <a:lnTo>
                    <a:pt x="355283" y="127635"/>
                  </a:lnTo>
                  <a:lnTo>
                    <a:pt x="355283" y="175260"/>
                  </a:lnTo>
                  <a:lnTo>
                    <a:pt x="329565" y="185738"/>
                  </a:lnTo>
                  <a:lnTo>
                    <a:pt x="329565" y="221933"/>
                  </a:lnTo>
                  <a:lnTo>
                    <a:pt x="295275" y="248603"/>
                  </a:lnTo>
                  <a:lnTo>
                    <a:pt x="256223" y="248603"/>
                  </a:lnTo>
                  <a:lnTo>
                    <a:pt x="246698" y="341948"/>
                  </a:lnTo>
                  <a:lnTo>
                    <a:pt x="246698" y="379095"/>
                  </a:lnTo>
                  <a:lnTo>
                    <a:pt x="186690" y="400050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0" name="Полилиния: фигура 166">
              <a:extLst>
                <a:ext uri="{FF2B5EF4-FFF2-40B4-BE49-F238E27FC236}">
                  <a16:creationId xmlns:a16="http://schemas.microsoft.com/office/drawing/2014/main" id="{3D177B75-1255-49ED-9E61-CCC5FC195F0E}"/>
                </a:ext>
              </a:extLst>
            </p:cNvPr>
            <p:cNvSpPr/>
            <p:nvPr/>
          </p:nvSpPr>
          <p:spPr>
            <a:xfrm>
              <a:off x="3090699" y="5155437"/>
              <a:ext cx="187317" cy="154936"/>
            </a:xfrm>
            <a:custGeom>
              <a:avLst/>
              <a:gdLst>
                <a:gd name="connsiteX0" fmla="*/ 162878 w 290512"/>
                <a:gd name="connsiteY0" fmla="*/ 41910 h 276225"/>
                <a:gd name="connsiteX1" fmla="*/ 89535 w 290512"/>
                <a:gd name="connsiteY1" fmla="*/ 0 h 276225"/>
                <a:gd name="connsiteX2" fmla="*/ 28575 w 290512"/>
                <a:gd name="connsiteY2" fmla="*/ 0 h 276225"/>
                <a:gd name="connsiteX3" fmla="*/ 9525 w 290512"/>
                <a:gd name="connsiteY3" fmla="*/ 20003 h 276225"/>
                <a:gd name="connsiteX4" fmla="*/ 39053 w 290512"/>
                <a:gd name="connsiteY4" fmla="*/ 75247 h 276225"/>
                <a:gd name="connsiteX5" fmla="*/ 85725 w 290512"/>
                <a:gd name="connsiteY5" fmla="*/ 104775 h 276225"/>
                <a:gd name="connsiteX6" fmla="*/ 48578 w 290512"/>
                <a:gd name="connsiteY6" fmla="*/ 156210 h 276225"/>
                <a:gd name="connsiteX7" fmla="*/ 0 w 290512"/>
                <a:gd name="connsiteY7" fmla="*/ 155257 h 276225"/>
                <a:gd name="connsiteX8" fmla="*/ 0 w 290512"/>
                <a:gd name="connsiteY8" fmla="*/ 194310 h 276225"/>
                <a:gd name="connsiteX9" fmla="*/ 36195 w 290512"/>
                <a:gd name="connsiteY9" fmla="*/ 221932 h 276225"/>
                <a:gd name="connsiteX10" fmla="*/ 104775 w 290512"/>
                <a:gd name="connsiteY10" fmla="*/ 214313 h 276225"/>
                <a:gd name="connsiteX11" fmla="*/ 160020 w 290512"/>
                <a:gd name="connsiteY11" fmla="*/ 251460 h 276225"/>
                <a:gd name="connsiteX12" fmla="*/ 233363 w 290512"/>
                <a:gd name="connsiteY12" fmla="*/ 276225 h 276225"/>
                <a:gd name="connsiteX13" fmla="*/ 290513 w 290512"/>
                <a:gd name="connsiteY13" fmla="*/ 268605 h 276225"/>
                <a:gd name="connsiteX14" fmla="*/ 277178 w 290512"/>
                <a:gd name="connsiteY14" fmla="*/ 221932 h 276225"/>
                <a:gd name="connsiteX15" fmla="*/ 199073 w 290512"/>
                <a:gd name="connsiteY15" fmla="*/ 194310 h 276225"/>
                <a:gd name="connsiteX16" fmla="*/ 226695 w 290512"/>
                <a:gd name="connsiteY16" fmla="*/ 84772 h 276225"/>
                <a:gd name="connsiteX17" fmla="*/ 207645 w 290512"/>
                <a:gd name="connsiteY17" fmla="*/ 31432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0512" h="276225">
                  <a:moveTo>
                    <a:pt x="162878" y="41910"/>
                  </a:moveTo>
                  <a:lnTo>
                    <a:pt x="89535" y="0"/>
                  </a:lnTo>
                  <a:lnTo>
                    <a:pt x="28575" y="0"/>
                  </a:lnTo>
                  <a:lnTo>
                    <a:pt x="9525" y="20003"/>
                  </a:lnTo>
                  <a:lnTo>
                    <a:pt x="39053" y="75247"/>
                  </a:lnTo>
                  <a:lnTo>
                    <a:pt x="85725" y="104775"/>
                  </a:lnTo>
                  <a:lnTo>
                    <a:pt x="48578" y="156210"/>
                  </a:lnTo>
                  <a:lnTo>
                    <a:pt x="0" y="155257"/>
                  </a:lnTo>
                  <a:lnTo>
                    <a:pt x="0" y="194310"/>
                  </a:lnTo>
                  <a:lnTo>
                    <a:pt x="36195" y="221932"/>
                  </a:lnTo>
                  <a:lnTo>
                    <a:pt x="104775" y="214313"/>
                  </a:lnTo>
                  <a:lnTo>
                    <a:pt x="160020" y="251460"/>
                  </a:lnTo>
                  <a:lnTo>
                    <a:pt x="233363" y="276225"/>
                  </a:lnTo>
                  <a:lnTo>
                    <a:pt x="290513" y="268605"/>
                  </a:lnTo>
                  <a:lnTo>
                    <a:pt x="277178" y="221932"/>
                  </a:lnTo>
                  <a:lnTo>
                    <a:pt x="199073" y="194310"/>
                  </a:lnTo>
                  <a:lnTo>
                    <a:pt x="226695" y="84772"/>
                  </a:lnTo>
                  <a:lnTo>
                    <a:pt x="207645" y="31432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1" name="Freeform: Shape 165">
              <a:extLst>
                <a:ext uri="{FF2B5EF4-FFF2-40B4-BE49-F238E27FC236}">
                  <a16:creationId xmlns:a16="http://schemas.microsoft.com/office/drawing/2014/main" id="{9CCB1133-2DF1-4798-9AA1-A035894BA3AD}"/>
                </a:ext>
              </a:extLst>
            </p:cNvPr>
            <p:cNvSpPr/>
            <p:nvPr/>
          </p:nvSpPr>
          <p:spPr>
            <a:xfrm>
              <a:off x="3510903" y="5110505"/>
              <a:ext cx="130508" cy="166263"/>
            </a:xfrm>
            <a:custGeom>
              <a:avLst/>
              <a:gdLst>
                <a:gd name="connsiteX0" fmla="*/ 101822 w 202406"/>
                <a:gd name="connsiteY0" fmla="*/ 10763 h 296418"/>
                <a:gd name="connsiteX1" fmla="*/ 89440 w 202406"/>
                <a:gd name="connsiteY1" fmla="*/ 20098 h 296418"/>
                <a:gd name="connsiteX2" fmla="*/ 82582 w 202406"/>
                <a:gd name="connsiteY2" fmla="*/ 31909 h 296418"/>
                <a:gd name="connsiteX3" fmla="*/ 70771 w 202406"/>
                <a:gd name="connsiteY3" fmla="*/ 35052 h 296418"/>
                <a:gd name="connsiteX4" fmla="*/ 65818 w 202406"/>
                <a:gd name="connsiteY4" fmla="*/ 43720 h 296418"/>
                <a:gd name="connsiteX5" fmla="*/ 54674 w 202406"/>
                <a:gd name="connsiteY5" fmla="*/ 43720 h 296418"/>
                <a:gd name="connsiteX6" fmla="*/ 46577 w 202406"/>
                <a:gd name="connsiteY6" fmla="*/ 58007 h 296418"/>
                <a:gd name="connsiteX7" fmla="*/ 41624 w 202406"/>
                <a:gd name="connsiteY7" fmla="*/ 87821 h 296418"/>
                <a:gd name="connsiteX8" fmla="*/ 26099 w 202406"/>
                <a:gd name="connsiteY8" fmla="*/ 100203 h 296418"/>
                <a:gd name="connsiteX9" fmla="*/ 34766 w 202406"/>
                <a:gd name="connsiteY9" fmla="*/ 110204 h 296418"/>
                <a:gd name="connsiteX10" fmla="*/ 32290 w 202406"/>
                <a:gd name="connsiteY10" fmla="*/ 123254 h 296418"/>
                <a:gd name="connsiteX11" fmla="*/ 11811 w 202406"/>
                <a:gd name="connsiteY11" fmla="*/ 142494 h 296418"/>
                <a:gd name="connsiteX12" fmla="*/ 4953 w 202406"/>
                <a:gd name="connsiteY12" fmla="*/ 156115 h 296418"/>
                <a:gd name="connsiteX13" fmla="*/ 9049 w 202406"/>
                <a:gd name="connsiteY13" fmla="*/ 166783 h 296418"/>
                <a:gd name="connsiteX14" fmla="*/ 4953 w 202406"/>
                <a:gd name="connsiteY14" fmla="*/ 175451 h 296418"/>
                <a:gd name="connsiteX15" fmla="*/ 0 w 202406"/>
                <a:gd name="connsiteY15" fmla="*/ 175451 h 296418"/>
                <a:gd name="connsiteX16" fmla="*/ 0 w 202406"/>
                <a:gd name="connsiteY16" fmla="*/ 182880 h 296418"/>
                <a:gd name="connsiteX17" fmla="*/ 7620 w 202406"/>
                <a:gd name="connsiteY17" fmla="*/ 190310 h 296418"/>
                <a:gd name="connsiteX18" fmla="*/ 0 w 202406"/>
                <a:gd name="connsiteY18" fmla="*/ 205835 h 296418"/>
                <a:gd name="connsiteX19" fmla="*/ 9049 w 202406"/>
                <a:gd name="connsiteY19" fmla="*/ 216408 h 296418"/>
                <a:gd name="connsiteX20" fmla="*/ 0 w 202406"/>
                <a:gd name="connsiteY20" fmla="*/ 224504 h 296418"/>
                <a:gd name="connsiteX21" fmla="*/ 11811 w 202406"/>
                <a:gd name="connsiteY21" fmla="*/ 235649 h 296418"/>
                <a:gd name="connsiteX22" fmla="*/ 9049 w 202406"/>
                <a:gd name="connsiteY22" fmla="*/ 243078 h 296418"/>
                <a:gd name="connsiteX23" fmla="*/ 0 w 202406"/>
                <a:gd name="connsiteY23" fmla="*/ 248603 h 296418"/>
                <a:gd name="connsiteX24" fmla="*/ 44291 w 202406"/>
                <a:gd name="connsiteY24" fmla="*/ 296418 h 296418"/>
                <a:gd name="connsiteX25" fmla="*/ 75343 w 202406"/>
                <a:gd name="connsiteY25" fmla="*/ 265367 h 296418"/>
                <a:gd name="connsiteX26" fmla="*/ 96583 w 202406"/>
                <a:gd name="connsiteY26" fmla="*/ 252698 h 296418"/>
                <a:gd name="connsiteX27" fmla="*/ 90869 w 202406"/>
                <a:gd name="connsiteY27" fmla="*/ 221647 h 296418"/>
                <a:gd name="connsiteX28" fmla="*/ 110681 w 202406"/>
                <a:gd name="connsiteY28" fmla="*/ 201835 h 296418"/>
                <a:gd name="connsiteX29" fmla="*/ 130397 w 202406"/>
                <a:gd name="connsiteY29" fmla="*/ 204692 h 296418"/>
                <a:gd name="connsiteX30" fmla="*/ 128969 w 202406"/>
                <a:gd name="connsiteY30" fmla="*/ 182118 h 296418"/>
                <a:gd name="connsiteX31" fmla="*/ 181261 w 202406"/>
                <a:gd name="connsiteY31" fmla="*/ 175070 h 296418"/>
                <a:gd name="connsiteX32" fmla="*/ 191072 w 202406"/>
                <a:gd name="connsiteY32" fmla="*/ 151067 h 296418"/>
                <a:gd name="connsiteX33" fmla="*/ 202406 w 202406"/>
                <a:gd name="connsiteY33" fmla="*/ 136970 h 296418"/>
                <a:gd name="connsiteX34" fmla="*/ 178403 w 202406"/>
                <a:gd name="connsiteY34" fmla="*/ 125635 h 296418"/>
                <a:gd name="connsiteX35" fmla="*/ 178403 w 202406"/>
                <a:gd name="connsiteY35" fmla="*/ 96012 h 296418"/>
                <a:gd name="connsiteX36" fmla="*/ 159925 w 202406"/>
                <a:gd name="connsiteY36" fmla="*/ 75248 h 296418"/>
                <a:gd name="connsiteX37" fmla="*/ 155829 w 202406"/>
                <a:gd name="connsiteY37" fmla="*/ 70580 h 296418"/>
                <a:gd name="connsiteX38" fmla="*/ 147352 w 202406"/>
                <a:gd name="connsiteY38" fmla="*/ 38100 h 296418"/>
                <a:gd name="connsiteX39" fmla="*/ 126206 w 202406"/>
                <a:gd name="connsiteY39" fmla="*/ 25432 h 296418"/>
                <a:gd name="connsiteX40" fmla="*/ 103632 w 202406"/>
                <a:gd name="connsiteY40" fmla="*/ 0 h 296418"/>
                <a:gd name="connsiteX41" fmla="*/ 101822 w 202406"/>
                <a:gd name="connsiteY41" fmla="*/ 10763 h 296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2406" h="296418">
                  <a:moveTo>
                    <a:pt x="101822" y="10763"/>
                  </a:moveTo>
                  <a:lnTo>
                    <a:pt x="89440" y="20098"/>
                  </a:lnTo>
                  <a:lnTo>
                    <a:pt x="82582" y="31909"/>
                  </a:lnTo>
                  <a:lnTo>
                    <a:pt x="70771" y="35052"/>
                  </a:lnTo>
                  <a:lnTo>
                    <a:pt x="65818" y="43720"/>
                  </a:lnTo>
                  <a:lnTo>
                    <a:pt x="54674" y="43720"/>
                  </a:lnTo>
                  <a:lnTo>
                    <a:pt x="46577" y="58007"/>
                  </a:lnTo>
                  <a:lnTo>
                    <a:pt x="41624" y="87821"/>
                  </a:lnTo>
                  <a:lnTo>
                    <a:pt x="26099" y="100203"/>
                  </a:lnTo>
                  <a:lnTo>
                    <a:pt x="34766" y="110204"/>
                  </a:lnTo>
                  <a:lnTo>
                    <a:pt x="32290" y="123254"/>
                  </a:lnTo>
                  <a:lnTo>
                    <a:pt x="11811" y="142494"/>
                  </a:lnTo>
                  <a:lnTo>
                    <a:pt x="4953" y="156115"/>
                  </a:lnTo>
                  <a:lnTo>
                    <a:pt x="9049" y="166783"/>
                  </a:lnTo>
                  <a:lnTo>
                    <a:pt x="4953" y="175451"/>
                  </a:lnTo>
                  <a:lnTo>
                    <a:pt x="0" y="175451"/>
                  </a:lnTo>
                  <a:lnTo>
                    <a:pt x="0" y="182880"/>
                  </a:lnTo>
                  <a:lnTo>
                    <a:pt x="7620" y="190310"/>
                  </a:lnTo>
                  <a:lnTo>
                    <a:pt x="0" y="205835"/>
                  </a:lnTo>
                  <a:lnTo>
                    <a:pt x="9049" y="216408"/>
                  </a:lnTo>
                  <a:lnTo>
                    <a:pt x="0" y="224504"/>
                  </a:lnTo>
                  <a:lnTo>
                    <a:pt x="11811" y="235649"/>
                  </a:lnTo>
                  <a:lnTo>
                    <a:pt x="9049" y="243078"/>
                  </a:lnTo>
                  <a:lnTo>
                    <a:pt x="0" y="248603"/>
                  </a:lnTo>
                  <a:lnTo>
                    <a:pt x="44291" y="296418"/>
                  </a:lnTo>
                  <a:lnTo>
                    <a:pt x="75343" y="265367"/>
                  </a:lnTo>
                  <a:lnTo>
                    <a:pt x="96583" y="252698"/>
                  </a:lnTo>
                  <a:lnTo>
                    <a:pt x="90869" y="221647"/>
                  </a:lnTo>
                  <a:lnTo>
                    <a:pt x="110681" y="201835"/>
                  </a:lnTo>
                  <a:lnTo>
                    <a:pt x="130397" y="204692"/>
                  </a:lnTo>
                  <a:lnTo>
                    <a:pt x="128969" y="182118"/>
                  </a:lnTo>
                  <a:lnTo>
                    <a:pt x="181261" y="175070"/>
                  </a:lnTo>
                  <a:lnTo>
                    <a:pt x="191072" y="151067"/>
                  </a:lnTo>
                  <a:lnTo>
                    <a:pt x="202406" y="136970"/>
                  </a:lnTo>
                  <a:lnTo>
                    <a:pt x="178403" y="125635"/>
                  </a:lnTo>
                  <a:lnTo>
                    <a:pt x="178403" y="96012"/>
                  </a:lnTo>
                  <a:lnTo>
                    <a:pt x="159925" y="75248"/>
                  </a:lnTo>
                  <a:lnTo>
                    <a:pt x="155829" y="70580"/>
                  </a:lnTo>
                  <a:lnTo>
                    <a:pt x="147352" y="38100"/>
                  </a:lnTo>
                  <a:lnTo>
                    <a:pt x="126206" y="25432"/>
                  </a:lnTo>
                  <a:lnTo>
                    <a:pt x="103632" y="0"/>
                  </a:lnTo>
                  <a:lnTo>
                    <a:pt x="101822" y="10763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2" name="Freeform: Shape 166">
              <a:extLst>
                <a:ext uri="{FF2B5EF4-FFF2-40B4-BE49-F238E27FC236}">
                  <a16:creationId xmlns:a16="http://schemas.microsoft.com/office/drawing/2014/main" id="{48C98739-0DAA-4AB3-8AA6-6F1167D49F65}"/>
                </a:ext>
              </a:extLst>
            </p:cNvPr>
            <p:cNvSpPr/>
            <p:nvPr/>
          </p:nvSpPr>
          <p:spPr>
            <a:xfrm>
              <a:off x="3378308" y="5133265"/>
              <a:ext cx="155012" cy="129238"/>
            </a:xfrm>
            <a:custGeom>
              <a:avLst/>
              <a:gdLst>
                <a:gd name="connsiteX0" fmla="*/ 231743 w 240410"/>
                <a:gd name="connsiteY0" fmla="*/ 59627 h 230409"/>
                <a:gd name="connsiteX1" fmla="*/ 219932 w 240410"/>
                <a:gd name="connsiteY1" fmla="*/ 55912 h 230409"/>
                <a:gd name="connsiteX2" fmla="*/ 213265 w 240410"/>
                <a:gd name="connsiteY2" fmla="*/ 49721 h 230409"/>
                <a:gd name="connsiteX3" fmla="*/ 213646 w 240410"/>
                <a:gd name="connsiteY3" fmla="*/ 41434 h 230409"/>
                <a:gd name="connsiteX4" fmla="*/ 210026 w 240410"/>
                <a:gd name="connsiteY4" fmla="*/ 34671 h 230409"/>
                <a:gd name="connsiteX5" fmla="*/ 213646 w 240410"/>
                <a:gd name="connsiteY5" fmla="*/ 26098 h 230409"/>
                <a:gd name="connsiteX6" fmla="*/ 205645 w 240410"/>
                <a:gd name="connsiteY6" fmla="*/ 26098 h 230409"/>
                <a:gd name="connsiteX7" fmla="*/ 210026 w 240410"/>
                <a:gd name="connsiteY7" fmla="*/ 11811 h 230409"/>
                <a:gd name="connsiteX8" fmla="*/ 193167 w 240410"/>
                <a:gd name="connsiteY8" fmla="*/ 11811 h 230409"/>
                <a:gd name="connsiteX9" fmla="*/ 187642 w 240410"/>
                <a:gd name="connsiteY9" fmla="*/ 19907 h 230409"/>
                <a:gd name="connsiteX10" fmla="*/ 166497 w 240410"/>
                <a:gd name="connsiteY10" fmla="*/ 18002 h 230409"/>
                <a:gd name="connsiteX11" fmla="*/ 157163 w 240410"/>
                <a:gd name="connsiteY11" fmla="*/ 21146 h 230409"/>
                <a:gd name="connsiteX12" fmla="*/ 157163 w 240410"/>
                <a:gd name="connsiteY12" fmla="*/ 11811 h 230409"/>
                <a:gd name="connsiteX13" fmla="*/ 149733 w 240410"/>
                <a:gd name="connsiteY13" fmla="*/ 6858 h 230409"/>
                <a:gd name="connsiteX14" fmla="*/ 143542 w 240410"/>
                <a:gd name="connsiteY14" fmla="*/ 6858 h 230409"/>
                <a:gd name="connsiteX15" fmla="*/ 143542 w 240410"/>
                <a:gd name="connsiteY15" fmla="*/ 0 h 230409"/>
                <a:gd name="connsiteX16" fmla="*/ 126778 w 240410"/>
                <a:gd name="connsiteY16" fmla="*/ 12478 h 230409"/>
                <a:gd name="connsiteX17" fmla="*/ 131064 w 240410"/>
                <a:gd name="connsiteY17" fmla="*/ 18669 h 230409"/>
                <a:gd name="connsiteX18" fmla="*/ 126778 w 240410"/>
                <a:gd name="connsiteY18" fmla="*/ 23622 h 230409"/>
                <a:gd name="connsiteX19" fmla="*/ 131731 w 240410"/>
                <a:gd name="connsiteY19" fmla="*/ 29813 h 230409"/>
                <a:gd name="connsiteX20" fmla="*/ 132302 w 240410"/>
                <a:gd name="connsiteY20" fmla="*/ 34671 h 230409"/>
                <a:gd name="connsiteX21" fmla="*/ 121729 w 240410"/>
                <a:gd name="connsiteY21" fmla="*/ 34671 h 230409"/>
                <a:gd name="connsiteX22" fmla="*/ 108109 w 240410"/>
                <a:gd name="connsiteY22" fmla="*/ 50387 h 230409"/>
                <a:gd name="connsiteX23" fmla="*/ 111823 w 240410"/>
                <a:gd name="connsiteY23" fmla="*/ 59627 h 230409"/>
                <a:gd name="connsiteX24" fmla="*/ 90488 w 240410"/>
                <a:gd name="connsiteY24" fmla="*/ 75152 h 230409"/>
                <a:gd name="connsiteX25" fmla="*/ 83248 w 240410"/>
                <a:gd name="connsiteY25" fmla="*/ 68390 h 230409"/>
                <a:gd name="connsiteX26" fmla="*/ 83248 w 240410"/>
                <a:gd name="connsiteY26" fmla="*/ 64008 h 230409"/>
                <a:gd name="connsiteX27" fmla="*/ 77629 w 240410"/>
                <a:gd name="connsiteY27" fmla="*/ 55912 h 230409"/>
                <a:gd name="connsiteX28" fmla="*/ 66484 w 240410"/>
                <a:gd name="connsiteY28" fmla="*/ 64008 h 230409"/>
                <a:gd name="connsiteX29" fmla="*/ 66484 w 240410"/>
                <a:gd name="connsiteY29" fmla="*/ 72676 h 230409"/>
                <a:gd name="connsiteX30" fmla="*/ 58388 w 240410"/>
                <a:gd name="connsiteY30" fmla="*/ 72676 h 230409"/>
                <a:gd name="connsiteX31" fmla="*/ 52197 w 240410"/>
                <a:gd name="connsiteY31" fmla="*/ 85725 h 230409"/>
                <a:gd name="connsiteX32" fmla="*/ 52197 w 240410"/>
                <a:gd name="connsiteY32" fmla="*/ 104394 h 230409"/>
                <a:gd name="connsiteX33" fmla="*/ 47815 w 240410"/>
                <a:gd name="connsiteY33" fmla="*/ 113062 h 230409"/>
                <a:gd name="connsiteX34" fmla="*/ 58388 w 240410"/>
                <a:gd name="connsiteY34" fmla="*/ 124873 h 230409"/>
                <a:gd name="connsiteX35" fmla="*/ 57150 w 240410"/>
                <a:gd name="connsiteY35" fmla="*/ 138779 h 230409"/>
                <a:gd name="connsiteX36" fmla="*/ 63341 w 240410"/>
                <a:gd name="connsiteY36" fmla="*/ 149733 h 230409"/>
                <a:gd name="connsiteX37" fmla="*/ 52197 w 240410"/>
                <a:gd name="connsiteY37" fmla="*/ 155924 h 230409"/>
                <a:gd name="connsiteX38" fmla="*/ 44767 w 240410"/>
                <a:gd name="connsiteY38" fmla="*/ 151638 h 230409"/>
                <a:gd name="connsiteX39" fmla="*/ 36671 w 240410"/>
                <a:gd name="connsiteY39" fmla="*/ 155924 h 230409"/>
                <a:gd name="connsiteX40" fmla="*/ 29242 w 240410"/>
                <a:gd name="connsiteY40" fmla="*/ 149162 h 230409"/>
                <a:gd name="connsiteX41" fmla="*/ 19050 w 240410"/>
                <a:gd name="connsiteY41" fmla="*/ 155924 h 230409"/>
                <a:gd name="connsiteX42" fmla="*/ 23622 w 240410"/>
                <a:gd name="connsiteY42" fmla="*/ 182499 h 230409"/>
                <a:gd name="connsiteX43" fmla="*/ 14288 w 240410"/>
                <a:gd name="connsiteY43" fmla="*/ 189452 h 230409"/>
                <a:gd name="connsiteX44" fmla="*/ 6858 w 240410"/>
                <a:gd name="connsiteY44" fmla="*/ 182499 h 230409"/>
                <a:gd name="connsiteX45" fmla="*/ 0 w 240410"/>
                <a:gd name="connsiteY45" fmla="*/ 189452 h 230409"/>
                <a:gd name="connsiteX46" fmla="*/ 24860 w 240410"/>
                <a:gd name="connsiteY46" fmla="*/ 197739 h 230409"/>
                <a:gd name="connsiteX47" fmla="*/ 26098 w 240410"/>
                <a:gd name="connsiteY47" fmla="*/ 205645 h 230409"/>
                <a:gd name="connsiteX48" fmla="*/ 52197 w 240410"/>
                <a:gd name="connsiteY48" fmla="*/ 197739 h 230409"/>
                <a:gd name="connsiteX49" fmla="*/ 60865 w 240410"/>
                <a:gd name="connsiteY49" fmla="*/ 202501 h 230409"/>
                <a:gd name="connsiteX50" fmla="*/ 60865 w 240410"/>
                <a:gd name="connsiteY50" fmla="*/ 210026 h 230409"/>
                <a:gd name="connsiteX51" fmla="*/ 68389 w 240410"/>
                <a:gd name="connsiteY51" fmla="*/ 215551 h 230409"/>
                <a:gd name="connsiteX52" fmla="*/ 73914 w 240410"/>
                <a:gd name="connsiteY52" fmla="*/ 213074 h 230409"/>
                <a:gd name="connsiteX53" fmla="*/ 90488 w 240410"/>
                <a:gd name="connsiteY53" fmla="*/ 230410 h 230409"/>
                <a:gd name="connsiteX54" fmla="*/ 111633 w 240410"/>
                <a:gd name="connsiteY54" fmla="*/ 207836 h 230409"/>
                <a:gd name="connsiteX55" fmla="*/ 142685 w 240410"/>
                <a:gd name="connsiteY55" fmla="*/ 193739 h 230409"/>
                <a:gd name="connsiteX56" fmla="*/ 169545 w 240410"/>
                <a:gd name="connsiteY56" fmla="*/ 204978 h 230409"/>
                <a:gd name="connsiteX57" fmla="*/ 193548 w 240410"/>
                <a:gd name="connsiteY57" fmla="*/ 195167 h 230409"/>
                <a:gd name="connsiteX58" fmla="*/ 205645 w 240410"/>
                <a:gd name="connsiteY58" fmla="*/ 208026 h 230409"/>
                <a:gd name="connsiteX59" fmla="*/ 214693 w 240410"/>
                <a:gd name="connsiteY59" fmla="*/ 202501 h 230409"/>
                <a:gd name="connsiteX60" fmla="*/ 217456 w 240410"/>
                <a:gd name="connsiteY60" fmla="*/ 195072 h 230409"/>
                <a:gd name="connsiteX61" fmla="*/ 205645 w 240410"/>
                <a:gd name="connsiteY61" fmla="*/ 183928 h 230409"/>
                <a:gd name="connsiteX62" fmla="*/ 214693 w 240410"/>
                <a:gd name="connsiteY62" fmla="*/ 175831 h 230409"/>
                <a:gd name="connsiteX63" fmla="*/ 205645 w 240410"/>
                <a:gd name="connsiteY63" fmla="*/ 165259 h 230409"/>
                <a:gd name="connsiteX64" fmla="*/ 213265 w 240410"/>
                <a:gd name="connsiteY64" fmla="*/ 149733 h 230409"/>
                <a:gd name="connsiteX65" fmla="*/ 205645 w 240410"/>
                <a:gd name="connsiteY65" fmla="*/ 142304 h 230409"/>
                <a:gd name="connsiteX66" fmla="*/ 205645 w 240410"/>
                <a:gd name="connsiteY66" fmla="*/ 134874 h 230409"/>
                <a:gd name="connsiteX67" fmla="*/ 210598 w 240410"/>
                <a:gd name="connsiteY67" fmla="*/ 134874 h 230409"/>
                <a:gd name="connsiteX68" fmla="*/ 214693 w 240410"/>
                <a:gd name="connsiteY68" fmla="*/ 126206 h 230409"/>
                <a:gd name="connsiteX69" fmla="*/ 210598 w 240410"/>
                <a:gd name="connsiteY69" fmla="*/ 115538 h 230409"/>
                <a:gd name="connsiteX70" fmla="*/ 217456 w 240410"/>
                <a:gd name="connsiteY70" fmla="*/ 101918 h 230409"/>
                <a:gd name="connsiteX71" fmla="*/ 237935 w 240410"/>
                <a:gd name="connsiteY71" fmla="*/ 82677 h 230409"/>
                <a:gd name="connsiteX72" fmla="*/ 240411 w 240410"/>
                <a:gd name="connsiteY72" fmla="*/ 69628 h 230409"/>
                <a:gd name="connsiteX73" fmla="*/ 231743 w 240410"/>
                <a:gd name="connsiteY73" fmla="*/ 59627 h 230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240410" h="230409">
                  <a:moveTo>
                    <a:pt x="231743" y="59627"/>
                  </a:moveTo>
                  <a:lnTo>
                    <a:pt x="219932" y="55912"/>
                  </a:lnTo>
                  <a:lnTo>
                    <a:pt x="213265" y="49721"/>
                  </a:lnTo>
                  <a:lnTo>
                    <a:pt x="213646" y="41434"/>
                  </a:lnTo>
                  <a:lnTo>
                    <a:pt x="210026" y="34671"/>
                  </a:lnTo>
                  <a:lnTo>
                    <a:pt x="213646" y="26098"/>
                  </a:lnTo>
                  <a:lnTo>
                    <a:pt x="205645" y="26098"/>
                  </a:lnTo>
                  <a:lnTo>
                    <a:pt x="210026" y="11811"/>
                  </a:lnTo>
                  <a:lnTo>
                    <a:pt x="193167" y="11811"/>
                  </a:lnTo>
                  <a:lnTo>
                    <a:pt x="187642" y="19907"/>
                  </a:lnTo>
                  <a:lnTo>
                    <a:pt x="166497" y="18002"/>
                  </a:lnTo>
                  <a:lnTo>
                    <a:pt x="157163" y="21146"/>
                  </a:lnTo>
                  <a:lnTo>
                    <a:pt x="157163" y="11811"/>
                  </a:lnTo>
                  <a:lnTo>
                    <a:pt x="149733" y="6858"/>
                  </a:lnTo>
                  <a:lnTo>
                    <a:pt x="143542" y="6858"/>
                  </a:lnTo>
                  <a:lnTo>
                    <a:pt x="143542" y="0"/>
                  </a:lnTo>
                  <a:lnTo>
                    <a:pt x="126778" y="12478"/>
                  </a:lnTo>
                  <a:lnTo>
                    <a:pt x="131064" y="18669"/>
                  </a:lnTo>
                  <a:lnTo>
                    <a:pt x="126778" y="23622"/>
                  </a:lnTo>
                  <a:lnTo>
                    <a:pt x="131731" y="29813"/>
                  </a:lnTo>
                  <a:lnTo>
                    <a:pt x="132302" y="34671"/>
                  </a:lnTo>
                  <a:lnTo>
                    <a:pt x="121729" y="34671"/>
                  </a:lnTo>
                  <a:lnTo>
                    <a:pt x="108109" y="50387"/>
                  </a:lnTo>
                  <a:lnTo>
                    <a:pt x="111823" y="59627"/>
                  </a:lnTo>
                  <a:lnTo>
                    <a:pt x="90488" y="75152"/>
                  </a:lnTo>
                  <a:lnTo>
                    <a:pt x="83248" y="68390"/>
                  </a:lnTo>
                  <a:lnTo>
                    <a:pt x="83248" y="64008"/>
                  </a:lnTo>
                  <a:lnTo>
                    <a:pt x="77629" y="55912"/>
                  </a:lnTo>
                  <a:lnTo>
                    <a:pt x="66484" y="64008"/>
                  </a:lnTo>
                  <a:lnTo>
                    <a:pt x="66484" y="72676"/>
                  </a:lnTo>
                  <a:lnTo>
                    <a:pt x="58388" y="72676"/>
                  </a:lnTo>
                  <a:lnTo>
                    <a:pt x="52197" y="85725"/>
                  </a:lnTo>
                  <a:lnTo>
                    <a:pt x="52197" y="104394"/>
                  </a:lnTo>
                  <a:lnTo>
                    <a:pt x="47815" y="113062"/>
                  </a:lnTo>
                  <a:lnTo>
                    <a:pt x="58388" y="124873"/>
                  </a:lnTo>
                  <a:lnTo>
                    <a:pt x="57150" y="138779"/>
                  </a:lnTo>
                  <a:lnTo>
                    <a:pt x="63341" y="149733"/>
                  </a:lnTo>
                  <a:lnTo>
                    <a:pt x="52197" y="155924"/>
                  </a:lnTo>
                  <a:lnTo>
                    <a:pt x="44767" y="151638"/>
                  </a:lnTo>
                  <a:lnTo>
                    <a:pt x="36671" y="155924"/>
                  </a:lnTo>
                  <a:lnTo>
                    <a:pt x="29242" y="149162"/>
                  </a:lnTo>
                  <a:lnTo>
                    <a:pt x="19050" y="155924"/>
                  </a:lnTo>
                  <a:lnTo>
                    <a:pt x="23622" y="182499"/>
                  </a:lnTo>
                  <a:lnTo>
                    <a:pt x="14288" y="189452"/>
                  </a:lnTo>
                  <a:lnTo>
                    <a:pt x="6858" y="182499"/>
                  </a:lnTo>
                  <a:lnTo>
                    <a:pt x="0" y="189452"/>
                  </a:lnTo>
                  <a:lnTo>
                    <a:pt x="24860" y="197739"/>
                  </a:lnTo>
                  <a:lnTo>
                    <a:pt x="26098" y="205645"/>
                  </a:lnTo>
                  <a:lnTo>
                    <a:pt x="52197" y="197739"/>
                  </a:lnTo>
                  <a:lnTo>
                    <a:pt x="60865" y="202501"/>
                  </a:lnTo>
                  <a:lnTo>
                    <a:pt x="60865" y="210026"/>
                  </a:lnTo>
                  <a:lnTo>
                    <a:pt x="68389" y="215551"/>
                  </a:lnTo>
                  <a:lnTo>
                    <a:pt x="73914" y="213074"/>
                  </a:lnTo>
                  <a:lnTo>
                    <a:pt x="90488" y="230410"/>
                  </a:lnTo>
                  <a:lnTo>
                    <a:pt x="111633" y="207836"/>
                  </a:lnTo>
                  <a:lnTo>
                    <a:pt x="142685" y="193739"/>
                  </a:lnTo>
                  <a:lnTo>
                    <a:pt x="169545" y="204978"/>
                  </a:lnTo>
                  <a:lnTo>
                    <a:pt x="193548" y="195167"/>
                  </a:lnTo>
                  <a:lnTo>
                    <a:pt x="205645" y="208026"/>
                  </a:lnTo>
                  <a:lnTo>
                    <a:pt x="214693" y="202501"/>
                  </a:lnTo>
                  <a:lnTo>
                    <a:pt x="217456" y="195072"/>
                  </a:lnTo>
                  <a:lnTo>
                    <a:pt x="205645" y="183928"/>
                  </a:lnTo>
                  <a:lnTo>
                    <a:pt x="214693" y="175831"/>
                  </a:lnTo>
                  <a:lnTo>
                    <a:pt x="205645" y="165259"/>
                  </a:lnTo>
                  <a:lnTo>
                    <a:pt x="213265" y="149733"/>
                  </a:lnTo>
                  <a:lnTo>
                    <a:pt x="205645" y="142304"/>
                  </a:lnTo>
                  <a:lnTo>
                    <a:pt x="205645" y="134874"/>
                  </a:lnTo>
                  <a:lnTo>
                    <a:pt x="210598" y="134874"/>
                  </a:lnTo>
                  <a:lnTo>
                    <a:pt x="214693" y="126206"/>
                  </a:lnTo>
                  <a:lnTo>
                    <a:pt x="210598" y="115538"/>
                  </a:lnTo>
                  <a:lnTo>
                    <a:pt x="217456" y="101918"/>
                  </a:lnTo>
                  <a:lnTo>
                    <a:pt x="237935" y="82677"/>
                  </a:lnTo>
                  <a:lnTo>
                    <a:pt x="240411" y="69628"/>
                  </a:lnTo>
                  <a:lnTo>
                    <a:pt x="231743" y="59627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3" name="Freeform: Shape 167">
              <a:extLst>
                <a:ext uri="{FF2B5EF4-FFF2-40B4-BE49-F238E27FC236}">
                  <a16:creationId xmlns:a16="http://schemas.microsoft.com/office/drawing/2014/main" id="{685B4F3C-AB87-46CE-8997-E1603F83EB42}"/>
                </a:ext>
              </a:extLst>
            </p:cNvPr>
            <p:cNvSpPr/>
            <p:nvPr/>
          </p:nvSpPr>
          <p:spPr>
            <a:xfrm>
              <a:off x="3274699" y="5110505"/>
              <a:ext cx="144450" cy="131161"/>
            </a:xfrm>
            <a:custGeom>
              <a:avLst/>
              <a:gdLst>
                <a:gd name="connsiteX0" fmla="*/ 160687 w 224028"/>
                <a:gd name="connsiteY0" fmla="*/ 230029 h 233838"/>
                <a:gd name="connsiteX1" fmla="*/ 150781 w 224028"/>
                <a:gd name="connsiteY1" fmla="*/ 230029 h 233838"/>
                <a:gd name="connsiteX2" fmla="*/ 141446 w 224028"/>
                <a:gd name="connsiteY2" fmla="*/ 233839 h 233838"/>
                <a:gd name="connsiteX3" fmla="*/ 141446 w 224028"/>
                <a:gd name="connsiteY3" fmla="*/ 223076 h 233838"/>
                <a:gd name="connsiteX4" fmla="*/ 119729 w 224028"/>
                <a:gd name="connsiteY4" fmla="*/ 213265 h 233838"/>
                <a:gd name="connsiteX5" fmla="*/ 99251 w 224028"/>
                <a:gd name="connsiteY5" fmla="*/ 215741 h 233838"/>
                <a:gd name="connsiteX6" fmla="*/ 99251 w 224028"/>
                <a:gd name="connsiteY6" fmla="*/ 207074 h 233838"/>
                <a:gd name="connsiteX7" fmla="*/ 78677 w 224028"/>
                <a:gd name="connsiteY7" fmla="*/ 186595 h 233838"/>
                <a:gd name="connsiteX8" fmla="*/ 19050 w 224028"/>
                <a:gd name="connsiteY8" fmla="*/ 186595 h 233838"/>
                <a:gd name="connsiteX9" fmla="*/ 16574 w 224028"/>
                <a:gd name="connsiteY9" fmla="*/ 179356 h 233838"/>
                <a:gd name="connsiteX10" fmla="*/ 19717 w 224028"/>
                <a:gd name="connsiteY10" fmla="*/ 170402 h 233838"/>
                <a:gd name="connsiteX11" fmla="*/ 11621 w 224028"/>
                <a:gd name="connsiteY11" fmla="*/ 173546 h 233838"/>
                <a:gd name="connsiteX12" fmla="*/ 0 w 224028"/>
                <a:gd name="connsiteY12" fmla="*/ 173546 h 233838"/>
                <a:gd name="connsiteX13" fmla="*/ 11621 w 224028"/>
                <a:gd name="connsiteY13" fmla="*/ 155829 h 233838"/>
                <a:gd name="connsiteX14" fmla="*/ 6953 w 224028"/>
                <a:gd name="connsiteY14" fmla="*/ 148209 h 233838"/>
                <a:gd name="connsiteX15" fmla="*/ 0 w 224028"/>
                <a:gd name="connsiteY15" fmla="*/ 128207 h 233838"/>
                <a:gd name="connsiteX16" fmla="*/ 6953 w 224028"/>
                <a:gd name="connsiteY16" fmla="*/ 122587 h 233838"/>
                <a:gd name="connsiteX17" fmla="*/ 3524 w 224028"/>
                <a:gd name="connsiteY17" fmla="*/ 113252 h 233838"/>
                <a:gd name="connsiteX18" fmla="*/ 22193 w 224028"/>
                <a:gd name="connsiteY18" fmla="*/ 113252 h 233838"/>
                <a:gd name="connsiteX19" fmla="*/ 27146 w 224028"/>
                <a:gd name="connsiteY19" fmla="*/ 100203 h 233838"/>
                <a:gd name="connsiteX20" fmla="*/ 23432 w 224028"/>
                <a:gd name="connsiteY20" fmla="*/ 87154 h 233838"/>
                <a:gd name="connsiteX21" fmla="*/ 31528 w 224028"/>
                <a:gd name="connsiteY21" fmla="*/ 82010 h 233838"/>
                <a:gd name="connsiteX22" fmla="*/ 34004 w 224028"/>
                <a:gd name="connsiteY22" fmla="*/ 65437 h 233838"/>
                <a:gd name="connsiteX23" fmla="*/ 45815 w 224028"/>
                <a:gd name="connsiteY23" fmla="*/ 54864 h 233838"/>
                <a:gd name="connsiteX24" fmla="*/ 47054 w 224028"/>
                <a:gd name="connsiteY24" fmla="*/ 46863 h 233838"/>
                <a:gd name="connsiteX25" fmla="*/ 37719 w 224028"/>
                <a:gd name="connsiteY25" fmla="*/ 46863 h 233838"/>
                <a:gd name="connsiteX26" fmla="*/ 35243 w 224028"/>
                <a:gd name="connsiteY26" fmla="*/ 37529 h 233838"/>
                <a:gd name="connsiteX27" fmla="*/ 44577 w 224028"/>
                <a:gd name="connsiteY27" fmla="*/ 28766 h 233838"/>
                <a:gd name="connsiteX28" fmla="*/ 46387 w 224028"/>
                <a:gd name="connsiteY28" fmla="*/ 18860 h 233838"/>
                <a:gd name="connsiteX29" fmla="*/ 71247 w 224028"/>
                <a:gd name="connsiteY29" fmla="*/ 30004 h 233838"/>
                <a:gd name="connsiteX30" fmla="*/ 76867 w 224028"/>
                <a:gd name="connsiteY30" fmla="*/ 37529 h 233838"/>
                <a:gd name="connsiteX31" fmla="*/ 94202 w 224028"/>
                <a:gd name="connsiteY31" fmla="*/ 53626 h 233838"/>
                <a:gd name="connsiteX32" fmla="*/ 109156 w 224028"/>
                <a:gd name="connsiteY32" fmla="*/ 40577 h 233838"/>
                <a:gd name="connsiteX33" fmla="*/ 107918 w 224028"/>
                <a:gd name="connsiteY33" fmla="*/ 32576 h 233838"/>
                <a:gd name="connsiteX34" fmla="*/ 116586 w 224028"/>
                <a:gd name="connsiteY34" fmla="*/ 26956 h 233838"/>
                <a:gd name="connsiteX35" fmla="*/ 112871 w 224028"/>
                <a:gd name="connsiteY35" fmla="*/ 22574 h 233838"/>
                <a:gd name="connsiteX36" fmla="*/ 116015 w 224028"/>
                <a:gd name="connsiteY36" fmla="*/ 18860 h 233838"/>
                <a:gd name="connsiteX37" fmla="*/ 125921 w 224028"/>
                <a:gd name="connsiteY37" fmla="*/ 18860 h 233838"/>
                <a:gd name="connsiteX38" fmla="*/ 124682 w 224028"/>
                <a:gd name="connsiteY38" fmla="*/ 10763 h 233838"/>
                <a:gd name="connsiteX39" fmla="*/ 130302 w 224028"/>
                <a:gd name="connsiteY39" fmla="*/ 5239 h 233838"/>
                <a:gd name="connsiteX40" fmla="*/ 136493 w 224028"/>
                <a:gd name="connsiteY40" fmla="*/ 0 h 233838"/>
                <a:gd name="connsiteX41" fmla="*/ 141446 w 224028"/>
                <a:gd name="connsiteY41" fmla="*/ 7049 h 233838"/>
                <a:gd name="connsiteX42" fmla="*/ 147542 w 224028"/>
                <a:gd name="connsiteY42" fmla="*/ 10763 h 233838"/>
                <a:gd name="connsiteX43" fmla="*/ 160687 w 224028"/>
                <a:gd name="connsiteY43" fmla="*/ 22574 h 233838"/>
                <a:gd name="connsiteX44" fmla="*/ 170021 w 224028"/>
                <a:gd name="connsiteY44" fmla="*/ 30004 h 233838"/>
                <a:gd name="connsiteX45" fmla="*/ 170021 w 224028"/>
                <a:gd name="connsiteY45" fmla="*/ 40577 h 233838"/>
                <a:gd name="connsiteX46" fmla="*/ 187452 w 224028"/>
                <a:gd name="connsiteY46" fmla="*/ 43720 h 233838"/>
                <a:gd name="connsiteX47" fmla="*/ 191167 w 224028"/>
                <a:gd name="connsiteY47" fmla="*/ 56102 h 233838"/>
                <a:gd name="connsiteX48" fmla="*/ 201740 w 224028"/>
                <a:gd name="connsiteY48" fmla="*/ 60484 h 233838"/>
                <a:gd name="connsiteX49" fmla="*/ 197358 w 224028"/>
                <a:gd name="connsiteY49" fmla="*/ 66104 h 233838"/>
                <a:gd name="connsiteX50" fmla="*/ 201740 w 224028"/>
                <a:gd name="connsiteY50" fmla="*/ 72295 h 233838"/>
                <a:gd name="connsiteX51" fmla="*/ 196120 w 224028"/>
                <a:gd name="connsiteY51" fmla="*/ 75248 h 233838"/>
                <a:gd name="connsiteX52" fmla="*/ 195453 w 224028"/>
                <a:gd name="connsiteY52" fmla="*/ 86582 h 233838"/>
                <a:gd name="connsiteX53" fmla="*/ 190500 w 224028"/>
                <a:gd name="connsiteY53" fmla="*/ 90964 h 233838"/>
                <a:gd name="connsiteX54" fmla="*/ 185547 w 224028"/>
                <a:gd name="connsiteY54" fmla="*/ 92774 h 233838"/>
                <a:gd name="connsiteX55" fmla="*/ 194881 w 224028"/>
                <a:gd name="connsiteY55" fmla="*/ 97155 h 233838"/>
                <a:gd name="connsiteX56" fmla="*/ 195453 w 224028"/>
                <a:gd name="connsiteY56" fmla="*/ 105251 h 233838"/>
                <a:gd name="connsiteX57" fmla="*/ 201740 w 224028"/>
                <a:gd name="connsiteY57" fmla="*/ 107728 h 233838"/>
                <a:gd name="connsiteX58" fmla="*/ 208502 w 224028"/>
                <a:gd name="connsiteY58" fmla="*/ 116967 h 233838"/>
                <a:gd name="connsiteX59" fmla="*/ 219075 w 224028"/>
                <a:gd name="connsiteY59" fmla="*/ 113252 h 233838"/>
                <a:gd name="connsiteX60" fmla="*/ 212884 w 224028"/>
                <a:gd name="connsiteY60" fmla="*/ 126302 h 233838"/>
                <a:gd name="connsiteX61" fmla="*/ 212884 w 224028"/>
                <a:gd name="connsiteY61" fmla="*/ 144971 h 233838"/>
                <a:gd name="connsiteX62" fmla="*/ 208502 w 224028"/>
                <a:gd name="connsiteY62" fmla="*/ 153638 h 233838"/>
                <a:gd name="connsiteX63" fmla="*/ 219075 w 224028"/>
                <a:gd name="connsiteY63" fmla="*/ 165449 h 233838"/>
                <a:gd name="connsiteX64" fmla="*/ 217837 w 224028"/>
                <a:gd name="connsiteY64" fmla="*/ 179356 h 233838"/>
                <a:gd name="connsiteX65" fmla="*/ 224028 w 224028"/>
                <a:gd name="connsiteY65" fmla="*/ 190310 h 233838"/>
                <a:gd name="connsiteX66" fmla="*/ 212884 w 224028"/>
                <a:gd name="connsiteY66" fmla="*/ 196501 h 233838"/>
                <a:gd name="connsiteX67" fmla="*/ 205454 w 224028"/>
                <a:gd name="connsiteY67" fmla="*/ 192215 h 233838"/>
                <a:gd name="connsiteX68" fmla="*/ 197358 w 224028"/>
                <a:gd name="connsiteY68" fmla="*/ 196501 h 233838"/>
                <a:gd name="connsiteX69" fmla="*/ 189929 w 224028"/>
                <a:gd name="connsiteY69" fmla="*/ 189738 h 233838"/>
                <a:gd name="connsiteX70" fmla="*/ 179737 w 224028"/>
                <a:gd name="connsiteY70" fmla="*/ 196501 h 233838"/>
                <a:gd name="connsiteX71" fmla="*/ 184309 w 224028"/>
                <a:gd name="connsiteY71" fmla="*/ 223076 h 233838"/>
                <a:gd name="connsiteX72" fmla="*/ 174974 w 224028"/>
                <a:gd name="connsiteY72" fmla="*/ 230029 h 233838"/>
                <a:gd name="connsiteX73" fmla="*/ 167545 w 224028"/>
                <a:gd name="connsiteY73" fmla="*/ 223076 h 233838"/>
                <a:gd name="connsiteX74" fmla="*/ 160687 w 224028"/>
                <a:gd name="connsiteY74" fmla="*/ 230029 h 233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224028" h="233838">
                  <a:moveTo>
                    <a:pt x="160687" y="230029"/>
                  </a:moveTo>
                  <a:lnTo>
                    <a:pt x="150781" y="230029"/>
                  </a:lnTo>
                  <a:lnTo>
                    <a:pt x="141446" y="233839"/>
                  </a:lnTo>
                  <a:lnTo>
                    <a:pt x="141446" y="223076"/>
                  </a:lnTo>
                  <a:lnTo>
                    <a:pt x="119729" y="213265"/>
                  </a:lnTo>
                  <a:lnTo>
                    <a:pt x="99251" y="215741"/>
                  </a:lnTo>
                  <a:lnTo>
                    <a:pt x="99251" y="207074"/>
                  </a:lnTo>
                  <a:lnTo>
                    <a:pt x="78677" y="186595"/>
                  </a:lnTo>
                  <a:lnTo>
                    <a:pt x="19050" y="186595"/>
                  </a:lnTo>
                  <a:lnTo>
                    <a:pt x="16574" y="179356"/>
                  </a:lnTo>
                  <a:lnTo>
                    <a:pt x="19717" y="170402"/>
                  </a:lnTo>
                  <a:lnTo>
                    <a:pt x="11621" y="173546"/>
                  </a:lnTo>
                  <a:lnTo>
                    <a:pt x="0" y="173546"/>
                  </a:lnTo>
                  <a:lnTo>
                    <a:pt x="11621" y="155829"/>
                  </a:lnTo>
                  <a:lnTo>
                    <a:pt x="6953" y="148209"/>
                  </a:lnTo>
                  <a:lnTo>
                    <a:pt x="0" y="128207"/>
                  </a:lnTo>
                  <a:lnTo>
                    <a:pt x="6953" y="122587"/>
                  </a:lnTo>
                  <a:lnTo>
                    <a:pt x="3524" y="113252"/>
                  </a:lnTo>
                  <a:lnTo>
                    <a:pt x="22193" y="113252"/>
                  </a:lnTo>
                  <a:lnTo>
                    <a:pt x="27146" y="100203"/>
                  </a:lnTo>
                  <a:lnTo>
                    <a:pt x="23432" y="87154"/>
                  </a:lnTo>
                  <a:lnTo>
                    <a:pt x="31528" y="82010"/>
                  </a:lnTo>
                  <a:lnTo>
                    <a:pt x="34004" y="65437"/>
                  </a:lnTo>
                  <a:lnTo>
                    <a:pt x="45815" y="54864"/>
                  </a:lnTo>
                  <a:lnTo>
                    <a:pt x="47054" y="46863"/>
                  </a:lnTo>
                  <a:lnTo>
                    <a:pt x="37719" y="46863"/>
                  </a:lnTo>
                  <a:lnTo>
                    <a:pt x="35243" y="37529"/>
                  </a:lnTo>
                  <a:lnTo>
                    <a:pt x="44577" y="28766"/>
                  </a:lnTo>
                  <a:lnTo>
                    <a:pt x="46387" y="18860"/>
                  </a:lnTo>
                  <a:lnTo>
                    <a:pt x="71247" y="30004"/>
                  </a:lnTo>
                  <a:lnTo>
                    <a:pt x="76867" y="37529"/>
                  </a:lnTo>
                  <a:lnTo>
                    <a:pt x="94202" y="53626"/>
                  </a:lnTo>
                  <a:lnTo>
                    <a:pt x="109156" y="40577"/>
                  </a:lnTo>
                  <a:lnTo>
                    <a:pt x="107918" y="32576"/>
                  </a:lnTo>
                  <a:lnTo>
                    <a:pt x="116586" y="26956"/>
                  </a:lnTo>
                  <a:lnTo>
                    <a:pt x="112871" y="22574"/>
                  </a:lnTo>
                  <a:lnTo>
                    <a:pt x="116015" y="18860"/>
                  </a:lnTo>
                  <a:lnTo>
                    <a:pt x="125921" y="18860"/>
                  </a:lnTo>
                  <a:lnTo>
                    <a:pt x="124682" y="10763"/>
                  </a:lnTo>
                  <a:lnTo>
                    <a:pt x="130302" y="5239"/>
                  </a:lnTo>
                  <a:lnTo>
                    <a:pt x="136493" y="0"/>
                  </a:lnTo>
                  <a:lnTo>
                    <a:pt x="141446" y="7049"/>
                  </a:lnTo>
                  <a:lnTo>
                    <a:pt x="147542" y="10763"/>
                  </a:lnTo>
                  <a:lnTo>
                    <a:pt x="160687" y="22574"/>
                  </a:lnTo>
                  <a:lnTo>
                    <a:pt x="170021" y="30004"/>
                  </a:lnTo>
                  <a:lnTo>
                    <a:pt x="170021" y="40577"/>
                  </a:lnTo>
                  <a:lnTo>
                    <a:pt x="187452" y="43720"/>
                  </a:lnTo>
                  <a:lnTo>
                    <a:pt x="191167" y="56102"/>
                  </a:lnTo>
                  <a:lnTo>
                    <a:pt x="201740" y="60484"/>
                  </a:lnTo>
                  <a:lnTo>
                    <a:pt x="197358" y="66104"/>
                  </a:lnTo>
                  <a:lnTo>
                    <a:pt x="201740" y="72295"/>
                  </a:lnTo>
                  <a:lnTo>
                    <a:pt x="196120" y="75248"/>
                  </a:lnTo>
                  <a:lnTo>
                    <a:pt x="195453" y="86582"/>
                  </a:lnTo>
                  <a:lnTo>
                    <a:pt x="190500" y="90964"/>
                  </a:lnTo>
                  <a:lnTo>
                    <a:pt x="185547" y="92774"/>
                  </a:lnTo>
                  <a:lnTo>
                    <a:pt x="194881" y="97155"/>
                  </a:lnTo>
                  <a:lnTo>
                    <a:pt x="195453" y="105251"/>
                  </a:lnTo>
                  <a:lnTo>
                    <a:pt x="201740" y="107728"/>
                  </a:lnTo>
                  <a:lnTo>
                    <a:pt x="208502" y="116967"/>
                  </a:lnTo>
                  <a:lnTo>
                    <a:pt x="219075" y="113252"/>
                  </a:lnTo>
                  <a:lnTo>
                    <a:pt x="212884" y="126302"/>
                  </a:lnTo>
                  <a:lnTo>
                    <a:pt x="212884" y="144971"/>
                  </a:lnTo>
                  <a:lnTo>
                    <a:pt x="208502" y="153638"/>
                  </a:lnTo>
                  <a:lnTo>
                    <a:pt x="219075" y="165449"/>
                  </a:lnTo>
                  <a:lnTo>
                    <a:pt x="217837" y="179356"/>
                  </a:lnTo>
                  <a:lnTo>
                    <a:pt x="224028" y="190310"/>
                  </a:lnTo>
                  <a:lnTo>
                    <a:pt x="212884" y="196501"/>
                  </a:lnTo>
                  <a:lnTo>
                    <a:pt x="205454" y="192215"/>
                  </a:lnTo>
                  <a:lnTo>
                    <a:pt x="197358" y="196501"/>
                  </a:lnTo>
                  <a:lnTo>
                    <a:pt x="189929" y="189738"/>
                  </a:lnTo>
                  <a:lnTo>
                    <a:pt x="179737" y="196501"/>
                  </a:lnTo>
                  <a:lnTo>
                    <a:pt x="184309" y="223076"/>
                  </a:lnTo>
                  <a:lnTo>
                    <a:pt x="174974" y="230029"/>
                  </a:lnTo>
                  <a:lnTo>
                    <a:pt x="167545" y="223076"/>
                  </a:lnTo>
                  <a:lnTo>
                    <a:pt x="160687" y="230029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4" name="Freeform: Shape 168">
              <a:extLst>
                <a:ext uri="{FF2B5EF4-FFF2-40B4-BE49-F238E27FC236}">
                  <a16:creationId xmlns:a16="http://schemas.microsoft.com/office/drawing/2014/main" id="{DC3BD626-C514-460E-8391-B64997485A3B}"/>
                </a:ext>
              </a:extLst>
            </p:cNvPr>
            <p:cNvSpPr/>
            <p:nvPr/>
          </p:nvSpPr>
          <p:spPr>
            <a:xfrm>
              <a:off x="3144805" y="5079197"/>
              <a:ext cx="160233" cy="133780"/>
            </a:xfrm>
            <a:custGeom>
              <a:avLst/>
              <a:gdLst>
                <a:gd name="connsiteX0" fmla="*/ 247841 w 248507"/>
                <a:gd name="connsiteY0" fmla="*/ 74676 h 238506"/>
                <a:gd name="connsiteX1" fmla="*/ 246031 w 248507"/>
                <a:gd name="connsiteY1" fmla="*/ 84582 h 238506"/>
                <a:gd name="connsiteX2" fmla="*/ 236696 w 248507"/>
                <a:gd name="connsiteY2" fmla="*/ 93345 h 238506"/>
                <a:gd name="connsiteX3" fmla="*/ 239173 w 248507"/>
                <a:gd name="connsiteY3" fmla="*/ 102680 h 238506"/>
                <a:gd name="connsiteX4" fmla="*/ 248507 w 248507"/>
                <a:gd name="connsiteY4" fmla="*/ 102680 h 238506"/>
                <a:gd name="connsiteX5" fmla="*/ 247269 w 248507"/>
                <a:gd name="connsiteY5" fmla="*/ 110681 h 238506"/>
                <a:gd name="connsiteX6" fmla="*/ 235458 w 248507"/>
                <a:gd name="connsiteY6" fmla="*/ 121253 h 238506"/>
                <a:gd name="connsiteX7" fmla="*/ 232982 w 248507"/>
                <a:gd name="connsiteY7" fmla="*/ 137827 h 238506"/>
                <a:gd name="connsiteX8" fmla="*/ 224885 w 248507"/>
                <a:gd name="connsiteY8" fmla="*/ 142970 h 238506"/>
                <a:gd name="connsiteX9" fmla="*/ 228600 w 248507"/>
                <a:gd name="connsiteY9" fmla="*/ 156020 h 238506"/>
                <a:gd name="connsiteX10" fmla="*/ 223647 w 248507"/>
                <a:gd name="connsiteY10" fmla="*/ 169069 h 238506"/>
                <a:gd name="connsiteX11" fmla="*/ 204978 w 248507"/>
                <a:gd name="connsiteY11" fmla="*/ 169069 h 238506"/>
                <a:gd name="connsiteX12" fmla="*/ 208407 w 248507"/>
                <a:gd name="connsiteY12" fmla="*/ 178403 h 238506"/>
                <a:gd name="connsiteX13" fmla="*/ 201454 w 248507"/>
                <a:gd name="connsiteY13" fmla="*/ 184023 h 238506"/>
                <a:gd name="connsiteX14" fmla="*/ 208407 w 248507"/>
                <a:gd name="connsiteY14" fmla="*/ 204026 h 238506"/>
                <a:gd name="connsiteX15" fmla="*/ 213074 w 248507"/>
                <a:gd name="connsiteY15" fmla="*/ 211646 h 238506"/>
                <a:gd name="connsiteX16" fmla="*/ 201454 w 248507"/>
                <a:gd name="connsiteY16" fmla="*/ 229362 h 238506"/>
                <a:gd name="connsiteX17" fmla="*/ 187738 w 248507"/>
                <a:gd name="connsiteY17" fmla="*/ 226886 h 238506"/>
                <a:gd name="connsiteX18" fmla="*/ 187738 w 248507"/>
                <a:gd name="connsiteY18" fmla="*/ 220313 h 238506"/>
                <a:gd name="connsiteX19" fmla="*/ 179832 w 248507"/>
                <a:gd name="connsiteY19" fmla="*/ 222218 h 238506"/>
                <a:gd name="connsiteX20" fmla="*/ 174212 w 248507"/>
                <a:gd name="connsiteY20" fmla="*/ 229362 h 238506"/>
                <a:gd name="connsiteX21" fmla="*/ 164497 w 248507"/>
                <a:gd name="connsiteY21" fmla="*/ 238506 h 238506"/>
                <a:gd name="connsiteX22" fmla="*/ 156972 w 248507"/>
                <a:gd name="connsiteY22" fmla="*/ 238506 h 238506"/>
                <a:gd name="connsiteX23" fmla="*/ 156972 w 248507"/>
                <a:gd name="connsiteY23" fmla="*/ 232505 h 238506"/>
                <a:gd name="connsiteX24" fmla="*/ 166783 w 248507"/>
                <a:gd name="connsiteY24" fmla="*/ 225457 h 238506"/>
                <a:gd name="connsiteX25" fmla="*/ 169164 w 248507"/>
                <a:gd name="connsiteY25" fmla="*/ 218980 h 238506"/>
                <a:gd name="connsiteX26" fmla="*/ 158877 w 248507"/>
                <a:gd name="connsiteY26" fmla="*/ 211646 h 238506"/>
                <a:gd name="connsiteX27" fmla="*/ 151924 w 248507"/>
                <a:gd name="connsiteY27" fmla="*/ 222218 h 238506"/>
                <a:gd name="connsiteX28" fmla="*/ 144875 w 248507"/>
                <a:gd name="connsiteY28" fmla="*/ 215265 h 238506"/>
                <a:gd name="connsiteX29" fmla="*/ 149066 w 248507"/>
                <a:gd name="connsiteY29" fmla="*/ 211646 h 238506"/>
                <a:gd name="connsiteX30" fmla="*/ 148590 w 248507"/>
                <a:gd name="connsiteY30" fmla="*/ 196120 h 238506"/>
                <a:gd name="connsiteX31" fmla="*/ 139732 w 248507"/>
                <a:gd name="connsiteY31" fmla="*/ 196120 h 238506"/>
                <a:gd name="connsiteX32" fmla="*/ 144875 w 248507"/>
                <a:gd name="connsiteY32" fmla="*/ 175165 h 238506"/>
                <a:gd name="connsiteX33" fmla="*/ 134207 w 248507"/>
                <a:gd name="connsiteY33" fmla="*/ 178403 h 238506"/>
                <a:gd name="connsiteX34" fmla="*/ 129921 w 248507"/>
                <a:gd name="connsiteY34" fmla="*/ 181261 h 238506"/>
                <a:gd name="connsiteX35" fmla="*/ 125635 w 248507"/>
                <a:gd name="connsiteY35" fmla="*/ 168783 h 238506"/>
                <a:gd name="connsiteX36" fmla="*/ 125635 w 248507"/>
                <a:gd name="connsiteY36" fmla="*/ 164878 h 238506"/>
                <a:gd name="connsiteX37" fmla="*/ 117919 w 248507"/>
                <a:gd name="connsiteY37" fmla="*/ 163068 h 238506"/>
                <a:gd name="connsiteX38" fmla="*/ 117919 w 248507"/>
                <a:gd name="connsiteY38" fmla="*/ 152305 h 238506"/>
                <a:gd name="connsiteX39" fmla="*/ 109061 w 248507"/>
                <a:gd name="connsiteY39" fmla="*/ 156591 h 238506"/>
                <a:gd name="connsiteX40" fmla="*/ 91345 w 248507"/>
                <a:gd name="connsiteY40" fmla="*/ 154210 h 238506"/>
                <a:gd name="connsiteX41" fmla="*/ 79629 w 248507"/>
                <a:gd name="connsiteY41" fmla="*/ 153734 h 238506"/>
                <a:gd name="connsiteX42" fmla="*/ 79629 w 248507"/>
                <a:gd name="connsiteY42" fmla="*/ 147257 h 238506"/>
                <a:gd name="connsiteX43" fmla="*/ 74105 w 248507"/>
                <a:gd name="connsiteY43" fmla="*/ 137827 h 238506"/>
                <a:gd name="connsiteX44" fmla="*/ 83439 w 248507"/>
                <a:gd name="connsiteY44" fmla="*/ 126683 h 238506"/>
                <a:gd name="connsiteX45" fmla="*/ 67056 w 248507"/>
                <a:gd name="connsiteY45" fmla="*/ 126683 h 238506"/>
                <a:gd name="connsiteX46" fmla="*/ 67056 w 248507"/>
                <a:gd name="connsiteY46" fmla="*/ 120206 h 238506"/>
                <a:gd name="connsiteX47" fmla="*/ 58198 w 248507"/>
                <a:gd name="connsiteY47" fmla="*/ 121539 h 238506"/>
                <a:gd name="connsiteX48" fmla="*/ 36767 w 248507"/>
                <a:gd name="connsiteY48" fmla="*/ 96393 h 238506"/>
                <a:gd name="connsiteX49" fmla="*/ 27527 w 248507"/>
                <a:gd name="connsiteY49" fmla="*/ 93631 h 238506"/>
                <a:gd name="connsiteX50" fmla="*/ 15812 w 248507"/>
                <a:gd name="connsiteY50" fmla="*/ 84296 h 238506"/>
                <a:gd name="connsiteX51" fmla="*/ 20955 w 248507"/>
                <a:gd name="connsiteY51" fmla="*/ 72676 h 238506"/>
                <a:gd name="connsiteX52" fmla="*/ 15812 w 248507"/>
                <a:gd name="connsiteY52" fmla="*/ 66580 h 238506"/>
                <a:gd name="connsiteX53" fmla="*/ 18193 w 248507"/>
                <a:gd name="connsiteY53" fmla="*/ 55816 h 238506"/>
                <a:gd name="connsiteX54" fmla="*/ 8382 w 248507"/>
                <a:gd name="connsiteY54" fmla="*/ 47054 h 238506"/>
                <a:gd name="connsiteX55" fmla="*/ 0 w 248507"/>
                <a:gd name="connsiteY55" fmla="*/ 37243 h 238506"/>
                <a:gd name="connsiteX56" fmla="*/ 3238 w 248507"/>
                <a:gd name="connsiteY56" fmla="*/ 32099 h 238506"/>
                <a:gd name="connsiteX57" fmla="*/ 9811 w 248507"/>
                <a:gd name="connsiteY57" fmla="*/ 32099 h 238506"/>
                <a:gd name="connsiteX58" fmla="*/ 16764 w 248507"/>
                <a:gd name="connsiteY58" fmla="*/ 41434 h 238506"/>
                <a:gd name="connsiteX59" fmla="*/ 21431 w 248507"/>
                <a:gd name="connsiteY59" fmla="*/ 46101 h 238506"/>
                <a:gd name="connsiteX60" fmla="*/ 28004 w 248507"/>
                <a:gd name="connsiteY60" fmla="*/ 46101 h 238506"/>
                <a:gd name="connsiteX61" fmla="*/ 33528 w 248507"/>
                <a:gd name="connsiteY61" fmla="*/ 40481 h 238506"/>
                <a:gd name="connsiteX62" fmla="*/ 28861 w 248507"/>
                <a:gd name="connsiteY62" fmla="*/ 32099 h 238506"/>
                <a:gd name="connsiteX63" fmla="*/ 22860 w 248507"/>
                <a:gd name="connsiteY63" fmla="*/ 27432 h 238506"/>
                <a:gd name="connsiteX64" fmla="*/ 21431 w 248507"/>
                <a:gd name="connsiteY64" fmla="*/ 19526 h 238506"/>
                <a:gd name="connsiteX65" fmla="*/ 8382 w 248507"/>
                <a:gd name="connsiteY65" fmla="*/ 14859 h 238506"/>
                <a:gd name="connsiteX66" fmla="*/ 9335 w 248507"/>
                <a:gd name="connsiteY66" fmla="*/ 0 h 238506"/>
                <a:gd name="connsiteX67" fmla="*/ 20479 w 248507"/>
                <a:gd name="connsiteY67" fmla="*/ 5143 h 238506"/>
                <a:gd name="connsiteX68" fmla="*/ 28385 w 248507"/>
                <a:gd name="connsiteY68" fmla="*/ 18669 h 238506"/>
                <a:gd name="connsiteX69" fmla="*/ 34957 w 248507"/>
                <a:gd name="connsiteY69" fmla="*/ 29337 h 238506"/>
                <a:gd name="connsiteX70" fmla="*/ 41910 w 248507"/>
                <a:gd name="connsiteY70" fmla="*/ 38672 h 238506"/>
                <a:gd name="connsiteX71" fmla="*/ 48006 w 248507"/>
                <a:gd name="connsiteY71" fmla="*/ 43339 h 238506"/>
                <a:gd name="connsiteX72" fmla="*/ 49816 w 248507"/>
                <a:gd name="connsiteY72" fmla="*/ 50292 h 238506"/>
                <a:gd name="connsiteX73" fmla="*/ 51721 w 248507"/>
                <a:gd name="connsiteY73" fmla="*/ 58198 h 238506"/>
                <a:gd name="connsiteX74" fmla="*/ 67056 w 248507"/>
                <a:gd name="connsiteY74" fmla="*/ 55816 h 238506"/>
                <a:gd name="connsiteX75" fmla="*/ 60579 w 248507"/>
                <a:gd name="connsiteY75" fmla="*/ 47054 h 238506"/>
                <a:gd name="connsiteX76" fmla="*/ 56864 w 248507"/>
                <a:gd name="connsiteY76" fmla="*/ 41434 h 238506"/>
                <a:gd name="connsiteX77" fmla="*/ 60103 w 248507"/>
                <a:gd name="connsiteY77" fmla="*/ 38195 h 238506"/>
                <a:gd name="connsiteX78" fmla="*/ 48959 w 248507"/>
                <a:gd name="connsiteY78" fmla="*/ 30290 h 238506"/>
                <a:gd name="connsiteX79" fmla="*/ 47530 w 248507"/>
                <a:gd name="connsiteY79" fmla="*/ 16288 h 238506"/>
                <a:gd name="connsiteX80" fmla="*/ 51245 w 248507"/>
                <a:gd name="connsiteY80" fmla="*/ 8858 h 238506"/>
                <a:gd name="connsiteX81" fmla="*/ 63151 w 248507"/>
                <a:gd name="connsiteY81" fmla="*/ 20479 h 238506"/>
                <a:gd name="connsiteX82" fmla="*/ 72676 w 248507"/>
                <a:gd name="connsiteY82" fmla="*/ 17240 h 238506"/>
                <a:gd name="connsiteX83" fmla="*/ 74581 w 248507"/>
                <a:gd name="connsiteY83" fmla="*/ 29337 h 238506"/>
                <a:gd name="connsiteX84" fmla="*/ 81058 w 248507"/>
                <a:gd name="connsiteY84" fmla="*/ 24670 h 238506"/>
                <a:gd name="connsiteX85" fmla="*/ 89916 w 248507"/>
                <a:gd name="connsiteY85" fmla="*/ 34004 h 238506"/>
                <a:gd name="connsiteX86" fmla="*/ 95060 w 248507"/>
                <a:gd name="connsiteY86" fmla="*/ 31242 h 238506"/>
                <a:gd name="connsiteX87" fmla="*/ 104870 w 248507"/>
                <a:gd name="connsiteY87" fmla="*/ 39148 h 238506"/>
                <a:gd name="connsiteX88" fmla="*/ 101060 w 248507"/>
                <a:gd name="connsiteY88" fmla="*/ 48863 h 238506"/>
                <a:gd name="connsiteX89" fmla="*/ 109442 w 248507"/>
                <a:gd name="connsiteY89" fmla="*/ 51245 h 238506"/>
                <a:gd name="connsiteX90" fmla="*/ 116015 w 248507"/>
                <a:gd name="connsiteY90" fmla="*/ 47054 h 238506"/>
                <a:gd name="connsiteX91" fmla="*/ 124206 w 248507"/>
                <a:gd name="connsiteY91" fmla="*/ 55816 h 238506"/>
                <a:gd name="connsiteX92" fmla="*/ 127540 w 248507"/>
                <a:gd name="connsiteY92" fmla="*/ 48482 h 238506"/>
                <a:gd name="connsiteX93" fmla="*/ 136493 w 248507"/>
                <a:gd name="connsiteY93" fmla="*/ 51721 h 238506"/>
                <a:gd name="connsiteX94" fmla="*/ 138398 w 248507"/>
                <a:gd name="connsiteY94" fmla="*/ 44291 h 238506"/>
                <a:gd name="connsiteX95" fmla="*/ 135160 w 248507"/>
                <a:gd name="connsiteY95" fmla="*/ 31623 h 238506"/>
                <a:gd name="connsiteX96" fmla="*/ 146304 w 248507"/>
                <a:gd name="connsiteY96" fmla="*/ 28861 h 238506"/>
                <a:gd name="connsiteX97" fmla="*/ 157448 w 248507"/>
                <a:gd name="connsiteY97" fmla="*/ 35814 h 238506"/>
                <a:gd name="connsiteX98" fmla="*/ 171926 w 248507"/>
                <a:gd name="connsiteY98" fmla="*/ 21431 h 238506"/>
                <a:gd name="connsiteX99" fmla="*/ 173355 w 248507"/>
                <a:gd name="connsiteY99" fmla="*/ 11621 h 238506"/>
                <a:gd name="connsiteX100" fmla="*/ 178403 w 248507"/>
                <a:gd name="connsiteY100" fmla="*/ 16764 h 238506"/>
                <a:gd name="connsiteX101" fmla="*/ 188214 w 248507"/>
                <a:gd name="connsiteY101" fmla="*/ 7429 h 238506"/>
                <a:gd name="connsiteX102" fmla="*/ 189643 w 248507"/>
                <a:gd name="connsiteY102" fmla="*/ 0 h 238506"/>
                <a:gd name="connsiteX103" fmla="*/ 201454 w 248507"/>
                <a:gd name="connsiteY103" fmla="*/ 16764 h 238506"/>
                <a:gd name="connsiteX104" fmla="*/ 193834 w 248507"/>
                <a:gd name="connsiteY104" fmla="*/ 25146 h 238506"/>
                <a:gd name="connsiteX105" fmla="*/ 214789 w 248507"/>
                <a:gd name="connsiteY105" fmla="*/ 27051 h 238506"/>
                <a:gd name="connsiteX106" fmla="*/ 214789 w 248507"/>
                <a:gd name="connsiteY106" fmla="*/ 43339 h 238506"/>
                <a:gd name="connsiteX107" fmla="*/ 232982 w 248507"/>
                <a:gd name="connsiteY107" fmla="*/ 55816 h 238506"/>
                <a:gd name="connsiteX108" fmla="*/ 241840 w 248507"/>
                <a:gd name="connsiteY108" fmla="*/ 62865 h 238506"/>
                <a:gd name="connsiteX109" fmla="*/ 247841 w 248507"/>
                <a:gd name="connsiteY109" fmla="*/ 74676 h 238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248507" h="238506">
                  <a:moveTo>
                    <a:pt x="247841" y="74676"/>
                  </a:moveTo>
                  <a:lnTo>
                    <a:pt x="246031" y="84582"/>
                  </a:lnTo>
                  <a:lnTo>
                    <a:pt x="236696" y="93345"/>
                  </a:lnTo>
                  <a:lnTo>
                    <a:pt x="239173" y="102680"/>
                  </a:lnTo>
                  <a:lnTo>
                    <a:pt x="248507" y="102680"/>
                  </a:lnTo>
                  <a:lnTo>
                    <a:pt x="247269" y="110681"/>
                  </a:lnTo>
                  <a:lnTo>
                    <a:pt x="235458" y="121253"/>
                  </a:lnTo>
                  <a:lnTo>
                    <a:pt x="232982" y="137827"/>
                  </a:lnTo>
                  <a:lnTo>
                    <a:pt x="224885" y="142970"/>
                  </a:lnTo>
                  <a:lnTo>
                    <a:pt x="228600" y="156020"/>
                  </a:lnTo>
                  <a:lnTo>
                    <a:pt x="223647" y="169069"/>
                  </a:lnTo>
                  <a:lnTo>
                    <a:pt x="204978" y="169069"/>
                  </a:lnTo>
                  <a:lnTo>
                    <a:pt x="208407" y="178403"/>
                  </a:lnTo>
                  <a:lnTo>
                    <a:pt x="201454" y="184023"/>
                  </a:lnTo>
                  <a:lnTo>
                    <a:pt x="208407" y="204026"/>
                  </a:lnTo>
                  <a:lnTo>
                    <a:pt x="213074" y="211646"/>
                  </a:lnTo>
                  <a:lnTo>
                    <a:pt x="201454" y="229362"/>
                  </a:lnTo>
                  <a:lnTo>
                    <a:pt x="187738" y="226886"/>
                  </a:lnTo>
                  <a:lnTo>
                    <a:pt x="187738" y="220313"/>
                  </a:lnTo>
                  <a:lnTo>
                    <a:pt x="179832" y="222218"/>
                  </a:lnTo>
                  <a:lnTo>
                    <a:pt x="174212" y="229362"/>
                  </a:lnTo>
                  <a:lnTo>
                    <a:pt x="164497" y="238506"/>
                  </a:lnTo>
                  <a:lnTo>
                    <a:pt x="156972" y="238506"/>
                  </a:lnTo>
                  <a:lnTo>
                    <a:pt x="156972" y="232505"/>
                  </a:lnTo>
                  <a:lnTo>
                    <a:pt x="166783" y="225457"/>
                  </a:lnTo>
                  <a:lnTo>
                    <a:pt x="169164" y="218980"/>
                  </a:lnTo>
                  <a:lnTo>
                    <a:pt x="158877" y="211646"/>
                  </a:lnTo>
                  <a:lnTo>
                    <a:pt x="151924" y="222218"/>
                  </a:lnTo>
                  <a:lnTo>
                    <a:pt x="144875" y="215265"/>
                  </a:lnTo>
                  <a:lnTo>
                    <a:pt x="149066" y="211646"/>
                  </a:lnTo>
                  <a:lnTo>
                    <a:pt x="148590" y="196120"/>
                  </a:lnTo>
                  <a:lnTo>
                    <a:pt x="139732" y="196120"/>
                  </a:lnTo>
                  <a:lnTo>
                    <a:pt x="144875" y="175165"/>
                  </a:lnTo>
                  <a:lnTo>
                    <a:pt x="134207" y="178403"/>
                  </a:lnTo>
                  <a:lnTo>
                    <a:pt x="129921" y="181261"/>
                  </a:lnTo>
                  <a:lnTo>
                    <a:pt x="125635" y="168783"/>
                  </a:lnTo>
                  <a:lnTo>
                    <a:pt x="125635" y="164878"/>
                  </a:lnTo>
                  <a:lnTo>
                    <a:pt x="117919" y="163068"/>
                  </a:lnTo>
                  <a:lnTo>
                    <a:pt x="117919" y="152305"/>
                  </a:lnTo>
                  <a:lnTo>
                    <a:pt x="109061" y="156591"/>
                  </a:lnTo>
                  <a:lnTo>
                    <a:pt x="91345" y="154210"/>
                  </a:lnTo>
                  <a:lnTo>
                    <a:pt x="79629" y="153734"/>
                  </a:lnTo>
                  <a:lnTo>
                    <a:pt x="79629" y="147257"/>
                  </a:lnTo>
                  <a:lnTo>
                    <a:pt x="74105" y="137827"/>
                  </a:lnTo>
                  <a:lnTo>
                    <a:pt x="83439" y="126683"/>
                  </a:lnTo>
                  <a:lnTo>
                    <a:pt x="67056" y="126683"/>
                  </a:lnTo>
                  <a:lnTo>
                    <a:pt x="67056" y="120206"/>
                  </a:lnTo>
                  <a:lnTo>
                    <a:pt x="58198" y="121539"/>
                  </a:lnTo>
                  <a:lnTo>
                    <a:pt x="36767" y="96393"/>
                  </a:lnTo>
                  <a:lnTo>
                    <a:pt x="27527" y="93631"/>
                  </a:lnTo>
                  <a:lnTo>
                    <a:pt x="15812" y="84296"/>
                  </a:lnTo>
                  <a:lnTo>
                    <a:pt x="20955" y="72676"/>
                  </a:lnTo>
                  <a:lnTo>
                    <a:pt x="15812" y="66580"/>
                  </a:lnTo>
                  <a:lnTo>
                    <a:pt x="18193" y="55816"/>
                  </a:lnTo>
                  <a:lnTo>
                    <a:pt x="8382" y="47054"/>
                  </a:lnTo>
                  <a:lnTo>
                    <a:pt x="0" y="37243"/>
                  </a:lnTo>
                  <a:lnTo>
                    <a:pt x="3238" y="32099"/>
                  </a:lnTo>
                  <a:lnTo>
                    <a:pt x="9811" y="32099"/>
                  </a:lnTo>
                  <a:lnTo>
                    <a:pt x="16764" y="41434"/>
                  </a:lnTo>
                  <a:lnTo>
                    <a:pt x="21431" y="46101"/>
                  </a:lnTo>
                  <a:lnTo>
                    <a:pt x="28004" y="46101"/>
                  </a:lnTo>
                  <a:lnTo>
                    <a:pt x="33528" y="40481"/>
                  </a:lnTo>
                  <a:lnTo>
                    <a:pt x="28861" y="32099"/>
                  </a:lnTo>
                  <a:lnTo>
                    <a:pt x="22860" y="27432"/>
                  </a:lnTo>
                  <a:lnTo>
                    <a:pt x="21431" y="19526"/>
                  </a:lnTo>
                  <a:lnTo>
                    <a:pt x="8382" y="14859"/>
                  </a:lnTo>
                  <a:lnTo>
                    <a:pt x="9335" y="0"/>
                  </a:lnTo>
                  <a:lnTo>
                    <a:pt x="20479" y="5143"/>
                  </a:lnTo>
                  <a:lnTo>
                    <a:pt x="28385" y="18669"/>
                  </a:lnTo>
                  <a:lnTo>
                    <a:pt x="34957" y="29337"/>
                  </a:lnTo>
                  <a:lnTo>
                    <a:pt x="41910" y="38672"/>
                  </a:lnTo>
                  <a:lnTo>
                    <a:pt x="48006" y="43339"/>
                  </a:lnTo>
                  <a:lnTo>
                    <a:pt x="49816" y="50292"/>
                  </a:lnTo>
                  <a:lnTo>
                    <a:pt x="51721" y="58198"/>
                  </a:lnTo>
                  <a:lnTo>
                    <a:pt x="67056" y="55816"/>
                  </a:lnTo>
                  <a:lnTo>
                    <a:pt x="60579" y="47054"/>
                  </a:lnTo>
                  <a:lnTo>
                    <a:pt x="56864" y="41434"/>
                  </a:lnTo>
                  <a:lnTo>
                    <a:pt x="60103" y="38195"/>
                  </a:lnTo>
                  <a:lnTo>
                    <a:pt x="48959" y="30290"/>
                  </a:lnTo>
                  <a:lnTo>
                    <a:pt x="47530" y="16288"/>
                  </a:lnTo>
                  <a:lnTo>
                    <a:pt x="51245" y="8858"/>
                  </a:lnTo>
                  <a:lnTo>
                    <a:pt x="63151" y="20479"/>
                  </a:lnTo>
                  <a:lnTo>
                    <a:pt x="72676" y="17240"/>
                  </a:lnTo>
                  <a:lnTo>
                    <a:pt x="74581" y="29337"/>
                  </a:lnTo>
                  <a:lnTo>
                    <a:pt x="81058" y="24670"/>
                  </a:lnTo>
                  <a:lnTo>
                    <a:pt x="89916" y="34004"/>
                  </a:lnTo>
                  <a:lnTo>
                    <a:pt x="95060" y="31242"/>
                  </a:lnTo>
                  <a:lnTo>
                    <a:pt x="104870" y="39148"/>
                  </a:lnTo>
                  <a:lnTo>
                    <a:pt x="101060" y="48863"/>
                  </a:lnTo>
                  <a:lnTo>
                    <a:pt x="109442" y="51245"/>
                  </a:lnTo>
                  <a:lnTo>
                    <a:pt x="116015" y="47054"/>
                  </a:lnTo>
                  <a:lnTo>
                    <a:pt x="124206" y="55816"/>
                  </a:lnTo>
                  <a:lnTo>
                    <a:pt x="127540" y="48482"/>
                  </a:lnTo>
                  <a:lnTo>
                    <a:pt x="136493" y="51721"/>
                  </a:lnTo>
                  <a:lnTo>
                    <a:pt x="138398" y="44291"/>
                  </a:lnTo>
                  <a:lnTo>
                    <a:pt x="135160" y="31623"/>
                  </a:lnTo>
                  <a:lnTo>
                    <a:pt x="146304" y="28861"/>
                  </a:lnTo>
                  <a:lnTo>
                    <a:pt x="157448" y="35814"/>
                  </a:lnTo>
                  <a:lnTo>
                    <a:pt x="171926" y="21431"/>
                  </a:lnTo>
                  <a:lnTo>
                    <a:pt x="173355" y="11621"/>
                  </a:lnTo>
                  <a:lnTo>
                    <a:pt x="178403" y="16764"/>
                  </a:lnTo>
                  <a:lnTo>
                    <a:pt x="188214" y="7429"/>
                  </a:lnTo>
                  <a:lnTo>
                    <a:pt x="189643" y="0"/>
                  </a:lnTo>
                  <a:lnTo>
                    <a:pt x="201454" y="16764"/>
                  </a:lnTo>
                  <a:lnTo>
                    <a:pt x="193834" y="25146"/>
                  </a:lnTo>
                  <a:lnTo>
                    <a:pt x="214789" y="27051"/>
                  </a:lnTo>
                  <a:lnTo>
                    <a:pt x="214789" y="43339"/>
                  </a:lnTo>
                  <a:lnTo>
                    <a:pt x="232982" y="55816"/>
                  </a:lnTo>
                  <a:lnTo>
                    <a:pt x="241840" y="62865"/>
                  </a:lnTo>
                  <a:lnTo>
                    <a:pt x="247841" y="74676"/>
                  </a:lnTo>
                  <a:close/>
                </a:path>
              </a:pathLst>
            </a:custGeom>
            <a:grpFill/>
            <a:ln w="238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3D6EACD-ED68-408B-BD5E-70B19DE07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52" y="390829"/>
            <a:ext cx="5013223" cy="387798"/>
          </a:xfrm>
        </p:spPr>
        <p:txBody>
          <a:bodyPr/>
          <a:lstStyle/>
          <a:p>
            <a:pPr lvl="0">
              <a:lnSpc>
                <a:spcPct val="90000"/>
              </a:lnSpc>
              <a:defRPr/>
            </a:pPr>
            <a:r>
              <a:rPr lang="ru-RU" sz="2800" b="1" spc="-1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вионика сегодня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1C80F6A2-685B-4BFE-A9CA-4E9B7D7678CA}"/>
              </a:ext>
            </a:extLst>
          </p:cNvPr>
          <p:cNvGrpSpPr/>
          <p:nvPr/>
        </p:nvGrpSpPr>
        <p:grpSpPr>
          <a:xfrm>
            <a:off x="389777" y="1923844"/>
            <a:ext cx="3681424" cy="4518901"/>
            <a:chOff x="389777" y="1923844"/>
            <a:chExt cx="3681424" cy="4518901"/>
          </a:xfrm>
        </p:grpSpPr>
        <p:sp>
          <p:nvSpPr>
            <p:cNvPr id="262" name="Скругленный прямоугольник 4">
              <a:extLst>
                <a:ext uri="{FF2B5EF4-FFF2-40B4-BE49-F238E27FC236}">
                  <a16:creationId xmlns:a16="http://schemas.microsoft.com/office/drawing/2014/main" id="{0E102C2C-3570-4B6A-AE15-6EFF0A561FC3}"/>
                </a:ext>
              </a:extLst>
            </p:cNvPr>
            <p:cNvSpPr/>
            <p:nvPr/>
          </p:nvSpPr>
          <p:spPr>
            <a:xfrm>
              <a:off x="389777" y="1923844"/>
              <a:ext cx="3460770" cy="4518901"/>
            </a:xfrm>
            <a:prstGeom prst="roundRect">
              <a:avLst>
                <a:gd name="adj" fmla="val 382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72000" bIns="144000" rtlCol="0" anchor="t">
              <a:noAutofit/>
            </a:bodyPr>
            <a:lstStyle/>
            <a:p>
              <a:pPr>
                <a:lnSpc>
                  <a:spcPts val="2000"/>
                </a:lnSpc>
                <a:spcAft>
                  <a:spcPts val="300"/>
                </a:spcAft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28B173C8-A3A2-4AD7-A2DA-481A8F344ADC}"/>
                </a:ext>
              </a:extLst>
            </p:cNvPr>
            <p:cNvGrpSpPr/>
            <p:nvPr/>
          </p:nvGrpSpPr>
          <p:grpSpPr>
            <a:xfrm>
              <a:off x="2214964" y="2065638"/>
              <a:ext cx="1549336" cy="806601"/>
              <a:chOff x="1965651" y="2065638"/>
              <a:chExt cx="1549336" cy="806601"/>
            </a:xfrm>
          </p:grpSpPr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A6A20542-AC35-4DE2-8E83-1D68551D491F}"/>
                  </a:ext>
                </a:extLst>
              </p:cNvPr>
              <p:cNvSpPr txBox="1"/>
              <p:nvPr/>
            </p:nvSpPr>
            <p:spPr>
              <a:xfrm>
                <a:off x="1965651" y="2065638"/>
                <a:ext cx="1549336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sz="3200" b="1" dirty="0">
                    <a:solidFill>
                      <a:srgbClr val="00AAE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  <a:r>
                  <a:rPr lang="en-US" sz="3200" b="1" dirty="0">
                    <a:solidFill>
                      <a:srgbClr val="00AAE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6</a:t>
                </a:r>
                <a:r>
                  <a:rPr lang="ru-RU" sz="3200" b="1" dirty="0">
                    <a:solidFill>
                      <a:srgbClr val="00AAE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+</a:t>
                </a:r>
              </a:p>
            </p:txBody>
          </p:sp>
          <p:sp>
            <p:nvSpPr>
              <p:cNvPr id="6" name="Текст 24">
                <a:extLst>
                  <a:ext uri="{FF2B5EF4-FFF2-40B4-BE49-F238E27FC236}">
                    <a16:creationId xmlns:a16="http://schemas.microsoft.com/office/drawing/2014/main" id="{72F65D96-B200-467C-8336-986552893C4C}"/>
                  </a:ext>
                  <a:ext uri="{C1720401-D1C5-4B6F-A520-021223EDF1B8}">
                    <a16:creationId xmlns=""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id="{6B95C79F-E377-403D-BF1C-059B0C26D6B6}"/>
                  </a:ext>
                </a:extLst>
              </p:cNvPr>
              <p:cNvSpPr txBox="1"/>
              <p:nvPr/>
            </p:nvSpPr>
            <p:spPr>
              <a:xfrm>
                <a:off x="1965651" y="2533685"/>
                <a:ext cx="1490613" cy="33855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1pPr>
                <a:lvl2pPr marL="457200" lvl="1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2pPr>
                <a:lvl3pPr marL="914400" lvl="2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3pPr>
                <a:lvl4pPr marL="1371600" lvl="3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4pPr>
                <a:lvl5pPr marL="1828800" lvl="4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5pPr>
                <a:lvl6pPr marL="2286000" lvl="5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6pPr>
                <a:lvl7pPr marL="2743200" lvl="6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7pPr>
                <a:lvl8pPr marL="3200400" lvl="7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8pPr>
                <a:lvl9pPr marL="3657600" lvl="8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defTabSz="1219170"/>
                <a:r>
                  <a:rPr lang="ru-RU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сертифицированных</a:t>
                </a:r>
                <a:br>
                  <a:rPr lang="ru-RU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ru-RU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специалистов</a:t>
                </a:r>
              </a:p>
            </p:txBody>
          </p:sp>
        </p:grpSp>
        <p:grpSp>
          <p:nvGrpSpPr>
            <p:cNvPr id="265" name="Группа 264">
              <a:extLst>
                <a:ext uri="{FF2B5EF4-FFF2-40B4-BE49-F238E27FC236}">
                  <a16:creationId xmlns:a16="http://schemas.microsoft.com/office/drawing/2014/main" id="{157E1867-8F47-4E34-BCB4-43DC2286C4A7}"/>
                </a:ext>
              </a:extLst>
            </p:cNvPr>
            <p:cNvGrpSpPr/>
            <p:nvPr/>
          </p:nvGrpSpPr>
          <p:grpSpPr>
            <a:xfrm>
              <a:off x="581043" y="2065638"/>
              <a:ext cx="1457827" cy="806601"/>
              <a:chOff x="528813" y="2065638"/>
              <a:chExt cx="1457827" cy="806601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D2610F0B-387B-49C9-BDF8-EE621E9E99C5}"/>
                  </a:ext>
                </a:extLst>
              </p:cNvPr>
              <p:cNvSpPr txBox="1"/>
              <p:nvPr/>
            </p:nvSpPr>
            <p:spPr>
              <a:xfrm>
                <a:off x="528813" y="2065638"/>
                <a:ext cx="1457827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ru-RU"/>
                </a:defPPr>
                <a:lvl1pPr>
                  <a:defRPr sz="6600">
                    <a:solidFill>
                      <a:srgbClr val="069ED9"/>
                    </a:solidFill>
                    <a:latin typeface="+mj-lt"/>
                    <a:cs typeface="ALS Hauss" panose="02000503040000020004" pitchFamily="2" charset="0"/>
                  </a:defRPr>
                </a:lvl1pPr>
              </a:lstStyle>
              <a:p>
                <a:r>
                  <a:rPr lang="ru-RU" sz="3200" b="1" dirty="0">
                    <a:solidFill>
                      <a:srgbClr val="00AAE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97</a:t>
                </a:r>
                <a:r>
                  <a:rPr lang="en-US" sz="3200" b="1" dirty="0">
                    <a:solidFill>
                      <a:srgbClr val="00AAE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r>
                  <a:rPr lang="ru-RU" sz="3200" b="1" dirty="0">
                    <a:solidFill>
                      <a:srgbClr val="00AAE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%</a:t>
                </a:r>
              </a:p>
            </p:txBody>
          </p:sp>
          <p:sp>
            <p:nvSpPr>
              <p:cNvPr id="8" name="Текст 24">
                <a:extLst>
                  <a:ext uri="{FF2B5EF4-FFF2-40B4-BE49-F238E27FC236}">
                    <a16:creationId xmlns:a16="http://schemas.microsoft.com/office/drawing/2014/main" id="{DD2C6DE3-0E56-4090-B0F5-D1FCD3889133}"/>
                  </a:ext>
                  <a:ext uri="{C1720401-D1C5-4B6F-A520-021223EDF1B8}">
                    <a16:creationId xmlns=""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id="{6B95C79F-E377-403D-BF1C-059B0C26D6B6}"/>
                  </a:ext>
                </a:extLst>
              </p:cNvPr>
              <p:cNvSpPr txBox="1"/>
              <p:nvPr/>
            </p:nvSpPr>
            <p:spPr>
              <a:xfrm>
                <a:off x="528813" y="2533685"/>
                <a:ext cx="1098651" cy="33855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1pPr>
                <a:lvl2pPr marL="457200" lvl="1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2pPr>
                <a:lvl3pPr marL="914400" lvl="2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3pPr>
                <a:lvl4pPr marL="1371600" lvl="3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4pPr>
                <a:lvl5pPr marL="1828800" lvl="4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5pPr>
                <a:lvl6pPr marL="2286000" lvl="5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6pPr>
                <a:lvl7pPr marL="2743200" lvl="6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7pPr>
                <a:lvl8pPr marL="3200400" lvl="7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8pPr>
                <a:lvl9pPr marL="3657600" lvl="8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defTabSz="1219170"/>
                <a:r>
                  <a:rPr lang="ru-RU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средний </a:t>
                </a:r>
                <a:r>
                  <a:rPr lang="en-US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SLA</a:t>
                </a:r>
                <a:br>
                  <a:rPr lang="ru-RU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ru-RU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по проектам</a:t>
                </a:r>
              </a:p>
            </p:txBody>
          </p:sp>
        </p:grpSp>
        <p:grpSp>
          <p:nvGrpSpPr>
            <p:cNvPr id="4" name="Группа 3">
              <a:extLst>
                <a:ext uri="{FF2B5EF4-FFF2-40B4-BE49-F238E27FC236}">
                  <a16:creationId xmlns:a16="http://schemas.microsoft.com/office/drawing/2014/main" id="{03E87C20-37C4-41BD-91FB-1E63FE8B9F93}"/>
                </a:ext>
              </a:extLst>
            </p:cNvPr>
            <p:cNvGrpSpPr/>
            <p:nvPr/>
          </p:nvGrpSpPr>
          <p:grpSpPr>
            <a:xfrm>
              <a:off x="2214964" y="3167535"/>
              <a:ext cx="1383043" cy="789757"/>
              <a:chOff x="1965651" y="3167535"/>
              <a:chExt cx="1383043" cy="789757"/>
            </a:xfrm>
          </p:grpSpPr>
          <p:sp>
            <p:nvSpPr>
              <p:cNvPr id="10" name="Текст 24">
                <a:extLst>
                  <a:ext uri="{FF2B5EF4-FFF2-40B4-BE49-F238E27FC236}">
                    <a16:creationId xmlns:a16="http://schemas.microsoft.com/office/drawing/2014/main" id="{3AC5F498-10C8-4E7B-B8D2-6E397201EFA0}"/>
                  </a:ext>
                  <a:ext uri="{C1720401-D1C5-4B6F-A520-021223EDF1B8}">
                    <a16:creationId xmlns=""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id="{6B95C79F-E377-403D-BF1C-059B0C26D6B6}"/>
                  </a:ext>
                </a:extLst>
              </p:cNvPr>
              <p:cNvSpPr txBox="1"/>
              <p:nvPr/>
            </p:nvSpPr>
            <p:spPr>
              <a:xfrm>
                <a:off x="1965651" y="3618738"/>
                <a:ext cx="1255721" cy="33855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1pPr>
                <a:lvl2pPr marL="457200" lvl="1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2pPr>
                <a:lvl3pPr marL="914400" lvl="2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3pPr>
                <a:lvl4pPr marL="1371600" lvl="3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4pPr>
                <a:lvl5pPr marL="1828800" lvl="4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5pPr>
                <a:lvl6pPr marL="2286000" lvl="5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6pPr>
                <a:lvl7pPr marL="2743200" lvl="6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7pPr>
                <a:lvl8pPr marL="3200400" lvl="7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8pPr>
                <a:lvl9pPr marL="3657600" lvl="8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defTabSz="1219170"/>
                <a:r>
                  <a:rPr lang="ru-RU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обособленных подразделений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1BDD9D83-C05A-4920-BADB-70768B549C0C}"/>
                  </a:ext>
                </a:extLst>
              </p:cNvPr>
              <p:cNvSpPr txBox="1"/>
              <p:nvPr/>
            </p:nvSpPr>
            <p:spPr>
              <a:xfrm>
                <a:off x="1965651" y="3167535"/>
                <a:ext cx="1383043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ru-RU"/>
                </a:defPPr>
                <a:lvl1pPr>
                  <a:defRPr sz="6600">
                    <a:solidFill>
                      <a:srgbClr val="069ED9"/>
                    </a:solidFill>
                    <a:latin typeface="+mj-lt"/>
                    <a:cs typeface="ALS Hauss" panose="02000503040000020004" pitchFamily="2" charset="0"/>
                  </a:defRPr>
                </a:lvl1pPr>
              </a:lstStyle>
              <a:p>
                <a:r>
                  <a:rPr lang="ru-RU" sz="3200" b="1" dirty="0">
                    <a:solidFill>
                      <a:srgbClr val="00ADE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80+</a:t>
                </a:r>
              </a:p>
            </p:txBody>
          </p:sp>
        </p:grpSp>
        <p:grpSp>
          <p:nvGrpSpPr>
            <p:cNvPr id="264" name="Группа 263">
              <a:extLst>
                <a:ext uri="{FF2B5EF4-FFF2-40B4-BE49-F238E27FC236}">
                  <a16:creationId xmlns:a16="http://schemas.microsoft.com/office/drawing/2014/main" id="{9175A92D-0D28-4E8D-BA73-DC50490A9C54}"/>
                </a:ext>
              </a:extLst>
            </p:cNvPr>
            <p:cNvGrpSpPr/>
            <p:nvPr/>
          </p:nvGrpSpPr>
          <p:grpSpPr>
            <a:xfrm>
              <a:off x="581044" y="3167535"/>
              <a:ext cx="1291598" cy="789757"/>
              <a:chOff x="528814" y="3167535"/>
              <a:chExt cx="1291598" cy="789757"/>
            </a:xfrm>
          </p:grpSpPr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C98A099-71C1-4DA3-9FEC-CE317F0A2EFC}"/>
                  </a:ext>
                </a:extLst>
              </p:cNvPr>
              <p:cNvSpPr txBox="1"/>
              <p:nvPr/>
            </p:nvSpPr>
            <p:spPr>
              <a:xfrm>
                <a:off x="528814" y="3167535"/>
                <a:ext cx="1291598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ru-RU"/>
                </a:defPPr>
                <a:lvl1pPr>
                  <a:defRPr sz="6600">
                    <a:solidFill>
                      <a:srgbClr val="069ED9"/>
                    </a:solidFill>
                    <a:latin typeface="+mj-lt"/>
                    <a:cs typeface="ALS Hauss" panose="02000503040000020004" pitchFamily="2" charset="0"/>
                  </a:defRPr>
                </a:lvl1pPr>
              </a:lstStyle>
              <a:p>
                <a:r>
                  <a:rPr lang="ru-RU" sz="3200" b="1" spc="-150" dirty="0">
                    <a:solidFill>
                      <a:srgbClr val="00ADE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00</a:t>
                </a:r>
                <a:r>
                  <a:rPr lang="en-US" sz="3200" b="1" spc="-150" dirty="0">
                    <a:solidFill>
                      <a:srgbClr val="00ADE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+</a:t>
                </a:r>
                <a:endParaRPr lang="ru-RU" sz="3200" b="1" spc="-150" dirty="0">
                  <a:solidFill>
                    <a:srgbClr val="00ADEB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" name="Текст 24">
                <a:extLst>
                  <a:ext uri="{FF2B5EF4-FFF2-40B4-BE49-F238E27FC236}">
                    <a16:creationId xmlns:a16="http://schemas.microsoft.com/office/drawing/2014/main" id="{9C9C5C49-33EC-4E85-88F3-16E8A5285D1C}"/>
                  </a:ext>
                  <a:ext uri="{C1720401-D1C5-4B6F-A520-021223EDF1B8}">
                    <a16:creationId xmlns=""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id="{6B95C79F-E377-403D-BF1C-059B0C26D6B6}"/>
                  </a:ext>
                </a:extLst>
              </p:cNvPr>
              <p:cNvSpPr txBox="1"/>
              <p:nvPr/>
            </p:nvSpPr>
            <p:spPr>
              <a:xfrm>
                <a:off x="528814" y="3618738"/>
                <a:ext cx="1123818" cy="33855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1pPr>
                <a:lvl2pPr marL="457200" lvl="1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2pPr>
                <a:lvl3pPr marL="914400" lvl="2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3pPr>
                <a:lvl4pPr marL="1371600" lvl="3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4pPr>
                <a:lvl5pPr marL="1828800" lvl="4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5pPr>
                <a:lvl6pPr marL="2286000" lvl="5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6pPr>
                <a:lvl7pPr marL="2743200" lvl="6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7pPr>
                <a:lvl8pPr marL="3200400" lvl="7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8pPr>
                <a:lvl9pPr marL="3657600" lvl="8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defTabSz="1219170"/>
                <a:r>
                  <a:rPr lang="ru-RU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выездных </a:t>
                </a:r>
                <a:br>
                  <a:rPr lang="ru-RU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ru-RU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специалистов</a:t>
                </a:r>
              </a:p>
            </p:txBody>
          </p:sp>
        </p:grpSp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C6B289D3-7FB9-42CB-8693-E50576F6A4AD}"/>
                </a:ext>
              </a:extLst>
            </p:cNvPr>
            <p:cNvGrpSpPr/>
            <p:nvPr/>
          </p:nvGrpSpPr>
          <p:grpSpPr>
            <a:xfrm>
              <a:off x="2214964" y="4319700"/>
              <a:ext cx="1523719" cy="779829"/>
              <a:chOff x="1965651" y="4319700"/>
              <a:chExt cx="1523719" cy="779829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6AA098CB-64DE-4D35-A74A-AE2D75754F95}"/>
                  </a:ext>
                </a:extLst>
              </p:cNvPr>
              <p:cNvSpPr txBox="1"/>
              <p:nvPr/>
            </p:nvSpPr>
            <p:spPr>
              <a:xfrm>
                <a:off x="1965651" y="4319700"/>
                <a:ext cx="1523719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ru-RU"/>
                </a:defPPr>
                <a:lvl1pPr>
                  <a:defRPr sz="6600">
                    <a:solidFill>
                      <a:srgbClr val="069ED9"/>
                    </a:solidFill>
                    <a:latin typeface="+mj-lt"/>
                    <a:cs typeface="ALS Hauss" panose="02000503040000020004" pitchFamily="2" charset="0"/>
                  </a:defRPr>
                </a:lvl1pPr>
              </a:lstStyle>
              <a:p>
                <a:r>
                  <a:rPr lang="ru-RU" sz="3200" b="1" dirty="0">
                    <a:solidFill>
                      <a:srgbClr val="00AAE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80+</a:t>
                </a:r>
              </a:p>
            </p:txBody>
          </p:sp>
          <p:sp>
            <p:nvSpPr>
              <p:cNvPr id="16" name="Текст 24">
                <a:extLst>
                  <a:ext uri="{FF2B5EF4-FFF2-40B4-BE49-F238E27FC236}">
                    <a16:creationId xmlns:a16="http://schemas.microsoft.com/office/drawing/2014/main" id="{89CC19EC-F22C-47EF-99C7-530EAA17EFA5}"/>
                  </a:ext>
                  <a:ext uri="{C1720401-D1C5-4B6F-A520-021223EDF1B8}">
                    <a16:creationId xmlns=""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id="{6B95C79F-E377-403D-BF1C-059B0C26D6B6}"/>
                  </a:ext>
                </a:extLst>
              </p:cNvPr>
              <p:cNvSpPr txBox="1"/>
              <p:nvPr/>
            </p:nvSpPr>
            <p:spPr>
              <a:xfrm>
                <a:off x="1965652" y="4760975"/>
                <a:ext cx="1364778" cy="33855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1pPr>
                <a:lvl2pPr marL="457200" lvl="1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2pPr>
                <a:lvl3pPr marL="914400" lvl="2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3pPr>
                <a:lvl4pPr marL="1371600" lvl="3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4pPr>
                <a:lvl5pPr marL="1828800" lvl="4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5pPr>
                <a:lvl6pPr marL="2286000" lvl="5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6pPr>
                <a:lvl7pPr marL="2743200" lvl="6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7pPr>
                <a:lvl8pPr marL="3200400" lvl="7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8pPr>
                <a:lvl9pPr marL="3657600" lvl="8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defTabSz="1219170"/>
                <a:r>
                  <a:rPr lang="ru-RU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региональных</a:t>
                </a:r>
                <a:br>
                  <a:rPr lang="ru-RU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ru-RU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складов РМ и ЗИП</a:t>
                </a:r>
              </a:p>
            </p:txBody>
          </p:sp>
        </p:grpSp>
        <p:grpSp>
          <p:nvGrpSpPr>
            <p:cNvPr id="263" name="Группа 262">
              <a:extLst>
                <a:ext uri="{FF2B5EF4-FFF2-40B4-BE49-F238E27FC236}">
                  <a16:creationId xmlns:a16="http://schemas.microsoft.com/office/drawing/2014/main" id="{37DC07BB-2262-45A8-9D10-C393DEFA4922}"/>
                </a:ext>
              </a:extLst>
            </p:cNvPr>
            <p:cNvGrpSpPr/>
            <p:nvPr/>
          </p:nvGrpSpPr>
          <p:grpSpPr>
            <a:xfrm>
              <a:off x="581043" y="4319700"/>
              <a:ext cx="1400074" cy="627330"/>
              <a:chOff x="528813" y="4319700"/>
              <a:chExt cx="1400074" cy="627330"/>
            </a:xfrm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D4D6B1EB-F917-4994-9269-8BB79C197F07}"/>
                  </a:ext>
                </a:extLst>
              </p:cNvPr>
              <p:cNvSpPr txBox="1"/>
              <p:nvPr/>
            </p:nvSpPr>
            <p:spPr>
              <a:xfrm>
                <a:off x="528813" y="4319700"/>
                <a:ext cx="1400074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ru-RU"/>
                </a:defPPr>
                <a:lvl1pPr>
                  <a:defRPr sz="6600">
                    <a:solidFill>
                      <a:srgbClr val="069ED9"/>
                    </a:solidFill>
                    <a:latin typeface="+mj-lt"/>
                    <a:cs typeface="ALS Hauss" panose="02000503040000020004" pitchFamily="2" charset="0"/>
                  </a:defRPr>
                </a:lvl1pPr>
              </a:lstStyle>
              <a:p>
                <a:r>
                  <a:rPr lang="en-US" sz="3200" b="1" dirty="0">
                    <a:solidFill>
                      <a:srgbClr val="00AAE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88</a:t>
                </a:r>
                <a:r>
                  <a:rPr lang="ru-RU" sz="3200" b="1" dirty="0">
                    <a:solidFill>
                      <a:srgbClr val="00AAE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+</a:t>
                </a:r>
              </a:p>
            </p:txBody>
          </p:sp>
          <p:sp>
            <p:nvSpPr>
              <p:cNvPr id="18" name="Текст 24">
                <a:extLst>
                  <a:ext uri="{FF2B5EF4-FFF2-40B4-BE49-F238E27FC236}">
                    <a16:creationId xmlns:a16="http://schemas.microsoft.com/office/drawing/2014/main" id="{9EC37659-6DDB-4E7C-8F60-7BA302D75494}"/>
                  </a:ext>
                  <a:ext uri="{C1720401-D1C5-4B6F-A520-021223EDF1B8}">
                    <a16:creationId xmlns=""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id="{6B95C79F-E377-403D-BF1C-059B0C26D6B6}"/>
                  </a:ext>
                </a:extLst>
              </p:cNvPr>
              <p:cNvSpPr txBox="1"/>
              <p:nvPr/>
            </p:nvSpPr>
            <p:spPr>
              <a:xfrm>
                <a:off x="528813" y="4777753"/>
                <a:ext cx="1226820" cy="169277"/>
              </a:xfrm>
              <a:prstGeom prst="rect">
                <a:avLst/>
              </a:prstGeom>
            </p:spPr>
            <p:txBody>
              <a:bodyPr vert="horz" lIns="0" tIns="0" rIns="36000" bIns="0" rtlCol="0">
                <a:spAutoFit/>
              </a:bodyPr>
              <a:lstStyle>
                <a:lvl1pPr marL="0" lvl="0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1pPr>
                <a:lvl2pPr marL="457200" lvl="1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2pPr>
                <a:lvl3pPr marL="914400" lvl="2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3pPr>
                <a:lvl4pPr marL="1371600" lvl="3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4pPr>
                <a:lvl5pPr marL="1828800" lvl="4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5pPr>
                <a:lvl6pPr marL="2286000" lvl="5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6pPr>
                <a:lvl7pPr marL="2743200" lvl="6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7pPr>
                <a:lvl8pPr marL="3200400" lvl="7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8pPr>
                <a:lvl9pPr marL="3657600" lvl="8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defTabSz="1219170"/>
                <a:r>
                  <a:rPr lang="ru-RU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сертификатов</a:t>
                </a:r>
              </a:p>
            </p:txBody>
          </p:sp>
        </p:grpSp>
        <p:grpSp>
          <p:nvGrpSpPr>
            <p:cNvPr id="14" name="Группа 13">
              <a:extLst>
                <a:ext uri="{FF2B5EF4-FFF2-40B4-BE49-F238E27FC236}">
                  <a16:creationId xmlns:a16="http://schemas.microsoft.com/office/drawing/2014/main" id="{DE5B0DB6-3851-4649-AABE-2C7D08E98002}"/>
                </a:ext>
              </a:extLst>
            </p:cNvPr>
            <p:cNvGrpSpPr/>
            <p:nvPr/>
          </p:nvGrpSpPr>
          <p:grpSpPr>
            <a:xfrm>
              <a:off x="2214964" y="5344491"/>
              <a:ext cx="1856237" cy="766147"/>
              <a:chOff x="1965651" y="5344491"/>
              <a:chExt cx="1856237" cy="766147"/>
            </a:xfrm>
          </p:grpSpPr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D224827B-866E-4798-BC81-5F388C8C0EDB}"/>
                  </a:ext>
                </a:extLst>
              </p:cNvPr>
              <p:cNvSpPr txBox="1"/>
              <p:nvPr/>
            </p:nvSpPr>
            <p:spPr>
              <a:xfrm>
                <a:off x="1965651" y="5344491"/>
                <a:ext cx="1856237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ru-RU"/>
                </a:defPPr>
                <a:lvl1pPr>
                  <a:defRPr sz="3200">
                    <a:solidFill>
                      <a:schemeClr val="bg2"/>
                    </a:solidFill>
                    <a:latin typeface="+mj-lt"/>
                    <a:cs typeface="ALS Hauss" panose="02000503040000020004" pitchFamily="2" charset="0"/>
                  </a:defRPr>
                </a:lvl1pPr>
              </a:lstStyle>
              <a:p>
                <a:r>
                  <a:rPr lang="ru-RU" b="1" dirty="0">
                    <a:solidFill>
                      <a:srgbClr val="00AAE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50+</a:t>
                </a:r>
              </a:p>
            </p:txBody>
          </p:sp>
          <p:sp>
            <p:nvSpPr>
              <p:cNvPr id="21" name="Текст 24">
                <a:extLst>
                  <a:ext uri="{FF2B5EF4-FFF2-40B4-BE49-F238E27FC236}">
                    <a16:creationId xmlns:a16="http://schemas.microsoft.com/office/drawing/2014/main" id="{305ACD25-43BC-47BC-9DBC-898111D28BB8}"/>
                  </a:ext>
                  <a:ext uri="{C1720401-D1C5-4B6F-A520-021223EDF1B8}">
                    <a16:creationId xmlns=""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id="{6B95C79F-E377-403D-BF1C-059B0C26D6B6}"/>
                  </a:ext>
                </a:extLst>
              </p:cNvPr>
              <p:cNvSpPr txBox="1"/>
              <p:nvPr/>
            </p:nvSpPr>
            <p:spPr>
              <a:xfrm>
                <a:off x="1965651" y="5772084"/>
                <a:ext cx="1213777" cy="33855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1pPr>
                <a:lvl2pPr marL="457200" lvl="1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2pPr>
                <a:lvl3pPr marL="914400" lvl="2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3pPr>
                <a:lvl4pPr marL="1371600" lvl="3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4pPr>
                <a:lvl5pPr marL="1828800" lvl="4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5pPr>
                <a:lvl6pPr marL="2286000" lvl="5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6pPr>
                <a:lvl7pPr marL="2743200" lvl="6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7pPr>
                <a:lvl8pPr marL="3200400" lvl="7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8pPr>
                <a:lvl9pPr marL="3657600" lvl="8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defTabSz="1219170"/>
                <a:r>
                  <a:rPr lang="ru-RU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региональных партнеров</a:t>
                </a:r>
              </a:p>
            </p:txBody>
          </p:sp>
        </p:grpSp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id="{8B13E913-3908-435C-A4C1-579064249857}"/>
                </a:ext>
              </a:extLst>
            </p:cNvPr>
            <p:cNvGrpSpPr/>
            <p:nvPr/>
          </p:nvGrpSpPr>
          <p:grpSpPr>
            <a:xfrm>
              <a:off x="581043" y="5344491"/>
              <a:ext cx="1325155" cy="766147"/>
              <a:chOff x="528813" y="5344491"/>
              <a:chExt cx="1325155" cy="766147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FE1EC57C-4F12-4ED0-84FC-462DC763AB7E}"/>
                  </a:ext>
                </a:extLst>
              </p:cNvPr>
              <p:cNvSpPr txBox="1"/>
              <p:nvPr/>
            </p:nvSpPr>
            <p:spPr>
              <a:xfrm>
                <a:off x="528813" y="5344491"/>
                <a:ext cx="1197944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ru-RU"/>
                </a:defPPr>
                <a:lvl1pPr>
                  <a:defRPr sz="6600">
                    <a:solidFill>
                      <a:srgbClr val="069ED9"/>
                    </a:solidFill>
                    <a:latin typeface="+mj-lt"/>
                    <a:cs typeface="ALS Hauss" panose="02000503040000020004" pitchFamily="2" charset="0"/>
                  </a:defRPr>
                </a:lvl1pPr>
              </a:lstStyle>
              <a:p>
                <a:r>
                  <a:rPr lang="ru-RU" sz="3200" b="1" dirty="0">
                    <a:solidFill>
                      <a:srgbClr val="00ADE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90</a:t>
                </a:r>
              </a:p>
            </p:txBody>
          </p:sp>
          <p:sp>
            <p:nvSpPr>
              <p:cNvPr id="23" name="Текст 24">
                <a:extLst>
                  <a:ext uri="{FF2B5EF4-FFF2-40B4-BE49-F238E27FC236}">
                    <a16:creationId xmlns:a16="http://schemas.microsoft.com/office/drawing/2014/main" id="{B491D35F-B578-47AF-8607-6C16696CFB39}"/>
                  </a:ext>
                  <a:ext uri="{C1720401-D1C5-4B6F-A520-021223EDF1B8}">
                    <a16:creationId xmlns=""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id="{6B95C79F-E377-403D-BF1C-059B0C26D6B6}"/>
                  </a:ext>
                </a:extLst>
              </p:cNvPr>
              <p:cNvSpPr txBox="1"/>
              <p:nvPr/>
            </p:nvSpPr>
            <p:spPr>
              <a:xfrm>
                <a:off x="528814" y="5772084"/>
                <a:ext cx="1325154" cy="33855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1pPr>
                <a:lvl2pPr marL="457200" lvl="1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2pPr>
                <a:lvl3pPr marL="914400" lvl="2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3pPr>
                <a:lvl4pPr marL="1371600" lvl="3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4pPr>
                <a:lvl5pPr marL="1828800" lvl="4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5pPr>
                <a:lvl6pPr marL="2286000" lvl="5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6pPr>
                <a:lvl7pPr marL="2743200" lvl="6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7pPr>
                <a:lvl8pPr marL="3200400" lvl="7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8pPr>
                <a:lvl9pPr marL="3657600" lvl="8" algn="l" rtl="0">
                  <a:defRPr lang="en-US" sz="1800" dirty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defTabSz="1219170"/>
                <a:r>
                  <a:rPr lang="ru-RU" sz="11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точек присутствия инженеров</a:t>
                </a:r>
              </a:p>
            </p:txBody>
          </p:sp>
        </p:grpSp>
      </p:grpSp>
      <p:pic>
        <p:nvPicPr>
          <p:cNvPr id="166" name="Рисунок 165">
            <a:extLst>
              <a:ext uri="{FF2B5EF4-FFF2-40B4-BE49-F238E27FC236}">
                <a16:creationId xmlns:a16="http://schemas.microsoft.com/office/drawing/2014/main" id="{EA9B0C99-99CE-4973-A73A-FFDF589F492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4634" y="6095291"/>
            <a:ext cx="321384" cy="321384"/>
          </a:xfrm>
          <a:prstGeom prst="rect">
            <a:avLst/>
          </a:prstGeom>
        </p:spPr>
      </p:pic>
      <p:pic>
        <p:nvPicPr>
          <p:cNvPr id="167" name="Рисунок 166">
            <a:extLst>
              <a:ext uri="{FF2B5EF4-FFF2-40B4-BE49-F238E27FC236}">
                <a16:creationId xmlns:a16="http://schemas.microsoft.com/office/drawing/2014/main" id="{7E85149A-E7F4-4091-A35E-A586CF1ECA5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751399" y="6095290"/>
            <a:ext cx="328539" cy="328539"/>
          </a:xfrm>
          <a:prstGeom prst="rect">
            <a:avLst/>
          </a:prstGeom>
        </p:spPr>
      </p:pic>
      <p:pic>
        <p:nvPicPr>
          <p:cNvPr id="168" name="Рисунок 167">
            <a:extLst>
              <a:ext uri="{FF2B5EF4-FFF2-40B4-BE49-F238E27FC236}">
                <a16:creationId xmlns:a16="http://schemas.microsoft.com/office/drawing/2014/main" id="{FACA82CA-DAE5-46A1-AF98-678FC8FB558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66769" y="6095291"/>
            <a:ext cx="321384" cy="321384"/>
          </a:xfrm>
          <a:prstGeom prst="rect">
            <a:avLst/>
          </a:prstGeom>
        </p:spPr>
      </p:pic>
      <p:sp>
        <p:nvSpPr>
          <p:cNvPr id="169" name="Текст 24">
            <a:extLst>
              <a:ext uri="{FF2B5EF4-FFF2-40B4-BE49-F238E27FC236}">
                <a16:creationId xmlns:a16="http://schemas.microsoft.com/office/drawing/2014/main" id="{6B2B6A7F-A9EC-47DF-8D17-14BB0EB49B86}"/>
              </a:ext>
              <a:ext uri="{C1720401-D1C5-4B6F-A520-021223EDF1B8}">
                <a16:creationId xmlns=""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id="{6B95C79F-E377-403D-BF1C-059B0C26D6B6}"/>
              </a:ext>
            </a:extLst>
          </p:cNvPr>
          <p:cNvSpPr txBox="1"/>
          <p:nvPr/>
        </p:nvSpPr>
        <p:spPr>
          <a:xfrm>
            <a:off x="7240621" y="6095291"/>
            <a:ext cx="1377976" cy="416831"/>
          </a:xfrm>
          <a:prstGeom prst="rect">
            <a:avLst/>
          </a:prstGeom>
        </p:spPr>
        <p:txBody>
          <a:bodyPr vert="horz" wrap="square" lIns="0" tIns="0" rIns="0" bIns="108000" rtlCol="0">
            <a:spAutoFit/>
          </a:bodyPr>
          <a:lstStyle>
            <a:lvl1pPr marL="0" lvl="0" algn="l" rtl="0">
              <a:defRPr lang="en-US" sz="1800" dirty="0">
                <a:solidFill>
                  <a:schemeClr val="tx1"/>
                </a:solidFill>
                <a:latin typeface="+mn-lt"/>
              </a:defRPr>
            </a:lvl1pPr>
            <a:lvl2pPr marL="457200" lvl="1" algn="l" rtl="0">
              <a:defRPr lang="en-US" sz="1800" dirty="0">
                <a:solidFill>
                  <a:schemeClr val="tx1"/>
                </a:solidFill>
                <a:latin typeface="+mn-lt"/>
              </a:defRPr>
            </a:lvl2pPr>
            <a:lvl3pPr marL="914400" lvl="2" algn="l" rtl="0">
              <a:defRPr lang="en-US" sz="1800" dirty="0">
                <a:solidFill>
                  <a:schemeClr val="tx1"/>
                </a:solidFill>
                <a:latin typeface="+mn-lt"/>
              </a:defRPr>
            </a:lvl3pPr>
            <a:lvl4pPr marL="1371600" lvl="3" algn="l" rtl="0">
              <a:defRPr lang="en-US" sz="1800" dirty="0">
                <a:solidFill>
                  <a:schemeClr val="tx1"/>
                </a:solidFill>
                <a:latin typeface="+mn-lt"/>
              </a:defRPr>
            </a:lvl4pPr>
            <a:lvl5pPr marL="1828800" lvl="4" algn="l" rtl="0">
              <a:defRPr lang="en-US" sz="1800" dirty="0">
                <a:solidFill>
                  <a:schemeClr val="tx1"/>
                </a:solidFill>
                <a:latin typeface="+mn-lt"/>
              </a:defRPr>
            </a:lvl5pPr>
            <a:lvl6pPr marL="2286000" lvl="5" algn="l" rtl="0">
              <a:defRPr lang="en-US" sz="1800" dirty="0">
                <a:solidFill>
                  <a:schemeClr val="tx1"/>
                </a:solidFill>
                <a:latin typeface="+mn-lt"/>
              </a:defRPr>
            </a:lvl6pPr>
            <a:lvl7pPr marL="2743200" lvl="6" algn="l" rtl="0">
              <a:defRPr lang="en-US" sz="1800" dirty="0">
                <a:solidFill>
                  <a:schemeClr val="tx1"/>
                </a:solidFill>
                <a:latin typeface="+mn-lt"/>
              </a:defRPr>
            </a:lvl7pPr>
            <a:lvl8pPr marL="3200400" lvl="7" algn="l" rtl="0">
              <a:defRPr lang="en-US" sz="1800" dirty="0">
                <a:solidFill>
                  <a:schemeClr val="tx1"/>
                </a:solidFill>
                <a:latin typeface="+mn-lt"/>
              </a:defRPr>
            </a:lvl8pPr>
            <a:lvl9pPr marL="3657600" lvl="8" algn="l" rtl="0">
              <a:defRPr lang="en-US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defTabSz="1219170"/>
            <a:r>
              <a:rPr lang="ru-RU" sz="1000" kern="0" dirty="0">
                <a:solidFill>
                  <a:srgbClr val="00AAE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ые склады РМ и ЗИП</a:t>
            </a:r>
          </a:p>
        </p:txBody>
      </p:sp>
      <p:sp>
        <p:nvSpPr>
          <p:cNvPr id="170" name="Текст 24">
            <a:extLst>
              <a:ext uri="{FF2B5EF4-FFF2-40B4-BE49-F238E27FC236}">
                <a16:creationId xmlns:a16="http://schemas.microsoft.com/office/drawing/2014/main" id="{1BE34B13-CA49-41DD-95C9-C47F44A3915B}"/>
              </a:ext>
              <a:ext uri="{C1720401-D1C5-4B6F-A520-021223EDF1B8}">
                <a16:creationId xmlns=""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id="{6B95C79F-E377-403D-BF1C-059B0C26D6B6}"/>
              </a:ext>
            </a:extLst>
          </p:cNvPr>
          <p:cNvSpPr txBox="1"/>
          <p:nvPr/>
        </p:nvSpPr>
        <p:spPr>
          <a:xfrm>
            <a:off x="9112259" y="6095291"/>
            <a:ext cx="1377976" cy="416831"/>
          </a:xfrm>
          <a:prstGeom prst="rect">
            <a:avLst/>
          </a:prstGeom>
        </p:spPr>
        <p:txBody>
          <a:bodyPr vert="horz" wrap="square" lIns="0" tIns="0" rIns="0" bIns="108000" rtlCol="0">
            <a:spAutoFit/>
          </a:bodyPr>
          <a:lstStyle>
            <a:lvl1pPr marL="0" lvl="0" algn="l" rtl="0">
              <a:defRPr lang="en-US" sz="1800" dirty="0">
                <a:solidFill>
                  <a:schemeClr val="tx1"/>
                </a:solidFill>
                <a:latin typeface="+mn-lt"/>
              </a:defRPr>
            </a:lvl1pPr>
            <a:lvl2pPr marL="457200" lvl="1" algn="l" rtl="0">
              <a:defRPr lang="en-US" sz="1800" dirty="0">
                <a:solidFill>
                  <a:schemeClr val="tx1"/>
                </a:solidFill>
                <a:latin typeface="+mn-lt"/>
              </a:defRPr>
            </a:lvl2pPr>
            <a:lvl3pPr marL="914400" lvl="2" algn="l" rtl="0">
              <a:defRPr lang="en-US" sz="1800" dirty="0">
                <a:solidFill>
                  <a:schemeClr val="tx1"/>
                </a:solidFill>
                <a:latin typeface="+mn-lt"/>
              </a:defRPr>
            </a:lvl3pPr>
            <a:lvl4pPr marL="1371600" lvl="3" algn="l" rtl="0">
              <a:defRPr lang="en-US" sz="1800" dirty="0">
                <a:solidFill>
                  <a:schemeClr val="tx1"/>
                </a:solidFill>
                <a:latin typeface="+mn-lt"/>
              </a:defRPr>
            </a:lvl4pPr>
            <a:lvl5pPr marL="1828800" lvl="4" algn="l" rtl="0">
              <a:defRPr lang="en-US" sz="1800" dirty="0">
                <a:solidFill>
                  <a:schemeClr val="tx1"/>
                </a:solidFill>
                <a:latin typeface="+mn-lt"/>
              </a:defRPr>
            </a:lvl5pPr>
            <a:lvl6pPr marL="2286000" lvl="5" algn="l" rtl="0">
              <a:defRPr lang="en-US" sz="1800" dirty="0">
                <a:solidFill>
                  <a:schemeClr val="tx1"/>
                </a:solidFill>
                <a:latin typeface="+mn-lt"/>
              </a:defRPr>
            </a:lvl6pPr>
            <a:lvl7pPr marL="2743200" lvl="6" algn="l" rtl="0">
              <a:defRPr lang="en-US" sz="1800" dirty="0">
                <a:solidFill>
                  <a:schemeClr val="tx1"/>
                </a:solidFill>
                <a:latin typeface="+mn-lt"/>
              </a:defRPr>
            </a:lvl7pPr>
            <a:lvl8pPr marL="3200400" lvl="7" algn="l" rtl="0">
              <a:defRPr lang="en-US" sz="1800" dirty="0">
                <a:solidFill>
                  <a:schemeClr val="tx1"/>
                </a:solidFill>
                <a:latin typeface="+mn-lt"/>
              </a:defRPr>
            </a:lvl8pPr>
            <a:lvl9pPr marL="3657600" lvl="8" algn="l" rtl="0">
              <a:defRPr lang="en-US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defTabSz="1219170"/>
            <a:r>
              <a:rPr lang="ru-RU" sz="1000" kern="0" dirty="0">
                <a:solidFill>
                  <a:srgbClr val="00AAE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чки присутствия инженеров</a:t>
            </a:r>
          </a:p>
        </p:txBody>
      </p:sp>
      <p:sp>
        <p:nvSpPr>
          <p:cNvPr id="171" name="Текст 24">
            <a:extLst>
              <a:ext uri="{FF2B5EF4-FFF2-40B4-BE49-F238E27FC236}">
                <a16:creationId xmlns:a16="http://schemas.microsoft.com/office/drawing/2014/main" id="{54ADD988-F6D1-4AD3-A23C-66CDC2862547}"/>
              </a:ext>
              <a:ext uri="{C1720401-D1C5-4B6F-A520-021223EDF1B8}">
                <a16:creationId xmlns=""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id="{6B95C79F-E377-403D-BF1C-059B0C26D6B6}"/>
              </a:ext>
            </a:extLst>
          </p:cNvPr>
          <p:cNvSpPr txBox="1"/>
          <p:nvPr/>
        </p:nvSpPr>
        <p:spPr>
          <a:xfrm>
            <a:off x="10838575" y="6095291"/>
            <a:ext cx="1157652" cy="416831"/>
          </a:xfrm>
          <a:prstGeom prst="rect">
            <a:avLst/>
          </a:prstGeom>
        </p:spPr>
        <p:txBody>
          <a:bodyPr vert="horz" wrap="square" lIns="0" tIns="0" rIns="0" bIns="108000" rtlCol="0">
            <a:spAutoFit/>
          </a:bodyPr>
          <a:lstStyle>
            <a:lvl1pPr marL="0" lvl="0" algn="l" rtl="0">
              <a:defRPr lang="en-US" sz="1800" dirty="0">
                <a:solidFill>
                  <a:schemeClr val="tx1"/>
                </a:solidFill>
                <a:latin typeface="+mn-lt"/>
              </a:defRPr>
            </a:lvl1pPr>
            <a:lvl2pPr marL="457200" lvl="1" algn="l" rtl="0">
              <a:defRPr lang="en-US" sz="1800" dirty="0">
                <a:solidFill>
                  <a:schemeClr val="tx1"/>
                </a:solidFill>
                <a:latin typeface="+mn-lt"/>
              </a:defRPr>
            </a:lvl2pPr>
            <a:lvl3pPr marL="914400" lvl="2" algn="l" rtl="0">
              <a:defRPr lang="en-US" sz="1800" dirty="0">
                <a:solidFill>
                  <a:schemeClr val="tx1"/>
                </a:solidFill>
                <a:latin typeface="+mn-lt"/>
              </a:defRPr>
            </a:lvl3pPr>
            <a:lvl4pPr marL="1371600" lvl="3" algn="l" rtl="0">
              <a:defRPr lang="en-US" sz="1800" dirty="0">
                <a:solidFill>
                  <a:schemeClr val="tx1"/>
                </a:solidFill>
                <a:latin typeface="+mn-lt"/>
              </a:defRPr>
            </a:lvl4pPr>
            <a:lvl5pPr marL="1828800" lvl="4" algn="l" rtl="0">
              <a:defRPr lang="en-US" sz="1800" dirty="0">
                <a:solidFill>
                  <a:schemeClr val="tx1"/>
                </a:solidFill>
                <a:latin typeface="+mn-lt"/>
              </a:defRPr>
            </a:lvl5pPr>
            <a:lvl6pPr marL="2286000" lvl="5" algn="l" rtl="0">
              <a:defRPr lang="en-US" sz="1800" dirty="0">
                <a:solidFill>
                  <a:schemeClr val="tx1"/>
                </a:solidFill>
                <a:latin typeface="+mn-lt"/>
              </a:defRPr>
            </a:lvl6pPr>
            <a:lvl7pPr marL="2743200" lvl="6" algn="l" rtl="0">
              <a:defRPr lang="en-US" sz="1800" dirty="0">
                <a:solidFill>
                  <a:schemeClr val="tx1"/>
                </a:solidFill>
                <a:latin typeface="+mn-lt"/>
              </a:defRPr>
            </a:lvl7pPr>
            <a:lvl8pPr marL="3200400" lvl="7" algn="l" rtl="0">
              <a:defRPr lang="en-US" sz="1800" dirty="0">
                <a:solidFill>
                  <a:schemeClr val="tx1"/>
                </a:solidFill>
                <a:latin typeface="+mn-lt"/>
              </a:defRPr>
            </a:lvl8pPr>
            <a:lvl9pPr marL="3657600" lvl="8" algn="l" rtl="0">
              <a:defRPr lang="en-US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defTabSz="1219170"/>
            <a:r>
              <a:rPr lang="ru-RU" sz="1000" kern="0" dirty="0">
                <a:solidFill>
                  <a:srgbClr val="00AAE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ездные</a:t>
            </a:r>
            <a:br>
              <a:rPr lang="ru-RU" sz="1000" kern="0" dirty="0">
                <a:solidFill>
                  <a:srgbClr val="00AAE5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kern="0" dirty="0">
                <a:solidFill>
                  <a:srgbClr val="00AAE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исты</a:t>
            </a:r>
          </a:p>
        </p:txBody>
      </p:sp>
      <p:grpSp>
        <p:nvGrpSpPr>
          <p:cNvPr id="172" name="Группа 171">
            <a:extLst>
              <a:ext uri="{FF2B5EF4-FFF2-40B4-BE49-F238E27FC236}">
                <a16:creationId xmlns:a16="http://schemas.microsoft.com/office/drawing/2014/main" id="{5F28446F-8B2F-4A71-8788-B47FE700C9A4}"/>
              </a:ext>
            </a:extLst>
          </p:cNvPr>
          <p:cNvGrpSpPr/>
          <p:nvPr/>
        </p:nvGrpSpPr>
        <p:grpSpPr>
          <a:xfrm>
            <a:off x="7758806" y="2359133"/>
            <a:ext cx="1157745" cy="496031"/>
            <a:chOff x="7654295" y="2372122"/>
            <a:chExt cx="1157745" cy="524987"/>
          </a:xfrm>
        </p:grpSpPr>
        <p:sp>
          <p:nvSpPr>
            <p:cNvPr id="173" name="Облачко с текстом: прямоугольное со скругленными углами 172">
              <a:extLst>
                <a:ext uri="{FF2B5EF4-FFF2-40B4-BE49-F238E27FC236}">
                  <a16:creationId xmlns:a16="http://schemas.microsoft.com/office/drawing/2014/main" id="{A29F8A55-CC8F-4096-A6B5-469067AABDFD}"/>
                </a:ext>
              </a:extLst>
            </p:cNvPr>
            <p:cNvSpPr/>
            <p:nvPr/>
          </p:nvSpPr>
          <p:spPr>
            <a:xfrm>
              <a:off x="7654295" y="2372122"/>
              <a:ext cx="1137489" cy="524987"/>
            </a:xfrm>
            <a:prstGeom prst="wedgeRoundRectCallout">
              <a:avLst>
                <a:gd name="adj1" fmla="val -22839"/>
                <a:gd name="adj2" fmla="val 66368"/>
                <a:gd name="adj3" fmla="val 16667"/>
              </a:avLst>
            </a:prstGeom>
            <a:solidFill>
              <a:srgbClr val="00AAE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1400804B-6230-4188-AB80-D09F53FF5029}"/>
                </a:ext>
              </a:extLst>
            </p:cNvPr>
            <p:cNvSpPr txBox="1"/>
            <p:nvPr/>
          </p:nvSpPr>
          <p:spPr>
            <a:xfrm>
              <a:off x="8161597" y="2615721"/>
              <a:ext cx="409017" cy="2443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7</a:t>
              </a: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1268512C-F464-4E23-A84C-59FA9FF521ED}"/>
                </a:ext>
              </a:extLst>
            </p:cNvPr>
            <p:cNvSpPr txBox="1"/>
            <p:nvPr/>
          </p:nvSpPr>
          <p:spPr>
            <a:xfrm>
              <a:off x="7737411" y="2441205"/>
              <a:ext cx="559037" cy="1954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ФО</a:t>
              </a:r>
              <a:endPara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9F01C08F-0AB2-4D8D-8255-C5BE3E817F14}"/>
                </a:ext>
              </a:extLst>
            </p:cNvPr>
            <p:cNvSpPr txBox="1"/>
            <p:nvPr/>
          </p:nvSpPr>
          <p:spPr>
            <a:xfrm>
              <a:off x="7777666" y="2619915"/>
              <a:ext cx="430413" cy="2443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62</a:t>
              </a:r>
            </a:p>
          </p:txBody>
        </p:sp>
        <p:cxnSp>
          <p:nvCxnSpPr>
            <p:cNvPr id="177" name="Прямая соединительная линия 176">
              <a:extLst>
                <a:ext uri="{FF2B5EF4-FFF2-40B4-BE49-F238E27FC236}">
                  <a16:creationId xmlns:a16="http://schemas.microsoft.com/office/drawing/2014/main" id="{72ED95F6-C5AB-4E92-BF38-551F14DCAC1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58537" y="2632482"/>
              <a:ext cx="92373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5DBED6B4-0702-47E5-94CA-5D1858E7DCB2}"/>
                </a:ext>
              </a:extLst>
            </p:cNvPr>
            <p:cNvSpPr txBox="1"/>
            <p:nvPr/>
          </p:nvSpPr>
          <p:spPr>
            <a:xfrm>
              <a:off x="8466397" y="2612508"/>
              <a:ext cx="345643" cy="2443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</a:t>
              </a:r>
            </a:p>
          </p:txBody>
        </p:sp>
        <p:grpSp>
          <p:nvGrpSpPr>
            <p:cNvPr id="179" name="Группа 178">
              <a:extLst>
                <a:ext uri="{FF2B5EF4-FFF2-40B4-BE49-F238E27FC236}">
                  <a16:creationId xmlns:a16="http://schemas.microsoft.com/office/drawing/2014/main" id="{4F668005-36E5-41F1-9974-1288B7ECD0AF}"/>
                </a:ext>
              </a:extLst>
            </p:cNvPr>
            <p:cNvGrpSpPr/>
            <p:nvPr/>
          </p:nvGrpSpPr>
          <p:grpSpPr>
            <a:xfrm>
              <a:off x="7738066" y="2665207"/>
              <a:ext cx="806202" cy="115315"/>
              <a:chOff x="7796127" y="2627886"/>
              <a:chExt cx="806202" cy="115315"/>
            </a:xfrm>
          </p:grpSpPr>
          <p:pic>
            <p:nvPicPr>
              <p:cNvPr id="180" name="Рисунок 179">
                <a:extLst>
                  <a:ext uri="{FF2B5EF4-FFF2-40B4-BE49-F238E27FC236}">
                    <a16:creationId xmlns:a16="http://schemas.microsoft.com/office/drawing/2014/main" id="{6F29BE6C-7B59-49E9-9A4B-611C5942CC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796127" y="2636692"/>
                <a:ext cx="108207" cy="106509"/>
              </a:xfrm>
              <a:prstGeom prst="rect">
                <a:avLst/>
              </a:prstGeom>
            </p:spPr>
          </p:pic>
          <p:pic>
            <p:nvPicPr>
              <p:cNvPr id="181" name="Рисунок 180">
                <a:extLst>
                  <a:ext uri="{FF2B5EF4-FFF2-40B4-BE49-F238E27FC236}">
                    <a16:creationId xmlns:a16="http://schemas.microsoft.com/office/drawing/2014/main" id="{CD87CB5C-F8D0-4C00-BEDD-B302AD2DE0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8175718" y="2627886"/>
                <a:ext cx="115552" cy="113739"/>
              </a:xfrm>
              <a:prstGeom prst="rect">
                <a:avLst/>
              </a:prstGeom>
            </p:spPr>
          </p:pic>
          <p:pic>
            <p:nvPicPr>
              <p:cNvPr id="182" name="Рисунок 181">
                <a:extLst>
                  <a:ext uri="{FF2B5EF4-FFF2-40B4-BE49-F238E27FC236}">
                    <a16:creationId xmlns:a16="http://schemas.microsoft.com/office/drawing/2014/main" id="{1BFB45AC-C7C8-4B2E-98EE-B6F7654330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492364" y="2630391"/>
                <a:ext cx="109965" cy="109965"/>
              </a:xfrm>
              <a:prstGeom prst="rect">
                <a:avLst/>
              </a:prstGeom>
            </p:spPr>
          </p:pic>
        </p:grpSp>
      </p:grpSp>
      <p:grpSp>
        <p:nvGrpSpPr>
          <p:cNvPr id="183" name="Группа 182">
            <a:extLst>
              <a:ext uri="{FF2B5EF4-FFF2-40B4-BE49-F238E27FC236}">
                <a16:creationId xmlns:a16="http://schemas.microsoft.com/office/drawing/2014/main" id="{F3D86602-172F-4029-9330-7C44B500FC03}"/>
              </a:ext>
            </a:extLst>
          </p:cNvPr>
          <p:cNvGrpSpPr/>
          <p:nvPr/>
        </p:nvGrpSpPr>
        <p:grpSpPr>
          <a:xfrm>
            <a:off x="9450757" y="2595508"/>
            <a:ext cx="1157745" cy="508473"/>
            <a:chOff x="7654295" y="2372122"/>
            <a:chExt cx="1157745" cy="524987"/>
          </a:xfrm>
        </p:grpSpPr>
        <p:sp>
          <p:nvSpPr>
            <p:cNvPr id="184" name="Облачко с текстом: прямоугольное со скругленными углами 183">
              <a:extLst>
                <a:ext uri="{FF2B5EF4-FFF2-40B4-BE49-F238E27FC236}">
                  <a16:creationId xmlns:a16="http://schemas.microsoft.com/office/drawing/2014/main" id="{F3D3C0B6-6226-45A5-BD58-C60FEB3EAD7F}"/>
                </a:ext>
              </a:extLst>
            </p:cNvPr>
            <p:cNvSpPr/>
            <p:nvPr/>
          </p:nvSpPr>
          <p:spPr>
            <a:xfrm>
              <a:off x="7654295" y="2372122"/>
              <a:ext cx="1137489" cy="524987"/>
            </a:xfrm>
            <a:prstGeom prst="wedgeRoundRectCallout">
              <a:avLst>
                <a:gd name="adj1" fmla="val -22839"/>
                <a:gd name="adj2" fmla="val 66368"/>
                <a:gd name="adj3" fmla="val 16667"/>
              </a:avLst>
            </a:prstGeom>
            <a:solidFill>
              <a:srgbClr val="00AAE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F9EED26D-F897-4D82-A419-341432554B81}"/>
                </a:ext>
              </a:extLst>
            </p:cNvPr>
            <p:cNvSpPr txBox="1"/>
            <p:nvPr/>
          </p:nvSpPr>
          <p:spPr>
            <a:xfrm>
              <a:off x="8161597" y="2615721"/>
              <a:ext cx="409017" cy="238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</a:p>
          </p:txBody>
        </p: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B5F9B6EF-239D-40B5-A2C6-9C4D8E2EAD1E}"/>
                </a:ext>
              </a:extLst>
            </p:cNvPr>
            <p:cNvSpPr txBox="1"/>
            <p:nvPr/>
          </p:nvSpPr>
          <p:spPr>
            <a:xfrm>
              <a:off x="7737411" y="2441205"/>
              <a:ext cx="559037" cy="190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ФО</a:t>
              </a:r>
              <a:endPara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8A853345-0DB9-4FAE-BDFC-B169311EF35B}"/>
                </a:ext>
              </a:extLst>
            </p:cNvPr>
            <p:cNvSpPr txBox="1"/>
            <p:nvPr/>
          </p:nvSpPr>
          <p:spPr>
            <a:xfrm>
              <a:off x="7777666" y="2619915"/>
              <a:ext cx="430413" cy="238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89</a:t>
              </a:r>
            </a:p>
          </p:txBody>
        </p:sp>
        <p:cxnSp>
          <p:nvCxnSpPr>
            <p:cNvPr id="188" name="Прямая соединительная линия 187">
              <a:extLst>
                <a:ext uri="{FF2B5EF4-FFF2-40B4-BE49-F238E27FC236}">
                  <a16:creationId xmlns:a16="http://schemas.microsoft.com/office/drawing/2014/main" id="{7BB4D77A-8932-4FCF-8530-4981E266BE7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58537" y="2632482"/>
              <a:ext cx="92373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6BC3FDF8-059F-479D-852D-1C631503D4AA}"/>
                </a:ext>
              </a:extLst>
            </p:cNvPr>
            <p:cNvSpPr txBox="1"/>
            <p:nvPr/>
          </p:nvSpPr>
          <p:spPr>
            <a:xfrm>
              <a:off x="8466397" y="2612508"/>
              <a:ext cx="345643" cy="238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</a:t>
              </a:r>
            </a:p>
          </p:txBody>
        </p:sp>
        <p:grpSp>
          <p:nvGrpSpPr>
            <p:cNvPr id="190" name="Группа 189">
              <a:extLst>
                <a:ext uri="{FF2B5EF4-FFF2-40B4-BE49-F238E27FC236}">
                  <a16:creationId xmlns:a16="http://schemas.microsoft.com/office/drawing/2014/main" id="{AE625B1A-2297-40C3-AAB9-B2F5963F4DD6}"/>
                </a:ext>
              </a:extLst>
            </p:cNvPr>
            <p:cNvGrpSpPr/>
            <p:nvPr/>
          </p:nvGrpSpPr>
          <p:grpSpPr>
            <a:xfrm>
              <a:off x="7738066" y="2665207"/>
              <a:ext cx="806202" cy="115315"/>
              <a:chOff x="7796127" y="2627886"/>
              <a:chExt cx="806202" cy="115315"/>
            </a:xfrm>
          </p:grpSpPr>
          <p:pic>
            <p:nvPicPr>
              <p:cNvPr id="191" name="Рисунок 190">
                <a:extLst>
                  <a:ext uri="{FF2B5EF4-FFF2-40B4-BE49-F238E27FC236}">
                    <a16:creationId xmlns:a16="http://schemas.microsoft.com/office/drawing/2014/main" id="{12D440F3-2885-451B-BBD5-21DBD161A3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796127" y="2636692"/>
                <a:ext cx="108207" cy="106509"/>
              </a:xfrm>
              <a:prstGeom prst="rect">
                <a:avLst/>
              </a:prstGeom>
            </p:spPr>
          </p:pic>
          <p:pic>
            <p:nvPicPr>
              <p:cNvPr id="192" name="Рисунок 191">
                <a:extLst>
                  <a:ext uri="{FF2B5EF4-FFF2-40B4-BE49-F238E27FC236}">
                    <a16:creationId xmlns:a16="http://schemas.microsoft.com/office/drawing/2014/main" id="{692C33A4-6133-40A4-95DE-57DB9F212D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8175718" y="2627886"/>
                <a:ext cx="115552" cy="113739"/>
              </a:xfrm>
              <a:prstGeom prst="rect">
                <a:avLst/>
              </a:prstGeom>
            </p:spPr>
          </p:pic>
          <p:pic>
            <p:nvPicPr>
              <p:cNvPr id="193" name="Рисунок 192">
                <a:extLst>
                  <a:ext uri="{FF2B5EF4-FFF2-40B4-BE49-F238E27FC236}">
                    <a16:creationId xmlns:a16="http://schemas.microsoft.com/office/drawing/2014/main" id="{9CC05810-C6A8-44AD-9D1D-7F07FEBEF3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492364" y="2630391"/>
                <a:ext cx="109965" cy="109965"/>
              </a:xfrm>
              <a:prstGeom prst="rect">
                <a:avLst/>
              </a:prstGeom>
            </p:spPr>
          </p:pic>
        </p:grpSp>
      </p:grpSp>
      <p:grpSp>
        <p:nvGrpSpPr>
          <p:cNvPr id="194" name="Группа 193">
            <a:extLst>
              <a:ext uri="{FF2B5EF4-FFF2-40B4-BE49-F238E27FC236}">
                <a16:creationId xmlns:a16="http://schemas.microsoft.com/office/drawing/2014/main" id="{4E7D4C0C-8DB5-4A10-97CF-AE6997E9FFB0}"/>
              </a:ext>
            </a:extLst>
          </p:cNvPr>
          <p:cNvGrpSpPr/>
          <p:nvPr/>
        </p:nvGrpSpPr>
        <p:grpSpPr>
          <a:xfrm>
            <a:off x="7012299" y="3383814"/>
            <a:ext cx="1157745" cy="489810"/>
            <a:chOff x="7654295" y="2372122"/>
            <a:chExt cx="1157745" cy="524987"/>
          </a:xfrm>
        </p:grpSpPr>
        <p:sp>
          <p:nvSpPr>
            <p:cNvPr id="195" name="Облачко с текстом: прямоугольное со скругленными углами 194">
              <a:extLst>
                <a:ext uri="{FF2B5EF4-FFF2-40B4-BE49-F238E27FC236}">
                  <a16:creationId xmlns:a16="http://schemas.microsoft.com/office/drawing/2014/main" id="{2D92955C-BF77-4340-B47F-CA9B6C85E6AE}"/>
                </a:ext>
              </a:extLst>
            </p:cNvPr>
            <p:cNvSpPr/>
            <p:nvPr/>
          </p:nvSpPr>
          <p:spPr>
            <a:xfrm>
              <a:off x="7654295" y="2372122"/>
              <a:ext cx="1137489" cy="524987"/>
            </a:xfrm>
            <a:prstGeom prst="wedgeRoundRectCallout">
              <a:avLst>
                <a:gd name="adj1" fmla="val -22839"/>
                <a:gd name="adj2" fmla="val 66368"/>
                <a:gd name="adj3" fmla="val 16667"/>
              </a:avLst>
            </a:prstGeom>
            <a:solidFill>
              <a:srgbClr val="00AAE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89273363-5135-4C9C-9B32-1D2D65E433BD}"/>
                </a:ext>
              </a:extLst>
            </p:cNvPr>
            <p:cNvSpPr txBox="1"/>
            <p:nvPr/>
          </p:nvSpPr>
          <p:spPr>
            <a:xfrm>
              <a:off x="8161597" y="2615721"/>
              <a:ext cx="409017" cy="247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</a:t>
              </a:r>
            </a:p>
          </p:txBody>
        </p: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9DC49D9A-D766-4B7F-AF46-A1C528D9B8BB}"/>
                </a:ext>
              </a:extLst>
            </p:cNvPr>
            <p:cNvSpPr txBox="1"/>
            <p:nvPr/>
          </p:nvSpPr>
          <p:spPr>
            <a:xfrm>
              <a:off x="7737411" y="2441205"/>
              <a:ext cx="559037" cy="1979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ФО</a:t>
              </a:r>
              <a:endPara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8145EF8C-95C7-4EC4-A01A-48F9784E9EB4}"/>
                </a:ext>
              </a:extLst>
            </p:cNvPr>
            <p:cNvSpPr txBox="1"/>
            <p:nvPr/>
          </p:nvSpPr>
          <p:spPr>
            <a:xfrm>
              <a:off x="7777666" y="2619916"/>
              <a:ext cx="430413" cy="247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1</a:t>
              </a:r>
            </a:p>
          </p:txBody>
        </p:sp>
        <p:cxnSp>
          <p:nvCxnSpPr>
            <p:cNvPr id="199" name="Прямая соединительная линия 198">
              <a:extLst>
                <a:ext uri="{FF2B5EF4-FFF2-40B4-BE49-F238E27FC236}">
                  <a16:creationId xmlns:a16="http://schemas.microsoft.com/office/drawing/2014/main" id="{080B7EE1-76D2-4497-AAEE-1E4DDF9E751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58537" y="2632482"/>
              <a:ext cx="92373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5020BDE6-EC64-4CCD-88BA-62E0A2A18B26}"/>
                </a:ext>
              </a:extLst>
            </p:cNvPr>
            <p:cNvSpPr txBox="1"/>
            <p:nvPr/>
          </p:nvSpPr>
          <p:spPr>
            <a:xfrm>
              <a:off x="8466397" y="2612508"/>
              <a:ext cx="345643" cy="247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</a:p>
          </p:txBody>
        </p:sp>
        <p:grpSp>
          <p:nvGrpSpPr>
            <p:cNvPr id="201" name="Группа 200">
              <a:extLst>
                <a:ext uri="{FF2B5EF4-FFF2-40B4-BE49-F238E27FC236}">
                  <a16:creationId xmlns:a16="http://schemas.microsoft.com/office/drawing/2014/main" id="{471AC2B0-2A36-478A-AC2F-91220E7FDDE8}"/>
                </a:ext>
              </a:extLst>
            </p:cNvPr>
            <p:cNvGrpSpPr/>
            <p:nvPr/>
          </p:nvGrpSpPr>
          <p:grpSpPr>
            <a:xfrm>
              <a:off x="7738066" y="2665207"/>
              <a:ext cx="806202" cy="115315"/>
              <a:chOff x="7796127" y="2627886"/>
              <a:chExt cx="806202" cy="115315"/>
            </a:xfrm>
          </p:grpSpPr>
          <p:pic>
            <p:nvPicPr>
              <p:cNvPr id="202" name="Рисунок 201">
                <a:extLst>
                  <a:ext uri="{FF2B5EF4-FFF2-40B4-BE49-F238E27FC236}">
                    <a16:creationId xmlns:a16="http://schemas.microsoft.com/office/drawing/2014/main" id="{FCEF3F42-2946-4C70-9CFF-D045A38696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796127" y="2636692"/>
                <a:ext cx="108207" cy="106509"/>
              </a:xfrm>
              <a:prstGeom prst="rect">
                <a:avLst/>
              </a:prstGeom>
            </p:spPr>
          </p:pic>
          <p:pic>
            <p:nvPicPr>
              <p:cNvPr id="203" name="Рисунок 202">
                <a:extLst>
                  <a:ext uri="{FF2B5EF4-FFF2-40B4-BE49-F238E27FC236}">
                    <a16:creationId xmlns:a16="http://schemas.microsoft.com/office/drawing/2014/main" id="{A0A91545-5D07-4784-A56E-E59BBEC44A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8175718" y="2627886"/>
                <a:ext cx="115552" cy="113739"/>
              </a:xfrm>
              <a:prstGeom prst="rect">
                <a:avLst/>
              </a:prstGeom>
            </p:spPr>
          </p:pic>
          <p:pic>
            <p:nvPicPr>
              <p:cNvPr id="204" name="Рисунок 203">
                <a:extLst>
                  <a:ext uri="{FF2B5EF4-FFF2-40B4-BE49-F238E27FC236}">
                    <a16:creationId xmlns:a16="http://schemas.microsoft.com/office/drawing/2014/main" id="{BF864147-9CF8-4DE9-A57E-1EB8D9B876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492364" y="2630391"/>
                <a:ext cx="109965" cy="109965"/>
              </a:xfrm>
              <a:prstGeom prst="rect">
                <a:avLst/>
              </a:prstGeom>
            </p:spPr>
          </p:pic>
        </p:grpSp>
      </p:grpSp>
      <p:grpSp>
        <p:nvGrpSpPr>
          <p:cNvPr id="205" name="Группа 204">
            <a:extLst>
              <a:ext uri="{FF2B5EF4-FFF2-40B4-BE49-F238E27FC236}">
                <a16:creationId xmlns:a16="http://schemas.microsoft.com/office/drawing/2014/main" id="{4BFE9A6A-C43D-4C10-9596-DDE02C465A02}"/>
              </a:ext>
            </a:extLst>
          </p:cNvPr>
          <p:cNvGrpSpPr/>
          <p:nvPr/>
        </p:nvGrpSpPr>
        <p:grpSpPr>
          <a:xfrm>
            <a:off x="5594103" y="3572112"/>
            <a:ext cx="1157745" cy="489810"/>
            <a:chOff x="7654295" y="2372122"/>
            <a:chExt cx="1157745" cy="524987"/>
          </a:xfrm>
        </p:grpSpPr>
        <p:sp>
          <p:nvSpPr>
            <p:cNvPr id="206" name="Облачко с текстом: прямоугольное со скругленными углами 205">
              <a:extLst>
                <a:ext uri="{FF2B5EF4-FFF2-40B4-BE49-F238E27FC236}">
                  <a16:creationId xmlns:a16="http://schemas.microsoft.com/office/drawing/2014/main" id="{15C07AA0-2CC3-4BFD-9082-C99098F2BF3C}"/>
                </a:ext>
              </a:extLst>
            </p:cNvPr>
            <p:cNvSpPr/>
            <p:nvPr/>
          </p:nvSpPr>
          <p:spPr>
            <a:xfrm>
              <a:off x="7654295" y="2372122"/>
              <a:ext cx="1137489" cy="524987"/>
            </a:xfrm>
            <a:prstGeom prst="wedgeRoundRectCallout">
              <a:avLst>
                <a:gd name="adj1" fmla="val -22839"/>
                <a:gd name="adj2" fmla="val 66368"/>
                <a:gd name="adj3" fmla="val 16667"/>
              </a:avLst>
            </a:prstGeom>
            <a:solidFill>
              <a:srgbClr val="00AAE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8126A282-74F5-4742-A45C-2A26D528FC71}"/>
                </a:ext>
              </a:extLst>
            </p:cNvPr>
            <p:cNvSpPr txBox="1"/>
            <p:nvPr/>
          </p:nvSpPr>
          <p:spPr>
            <a:xfrm>
              <a:off x="8161597" y="2615721"/>
              <a:ext cx="409017" cy="247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2</a:t>
              </a:r>
            </a:p>
          </p:txBody>
        </p:sp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99D4D56D-898F-4CCC-A521-47F34CB3EAB4}"/>
                </a:ext>
              </a:extLst>
            </p:cNvPr>
            <p:cNvSpPr txBox="1"/>
            <p:nvPr/>
          </p:nvSpPr>
          <p:spPr>
            <a:xfrm>
              <a:off x="7737411" y="2441205"/>
              <a:ext cx="559037" cy="1979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ФО</a:t>
              </a:r>
              <a:endPara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FB1AD0E9-A744-44CF-B490-7E0B78FEA8C5}"/>
                </a:ext>
              </a:extLst>
            </p:cNvPr>
            <p:cNvSpPr txBox="1"/>
            <p:nvPr/>
          </p:nvSpPr>
          <p:spPr>
            <a:xfrm>
              <a:off x="7777666" y="2619916"/>
              <a:ext cx="430413" cy="247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26</a:t>
              </a:r>
            </a:p>
          </p:txBody>
        </p:sp>
        <p:cxnSp>
          <p:nvCxnSpPr>
            <p:cNvPr id="210" name="Прямая соединительная линия 209">
              <a:extLst>
                <a:ext uri="{FF2B5EF4-FFF2-40B4-BE49-F238E27FC236}">
                  <a16:creationId xmlns:a16="http://schemas.microsoft.com/office/drawing/2014/main" id="{9C9F7E39-C19E-4FF7-AB3C-0EC3ECB5C72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58537" y="2632482"/>
              <a:ext cx="92373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94673A46-CE89-4337-8D3A-23C906A0B88D}"/>
                </a:ext>
              </a:extLst>
            </p:cNvPr>
            <p:cNvSpPr txBox="1"/>
            <p:nvPr/>
          </p:nvSpPr>
          <p:spPr>
            <a:xfrm>
              <a:off x="8466397" y="2612508"/>
              <a:ext cx="345643" cy="247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4</a:t>
              </a:r>
            </a:p>
          </p:txBody>
        </p:sp>
        <p:grpSp>
          <p:nvGrpSpPr>
            <p:cNvPr id="212" name="Группа 211">
              <a:extLst>
                <a:ext uri="{FF2B5EF4-FFF2-40B4-BE49-F238E27FC236}">
                  <a16:creationId xmlns:a16="http://schemas.microsoft.com/office/drawing/2014/main" id="{A60F4DB1-EBB3-4BF9-8649-7A2148E78292}"/>
                </a:ext>
              </a:extLst>
            </p:cNvPr>
            <p:cNvGrpSpPr/>
            <p:nvPr/>
          </p:nvGrpSpPr>
          <p:grpSpPr>
            <a:xfrm>
              <a:off x="7738066" y="2665207"/>
              <a:ext cx="806202" cy="115315"/>
              <a:chOff x="7796127" y="2627886"/>
              <a:chExt cx="806202" cy="115315"/>
            </a:xfrm>
          </p:grpSpPr>
          <p:pic>
            <p:nvPicPr>
              <p:cNvPr id="213" name="Рисунок 212">
                <a:extLst>
                  <a:ext uri="{FF2B5EF4-FFF2-40B4-BE49-F238E27FC236}">
                    <a16:creationId xmlns:a16="http://schemas.microsoft.com/office/drawing/2014/main" id="{E0270A86-F7C0-4325-A528-BEEBCC1C35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796127" y="2636692"/>
                <a:ext cx="108207" cy="106509"/>
              </a:xfrm>
              <a:prstGeom prst="rect">
                <a:avLst/>
              </a:prstGeom>
            </p:spPr>
          </p:pic>
          <p:pic>
            <p:nvPicPr>
              <p:cNvPr id="214" name="Рисунок 213">
                <a:extLst>
                  <a:ext uri="{FF2B5EF4-FFF2-40B4-BE49-F238E27FC236}">
                    <a16:creationId xmlns:a16="http://schemas.microsoft.com/office/drawing/2014/main" id="{9CFD24B2-3012-4B65-A99C-EC3E3F829F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8175718" y="2627886"/>
                <a:ext cx="115552" cy="113739"/>
              </a:xfrm>
              <a:prstGeom prst="rect">
                <a:avLst/>
              </a:prstGeom>
            </p:spPr>
          </p:pic>
          <p:pic>
            <p:nvPicPr>
              <p:cNvPr id="215" name="Рисунок 214">
                <a:extLst>
                  <a:ext uri="{FF2B5EF4-FFF2-40B4-BE49-F238E27FC236}">
                    <a16:creationId xmlns:a16="http://schemas.microsoft.com/office/drawing/2014/main" id="{D65D6CEC-E9DE-41EA-AE9E-DF05F0BF15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492364" y="2630391"/>
                <a:ext cx="109965" cy="109965"/>
              </a:xfrm>
              <a:prstGeom prst="rect">
                <a:avLst/>
              </a:prstGeom>
            </p:spPr>
          </p:pic>
        </p:grpSp>
      </p:grpSp>
      <p:grpSp>
        <p:nvGrpSpPr>
          <p:cNvPr id="216" name="Группа 215">
            <a:extLst>
              <a:ext uri="{FF2B5EF4-FFF2-40B4-BE49-F238E27FC236}">
                <a16:creationId xmlns:a16="http://schemas.microsoft.com/office/drawing/2014/main" id="{47E99A2E-D6F4-4FD9-8C51-539B8A7A107B}"/>
              </a:ext>
            </a:extLst>
          </p:cNvPr>
          <p:cNvGrpSpPr/>
          <p:nvPr/>
        </p:nvGrpSpPr>
        <p:grpSpPr>
          <a:xfrm>
            <a:off x="5320405" y="2122756"/>
            <a:ext cx="1157745" cy="489810"/>
            <a:chOff x="7654295" y="2372122"/>
            <a:chExt cx="1157745" cy="524987"/>
          </a:xfrm>
        </p:grpSpPr>
        <p:sp>
          <p:nvSpPr>
            <p:cNvPr id="217" name="Облачко с текстом: прямоугольное со скругленными углами 216">
              <a:extLst>
                <a:ext uri="{FF2B5EF4-FFF2-40B4-BE49-F238E27FC236}">
                  <a16:creationId xmlns:a16="http://schemas.microsoft.com/office/drawing/2014/main" id="{69211C56-CCD0-4B84-9BFA-F6CB1919782E}"/>
                </a:ext>
              </a:extLst>
            </p:cNvPr>
            <p:cNvSpPr/>
            <p:nvPr/>
          </p:nvSpPr>
          <p:spPr>
            <a:xfrm>
              <a:off x="7654295" y="2372122"/>
              <a:ext cx="1137489" cy="524987"/>
            </a:xfrm>
            <a:prstGeom prst="wedgeRoundRectCallout">
              <a:avLst>
                <a:gd name="adj1" fmla="val -22839"/>
                <a:gd name="adj2" fmla="val 66368"/>
                <a:gd name="adj3" fmla="val 16667"/>
              </a:avLst>
            </a:prstGeom>
            <a:solidFill>
              <a:srgbClr val="00AAE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0489C34D-B837-4FD6-A4A8-E0E5D56998B2}"/>
                </a:ext>
              </a:extLst>
            </p:cNvPr>
            <p:cNvSpPr txBox="1"/>
            <p:nvPr/>
          </p:nvSpPr>
          <p:spPr>
            <a:xfrm>
              <a:off x="8161597" y="2615721"/>
              <a:ext cx="409017" cy="247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</a:t>
              </a:r>
            </a:p>
          </p:txBody>
        </p:sp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F5785448-7249-4FA8-9DFC-0208DEBE0FA9}"/>
                </a:ext>
              </a:extLst>
            </p:cNvPr>
            <p:cNvSpPr txBox="1"/>
            <p:nvPr/>
          </p:nvSpPr>
          <p:spPr>
            <a:xfrm>
              <a:off x="7737411" y="2441205"/>
              <a:ext cx="559037" cy="1979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ЗФО</a:t>
              </a:r>
              <a:endPara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E3EA4233-8B2D-407D-95F8-7F43CAA12CFD}"/>
                </a:ext>
              </a:extLst>
            </p:cNvPr>
            <p:cNvSpPr txBox="1"/>
            <p:nvPr/>
          </p:nvSpPr>
          <p:spPr>
            <a:xfrm>
              <a:off x="7777666" y="2619916"/>
              <a:ext cx="430413" cy="247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3</a:t>
              </a:r>
            </a:p>
          </p:txBody>
        </p:sp>
        <p:cxnSp>
          <p:nvCxnSpPr>
            <p:cNvPr id="221" name="Прямая соединительная линия 220">
              <a:extLst>
                <a:ext uri="{FF2B5EF4-FFF2-40B4-BE49-F238E27FC236}">
                  <a16:creationId xmlns:a16="http://schemas.microsoft.com/office/drawing/2014/main" id="{9738D4EF-7AE2-43DE-B430-0844B0E2A65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58537" y="2632482"/>
              <a:ext cx="92373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185EE030-AF9F-486A-9615-6AFF4F9CC8F4}"/>
                </a:ext>
              </a:extLst>
            </p:cNvPr>
            <p:cNvSpPr txBox="1"/>
            <p:nvPr/>
          </p:nvSpPr>
          <p:spPr>
            <a:xfrm>
              <a:off x="8466397" y="2612508"/>
              <a:ext cx="345643" cy="247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</a:p>
          </p:txBody>
        </p:sp>
        <p:grpSp>
          <p:nvGrpSpPr>
            <p:cNvPr id="223" name="Группа 222">
              <a:extLst>
                <a:ext uri="{FF2B5EF4-FFF2-40B4-BE49-F238E27FC236}">
                  <a16:creationId xmlns:a16="http://schemas.microsoft.com/office/drawing/2014/main" id="{714F71A5-B3D7-492D-B492-824D96AFFCA9}"/>
                </a:ext>
              </a:extLst>
            </p:cNvPr>
            <p:cNvGrpSpPr/>
            <p:nvPr/>
          </p:nvGrpSpPr>
          <p:grpSpPr>
            <a:xfrm>
              <a:off x="7738066" y="2665207"/>
              <a:ext cx="806202" cy="115315"/>
              <a:chOff x="7796127" y="2627886"/>
              <a:chExt cx="806202" cy="115315"/>
            </a:xfrm>
          </p:grpSpPr>
          <p:pic>
            <p:nvPicPr>
              <p:cNvPr id="224" name="Рисунок 223">
                <a:extLst>
                  <a:ext uri="{FF2B5EF4-FFF2-40B4-BE49-F238E27FC236}">
                    <a16:creationId xmlns:a16="http://schemas.microsoft.com/office/drawing/2014/main" id="{E601CEB5-7CF7-4BE9-9BE5-DA3BE60511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796127" y="2636692"/>
                <a:ext cx="108207" cy="106509"/>
              </a:xfrm>
              <a:prstGeom prst="rect">
                <a:avLst/>
              </a:prstGeom>
            </p:spPr>
          </p:pic>
          <p:pic>
            <p:nvPicPr>
              <p:cNvPr id="225" name="Рисунок 224">
                <a:extLst>
                  <a:ext uri="{FF2B5EF4-FFF2-40B4-BE49-F238E27FC236}">
                    <a16:creationId xmlns:a16="http://schemas.microsoft.com/office/drawing/2014/main" id="{A9DCF6C5-8A9A-400F-84F2-A87602BF6A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8175718" y="2627886"/>
                <a:ext cx="115552" cy="113739"/>
              </a:xfrm>
              <a:prstGeom prst="rect">
                <a:avLst/>
              </a:prstGeom>
            </p:spPr>
          </p:pic>
          <p:pic>
            <p:nvPicPr>
              <p:cNvPr id="226" name="Рисунок 225">
                <a:extLst>
                  <a:ext uri="{FF2B5EF4-FFF2-40B4-BE49-F238E27FC236}">
                    <a16:creationId xmlns:a16="http://schemas.microsoft.com/office/drawing/2014/main" id="{F8AFA05B-6E79-4F35-8CCA-74921EDD0D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492364" y="2630391"/>
                <a:ext cx="109965" cy="109965"/>
              </a:xfrm>
              <a:prstGeom prst="rect">
                <a:avLst/>
              </a:prstGeom>
            </p:spPr>
          </p:pic>
        </p:grpSp>
      </p:grpSp>
      <p:grpSp>
        <p:nvGrpSpPr>
          <p:cNvPr id="227" name="Группа 226">
            <a:extLst>
              <a:ext uri="{FF2B5EF4-FFF2-40B4-BE49-F238E27FC236}">
                <a16:creationId xmlns:a16="http://schemas.microsoft.com/office/drawing/2014/main" id="{7F19B454-C2CB-463E-B72C-7C24FCE289C9}"/>
              </a:ext>
            </a:extLst>
          </p:cNvPr>
          <p:cNvGrpSpPr/>
          <p:nvPr/>
        </p:nvGrpSpPr>
        <p:grpSpPr>
          <a:xfrm>
            <a:off x="4435966" y="2993613"/>
            <a:ext cx="1157745" cy="489810"/>
            <a:chOff x="7654295" y="2372122"/>
            <a:chExt cx="1157745" cy="524987"/>
          </a:xfrm>
        </p:grpSpPr>
        <p:sp>
          <p:nvSpPr>
            <p:cNvPr id="228" name="Облачко с текстом: прямоугольное со скругленными углами 227">
              <a:extLst>
                <a:ext uri="{FF2B5EF4-FFF2-40B4-BE49-F238E27FC236}">
                  <a16:creationId xmlns:a16="http://schemas.microsoft.com/office/drawing/2014/main" id="{4DC0C3B4-94B8-4001-A744-F1BFE24EE08C}"/>
                </a:ext>
              </a:extLst>
            </p:cNvPr>
            <p:cNvSpPr/>
            <p:nvPr/>
          </p:nvSpPr>
          <p:spPr>
            <a:xfrm>
              <a:off x="7654295" y="2372122"/>
              <a:ext cx="1137489" cy="524987"/>
            </a:xfrm>
            <a:prstGeom prst="wedgeRoundRectCallout">
              <a:avLst>
                <a:gd name="adj1" fmla="val -22839"/>
                <a:gd name="adj2" fmla="val 66368"/>
                <a:gd name="adj3" fmla="val 16667"/>
              </a:avLst>
            </a:prstGeom>
            <a:solidFill>
              <a:srgbClr val="00AAE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EE86A885-50A9-45FB-82A4-95C28397CC16}"/>
                </a:ext>
              </a:extLst>
            </p:cNvPr>
            <p:cNvSpPr txBox="1"/>
            <p:nvPr/>
          </p:nvSpPr>
          <p:spPr>
            <a:xfrm>
              <a:off x="8161597" y="2615721"/>
              <a:ext cx="409017" cy="247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8</a:t>
              </a:r>
            </a:p>
          </p:txBody>
        </p:sp>
        <p:sp>
          <p:nvSpPr>
            <p:cNvPr id="230" name="TextBox 229">
              <a:extLst>
                <a:ext uri="{FF2B5EF4-FFF2-40B4-BE49-F238E27FC236}">
                  <a16:creationId xmlns:a16="http://schemas.microsoft.com/office/drawing/2014/main" id="{6953022A-5C39-4FEA-B45B-2B9FD80CC05E}"/>
                </a:ext>
              </a:extLst>
            </p:cNvPr>
            <p:cNvSpPr txBox="1"/>
            <p:nvPr/>
          </p:nvSpPr>
          <p:spPr>
            <a:xfrm>
              <a:off x="7737411" y="2441205"/>
              <a:ext cx="559037" cy="1979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ФО</a:t>
              </a:r>
              <a:endPara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1" name="TextBox 230">
              <a:extLst>
                <a:ext uri="{FF2B5EF4-FFF2-40B4-BE49-F238E27FC236}">
                  <a16:creationId xmlns:a16="http://schemas.microsoft.com/office/drawing/2014/main" id="{47153BA8-E701-4FBB-9A8D-BA237B701EC9}"/>
                </a:ext>
              </a:extLst>
            </p:cNvPr>
            <p:cNvSpPr txBox="1"/>
            <p:nvPr/>
          </p:nvSpPr>
          <p:spPr>
            <a:xfrm>
              <a:off x="7746564" y="2606581"/>
              <a:ext cx="520359" cy="247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89</a:t>
              </a:r>
            </a:p>
          </p:txBody>
        </p:sp>
        <p:cxnSp>
          <p:nvCxnSpPr>
            <p:cNvPr id="232" name="Прямая соединительная линия 231">
              <a:extLst>
                <a:ext uri="{FF2B5EF4-FFF2-40B4-BE49-F238E27FC236}">
                  <a16:creationId xmlns:a16="http://schemas.microsoft.com/office/drawing/2014/main" id="{258EB223-888B-4DFB-B1A8-18108813D25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58537" y="2632482"/>
              <a:ext cx="92373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3" name="TextBox 232">
              <a:extLst>
                <a:ext uri="{FF2B5EF4-FFF2-40B4-BE49-F238E27FC236}">
                  <a16:creationId xmlns:a16="http://schemas.microsoft.com/office/drawing/2014/main" id="{86B1B3FD-363D-491D-966C-30AE20D1A5AB}"/>
                </a:ext>
              </a:extLst>
            </p:cNvPr>
            <p:cNvSpPr txBox="1"/>
            <p:nvPr/>
          </p:nvSpPr>
          <p:spPr>
            <a:xfrm>
              <a:off x="8466397" y="2612508"/>
              <a:ext cx="345643" cy="247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7</a:t>
              </a:r>
            </a:p>
          </p:txBody>
        </p:sp>
        <p:grpSp>
          <p:nvGrpSpPr>
            <p:cNvPr id="234" name="Группа 233">
              <a:extLst>
                <a:ext uri="{FF2B5EF4-FFF2-40B4-BE49-F238E27FC236}">
                  <a16:creationId xmlns:a16="http://schemas.microsoft.com/office/drawing/2014/main" id="{C2A7BD90-EE20-4E35-A993-69D677573F0E}"/>
                </a:ext>
              </a:extLst>
            </p:cNvPr>
            <p:cNvGrpSpPr/>
            <p:nvPr/>
          </p:nvGrpSpPr>
          <p:grpSpPr>
            <a:xfrm>
              <a:off x="7738066" y="2665207"/>
              <a:ext cx="806202" cy="115315"/>
              <a:chOff x="7796127" y="2627886"/>
              <a:chExt cx="806202" cy="115315"/>
            </a:xfrm>
          </p:grpSpPr>
          <p:pic>
            <p:nvPicPr>
              <p:cNvPr id="235" name="Рисунок 234">
                <a:extLst>
                  <a:ext uri="{FF2B5EF4-FFF2-40B4-BE49-F238E27FC236}">
                    <a16:creationId xmlns:a16="http://schemas.microsoft.com/office/drawing/2014/main" id="{8D291E4E-858D-4D83-B598-B211ECDDD8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796127" y="2636692"/>
                <a:ext cx="108207" cy="106509"/>
              </a:xfrm>
              <a:prstGeom prst="rect">
                <a:avLst/>
              </a:prstGeom>
            </p:spPr>
          </p:pic>
          <p:pic>
            <p:nvPicPr>
              <p:cNvPr id="236" name="Рисунок 235">
                <a:extLst>
                  <a:ext uri="{FF2B5EF4-FFF2-40B4-BE49-F238E27FC236}">
                    <a16:creationId xmlns:a16="http://schemas.microsoft.com/office/drawing/2014/main" id="{19444B0F-484B-48A7-9FC5-931C244B56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8175718" y="2627886"/>
                <a:ext cx="115552" cy="113739"/>
              </a:xfrm>
              <a:prstGeom prst="rect">
                <a:avLst/>
              </a:prstGeom>
            </p:spPr>
          </p:pic>
          <p:pic>
            <p:nvPicPr>
              <p:cNvPr id="237" name="Рисунок 236">
                <a:extLst>
                  <a:ext uri="{FF2B5EF4-FFF2-40B4-BE49-F238E27FC236}">
                    <a16:creationId xmlns:a16="http://schemas.microsoft.com/office/drawing/2014/main" id="{17268555-492B-4CAF-8D21-0B993C20D5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492364" y="2630391"/>
                <a:ext cx="109965" cy="109965"/>
              </a:xfrm>
              <a:prstGeom prst="rect">
                <a:avLst/>
              </a:prstGeom>
            </p:spPr>
          </p:pic>
        </p:grpSp>
      </p:grpSp>
      <p:grpSp>
        <p:nvGrpSpPr>
          <p:cNvPr id="238" name="Группа 237">
            <a:extLst>
              <a:ext uri="{FF2B5EF4-FFF2-40B4-BE49-F238E27FC236}">
                <a16:creationId xmlns:a16="http://schemas.microsoft.com/office/drawing/2014/main" id="{F0D23FDF-CEAD-4E1F-9385-22FA6686C067}"/>
              </a:ext>
            </a:extLst>
          </p:cNvPr>
          <p:cNvGrpSpPr/>
          <p:nvPr/>
        </p:nvGrpSpPr>
        <p:grpSpPr>
          <a:xfrm>
            <a:off x="4355102" y="4635802"/>
            <a:ext cx="1157745" cy="452486"/>
            <a:chOff x="7654295" y="2372122"/>
            <a:chExt cx="1157745" cy="524987"/>
          </a:xfrm>
        </p:grpSpPr>
        <p:sp>
          <p:nvSpPr>
            <p:cNvPr id="239" name="Облачко с текстом: прямоугольное со скругленными углами 238">
              <a:extLst>
                <a:ext uri="{FF2B5EF4-FFF2-40B4-BE49-F238E27FC236}">
                  <a16:creationId xmlns:a16="http://schemas.microsoft.com/office/drawing/2014/main" id="{DA003228-2886-4F0C-8859-2AFF4253C903}"/>
                </a:ext>
              </a:extLst>
            </p:cNvPr>
            <p:cNvSpPr/>
            <p:nvPr/>
          </p:nvSpPr>
          <p:spPr>
            <a:xfrm>
              <a:off x="7654295" y="2372122"/>
              <a:ext cx="1137489" cy="524987"/>
            </a:xfrm>
            <a:prstGeom prst="wedgeRoundRectCallout">
              <a:avLst>
                <a:gd name="adj1" fmla="val -22839"/>
                <a:gd name="adj2" fmla="val 66368"/>
                <a:gd name="adj3" fmla="val 16667"/>
              </a:avLst>
            </a:prstGeom>
            <a:solidFill>
              <a:srgbClr val="00AAE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DA8685ED-78C9-4FDC-854C-FC1DBEEFD3D4}"/>
                </a:ext>
              </a:extLst>
            </p:cNvPr>
            <p:cNvSpPr txBox="1"/>
            <p:nvPr/>
          </p:nvSpPr>
          <p:spPr>
            <a:xfrm>
              <a:off x="8161597" y="2615721"/>
              <a:ext cx="409017" cy="2678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7</a:t>
              </a:r>
            </a:p>
          </p:txBody>
        </p:sp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B4BE3774-901B-4088-AD8E-E2A8600FE536}"/>
                </a:ext>
              </a:extLst>
            </p:cNvPr>
            <p:cNvSpPr txBox="1"/>
            <p:nvPr/>
          </p:nvSpPr>
          <p:spPr>
            <a:xfrm>
              <a:off x="7737411" y="2426772"/>
              <a:ext cx="559037" cy="2142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ЮФО</a:t>
              </a:r>
              <a:endPara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2" name="TextBox 241">
              <a:extLst>
                <a:ext uri="{FF2B5EF4-FFF2-40B4-BE49-F238E27FC236}">
                  <a16:creationId xmlns:a16="http://schemas.microsoft.com/office/drawing/2014/main" id="{D5102EBD-FDD5-435D-8673-B5C715C36312}"/>
                </a:ext>
              </a:extLst>
            </p:cNvPr>
            <p:cNvSpPr txBox="1"/>
            <p:nvPr/>
          </p:nvSpPr>
          <p:spPr>
            <a:xfrm>
              <a:off x="7777666" y="2619917"/>
              <a:ext cx="430413" cy="2678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9</a:t>
              </a:r>
            </a:p>
          </p:txBody>
        </p:sp>
        <p:cxnSp>
          <p:nvCxnSpPr>
            <p:cNvPr id="243" name="Прямая соединительная линия 242">
              <a:extLst>
                <a:ext uri="{FF2B5EF4-FFF2-40B4-BE49-F238E27FC236}">
                  <a16:creationId xmlns:a16="http://schemas.microsoft.com/office/drawing/2014/main" id="{880877CC-6130-4A3D-8B46-CCD6683F5F4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58537" y="2632482"/>
              <a:ext cx="92373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46106E48-A543-4467-80A7-4073BEC0E7E2}"/>
                </a:ext>
              </a:extLst>
            </p:cNvPr>
            <p:cNvSpPr txBox="1"/>
            <p:nvPr/>
          </p:nvSpPr>
          <p:spPr>
            <a:xfrm>
              <a:off x="8466397" y="2612509"/>
              <a:ext cx="345643" cy="2678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grpSp>
          <p:nvGrpSpPr>
            <p:cNvPr id="245" name="Группа 244">
              <a:extLst>
                <a:ext uri="{FF2B5EF4-FFF2-40B4-BE49-F238E27FC236}">
                  <a16:creationId xmlns:a16="http://schemas.microsoft.com/office/drawing/2014/main" id="{47F95A09-3E5C-405D-8815-C3DFCCD32D2D}"/>
                </a:ext>
              </a:extLst>
            </p:cNvPr>
            <p:cNvGrpSpPr/>
            <p:nvPr/>
          </p:nvGrpSpPr>
          <p:grpSpPr>
            <a:xfrm>
              <a:off x="7738066" y="2665207"/>
              <a:ext cx="806202" cy="115315"/>
              <a:chOff x="7796127" y="2627886"/>
              <a:chExt cx="806202" cy="115315"/>
            </a:xfrm>
          </p:grpSpPr>
          <p:pic>
            <p:nvPicPr>
              <p:cNvPr id="246" name="Рисунок 245">
                <a:extLst>
                  <a:ext uri="{FF2B5EF4-FFF2-40B4-BE49-F238E27FC236}">
                    <a16:creationId xmlns:a16="http://schemas.microsoft.com/office/drawing/2014/main" id="{7F03BBB6-3892-4899-97D8-D54BC32E36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796127" y="2636692"/>
                <a:ext cx="108207" cy="106509"/>
              </a:xfrm>
              <a:prstGeom prst="rect">
                <a:avLst/>
              </a:prstGeom>
            </p:spPr>
          </p:pic>
          <p:pic>
            <p:nvPicPr>
              <p:cNvPr id="247" name="Рисунок 246">
                <a:extLst>
                  <a:ext uri="{FF2B5EF4-FFF2-40B4-BE49-F238E27FC236}">
                    <a16:creationId xmlns:a16="http://schemas.microsoft.com/office/drawing/2014/main" id="{C29C56FA-A445-457B-8D17-6C13AAF0A2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8175718" y="2627886"/>
                <a:ext cx="115552" cy="113739"/>
              </a:xfrm>
              <a:prstGeom prst="rect">
                <a:avLst/>
              </a:prstGeom>
            </p:spPr>
          </p:pic>
          <p:pic>
            <p:nvPicPr>
              <p:cNvPr id="248" name="Рисунок 247">
                <a:extLst>
                  <a:ext uri="{FF2B5EF4-FFF2-40B4-BE49-F238E27FC236}">
                    <a16:creationId xmlns:a16="http://schemas.microsoft.com/office/drawing/2014/main" id="{87706242-54B8-4BCB-8A0B-DE2680131D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492364" y="2630391"/>
                <a:ext cx="109965" cy="109965"/>
              </a:xfrm>
              <a:prstGeom prst="rect">
                <a:avLst/>
              </a:prstGeom>
            </p:spPr>
          </p:pic>
        </p:grpSp>
      </p:grpSp>
      <p:grpSp>
        <p:nvGrpSpPr>
          <p:cNvPr id="249" name="Группа 248">
            <a:extLst>
              <a:ext uri="{FF2B5EF4-FFF2-40B4-BE49-F238E27FC236}">
                <a16:creationId xmlns:a16="http://schemas.microsoft.com/office/drawing/2014/main" id="{A7259FCC-48C8-4C5C-B006-C28F7FE7B841}"/>
              </a:ext>
            </a:extLst>
          </p:cNvPr>
          <p:cNvGrpSpPr/>
          <p:nvPr/>
        </p:nvGrpSpPr>
        <p:grpSpPr>
          <a:xfrm>
            <a:off x="3366054" y="4119508"/>
            <a:ext cx="1157745" cy="458708"/>
            <a:chOff x="7654295" y="2372122"/>
            <a:chExt cx="1157745" cy="524987"/>
          </a:xfrm>
        </p:grpSpPr>
        <p:sp>
          <p:nvSpPr>
            <p:cNvPr id="250" name="Облачко с текстом: прямоугольное со скругленными углами 249">
              <a:extLst>
                <a:ext uri="{FF2B5EF4-FFF2-40B4-BE49-F238E27FC236}">
                  <a16:creationId xmlns:a16="http://schemas.microsoft.com/office/drawing/2014/main" id="{D0DE11E8-6598-472B-B341-23B91415D039}"/>
                </a:ext>
              </a:extLst>
            </p:cNvPr>
            <p:cNvSpPr/>
            <p:nvPr/>
          </p:nvSpPr>
          <p:spPr>
            <a:xfrm>
              <a:off x="7654295" y="2372122"/>
              <a:ext cx="1137489" cy="524987"/>
            </a:xfrm>
            <a:prstGeom prst="wedgeRoundRectCallout">
              <a:avLst>
                <a:gd name="adj1" fmla="val 32393"/>
                <a:gd name="adj2" fmla="val 70436"/>
                <a:gd name="adj3" fmla="val 16667"/>
              </a:avLst>
            </a:prstGeom>
            <a:solidFill>
              <a:srgbClr val="00AAE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1" name="TextBox 250">
              <a:extLst>
                <a:ext uri="{FF2B5EF4-FFF2-40B4-BE49-F238E27FC236}">
                  <a16:creationId xmlns:a16="http://schemas.microsoft.com/office/drawing/2014/main" id="{B927B8D1-1EF5-4B0B-9CC9-D116C0AD9531}"/>
                </a:ext>
              </a:extLst>
            </p:cNvPr>
            <p:cNvSpPr txBox="1"/>
            <p:nvPr/>
          </p:nvSpPr>
          <p:spPr>
            <a:xfrm>
              <a:off x="8161597" y="2615721"/>
              <a:ext cx="409017" cy="2641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</a:p>
          </p:txBody>
        </p:sp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DA5952CC-7D63-482E-890D-A3AEE2388A8B}"/>
                </a:ext>
              </a:extLst>
            </p:cNvPr>
            <p:cNvSpPr txBox="1"/>
            <p:nvPr/>
          </p:nvSpPr>
          <p:spPr>
            <a:xfrm>
              <a:off x="7737411" y="2419848"/>
              <a:ext cx="559037" cy="2113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КФО</a:t>
              </a:r>
              <a:endPara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53F175B0-7569-4940-8A03-CDA80C91080D}"/>
                </a:ext>
              </a:extLst>
            </p:cNvPr>
            <p:cNvSpPr txBox="1"/>
            <p:nvPr/>
          </p:nvSpPr>
          <p:spPr>
            <a:xfrm>
              <a:off x="7777666" y="2619916"/>
              <a:ext cx="430413" cy="2641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8</a:t>
              </a:r>
            </a:p>
          </p:txBody>
        </p:sp>
        <p:cxnSp>
          <p:nvCxnSpPr>
            <p:cNvPr id="254" name="Прямая соединительная линия 253">
              <a:extLst>
                <a:ext uri="{FF2B5EF4-FFF2-40B4-BE49-F238E27FC236}">
                  <a16:creationId xmlns:a16="http://schemas.microsoft.com/office/drawing/2014/main" id="{CA0389FA-B773-4856-9BFC-B7B5E9AF70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58537" y="2632482"/>
              <a:ext cx="92373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E66386A5-D486-4FFD-B279-FA75E7B94246}"/>
                </a:ext>
              </a:extLst>
            </p:cNvPr>
            <p:cNvSpPr txBox="1"/>
            <p:nvPr/>
          </p:nvSpPr>
          <p:spPr>
            <a:xfrm>
              <a:off x="8466397" y="2612509"/>
              <a:ext cx="345643" cy="2641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grpSp>
          <p:nvGrpSpPr>
            <p:cNvPr id="256" name="Группа 255">
              <a:extLst>
                <a:ext uri="{FF2B5EF4-FFF2-40B4-BE49-F238E27FC236}">
                  <a16:creationId xmlns:a16="http://schemas.microsoft.com/office/drawing/2014/main" id="{CB3498C2-8EEE-478D-BF7A-BA9A9478A413}"/>
                </a:ext>
              </a:extLst>
            </p:cNvPr>
            <p:cNvGrpSpPr/>
            <p:nvPr/>
          </p:nvGrpSpPr>
          <p:grpSpPr>
            <a:xfrm>
              <a:off x="7738066" y="2665207"/>
              <a:ext cx="806202" cy="115315"/>
              <a:chOff x="7796127" y="2627886"/>
              <a:chExt cx="806202" cy="115315"/>
            </a:xfrm>
          </p:grpSpPr>
          <p:pic>
            <p:nvPicPr>
              <p:cNvPr id="257" name="Рисунок 256">
                <a:extLst>
                  <a:ext uri="{FF2B5EF4-FFF2-40B4-BE49-F238E27FC236}">
                    <a16:creationId xmlns:a16="http://schemas.microsoft.com/office/drawing/2014/main" id="{E3247809-7E8B-4ADE-9303-A29092FFE1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796127" y="2636692"/>
                <a:ext cx="108207" cy="106509"/>
              </a:xfrm>
              <a:prstGeom prst="rect">
                <a:avLst/>
              </a:prstGeom>
            </p:spPr>
          </p:pic>
          <p:pic>
            <p:nvPicPr>
              <p:cNvPr id="258" name="Рисунок 257">
                <a:extLst>
                  <a:ext uri="{FF2B5EF4-FFF2-40B4-BE49-F238E27FC236}">
                    <a16:creationId xmlns:a16="http://schemas.microsoft.com/office/drawing/2014/main" id="{6FEB1342-8E0B-43E1-B660-FBB6C2FB10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8175718" y="2627886"/>
                <a:ext cx="115552" cy="113739"/>
              </a:xfrm>
              <a:prstGeom prst="rect">
                <a:avLst/>
              </a:prstGeom>
            </p:spPr>
          </p:pic>
          <p:pic>
            <p:nvPicPr>
              <p:cNvPr id="259" name="Рисунок 258">
                <a:extLst>
                  <a:ext uri="{FF2B5EF4-FFF2-40B4-BE49-F238E27FC236}">
                    <a16:creationId xmlns:a16="http://schemas.microsoft.com/office/drawing/2014/main" id="{B34ADDE6-B063-4911-A23E-E1A78CCCBC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492364" y="2630391"/>
                <a:ext cx="109965" cy="109965"/>
              </a:xfrm>
              <a:prstGeom prst="rect">
                <a:avLst/>
              </a:prstGeom>
            </p:spPr>
          </p:pic>
        </p:grpSp>
      </p:grpSp>
      <p:pic>
        <p:nvPicPr>
          <p:cNvPr id="260" name="Рисунок 259">
            <a:extLst>
              <a:ext uri="{FF2B5EF4-FFF2-40B4-BE49-F238E27FC236}">
                <a16:creationId xmlns:a16="http://schemas.microsoft.com/office/drawing/2014/main" id="{7CFF3C58-9B59-4E71-97F2-AF17FF23972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6794" y="404813"/>
            <a:ext cx="2282294" cy="306705"/>
          </a:xfrm>
          <a:prstGeom prst="rect">
            <a:avLst/>
          </a:prstGeom>
        </p:spPr>
      </p:pic>
      <p:sp>
        <p:nvSpPr>
          <p:cNvPr id="261" name="Текст 3">
            <a:extLst>
              <a:ext uri="{FF2B5EF4-FFF2-40B4-BE49-F238E27FC236}">
                <a16:creationId xmlns:a16="http://schemas.microsoft.com/office/drawing/2014/main" id="{A6293DEC-234F-431B-A6EB-A6C318EC8C2C}"/>
              </a:ext>
            </a:extLst>
          </p:cNvPr>
          <p:cNvSpPr txBox="1">
            <a:spLocks/>
          </p:cNvSpPr>
          <p:nvPr/>
        </p:nvSpPr>
        <p:spPr>
          <a:xfrm>
            <a:off x="445569" y="961423"/>
            <a:ext cx="10197070" cy="7386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lang="ru-RU" sz="800" b="0" i="0" kern="1200" dirty="0">
                <a:solidFill>
                  <a:schemeClr val="tx1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Т1 Сервионика </a:t>
            </a: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(входит в Холдинг Т1) — ведущий российский провайдер полного спектра услуг </a:t>
            </a:r>
            <a:b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в области ИТ-инфраструктуры и облачных вычислений для клиентов малого, среднего и крупного бизнеса, холдинговых структур и госсектора. </a:t>
            </a:r>
          </a:p>
        </p:txBody>
      </p:sp>
    </p:spTree>
    <p:extLst>
      <p:ext uri="{BB962C8B-B14F-4D97-AF65-F5344CB8AC3E}">
        <p14:creationId xmlns:p14="http://schemas.microsoft.com/office/powerpoint/2010/main" val="5706048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Прямоугольник: скругленные углы 80">
            <a:extLst>
              <a:ext uri="{FF2B5EF4-FFF2-40B4-BE49-F238E27FC236}">
                <a16:creationId xmlns:a16="http://schemas.microsoft.com/office/drawing/2014/main" id="{E7C1DA9C-3114-4442-8C25-1E12E45A9F52}"/>
              </a:ext>
            </a:extLst>
          </p:cNvPr>
          <p:cNvSpPr/>
          <p:nvPr/>
        </p:nvSpPr>
        <p:spPr>
          <a:xfrm>
            <a:off x="6280474" y="1309180"/>
            <a:ext cx="5537378" cy="5131975"/>
          </a:xfrm>
          <a:prstGeom prst="roundRect">
            <a:avLst>
              <a:gd name="adj" fmla="val 2778"/>
            </a:avLst>
          </a:prstGeom>
          <a:solidFill>
            <a:srgbClr val="00AAE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tlCol="0" anchor="t"/>
          <a:lstStyle/>
          <a:p>
            <a:pPr algn="l"/>
            <a:endParaRPr lang="ru-RU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237BF71-48AD-46F4-A29A-9C3859207445}"/>
              </a:ext>
            </a:extLst>
          </p:cNvPr>
          <p:cNvSpPr txBox="1">
            <a:spLocks/>
          </p:cNvSpPr>
          <p:nvPr/>
        </p:nvSpPr>
        <p:spPr>
          <a:xfrm>
            <a:off x="432619" y="423292"/>
            <a:ext cx="7800113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Предложение для старта в ИТ 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8D273BEF-9025-4DB5-99F2-86BD1DC7CBC3}"/>
              </a:ext>
            </a:extLst>
          </p:cNvPr>
          <p:cNvGrpSpPr/>
          <p:nvPr/>
        </p:nvGrpSpPr>
        <p:grpSpPr>
          <a:xfrm>
            <a:off x="6451600" y="-698417"/>
            <a:ext cx="3410651" cy="558800"/>
            <a:chOff x="6451600" y="-698417"/>
            <a:chExt cx="3410651" cy="558800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C2F3579C-F60A-49E2-A7D0-D22B1124AB5B}"/>
                </a:ext>
              </a:extLst>
            </p:cNvPr>
            <p:cNvSpPr/>
            <p:nvPr userDrawn="1"/>
          </p:nvSpPr>
          <p:spPr>
            <a:xfrm>
              <a:off x="6451600" y="-698417"/>
              <a:ext cx="558800" cy="558800"/>
            </a:xfrm>
            <a:prstGeom prst="rect">
              <a:avLst/>
            </a:prstGeom>
            <a:solidFill>
              <a:srgbClr val="017F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F46C3C10-A7AC-4E6E-A539-F593EE34AA07}"/>
                </a:ext>
              </a:extLst>
            </p:cNvPr>
            <p:cNvSpPr/>
            <p:nvPr userDrawn="1"/>
          </p:nvSpPr>
          <p:spPr>
            <a:xfrm>
              <a:off x="7010400" y="-698417"/>
              <a:ext cx="558800" cy="558800"/>
            </a:xfrm>
            <a:prstGeom prst="rect">
              <a:avLst/>
            </a:prstGeom>
            <a:solidFill>
              <a:srgbClr val="00AD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EBC0EAA1-1645-44A8-A88B-9458E02F407C}"/>
                </a:ext>
              </a:extLst>
            </p:cNvPr>
            <p:cNvSpPr/>
            <p:nvPr userDrawn="1"/>
          </p:nvSpPr>
          <p:spPr>
            <a:xfrm>
              <a:off x="7581463" y="-698417"/>
              <a:ext cx="558800" cy="558800"/>
            </a:xfrm>
            <a:prstGeom prst="rect">
              <a:avLst/>
            </a:prstGeom>
            <a:solidFill>
              <a:srgbClr val="F0F3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14BE3DC5-F378-47E6-A083-0F2805D90FCF}"/>
                </a:ext>
              </a:extLst>
            </p:cNvPr>
            <p:cNvSpPr/>
            <p:nvPr userDrawn="1"/>
          </p:nvSpPr>
          <p:spPr>
            <a:xfrm>
              <a:off x="8162911" y="-698417"/>
              <a:ext cx="558800" cy="558800"/>
            </a:xfrm>
            <a:prstGeom prst="rect">
              <a:avLst/>
            </a:prstGeom>
            <a:solidFill>
              <a:srgbClr val="0059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31B9DA23-9E5A-4832-BBDB-FF1551027F5D}"/>
                </a:ext>
              </a:extLst>
            </p:cNvPr>
            <p:cNvSpPr/>
            <p:nvPr userDrawn="1"/>
          </p:nvSpPr>
          <p:spPr>
            <a:xfrm>
              <a:off x="8721062" y="-698417"/>
              <a:ext cx="558800" cy="558800"/>
            </a:xfrm>
            <a:prstGeom prst="rect">
              <a:avLst/>
            </a:prstGeom>
            <a:solidFill>
              <a:srgbClr val="BEE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164B16D0-21EE-48D8-80AA-EB7871A3705C}"/>
                </a:ext>
              </a:extLst>
            </p:cNvPr>
            <p:cNvSpPr/>
            <p:nvPr userDrawn="1"/>
          </p:nvSpPr>
          <p:spPr>
            <a:xfrm>
              <a:off x="9303451" y="-698417"/>
              <a:ext cx="558800" cy="558800"/>
            </a:xfrm>
            <a:prstGeom prst="rect">
              <a:avLst/>
            </a:prstGeom>
            <a:solidFill>
              <a:srgbClr val="1515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BCF1BE68-47BD-4A7A-8C15-426251DF2ABE}"/>
              </a:ext>
            </a:extLst>
          </p:cNvPr>
          <p:cNvSpPr/>
          <p:nvPr/>
        </p:nvSpPr>
        <p:spPr>
          <a:xfrm>
            <a:off x="6746109" y="1727864"/>
            <a:ext cx="5114683" cy="1015663"/>
          </a:xfrm>
          <a:prstGeom prst="rect">
            <a:avLst/>
          </a:prstGeom>
        </p:spPr>
        <p:txBody>
          <a:bodyPr wrap="square" lIns="0" rIns="36000">
            <a:spAutoFit/>
          </a:bodyPr>
          <a:lstStyle/>
          <a:p>
            <a:pPr defTabSz="457200">
              <a:spcAft>
                <a:spcPts val="1200"/>
              </a:spcAft>
              <a:defRPr/>
            </a:pPr>
            <a:r>
              <a:rPr lang="ru-RU" sz="2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Всесторонняя программа </a:t>
            </a:r>
            <a:br>
              <a:rPr lang="en-US" sz="2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</a:br>
            <a:r>
              <a:rPr lang="ru-RU" sz="2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поддержки </a:t>
            </a:r>
            <a:br>
              <a:rPr lang="ru-RU" sz="2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</a:br>
            <a:r>
              <a:rPr lang="ru-RU" sz="2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новых сотрудников</a:t>
            </a:r>
          </a:p>
        </p:txBody>
      </p:sp>
      <p:sp>
        <p:nvSpPr>
          <p:cNvPr id="119" name="Прямоугольник 118">
            <a:extLst>
              <a:ext uri="{FF2B5EF4-FFF2-40B4-BE49-F238E27FC236}">
                <a16:creationId xmlns:a16="http://schemas.microsoft.com/office/drawing/2014/main" id="{FB6313E3-373C-449D-9450-B6156144BAE2}"/>
              </a:ext>
            </a:extLst>
          </p:cNvPr>
          <p:cNvSpPr/>
          <p:nvPr/>
        </p:nvSpPr>
        <p:spPr>
          <a:xfrm>
            <a:off x="7289830" y="3202502"/>
            <a:ext cx="1267684" cy="2900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60000"/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Обучение</a:t>
            </a:r>
          </a:p>
        </p:txBody>
      </p:sp>
      <p:sp>
        <p:nvSpPr>
          <p:cNvPr id="120" name="Прямоугольник 119">
            <a:extLst>
              <a:ext uri="{FF2B5EF4-FFF2-40B4-BE49-F238E27FC236}">
                <a16:creationId xmlns:a16="http://schemas.microsoft.com/office/drawing/2014/main" id="{1C5D6DA7-618F-43E9-9AF3-7418DC7D6B9D}"/>
              </a:ext>
            </a:extLst>
          </p:cNvPr>
          <p:cNvSpPr/>
          <p:nvPr/>
        </p:nvSpPr>
        <p:spPr>
          <a:xfrm>
            <a:off x="9569586" y="5348680"/>
            <a:ext cx="1960692" cy="2900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60000"/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Наставничество</a:t>
            </a:r>
          </a:p>
        </p:txBody>
      </p:sp>
      <p:sp>
        <p:nvSpPr>
          <p:cNvPr id="121" name="Прямоугольник 120">
            <a:extLst>
              <a:ext uri="{FF2B5EF4-FFF2-40B4-BE49-F238E27FC236}">
                <a16:creationId xmlns:a16="http://schemas.microsoft.com/office/drawing/2014/main" id="{1B9C895A-303D-4AC0-9760-37E52A67F9F3}"/>
              </a:ext>
            </a:extLst>
          </p:cNvPr>
          <p:cNvSpPr/>
          <p:nvPr/>
        </p:nvSpPr>
        <p:spPr>
          <a:xfrm>
            <a:off x="9458014" y="3133271"/>
            <a:ext cx="2278995" cy="677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60000"/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Группа экспертов,</a:t>
            </a:r>
            <a:br>
              <a:rPr lang="ru-RU" sz="1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если появились вопросы</a:t>
            </a:r>
          </a:p>
        </p:txBody>
      </p:sp>
      <p:sp>
        <p:nvSpPr>
          <p:cNvPr id="122" name="Прямоугольник 121">
            <a:extLst>
              <a:ext uri="{FF2B5EF4-FFF2-40B4-BE49-F238E27FC236}">
                <a16:creationId xmlns:a16="http://schemas.microsoft.com/office/drawing/2014/main" id="{0BCE87FF-C5AB-431E-8DED-FC122949C7BC}"/>
              </a:ext>
            </a:extLst>
          </p:cNvPr>
          <p:cNvSpPr/>
          <p:nvPr/>
        </p:nvSpPr>
        <p:spPr>
          <a:xfrm>
            <a:off x="9491758" y="4242458"/>
            <a:ext cx="1781136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60000"/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Выделенные координаторы</a:t>
            </a:r>
          </a:p>
        </p:txBody>
      </p:sp>
      <p:grpSp>
        <p:nvGrpSpPr>
          <p:cNvPr id="128" name="Рисунок 271">
            <a:extLst>
              <a:ext uri="{FF2B5EF4-FFF2-40B4-BE49-F238E27FC236}">
                <a16:creationId xmlns:a16="http://schemas.microsoft.com/office/drawing/2014/main" id="{02DAC82E-8333-4675-90D5-9670099E8259}"/>
              </a:ext>
            </a:extLst>
          </p:cNvPr>
          <p:cNvGrpSpPr/>
          <p:nvPr/>
        </p:nvGrpSpPr>
        <p:grpSpPr>
          <a:xfrm>
            <a:off x="9002773" y="4229073"/>
            <a:ext cx="360000" cy="396000"/>
            <a:chOff x="4117548" y="1710731"/>
            <a:chExt cx="720000" cy="720000"/>
          </a:xfrm>
          <a:solidFill>
            <a:schemeClr val="bg1"/>
          </a:solidFill>
        </p:grpSpPr>
        <p:sp>
          <p:nvSpPr>
            <p:cNvPr id="129" name="Полилиния: фигура 128">
              <a:extLst>
                <a:ext uri="{FF2B5EF4-FFF2-40B4-BE49-F238E27FC236}">
                  <a16:creationId xmlns:a16="http://schemas.microsoft.com/office/drawing/2014/main" id="{A04C7B4B-C37F-4960-A0EA-8B0C1918E3B6}"/>
                </a:ext>
              </a:extLst>
            </p:cNvPr>
            <p:cNvSpPr/>
            <p:nvPr/>
          </p:nvSpPr>
          <p:spPr>
            <a:xfrm>
              <a:off x="4489550" y="1709668"/>
              <a:ext cx="345938" cy="345938"/>
            </a:xfrm>
            <a:custGeom>
              <a:avLst/>
              <a:gdLst>
                <a:gd name="connsiteX0" fmla="*/ 345751 w 345937"/>
                <a:gd name="connsiteY0" fmla="*/ 171195 h 345937"/>
                <a:gd name="connsiteX1" fmla="*/ 345744 w 345937"/>
                <a:gd name="connsiteY1" fmla="*/ 170799 h 345937"/>
                <a:gd name="connsiteX2" fmla="*/ 345695 w 345937"/>
                <a:gd name="connsiteY2" fmla="*/ 168203 h 345937"/>
                <a:gd name="connsiteX3" fmla="*/ 345615 w 345937"/>
                <a:gd name="connsiteY3" fmla="*/ 166043 h 345937"/>
                <a:gd name="connsiteX4" fmla="*/ 345494 w 345937"/>
                <a:gd name="connsiteY4" fmla="*/ 163588 h 345937"/>
                <a:gd name="connsiteX5" fmla="*/ 345361 w 345937"/>
                <a:gd name="connsiteY5" fmla="*/ 161480 h 345937"/>
                <a:gd name="connsiteX6" fmla="*/ 345170 w 345937"/>
                <a:gd name="connsiteY6" fmla="*/ 158950 h 345937"/>
                <a:gd name="connsiteX7" fmla="*/ 344986 w 345937"/>
                <a:gd name="connsiteY7" fmla="*/ 156859 h 345937"/>
                <a:gd name="connsiteX8" fmla="*/ 344717 w 345937"/>
                <a:gd name="connsiteY8" fmla="*/ 154287 h 345937"/>
                <a:gd name="connsiteX9" fmla="*/ 344492 w 345937"/>
                <a:gd name="connsiteY9" fmla="*/ 152307 h 345937"/>
                <a:gd name="connsiteX10" fmla="*/ 344148 w 345937"/>
                <a:gd name="connsiteY10" fmla="*/ 149705 h 345937"/>
                <a:gd name="connsiteX11" fmla="*/ 344089 w 345937"/>
                <a:gd name="connsiteY11" fmla="*/ 149272 h 345937"/>
                <a:gd name="connsiteX12" fmla="*/ 343883 w 345937"/>
                <a:gd name="connsiteY12" fmla="*/ 147818 h 345937"/>
                <a:gd name="connsiteX13" fmla="*/ 343418 w 345937"/>
                <a:gd name="connsiteY13" fmla="*/ 144921 h 345937"/>
                <a:gd name="connsiteX14" fmla="*/ 343156 w 345937"/>
                <a:gd name="connsiteY14" fmla="*/ 143335 h 345937"/>
                <a:gd name="connsiteX15" fmla="*/ 342356 w 345937"/>
                <a:gd name="connsiteY15" fmla="*/ 139108 h 345937"/>
                <a:gd name="connsiteX16" fmla="*/ 342318 w 345937"/>
                <a:gd name="connsiteY16" fmla="*/ 138912 h 345937"/>
                <a:gd name="connsiteX17" fmla="*/ 341351 w 345937"/>
                <a:gd name="connsiteY17" fmla="*/ 134475 h 345937"/>
                <a:gd name="connsiteX18" fmla="*/ 341018 w 345937"/>
                <a:gd name="connsiteY18" fmla="*/ 133110 h 345937"/>
                <a:gd name="connsiteX19" fmla="*/ 340275 w 345937"/>
                <a:gd name="connsiteY19" fmla="*/ 130103 h 345937"/>
                <a:gd name="connsiteX20" fmla="*/ 339908 w 345937"/>
                <a:gd name="connsiteY20" fmla="*/ 128738 h 345937"/>
                <a:gd name="connsiteX21" fmla="*/ 339845 w 345937"/>
                <a:gd name="connsiteY21" fmla="*/ 128509 h 345937"/>
                <a:gd name="connsiteX22" fmla="*/ 339088 w 345937"/>
                <a:gd name="connsiteY22" fmla="*/ 125775 h 345937"/>
                <a:gd name="connsiteX23" fmla="*/ 338599 w 345937"/>
                <a:gd name="connsiteY23" fmla="*/ 124118 h 345937"/>
                <a:gd name="connsiteX24" fmla="*/ 337777 w 345937"/>
                <a:gd name="connsiteY24" fmla="*/ 121440 h 345937"/>
                <a:gd name="connsiteX25" fmla="*/ 337249 w 345937"/>
                <a:gd name="connsiteY25" fmla="*/ 119796 h 345937"/>
                <a:gd name="connsiteX26" fmla="*/ 336360 w 345937"/>
                <a:gd name="connsiteY26" fmla="*/ 117158 h 345937"/>
                <a:gd name="connsiteX27" fmla="*/ 335805 w 345937"/>
                <a:gd name="connsiteY27" fmla="*/ 115578 h 345937"/>
                <a:gd name="connsiteX28" fmla="*/ 334784 w 345937"/>
                <a:gd name="connsiteY28" fmla="*/ 112785 h 345937"/>
                <a:gd name="connsiteX29" fmla="*/ 334251 w 345937"/>
                <a:gd name="connsiteY29" fmla="*/ 111381 h 345937"/>
                <a:gd name="connsiteX30" fmla="*/ 333089 w 345937"/>
                <a:gd name="connsiteY30" fmla="*/ 108463 h 345937"/>
                <a:gd name="connsiteX31" fmla="*/ 332735 w 345937"/>
                <a:gd name="connsiteY31" fmla="*/ 107575 h 345937"/>
                <a:gd name="connsiteX32" fmla="*/ 332574 w 345937"/>
                <a:gd name="connsiteY32" fmla="*/ 107210 h 345937"/>
                <a:gd name="connsiteX33" fmla="*/ 323607 w 345937"/>
                <a:gd name="connsiteY33" fmla="*/ 88838 h 345937"/>
                <a:gd name="connsiteX34" fmla="*/ 308214 w 345937"/>
                <a:gd name="connsiteY34" fmla="*/ 84549 h 345937"/>
                <a:gd name="connsiteX35" fmla="*/ 303925 w 345937"/>
                <a:gd name="connsiteY35" fmla="*/ 99942 h 345937"/>
                <a:gd name="connsiteX36" fmla="*/ 311829 w 345937"/>
                <a:gd name="connsiteY36" fmla="*/ 116175 h 345937"/>
                <a:gd name="connsiteX37" fmla="*/ 311936 w 345937"/>
                <a:gd name="connsiteY37" fmla="*/ 116423 h 345937"/>
                <a:gd name="connsiteX38" fmla="*/ 312156 w 345937"/>
                <a:gd name="connsiteY38" fmla="*/ 116975 h 345937"/>
                <a:gd name="connsiteX39" fmla="*/ 313154 w 345937"/>
                <a:gd name="connsiteY39" fmla="*/ 119482 h 345937"/>
                <a:gd name="connsiteX40" fmla="*/ 313636 w 345937"/>
                <a:gd name="connsiteY40" fmla="*/ 120753 h 345937"/>
                <a:gd name="connsiteX41" fmla="*/ 314528 w 345937"/>
                <a:gd name="connsiteY41" fmla="*/ 123193 h 345937"/>
                <a:gd name="connsiteX42" fmla="*/ 314996 w 345937"/>
                <a:gd name="connsiteY42" fmla="*/ 124523 h 345937"/>
                <a:gd name="connsiteX43" fmla="*/ 315751 w 345937"/>
                <a:gd name="connsiteY43" fmla="*/ 126761 h 345937"/>
                <a:gd name="connsiteX44" fmla="*/ 316231 w 345937"/>
                <a:gd name="connsiteY44" fmla="*/ 128254 h 345937"/>
                <a:gd name="connsiteX45" fmla="*/ 316950 w 345937"/>
                <a:gd name="connsiteY45" fmla="*/ 130597 h 345937"/>
                <a:gd name="connsiteX46" fmla="*/ 317371 w 345937"/>
                <a:gd name="connsiteY46" fmla="*/ 132026 h 345937"/>
                <a:gd name="connsiteX47" fmla="*/ 318035 w 345937"/>
                <a:gd name="connsiteY47" fmla="*/ 134430 h 345937"/>
                <a:gd name="connsiteX48" fmla="*/ 318401 w 345937"/>
                <a:gd name="connsiteY48" fmla="*/ 135783 h 345937"/>
                <a:gd name="connsiteX49" fmla="*/ 319048 w 345937"/>
                <a:gd name="connsiteY49" fmla="*/ 138399 h 345937"/>
                <a:gd name="connsiteX50" fmla="*/ 319335 w 345937"/>
                <a:gd name="connsiteY50" fmla="*/ 139575 h 345937"/>
                <a:gd name="connsiteX51" fmla="*/ 320153 w 345937"/>
                <a:gd name="connsiteY51" fmla="*/ 143318 h 345937"/>
                <a:gd name="connsiteX52" fmla="*/ 320199 w 345937"/>
                <a:gd name="connsiteY52" fmla="*/ 143556 h 345937"/>
                <a:gd name="connsiteX53" fmla="*/ 320895 w 345937"/>
                <a:gd name="connsiteY53" fmla="*/ 147227 h 345937"/>
                <a:gd name="connsiteX54" fmla="*/ 321127 w 345937"/>
                <a:gd name="connsiteY54" fmla="*/ 148646 h 345937"/>
                <a:gd name="connsiteX55" fmla="*/ 321532 w 345937"/>
                <a:gd name="connsiteY55" fmla="*/ 151161 h 345937"/>
                <a:gd name="connsiteX56" fmla="*/ 321690 w 345937"/>
                <a:gd name="connsiteY56" fmla="*/ 152301 h 345937"/>
                <a:gd name="connsiteX57" fmla="*/ 321755 w 345937"/>
                <a:gd name="connsiteY57" fmla="*/ 152775 h 345937"/>
                <a:gd name="connsiteX58" fmla="*/ 322056 w 345937"/>
                <a:gd name="connsiteY58" fmla="*/ 155038 h 345937"/>
                <a:gd name="connsiteX59" fmla="*/ 322255 w 345937"/>
                <a:gd name="connsiteY59" fmla="*/ 156808 h 345937"/>
                <a:gd name="connsiteX60" fmla="*/ 322485 w 345937"/>
                <a:gd name="connsiteY60" fmla="*/ 159015 h 345937"/>
                <a:gd name="connsiteX61" fmla="*/ 322641 w 345937"/>
                <a:gd name="connsiteY61" fmla="*/ 160809 h 345937"/>
                <a:gd name="connsiteX62" fmla="*/ 322807 w 345937"/>
                <a:gd name="connsiteY62" fmla="*/ 162996 h 345937"/>
                <a:gd name="connsiteX63" fmla="*/ 322922 w 345937"/>
                <a:gd name="connsiteY63" fmla="*/ 164848 h 345937"/>
                <a:gd name="connsiteX64" fmla="*/ 323026 w 345937"/>
                <a:gd name="connsiteY64" fmla="*/ 166949 h 345937"/>
                <a:gd name="connsiteX65" fmla="*/ 323096 w 345937"/>
                <a:gd name="connsiteY65" fmla="*/ 168860 h 345937"/>
                <a:gd name="connsiteX66" fmla="*/ 323138 w 345937"/>
                <a:gd name="connsiteY66" fmla="*/ 171118 h 345937"/>
                <a:gd name="connsiteX67" fmla="*/ 323145 w 345937"/>
                <a:gd name="connsiteY67" fmla="*/ 171582 h 345937"/>
                <a:gd name="connsiteX68" fmla="*/ 323162 w 345937"/>
                <a:gd name="connsiteY68" fmla="*/ 172935 h 345937"/>
                <a:gd name="connsiteX69" fmla="*/ 323144 w 345937"/>
                <a:gd name="connsiteY69" fmla="*/ 174915 h 345937"/>
                <a:gd name="connsiteX70" fmla="*/ 323122 w 345937"/>
                <a:gd name="connsiteY70" fmla="*/ 176965 h 345937"/>
                <a:gd name="connsiteX71" fmla="*/ 323012 w 345937"/>
                <a:gd name="connsiteY71" fmla="*/ 179993 h 345937"/>
                <a:gd name="connsiteX72" fmla="*/ 322971 w 345937"/>
                <a:gd name="connsiteY72" fmla="*/ 181034 h 345937"/>
                <a:gd name="connsiteX73" fmla="*/ 282246 w 345937"/>
                <a:gd name="connsiteY73" fmla="*/ 276192 h 345937"/>
                <a:gd name="connsiteX74" fmla="*/ 251245 w 345937"/>
                <a:gd name="connsiteY74" fmla="*/ 249213 h 345937"/>
                <a:gd name="connsiteX75" fmla="*/ 207933 w 345937"/>
                <a:gd name="connsiteY75" fmla="*/ 231846 h 345937"/>
                <a:gd name="connsiteX76" fmla="*/ 207933 w 345937"/>
                <a:gd name="connsiteY76" fmla="*/ 225398 h 345937"/>
                <a:gd name="connsiteX77" fmla="*/ 238374 w 345937"/>
                <a:gd name="connsiteY77" fmla="*/ 191959 h 345937"/>
                <a:gd name="connsiteX78" fmla="*/ 239953 w 345937"/>
                <a:gd name="connsiteY78" fmla="*/ 192083 h 345937"/>
                <a:gd name="connsiteX79" fmla="*/ 270075 w 345937"/>
                <a:gd name="connsiteY79" fmla="*/ 160552 h 345937"/>
                <a:gd name="connsiteX80" fmla="*/ 252553 w 345937"/>
                <a:gd name="connsiteY80" fmla="*/ 131950 h 345937"/>
                <a:gd name="connsiteX81" fmla="*/ 252553 w 345937"/>
                <a:gd name="connsiteY81" fmla="*/ 123106 h 345937"/>
                <a:gd name="connsiteX82" fmla="*/ 176156 w 345937"/>
                <a:gd name="connsiteY82" fmla="*/ 40624 h 345937"/>
                <a:gd name="connsiteX83" fmla="*/ 170732 w 345937"/>
                <a:gd name="connsiteY83" fmla="*/ 40624 h 345937"/>
                <a:gd name="connsiteX84" fmla="*/ 94333 w 345937"/>
                <a:gd name="connsiteY84" fmla="*/ 123106 h 345937"/>
                <a:gd name="connsiteX85" fmla="*/ 94333 w 345937"/>
                <a:gd name="connsiteY85" fmla="*/ 131985 h 345937"/>
                <a:gd name="connsiteX86" fmla="*/ 76886 w 345937"/>
                <a:gd name="connsiteY86" fmla="*/ 160549 h 345937"/>
                <a:gd name="connsiteX87" fmla="*/ 107008 w 345937"/>
                <a:gd name="connsiteY87" fmla="*/ 192080 h 345937"/>
                <a:gd name="connsiteX88" fmla="*/ 108716 w 345937"/>
                <a:gd name="connsiteY88" fmla="*/ 191936 h 345937"/>
                <a:gd name="connsiteX89" fmla="*/ 140143 w 345937"/>
                <a:gd name="connsiteY89" fmla="*/ 225896 h 345937"/>
                <a:gd name="connsiteX90" fmla="*/ 140143 w 345937"/>
                <a:gd name="connsiteY90" fmla="*/ 231775 h 345937"/>
                <a:gd name="connsiteX91" fmla="*/ 95666 w 345937"/>
                <a:gd name="connsiteY91" fmla="*/ 249193 h 345937"/>
                <a:gd name="connsiteX92" fmla="*/ 64605 w 345937"/>
                <a:gd name="connsiteY92" fmla="*/ 276230 h 345937"/>
                <a:gd name="connsiteX93" fmla="*/ 23838 w 345937"/>
                <a:gd name="connsiteY93" fmla="*/ 165811 h 345937"/>
                <a:gd name="connsiteX94" fmla="*/ 23901 w 345937"/>
                <a:gd name="connsiteY94" fmla="*/ 164862 h 345937"/>
                <a:gd name="connsiteX95" fmla="*/ 24101 w 345937"/>
                <a:gd name="connsiteY95" fmla="*/ 161775 h 345937"/>
                <a:gd name="connsiteX96" fmla="*/ 24196 w 345937"/>
                <a:gd name="connsiteY96" fmla="*/ 160699 h 345937"/>
                <a:gd name="connsiteX97" fmla="*/ 24299 w 345937"/>
                <a:gd name="connsiteY97" fmla="*/ 159567 h 345937"/>
                <a:gd name="connsiteX98" fmla="*/ 24472 w 345937"/>
                <a:gd name="connsiteY98" fmla="*/ 157715 h 345937"/>
                <a:gd name="connsiteX99" fmla="*/ 24635 w 345937"/>
                <a:gd name="connsiteY99" fmla="*/ 156305 h 345937"/>
                <a:gd name="connsiteX100" fmla="*/ 24686 w 345937"/>
                <a:gd name="connsiteY100" fmla="*/ 155872 h 345937"/>
                <a:gd name="connsiteX101" fmla="*/ 24943 w 345937"/>
                <a:gd name="connsiteY101" fmla="*/ 153721 h 345937"/>
                <a:gd name="connsiteX102" fmla="*/ 25210 w 345937"/>
                <a:gd name="connsiteY102" fmla="*/ 151840 h 345937"/>
                <a:gd name="connsiteX103" fmla="*/ 25530 w 345937"/>
                <a:gd name="connsiteY103" fmla="*/ 149711 h 345937"/>
                <a:gd name="connsiteX104" fmla="*/ 25839 w 345937"/>
                <a:gd name="connsiteY104" fmla="*/ 147859 h 345937"/>
                <a:gd name="connsiteX105" fmla="*/ 26216 w 345937"/>
                <a:gd name="connsiteY105" fmla="*/ 145749 h 345937"/>
                <a:gd name="connsiteX106" fmla="*/ 26558 w 345937"/>
                <a:gd name="connsiteY106" fmla="*/ 143972 h 345937"/>
                <a:gd name="connsiteX107" fmla="*/ 27007 w 345937"/>
                <a:gd name="connsiteY107" fmla="*/ 141806 h 345937"/>
                <a:gd name="connsiteX108" fmla="*/ 27391 w 345937"/>
                <a:gd name="connsiteY108" fmla="*/ 140050 h 345937"/>
                <a:gd name="connsiteX109" fmla="*/ 27917 w 345937"/>
                <a:gd name="connsiteY109" fmla="*/ 137839 h 345937"/>
                <a:gd name="connsiteX110" fmla="*/ 28315 w 345937"/>
                <a:gd name="connsiteY110" fmla="*/ 136214 h 345937"/>
                <a:gd name="connsiteX111" fmla="*/ 28966 w 345937"/>
                <a:gd name="connsiteY111" fmla="*/ 133778 h 345937"/>
                <a:gd name="connsiteX112" fmla="*/ 29331 w 345937"/>
                <a:gd name="connsiteY112" fmla="*/ 132429 h 345937"/>
                <a:gd name="connsiteX113" fmla="*/ 30425 w 345937"/>
                <a:gd name="connsiteY113" fmla="*/ 128756 h 345937"/>
                <a:gd name="connsiteX114" fmla="*/ 30458 w 345937"/>
                <a:gd name="connsiteY114" fmla="*/ 128644 h 345937"/>
                <a:gd name="connsiteX115" fmla="*/ 31655 w 345937"/>
                <a:gd name="connsiteY115" fmla="*/ 124985 h 345937"/>
                <a:gd name="connsiteX116" fmla="*/ 32080 w 345937"/>
                <a:gd name="connsiteY116" fmla="*/ 123788 h 345937"/>
                <a:gd name="connsiteX117" fmla="*/ 32994 w 345937"/>
                <a:gd name="connsiteY117" fmla="*/ 121236 h 345937"/>
                <a:gd name="connsiteX118" fmla="*/ 33497 w 345937"/>
                <a:gd name="connsiteY118" fmla="*/ 119917 h 345937"/>
                <a:gd name="connsiteX119" fmla="*/ 34400 w 345937"/>
                <a:gd name="connsiteY119" fmla="*/ 117603 h 345937"/>
                <a:gd name="connsiteX120" fmla="*/ 34970 w 345937"/>
                <a:gd name="connsiteY120" fmla="*/ 116215 h 345937"/>
                <a:gd name="connsiteX121" fmla="*/ 35934 w 345937"/>
                <a:gd name="connsiteY121" fmla="*/ 113930 h 345937"/>
                <a:gd name="connsiteX122" fmla="*/ 36512 w 345937"/>
                <a:gd name="connsiteY122" fmla="*/ 112614 h 345937"/>
                <a:gd name="connsiteX123" fmla="*/ 37522 w 345937"/>
                <a:gd name="connsiteY123" fmla="*/ 110391 h 345937"/>
                <a:gd name="connsiteX124" fmla="*/ 38146 w 345937"/>
                <a:gd name="connsiteY124" fmla="*/ 109066 h 345937"/>
                <a:gd name="connsiteX125" fmla="*/ 39233 w 345937"/>
                <a:gd name="connsiteY125" fmla="*/ 106831 h 345937"/>
                <a:gd name="connsiteX126" fmla="*/ 39847 w 345937"/>
                <a:gd name="connsiteY126" fmla="*/ 105604 h 345937"/>
                <a:gd name="connsiteX127" fmla="*/ 41135 w 345937"/>
                <a:gd name="connsiteY127" fmla="*/ 103137 h 345937"/>
                <a:gd name="connsiteX128" fmla="*/ 41419 w 345937"/>
                <a:gd name="connsiteY128" fmla="*/ 102589 h 345937"/>
                <a:gd name="connsiteX129" fmla="*/ 41513 w 345937"/>
                <a:gd name="connsiteY129" fmla="*/ 102414 h 345937"/>
                <a:gd name="connsiteX130" fmla="*/ 68050 w 345937"/>
                <a:gd name="connsiteY130" fmla="*/ 66981 h 345937"/>
                <a:gd name="connsiteX131" fmla="*/ 68236 w 345937"/>
                <a:gd name="connsiteY131" fmla="*/ 66793 h 345937"/>
                <a:gd name="connsiteX132" fmla="*/ 68812 w 345937"/>
                <a:gd name="connsiteY132" fmla="*/ 66240 h 345937"/>
                <a:gd name="connsiteX133" fmla="*/ 69407 w 345937"/>
                <a:gd name="connsiteY133" fmla="*/ 65666 h 345937"/>
                <a:gd name="connsiteX134" fmla="*/ 70589 w 345937"/>
                <a:gd name="connsiteY134" fmla="*/ 64526 h 345937"/>
                <a:gd name="connsiteX135" fmla="*/ 71498 w 345937"/>
                <a:gd name="connsiteY135" fmla="*/ 63683 h 345937"/>
                <a:gd name="connsiteX136" fmla="*/ 72065 w 345937"/>
                <a:gd name="connsiteY136" fmla="*/ 63162 h 345937"/>
                <a:gd name="connsiteX137" fmla="*/ 73282 w 345937"/>
                <a:gd name="connsiteY137" fmla="*/ 62045 h 345937"/>
                <a:gd name="connsiteX138" fmla="*/ 74706 w 345937"/>
                <a:gd name="connsiteY138" fmla="*/ 60792 h 345937"/>
                <a:gd name="connsiteX139" fmla="*/ 76090 w 345937"/>
                <a:gd name="connsiteY139" fmla="*/ 59584 h 345937"/>
                <a:gd name="connsiteX140" fmla="*/ 77257 w 345937"/>
                <a:gd name="connsiteY140" fmla="*/ 58604 h 345937"/>
                <a:gd name="connsiteX141" fmla="*/ 77544 w 345937"/>
                <a:gd name="connsiteY141" fmla="*/ 58365 h 345937"/>
                <a:gd name="connsiteX142" fmla="*/ 78936 w 345937"/>
                <a:gd name="connsiteY142" fmla="*/ 57212 h 345937"/>
                <a:gd name="connsiteX143" fmla="*/ 80199 w 345937"/>
                <a:gd name="connsiteY143" fmla="*/ 56199 h 345937"/>
                <a:gd name="connsiteX144" fmla="*/ 80385 w 345937"/>
                <a:gd name="connsiteY144" fmla="*/ 56052 h 345937"/>
                <a:gd name="connsiteX145" fmla="*/ 81808 w 345937"/>
                <a:gd name="connsiteY145" fmla="*/ 54932 h 345937"/>
                <a:gd name="connsiteX146" fmla="*/ 83333 w 345937"/>
                <a:gd name="connsiteY146" fmla="*/ 53771 h 345937"/>
                <a:gd name="connsiteX147" fmla="*/ 84779 w 345937"/>
                <a:gd name="connsiteY147" fmla="*/ 52692 h 345937"/>
                <a:gd name="connsiteX148" fmla="*/ 86298 w 345937"/>
                <a:gd name="connsiteY148" fmla="*/ 51591 h 345937"/>
                <a:gd name="connsiteX149" fmla="*/ 87790 w 345937"/>
                <a:gd name="connsiteY149" fmla="*/ 50538 h 345937"/>
                <a:gd name="connsiteX150" fmla="*/ 89314 w 345937"/>
                <a:gd name="connsiteY150" fmla="*/ 49486 h 345937"/>
                <a:gd name="connsiteX151" fmla="*/ 90864 w 345937"/>
                <a:gd name="connsiteY151" fmla="*/ 48450 h 345937"/>
                <a:gd name="connsiteX152" fmla="*/ 92445 w 345937"/>
                <a:gd name="connsiteY152" fmla="*/ 47415 h 345937"/>
                <a:gd name="connsiteX153" fmla="*/ 93991 w 345937"/>
                <a:gd name="connsiteY153" fmla="*/ 46436 h 345937"/>
                <a:gd name="connsiteX154" fmla="*/ 95604 w 345937"/>
                <a:gd name="connsiteY154" fmla="*/ 45435 h 345937"/>
                <a:gd name="connsiteX155" fmla="*/ 97179 w 345937"/>
                <a:gd name="connsiteY155" fmla="*/ 44495 h 345937"/>
                <a:gd name="connsiteX156" fmla="*/ 98781 w 345937"/>
                <a:gd name="connsiteY156" fmla="*/ 43552 h 345937"/>
                <a:gd name="connsiteX157" fmla="*/ 100180 w 345937"/>
                <a:gd name="connsiteY157" fmla="*/ 42763 h 345937"/>
                <a:gd name="connsiteX158" fmla="*/ 100599 w 345937"/>
                <a:gd name="connsiteY158" fmla="*/ 42529 h 345937"/>
                <a:gd name="connsiteX159" fmla="*/ 102014 w 345937"/>
                <a:gd name="connsiteY159" fmla="*/ 41743 h 345937"/>
                <a:gd name="connsiteX160" fmla="*/ 103232 w 345937"/>
                <a:gd name="connsiteY160" fmla="*/ 41096 h 345937"/>
                <a:gd name="connsiteX161" fmla="*/ 103789 w 345937"/>
                <a:gd name="connsiteY161" fmla="*/ 40801 h 345937"/>
                <a:gd name="connsiteX162" fmla="*/ 105284 w 345937"/>
                <a:gd name="connsiteY162" fmla="*/ 40016 h 345937"/>
                <a:gd name="connsiteX163" fmla="*/ 106489 w 345937"/>
                <a:gd name="connsiteY163" fmla="*/ 39416 h 345937"/>
                <a:gd name="connsiteX164" fmla="*/ 107406 w 345937"/>
                <a:gd name="connsiteY164" fmla="*/ 38959 h 345937"/>
                <a:gd name="connsiteX165" fmla="*/ 108650 w 345937"/>
                <a:gd name="connsiteY165" fmla="*/ 38346 h 345937"/>
                <a:gd name="connsiteX166" fmla="*/ 110079 w 345937"/>
                <a:gd name="connsiteY166" fmla="*/ 37678 h 345937"/>
                <a:gd name="connsiteX167" fmla="*/ 110903 w 345937"/>
                <a:gd name="connsiteY167" fmla="*/ 37294 h 345937"/>
                <a:gd name="connsiteX168" fmla="*/ 112031 w 345937"/>
                <a:gd name="connsiteY168" fmla="*/ 36772 h 345937"/>
                <a:gd name="connsiteX169" fmla="*/ 113734 w 345937"/>
                <a:gd name="connsiteY169" fmla="*/ 36027 h 345937"/>
                <a:gd name="connsiteX170" fmla="*/ 114063 w 345937"/>
                <a:gd name="connsiteY170" fmla="*/ 35885 h 345937"/>
                <a:gd name="connsiteX171" fmla="*/ 116387 w 345937"/>
                <a:gd name="connsiteY171" fmla="*/ 34900 h 345937"/>
                <a:gd name="connsiteX172" fmla="*/ 118852 w 345937"/>
                <a:gd name="connsiteY172" fmla="*/ 33900 h 345937"/>
                <a:gd name="connsiteX173" fmla="*/ 119769 w 345937"/>
                <a:gd name="connsiteY173" fmla="*/ 33555 h 345937"/>
                <a:gd name="connsiteX174" fmla="*/ 120893 w 345937"/>
                <a:gd name="connsiteY174" fmla="*/ 33130 h 345937"/>
                <a:gd name="connsiteX175" fmla="*/ 122386 w 345937"/>
                <a:gd name="connsiteY175" fmla="*/ 32570 h 345937"/>
                <a:gd name="connsiteX176" fmla="*/ 123544 w 345937"/>
                <a:gd name="connsiteY176" fmla="*/ 32164 h 345937"/>
                <a:gd name="connsiteX177" fmla="*/ 124483 w 345937"/>
                <a:gd name="connsiteY177" fmla="*/ 31838 h 345937"/>
                <a:gd name="connsiteX178" fmla="*/ 125916 w 345937"/>
                <a:gd name="connsiteY178" fmla="*/ 31343 h 345937"/>
                <a:gd name="connsiteX179" fmla="*/ 127016 w 345937"/>
                <a:gd name="connsiteY179" fmla="*/ 30987 h 345937"/>
                <a:gd name="connsiteX180" fmla="*/ 127983 w 345937"/>
                <a:gd name="connsiteY180" fmla="*/ 30676 h 345937"/>
                <a:gd name="connsiteX181" fmla="*/ 129496 w 345937"/>
                <a:gd name="connsiteY181" fmla="*/ 30195 h 345937"/>
                <a:gd name="connsiteX182" fmla="*/ 131537 w 345937"/>
                <a:gd name="connsiteY182" fmla="*/ 29595 h 345937"/>
                <a:gd name="connsiteX183" fmla="*/ 133126 w 345937"/>
                <a:gd name="connsiteY183" fmla="*/ 29136 h 345937"/>
                <a:gd name="connsiteX184" fmla="*/ 134910 w 345937"/>
                <a:gd name="connsiteY184" fmla="*/ 28654 h 345937"/>
                <a:gd name="connsiteX185" fmla="*/ 136816 w 345937"/>
                <a:gd name="connsiteY185" fmla="*/ 28159 h 345937"/>
                <a:gd name="connsiteX186" fmla="*/ 138579 w 345937"/>
                <a:gd name="connsiteY186" fmla="*/ 27731 h 345937"/>
                <a:gd name="connsiteX187" fmla="*/ 140517 w 345937"/>
                <a:gd name="connsiteY187" fmla="*/ 27278 h 345937"/>
                <a:gd name="connsiteX188" fmla="*/ 142285 w 345937"/>
                <a:gd name="connsiteY188" fmla="*/ 26896 h 345937"/>
                <a:gd name="connsiteX189" fmla="*/ 144217 w 345937"/>
                <a:gd name="connsiteY189" fmla="*/ 26498 h 345937"/>
                <a:gd name="connsiteX190" fmla="*/ 146042 w 345937"/>
                <a:gd name="connsiteY190" fmla="*/ 26151 h 345937"/>
                <a:gd name="connsiteX191" fmla="*/ 148035 w 345937"/>
                <a:gd name="connsiteY191" fmla="*/ 25798 h 345937"/>
                <a:gd name="connsiteX192" fmla="*/ 149825 w 345937"/>
                <a:gd name="connsiteY192" fmla="*/ 25501 h 345937"/>
                <a:gd name="connsiteX193" fmla="*/ 151856 w 345937"/>
                <a:gd name="connsiteY193" fmla="*/ 25196 h 345937"/>
                <a:gd name="connsiteX194" fmla="*/ 153630 w 345937"/>
                <a:gd name="connsiteY194" fmla="*/ 24950 h 345937"/>
                <a:gd name="connsiteX195" fmla="*/ 155662 w 345937"/>
                <a:gd name="connsiteY195" fmla="*/ 24698 h 345937"/>
                <a:gd name="connsiteX196" fmla="*/ 157486 w 345937"/>
                <a:gd name="connsiteY196" fmla="*/ 24490 h 345937"/>
                <a:gd name="connsiteX197" fmla="*/ 159544 w 345937"/>
                <a:gd name="connsiteY197" fmla="*/ 24290 h 345937"/>
                <a:gd name="connsiteX198" fmla="*/ 161331 w 345937"/>
                <a:gd name="connsiteY198" fmla="*/ 24134 h 345937"/>
                <a:gd name="connsiteX199" fmla="*/ 163484 w 345937"/>
                <a:gd name="connsiteY199" fmla="*/ 23985 h 345937"/>
                <a:gd name="connsiteX200" fmla="*/ 163723 w 345937"/>
                <a:gd name="connsiteY200" fmla="*/ 23968 h 345937"/>
                <a:gd name="connsiteX201" fmla="*/ 165232 w 345937"/>
                <a:gd name="connsiteY201" fmla="*/ 23873 h 345937"/>
                <a:gd name="connsiteX202" fmla="*/ 166794 w 345937"/>
                <a:gd name="connsiteY202" fmla="*/ 23804 h 345937"/>
                <a:gd name="connsiteX203" fmla="*/ 169126 w 345937"/>
                <a:gd name="connsiteY203" fmla="*/ 23712 h 345937"/>
                <a:gd name="connsiteX204" fmla="*/ 171051 w 345937"/>
                <a:gd name="connsiteY204" fmla="*/ 23681 h 345937"/>
                <a:gd name="connsiteX205" fmla="*/ 173061 w 345937"/>
                <a:gd name="connsiteY205" fmla="*/ 23659 h 345937"/>
                <a:gd name="connsiteX206" fmla="*/ 175275 w 345937"/>
                <a:gd name="connsiteY206" fmla="*/ 23681 h 345937"/>
                <a:gd name="connsiteX207" fmla="*/ 177050 w 345937"/>
                <a:gd name="connsiteY207" fmla="*/ 23707 h 345937"/>
                <a:gd name="connsiteX208" fmla="*/ 180976 w 345937"/>
                <a:gd name="connsiteY208" fmla="*/ 23854 h 345937"/>
                <a:gd name="connsiteX209" fmla="*/ 181076 w 345937"/>
                <a:gd name="connsiteY209" fmla="*/ 23858 h 345937"/>
                <a:gd name="connsiteX210" fmla="*/ 185017 w 345937"/>
                <a:gd name="connsiteY210" fmla="*/ 24112 h 345937"/>
                <a:gd name="connsiteX211" fmla="*/ 186863 w 345937"/>
                <a:gd name="connsiteY211" fmla="*/ 24275 h 345937"/>
                <a:gd name="connsiteX212" fmla="*/ 188930 w 345937"/>
                <a:gd name="connsiteY212" fmla="*/ 24466 h 345937"/>
                <a:gd name="connsiteX213" fmla="*/ 190986 w 345937"/>
                <a:gd name="connsiteY213" fmla="*/ 24701 h 345937"/>
                <a:gd name="connsiteX214" fmla="*/ 192858 w 345937"/>
                <a:gd name="connsiteY214" fmla="*/ 24922 h 345937"/>
                <a:gd name="connsiteX215" fmla="*/ 195088 w 345937"/>
                <a:gd name="connsiteY215" fmla="*/ 25237 h 345937"/>
                <a:gd name="connsiteX216" fmla="*/ 196732 w 345937"/>
                <a:gd name="connsiteY216" fmla="*/ 25477 h 345937"/>
                <a:gd name="connsiteX217" fmla="*/ 198211 w 345937"/>
                <a:gd name="connsiteY217" fmla="*/ 25723 h 345937"/>
                <a:gd name="connsiteX218" fmla="*/ 198532 w 345937"/>
                <a:gd name="connsiteY218" fmla="*/ 25778 h 345937"/>
                <a:gd name="connsiteX219" fmla="*/ 200584 w 345937"/>
                <a:gd name="connsiteY219" fmla="*/ 26134 h 345937"/>
                <a:gd name="connsiteX220" fmla="*/ 201942 w 345937"/>
                <a:gd name="connsiteY220" fmla="*/ 26392 h 345937"/>
                <a:gd name="connsiteX221" fmla="*/ 202339 w 345937"/>
                <a:gd name="connsiteY221" fmla="*/ 26470 h 345937"/>
                <a:gd name="connsiteX222" fmla="*/ 204383 w 345937"/>
                <a:gd name="connsiteY222" fmla="*/ 26880 h 345937"/>
                <a:gd name="connsiteX223" fmla="*/ 206147 w 345937"/>
                <a:gd name="connsiteY223" fmla="*/ 27264 h 345937"/>
                <a:gd name="connsiteX224" fmla="*/ 208155 w 345937"/>
                <a:gd name="connsiteY224" fmla="*/ 27724 h 345937"/>
                <a:gd name="connsiteX225" fmla="*/ 209935 w 345937"/>
                <a:gd name="connsiteY225" fmla="*/ 28162 h 345937"/>
                <a:gd name="connsiteX226" fmla="*/ 211877 w 345937"/>
                <a:gd name="connsiteY226" fmla="*/ 28659 h 345937"/>
                <a:gd name="connsiteX227" fmla="*/ 213658 w 345937"/>
                <a:gd name="connsiteY227" fmla="*/ 29143 h 345937"/>
                <a:gd name="connsiteX228" fmla="*/ 215573 w 345937"/>
                <a:gd name="connsiteY228" fmla="*/ 29689 h 345937"/>
                <a:gd name="connsiteX229" fmla="*/ 217331 w 345937"/>
                <a:gd name="connsiteY229" fmla="*/ 30213 h 345937"/>
                <a:gd name="connsiteX230" fmla="*/ 219226 w 345937"/>
                <a:gd name="connsiteY230" fmla="*/ 30810 h 345937"/>
                <a:gd name="connsiteX231" fmla="*/ 220948 w 345937"/>
                <a:gd name="connsiteY231" fmla="*/ 31368 h 345937"/>
                <a:gd name="connsiteX232" fmla="*/ 222853 w 345937"/>
                <a:gd name="connsiteY232" fmla="*/ 32025 h 345937"/>
                <a:gd name="connsiteX233" fmla="*/ 224567 w 345937"/>
                <a:gd name="connsiteY233" fmla="*/ 32631 h 345937"/>
                <a:gd name="connsiteX234" fmla="*/ 226401 w 345937"/>
                <a:gd name="connsiteY234" fmla="*/ 33313 h 345937"/>
                <a:gd name="connsiteX235" fmla="*/ 228129 w 345937"/>
                <a:gd name="connsiteY235" fmla="*/ 33972 h 345937"/>
                <a:gd name="connsiteX236" fmla="*/ 229537 w 345937"/>
                <a:gd name="connsiteY236" fmla="*/ 34539 h 345937"/>
                <a:gd name="connsiteX237" fmla="*/ 230455 w 345937"/>
                <a:gd name="connsiteY237" fmla="*/ 34913 h 345937"/>
                <a:gd name="connsiteX238" fmla="*/ 231625 w 345937"/>
                <a:gd name="connsiteY238" fmla="*/ 35395 h 345937"/>
                <a:gd name="connsiteX239" fmla="*/ 233227 w 345937"/>
                <a:gd name="connsiteY239" fmla="*/ 36090 h 345937"/>
                <a:gd name="connsiteX240" fmla="*/ 233971 w 345937"/>
                <a:gd name="connsiteY240" fmla="*/ 36415 h 345937"/>
                <a:gd name="connsiteX241" fmla="*/ 235078 w 345937"/>
                <a:gd name="connsiteY241" fmla="*/ 36903 h 345937"/>
                <a:gd name="connsiteX242" fmla="*/ 236558 w 345937"/>
                <a:gd name="connsiteY242" fmla="*/ 37589 h 345937"/>
                <a:gd name="connsiteX243" fmla="*/ 237537 w 345937"/>
                <a:gd name="connsiteY243" fmla="*/ 38048 h 345937"/>
                <a:gd name="connsiteX244" fmla="*/ 238495 w 345937"/>
                <a:gd name="connsiteY244" fmla="*/ 38500 h 345937"/>
                <a:gd name="connsiteX245" fmla="*/ 239855 w 345937"/>
                <a:gd name="connsiteY245" fmla="*/ 39174 h 345937"/>
                <a:gd name="connsiteX246" fmla="*/ 241836 w 345937"/>
                <a:gd name="connsiteY246" fmla="*/ 40163 h 345937"/>
                <a:gd name="connsiteX247" fmla="*/ 244208 w 345937"/>
                <a:gd name="connsiteY247" fmla="*/ 41423 h 345937"/>
                <a:gd name="connsiteX248" fmla="*/ 246405 w 345937"/>
                <a:gd name="connsiteY248" fmla="*/ 42629 h 345937"/>
                <a:gd name="connsiteX249" fmla="*/ 246759 w 345937"/>
                <a:gd name="connsiteY249" fmla="*/ 42826 h 345937"/>
                <a:gd name="connsiteX250" fmla="*/ 248353 w 345937"/>
                <a:gd name="connsiteY250" fmla="*/ 43727 h 345937"/>
                <a:gd name="connsiteX251" fmla="*/ 249395 w 345937"/>
                <a:gd name="connsiteY251" fmla="*/ 44346 h 345937"/>
                <a:gd name="connsiteX252" fmla="*/ 250283 w 345937"/>
                <a:gd name="connsiteY252" fmla="*/ 44876 h 345937"/>
                <a:gd name="connsiteX253" fmla="*/ 251550 w 345937"/>
                <a:gd name="connsiteY253" fmla="*/ 45634 h 345937"/>
                <a:gd name="connsiteX254" fmla="*/ 252687 w 345937"/>
                <a:gd name="connsiteY254" fmla="*/ 46346 h 345937"/>
                <a:gd name="connsiteX255" fmla="*/ 253609 w 345937"/>
                <a:gd name="connsiteY255" fmla="*/ 46928 h 345937"/>
                <a:gd name="connsiteX256" fmla="*/ 254705 w 345937"/>
                <a:gd name="connsiteY256" fmla="*/ 47623 h 345937"/>
                <a:gd name="connsiteX257" fmla="*/ 255927 w 345937"/>
                <a:gd name="connsiteY257" fmla="*/ 48430 h 345937"/>
                <a:gd name="connsiteX258" fmla="*/ 256581 w 345937"/>
                <a:gd name="connsiteY258" fmla="*/ 48867 h 345937"/>
                <a:gd name="connsiteX259" fmla="*/ 257803 w 345937"/>
                <a:gd name="connsiteY259" fmla="*/ 49686 h 345937"/>
                <a:gd name="connsiteX260" fmla="*/ 259216 w 345937"/>
                <a:gd name="connsiteY260" fmla="*/ 50671 h 345937"/>
                <a:gd name="connsiteX261" fmla="*/ 259340 w 345937"/>
                <a:gd name="connsiteY261" fmla="*/ 50759 h 345937"/>
                <a:gd name="connsiteX262" fmla="*/ 259507 w 345937"/>
                <a:gd name="connsiteY262" fmla="*/ 50877 h 345937"/>
                <a:gd name="connsiteX263" fmla="*/ 260857 w 345937"/>
                <a:gd name="connsiteY263" fmla="*/ 51832 h 345937"/>
                <a:gd name="connsiteX264" fmla="*/ 262360 w 345937"/>
                <a:gd name="connsiteY264" fmla="*/ 52935 h 345937"/>
                <a:gd name="connsiteX265" fmla="*/ 262511 w 345937"/>
                <a:gd name="connsiteY265" fmla="*/ 53045 h 345937"/>
                <a:gd name="connsiteX266" fmla="*/ 263826 w 345937"/>
                <a:gd name="connsiteY266" fmla="*/ 54027 h 345937"/>
                <a:gd name="connsiteX267" fmla="*/ 265316 w 345937"/>
                <a:gd name="connsiteY267" fmla="*/ 55174 h 345937"/>
                <a:gd name="connsiteX268" fmla="*/ 266770 w 345937"/>
                <a:gd name="connsiteY268" fmla="*/ 56319 h 345937"/>
                <a:gd name="connsiteX269" fmla="*/ 268215 w 345937"/>
                <a:gd name="connsiteY269" fmla="*/ 57489 h 345937"/>
                <a:gd name="connsiteX270" fmla="*/ 269622 w 345937"/>
                <a:gd name="connsiteY270" fmla="*/ 58652 h 345937"/>
                <a:gd name="connsiteX271" fmla="*/ 271090 w 345937"/>
                <a:gd name="connsiteY271" fmla="*/ 59902 h 345937"/>
                <a:gd name="connsiteX272" fmla="*/ 272442 w 345937"/>
                <a:gd name="connsiteY272" fmla="*/ 61082 h 345937"/>
                <a:gd name="connsiteX273" fmla="*/ 273833 w 345937"/>
                <a:gd name="connsiteY273" fmla="*/ 62322 h 345937"/>
                <a:gd name="connsiteX274" fmla="*/ 275180 w 345937"/>
                <a:gd name="connsiteY274" fmla="*/ 63557 h 345937"/>
                <a:gd name="connsiteX275" fmla="*/ 276555 w 345937"/>
                <a:gd name="connsiteY275" fmla="*/ 64846 h 345937"/>
                <a:gd name="connsiteX276" fmla="*/ 277852 w 345937"/>
                <a:gd name="connsiteY276" fmla="*/ 66098 h 345937"/>
                <a:gd name="connsiteX277" fmla="*/ 278193 w 345937"/>
                <a:gd name="connsiteY277" fmla="*/ 66433 h 345937"/>
                <a:gd name="connsiteX278" fmla="*/ 279225 w 345937"/>
                <a:gd name="connsiteY278" fmla="*/ 67448 h 345937"/>
                <a:gd name="connsiteX279" fmla="*/ 280507 w 345937"/>
                <a:gd name="connsiteY279" fmla="*/ 68746 h 345937"/>
                <a:gd name="connsiteX280" fmla="*/ 281785 w 345937"/>
                <a:gd name="connsiteY280" fmla="*/ 70064 h 345937"/>
                <a:gd name="connsiteX281" fmla="*/ 282810 w 345937"/>
                <a:gd name="connsiteY281" fmla="*/ 71159 h 345937"/>
                <a:gd name="connsiteX282" fmla="*/ 283063 w 345937"/>
                <a:gd name="connsiteY282" fmla="*/ 71432 h 345937"/>
                <a:gd name="connsiteX283" fmla="*/ 299031 w 345937"/>
                <a:gd name="connsiteY283" fmla="*/ 72006 h 345937"/>
                <a:gd name="connsiteX284" fmla="*/ 299605 w 345937"/>
                <a:gd name="connsiteY284" fmla="*/ 56038 h 345937"/>
                <a:gd name="connsiteX285" fmla="*/ 299363 w 345937"/>
                <a:gd name="connsiteY285" fmla="*/ 55776 h 345937"/>
                <a:gd name="connsiteX286" fmla="*/ 298147 w 345937"/>
                <a:gd name="connsiteY286" fmla="*/ 54480 h 345937"/>
                <a:gd name="connsiteX287" fmla="*/ 296671 w 345937"/>
                <a:gd name="connsiteY287" fmla="*/ 52958 h 345937"/>
                <a:gd name="connsiteX288" fmla="*/ 295181 w 345937"/>
                <a:gd name="connsiteY288" fmla="*/ 51443 h 345937"/>
                <a:gd name="connsiteX289" fmla="*/ 293983 w 345937"/>
                <a:gd name="connsiteY289" fmla="*/ 50265 h 345937"/>
                <a:gd name="connsiteX290" fmla="*/ 293656 w 345937"/>
                <a:gd name="connsiteY290" fmla="*/ 49946 h 345937"/>
                <a:gd name="connsiteX291" fmla="*/ 292142 w 345937"/>
                <a:gd name="connsiteY291" fmla="*/ 48485 h 345937"/>
                <a:gd name="connsiteX292" fmla="*/ 290547 w 345937"/>
                <a:gd name="connsiteY292" fmla="*/ 46988 h 345937"/>
                <a:gd name="connsiteX293" fmla="*/ 288995 w 345937"/>
                <a:gd name="connsiteY293" fmla="*/ 45564 h 345937"/>
                <a:gd name="connsiteX294" fmla="*/ 287392 w 345937"/>
                <a:gd name="connsiteY294" fmla="*/ 44134 h 345937"/>
                <a:gd name="connsiteX295" fmla="*/ 285800 w 345937"/>
                <a:gd name="connsiteY295" fmla="*/ 42744 h 345937"/>
                <a:gd name="connsiteX296" fmla="*/ 284154 w 345937"/>
                <a:gd name="connsiteY296" fmla="*/ 41345 h 345937"/>
                <a:gd name="connsiteX297" fmla="*/ 282555 w 345937"/>
                <a:gd name="connsiteY297" fmla="*/ 40020 h 345937"/>
                <a:gd name="connsiteX298" fmla="*/ 280865 w 345937"/>
                <a:gd name="connsiteY298" fmla="*/ 38649 h 345937"/>
                <a:gd name="connsiteX299" fmla="*/ 279196 w 345937"/>
                <a:gd name="connsiteY299" fmla="*/ 37337 h 345937"/>
                <a:gd name="connsiteX300" fmla="*/ 277517 w 345937"/>
                <a:gd name="connsiteY300" fmla="*/ 36042 h 345937"/>
                <a:gd name="connsiteX301" fmla="*/ 275942 w 345937"/>
                <a:gd name="connsiteY301" fmla="*/ 34865 h 345937"/>
                <a:gd name="connsiteX302" fmla="*/ 275812 w 345937"/>
                <a:gd name="connsiteY302" fmla="*/ 34770 h 345937"/>
                <a:gd name="connsiteX303" fmla="*/ 274069 w 345937"/>
                <a:gd name="connsiteY303" fmla="*/ 33488 h 345937"/>
                <a:gd name="connsiteX304" fmla="*/ 272482 w 345937"/>
                <a:gd name="connsiteY304" fmla="*/ 32366 h 345937"/>
                <a:gd name="connsiteX305" fmla="*/ 272236 w 345937"/>
                <a:gd name="connsiteY305" fmla="*/ 32193 h 345937"/>
                <a:gd name="connsiteX306" fmla="*/ 270567 w 345937"/>
                <a:gd name="connsiteY306" fmla="*/ 31030 h 345937"/>
                <a:gd name="connsiteX307" fmla="*/ 269085 w 345937"/>
                <a:gd name="connsiteY307" fmla="*/ 30036 h 345937"/>
                <a:gd name="connsiteX308" fmla="*/ 268496 w 345937"/>
                <a:gd name="connsiteY308" fmla="*/ 29642 h 345937"/>
                <a:gd name="connsiteX309" fmla="*/ 266991 w 345937"/>
                <a:gd name="connsiteY309" fmla="*/ 28648 h 345937"/>
                <a:gd name="connsiteX310" fmla="*/ 265641 w 345937"/>
                <a:gd name="connsiteY310" fmla="*/ 27790 h 345937"/>
                <a:gd name="connsiteX311" fmla="*/ 264778 w 345937"/>
                <a:gd name="connsiteY311" fmla="*/ 27248 h 345937"/>
                <a:gd name="connsiteX312" fmla="*/ 263364 w 345937"/>
                <a:gd name="connsiteY312" fmla="*/ 26363 h 345937"/>
                <a:gd name="connsiteX313" fmla="*/ 261791 w 345937"/>
                <a:gd name="connsiteY313" fmla="*/ 25421 h 345937"/>
                <a:gd name="connsiteX314" fmla="*/ 261050 w 345937"/>
                <a:gd name="connsiteY314" fmla="*/ 24978 h 345937"/>
                <a:gd name="connsiteX315" fmla="*/ 259688 w 345937"/>
                <a:gd name="connsiteY315" fmla="*/ 24171 h 345937"/>
                <a:gd name="connsiteX316" fmla="*/ 257766 w 345937"/>
                <a:gd name="connsiteY316" fmla="*/ 23084 h 345937"/>
                <a:gd name="connsiteX317" fmla="*/ 257433 w 345937"/>
                <a:gd name="connsiteY317" fmla="*/ 22898 h 345937"/>
                <a:gd name="connsiteX318" fmla="*/ 254916 w 345937"/>
                <a:gd name="connsiteY318" fmla="*/ 21517 h 345937"/>
                <a:gd name="connsiteX319" fmla="*/ 252176 w 345937"/>
                <a:gd name="connsiteY319" fmla="*/ 20064 h 345937"/>
                <a:gd name="connsiteX320" fmla="*/ 250999 w 345937"/>
                <a:gd name="connsiteY320" fmla="*/ 19475 h 345937"/>
                <a:gd name="connsiteX321" fmla="*/ 250004 w 345937"/>
                <a:gd name="connsiteY321" fmla="*/ 18977 h 345937"/>
                <a:gd name="connsiteX322" fmla="*/ 248340 w 345937"/>
                <a:gd name="connsiteY322" fmla="*/ 18155 h 345937"/>
                <a:gd name="connsiteX323" fmla="*/ 247073 w 345937"/>
                <a:gd name="connsiteY323" fmla="*/ 17557 h 345937"/>
                <a:gd name="connsiteX324" fmla="*/ 246163 w 345937"/>
                <a:gd name="connsiteY324" fmla="*/ 17131 h 345937"/>
                <a:gd name="connsiteX325" fmla="*/ 244404 w 345937"/>
                <a:gd name="connsiteY325" fmla="*/ 16315 h 345937"/>
                <a:gd name="connsiteX326" fmla="*/ 242988 w 345937"/>
                <a:gd name="connsiteY326" fmla="*/ 15690 h 345937"/>
                <a:gd name="connsiteX327" fmla="*/ 242318 w 345937"/>
                <a:gd name="connsiteY327" fmla="*/ 15397 h 345937"/>
                <a:gd name="connsiteX328" fmla="*/ 240403 w 345937"/>
                <a:gd name="connsiteY328" fmla="*/ 14569 h 345937"/>
                <a:gd name="connsiteX329" fmla="*/ 238981 w 345937"/>
                <a:gd name="connsiteY329" fmla="*/ 13982 h 345937"/>
                <a:gd name="connsiteX330" fmla="*/ 238057 w 345937"/>
                <a:gd name="connsiteY330" fmla="*/ 13605 h 345937"/>
                <a:gd name="connsiteX331" fmla="*/ 236362 w 345937"/>
                <a:gd name="connsiteY331" fmla="*/ 12925 h 345937"/>
                <a:gd name="connsiteX332" fmla="*/ 234777 w 345937"/>
                <a:gd name="connsiteY332" fmla="*/ 12317 h 345937"/>
                <a:gd name="connsiteX333" fmla="*/ 234404 w 345937"/>
                <a:gd name="connsiteY333" fmla="*/ 12175 h 345937"/>
                <a:gd name="connsiteX334" fmla="*/ 232286 w 345937"/>
                <a:gd name="connsiteY334" fmla="*/ 11388 h 345937"/>
                <a:gd name="connsiteX335" fmla="*/ 230287 w 345937"/>
                <a:gd name="connsiteY335" fmla="*/ 10682 h 345937"/>
                <a:gd name="connsiteX336" fmla="*/ 228131 w 345937"/>
                <a:gd name="connsiteY336" fmla="*/ 9941 h 345937"/>
                <a:gd name="connsiteX337" fmla="*/ 226149 w 345937"/>
                <a:gd name="connsiteY337" fmla="*/ 9297 h 345937"/>
                <a:gd name="connsiteX338" fmla="*/ 223947 w 345937"/>
                <a:gd name="connsiteY338" fmla="*/ 8603 h 345937"/>
                <a:gd name="connsiteX339" fmla="*/ 221929 w 345937"/>
                <a:gd name="connsiteY339" fmla="*/ 8003 h 345937"/>
                <a:gd name="connsiteX340" fmla="*/ 219706 w 345937"/>
                <a:gd name="connsiteY340" fmla="*/ 7369 h 345937"/>
                <a:gd name="connsiteX341" fmla="*/ 217667 w 345937"/>
                <a:gd name="connsiteY341" fmla="*/ 6816 h 345937"/>
                <a:gd name="connsiteX342" fmla="*/ 215399 w 345937"/>
                <a:gd name="connsiteY342" fmla="*/ 6233 h 345937"/>
                <a:gd name="connsiteX343" fmla="*/ 213371 w 345937"/>
                <a:gd name="connsiteY343" fmla="*/ 5738 h 345937"/>
                <a:gd name="connsiteX344" fmla="*/ 211072 w 345937"/>
                <a:gd name="connsiteY344" fmla="*/ 5210 h 345937"/>
                <a:gd name="connsiteX345" fmla="*/ 209059 w 345937"/>
                <a:gd name="connsiteY345" fmla="*/ 4773 h 345937"/>
                <a:gd name="connsiteX346" fmla="*/ 206669 w 345937"/>
                <a:gd name="connsiteY346" fmla="*/ 4290 h 345937"/>
                <a:gd name="connsiteX347" fmla="*/ 206261 w 345937"/>
                <a:gd name="connsiteY347" fmla="*/ 4210 h 345937"/>
                <a:gd name="connsiteX348" fmla="*/ 204675 w 345937"/>
                <a:gd name="connsiteY348" fmla="*/ 3909 h 345937"/>
                <a:gd name="connsiteX349" fmla="*/ 202259 w 345937"/>
                <a:gd name="connsiteY349" fmla="*/ 3489 h 345937"/>
                <a:gd name="connsiteX350" fmla="*/ 202007 w 345937"/>
                <a:gd name="connsiteY350" fmla="*/ 3447 h 345937"/>
                <a:gd name="connsiteX351" fmla="*/ 200239 w 345937"/>
                <a:gd name="connsiteY351" fmla="*/ 3154 h 345937"/>
                <a:gd name="connsiteX352" fmla="*/ 198261 w 345937"/>
                <a:gd name="connsiteY352" fmla="*/ 2865 h 345937"/>
                <a:gd name="connsiteX353" fmla="*/ 197131 w 345937"/>
                <a:gd name="connsiteY353" fmla="*/ 2704 h 345937"/>
                <a:gd name="connsiteX354" fmla="*/ 195774 w 345937"/>
                <a:gd name="connsiteY354" fmla="*/ 2516 h 345937"/>
                <a:gd name="connsiteX355" fmla="*/ 193562 w 345937"/>
                <a:gd name="connsiteY355" fmla="*/ 2250 h 345937"/>
                <a:gd name="connsiteX356" fmla="*/ 191274 w 345937"/>
                <a:gd name="connsiteY356" fmla="*/ 1988 h 345937"/>
                <a:gd name="connsiteX357" fmla="*/ 188829 w 345937"/>
                <a:gd name="connsiteY357" fmla="*/ 1762 h 345937"/>
                <a:gd name="connsiteX358" fmla="*/ 187794 w 345937"/>
                <a:gd name="connsiteY358" fmla="*/ 1671 h 345937"/>
                <a:gd name="connsiteX359" fmla="*/ 186739 w 345937"/>
                <a:gd name="connsiteY359" fmla="*/ 1578 h 345937"/>
                <a:gd name="connsiteX360" fmla="*/ 182374 w 345937"/>
                <a:gd name="connsiteY360" fmla="*/ 1291 h 345937"/>
                <a:gd name="connsiteX361" fmla="*/ 181980 w 345937"/>
                <a:gd name="connsiteY361" fmla="*/ 1271 h 345937"/>
                <a:gd name="connsiteX362" fmla="*/ 177628 w 345937"/>
                <a:gd name="connsiteY362" fmla="*/ 1110 h 345937"/>
                <a:gd name="connsiteX363" fmla="*/ 176576 w 345937"/>
                <a:gd name="connsiteY363" fmla="*/ 1091 h 345937"/>
                <a:gd name="connsiteX364" fmla="*/ 175603 w 345937"/>
                <a:gd name="connsiteY364" fmla="*/ 1079 h 345937"/>
                <a:gd name="connsiteX365" fmla="*/ 173018 w 345937"/>
                <a:gd name="connsiteY365" fmla="*/ 1055 h 345937"/>
                <a:gd name="connsiteX366" fmla="*/ 173003 w 345937"/>
                <a:gd name="connsiteY366" fmla="*/ 1055 h 345937"/>
                <a:gd name="connsiteX367" fmla="*/ 170788 w 345937"/>
                <a:gd name="connsiteY367" fmla="*/ 1083 h 345937"/>
                <a:gd name="connsiteX368" fmla="*/ 168504 w 345937"/>
                <a:gd name="connsiteY368" fmla="*/ 1121 h 345937"/>
                <a:gd name="connsiteX369" fmla="*/ 167135 w 345937"/>
                <a:gd name="connsiteY369" fmla="*/ 1171 h 345937"/>
                <a:gd name="connsiteX370" fmla="*/ 165913 w 345937"/>
                <a:gd name="connsiteY370" fmla="*/ 1219 h 345937"/>
                <a:gd name="connsiteX371" fmla="*/ 164016 w 345937"/>
                <a:gd name="connsiteY371" fmla="*/ 1304 h 345937"/>
                <a:gd name="connsiteX372" fmla="*/ 162194 w 345937"/>
                <a:gd name="connsiteY372" fmla="*/ 1418 h 345937"/>
                <a:gd name="connsiteX373" fmla="*/ 162002 w 345937"/>
                <a:gd name="connsiteY373" fmla="*/ 1432 h 345937"/>
                <a:gd name="connsiteX374" fmla="*/ 159534 w 345937"/>
                <a:gd name="connsiteY374" fmla="*/ 1603 h 345937"/>
                <a:gd name="connsiteX375" fmla="*/ 157465 w 345937"/>
                <a:gd name="connsiteY375" fmla="*/ 1785 h 345937"/>
                <a:gd name="connsiteX376" fmla="*/ 155110 w 345937"/>
                <a:gd name="connsiteY376" fmla="*/ 2014 h 345937"/>
                <a:gd name="connsiteX377" fmla="*/ 152996 w 345937"/>
                <a:gd name="connsiteY377" fmla="*/ 2253 h 345937"/>
                <a:gd name="connsiteX378" fmla="*/ 150711 w 345937"/>
                <a:gd name="connsiteY378" fmla="*/ 2535 h 345937"/>
                <a:gd name="connsiteX379" fmla="*/ 148585 w 345937"/>
                <a:gd name="connsiteY379" fmla="*/ 2829 h 345937"/>
                <a:gd name="connsiteX380" fmla="*/ 146281 w 345937"/>
                <a:gd name="connsiteY380" fmla="*/ 3175 h 345937"/>
                <a:gd name="connsiteX381" fmla="*/ 144241 w 345937"/>
                <a:gd name="connsiteY381" fmla="*/ 3514 h 345937"/>
                <a:gd name="connsiteX382" fmla="*/ 141936 w 345937"/>
                <a:gd name="connsiteY382" fmla="*/ 3922 h 345937"/>
                <a:gd name="connsiteX383" fmla="*/ 139882 w 345937"/>
                <a:gd name="connsiteY383" fmla="*/ 4314 h 345937"/>
                <a:gd name="connsiteX384" fmla="*/ 137540 w 345937"/>
                <a:gd name="connsiteY384" fmla="*/ 4795 h 345937"/>
                <a:gd name="connsiteX385" fmla="*/ 135549 w 345937"/>
                <a:gd name="connsiteY385" fmla="*/ 5227 h 345937"/>
                <a:gd name="connsiteX386" fmla="*/ 133365 w 345937"/>
                <a:gd name="connsiteY386" fmla="*/ 5738 h 345937"/>
                <a:gd name="connsiteX387" fmla="*/ 131280 w 345937"/>
                <a:gd name="connsiteY387" fmla="*/ 6244 h 345937"/>
                <a:gd name="connsiteX388" fmla="*/ 129110 w 345937"/>
                <a:gd name="connsiteY388" fmla="*/ 6809 h 345937"/>
                <a:gd name="connsiteX389" fmla="*/ 127075 w 345937"/>
                <a:gd name="connsiteY389" fmla="*/ 7359 h 345937"/>
                <a:gd name="connsiteX390" fmla="*/ 125192 w 345937"/>
                <a:gd name="connsiteY390" fmla="*/ 7900 h 345937"/>
                <a:gd name="connsiteX391" fmla="*/ 122877 w 345937"/>
                <a:gd name="connsiteY391" fmla="*/ 8585 h 345937"/>
                <a:gd name="connsiteX392" fmla="*/ 121055 w 345937"/>
                <a:gd name="connsiteY392" fmla="*/ 9163 h 345937"/>
                <a:gd name="connsiteX393" fmla="*/ 120157 w 345937"/>
                <a:gd name="connsiteY393" fmla="*/ 9451 h 345937"/>
                <a:gd name="connsiteX394" fmla="*/ 118765 w 345937"/>
                <a:gd name="connsiteY394" fmla="*/ 9901 h 345937"/>
                <a:gd name="connsiteX395" fmla="*/ 116996 w 345937"/>
                <a:gd name="connsiteY395" fmla="*/ 10512 h 345937"/>
                <a:gd name="connsiteX396" fmla="*/ 116169 w 345937"/>
                <a:gd name="connsiteY396" fmla="*/ 10800 h 345937"/>
                <a:gd name="connsiteX397" fmla="*/ 114666 w 345937"/>
                <a:gd name="connsiteY397" fmla="*/ 11330 h 345937"/>
                <a:gd name="connsiteX398" fmla="*/ 112846 w 345937"/>
                <a:gd name="connsiteY398" fmla="*/ 12011 h 345937"/>
                <a:gd name="connsiteX399" fmla="*/ 111865 w 345937"/>
                <a:gd name="connsiteY399" fmla="*/ 12382 h 345937"/>
                <a:gd name="connsiteX400" fmla="*/ 110610 w 345937"/>
                <a:gd name="connsiteY400" fmla="*/ 12860 h 345937"/>
                <a:gd name="connsiteX401" fmla="*/ 107791 w 345937"/>
                <a:gd name="connsiteY401" fmla="*/ 14002 h 345937"/>
                <a:gd name="connsiteX402" fmla="*/ 105118 w 345937"/>
                <a:gd name="connsiteY402" fmla="*/ 15135 h 345937"/>
                <a:gd name="connsiteX403" fmla="*/ 104791 w 345937"/>
                <a:gd name="connsiteY403" fmla="*/ 15282 h 345937"/>
                <a:gd name="connsiteX404" fmla="*/ 102776 w 345937"/>
                <a:gd name="connsiteY404" fmla="*/ 16163 h 345937"/>
                <a:gd name="connsiteX405" fmla="*/ 101310 w 345937"/>
                <a:gd name="connsiteY405" fmla="*/ 16841 h 345937"/>
                <a:gd name="connsiteX406" fmla="*/ 100626 w 345937"/>
                <a:gd name="connsiteY406" fmla="*/ 17160 h 345937"/>
                <a:gd name="connsiteX407" fmla="*/ 98858 w 345937"/>
                <a:gd name="connsiteY407" fmla="*/ 17987 h 345937"/>
                <a:gd name="connsiteX408" fmla="*/ 97328 w 345937"/>
                <a:gd name="connsiteY408" fmla="*/ 18741 h 345937"/>
                <a:gd name="connsiteX409" fmla="*/ 96482 w 345937"/>
                <a:gd name="connsiteY409" fmla="*/ 19162 h 345937"/>
                <a:gd name="connsiteX410" fmla="*/ 95007 w 345937"/>
                <a:gd name="connsiteY410" fmla="*/ 19897 h 345937"/>
                <a:gd name="connsiteX411" fmla="*/ 93110 w 345937"/>
                <a:gd name="connsiteY411" fmla="*/ 20894 h 345937"/>
                <a:gd name="connsiteX412" fmla="*/ 92699 w 345937"/>
                <a:gd name="connsiteY412" fmla="*/ 21112 h 345937"/>
                <a:gd name="connsiteX413" fmla="*/ 91225 w 345937"/>
                <a:gd name="connsiteY413" fmla="*/ 21897 h 345937"/>
                <a:gd name="connsiteX414" fmla="*/ 89556 w 345937"/>
                <a:gd name="connsiteY414" fmla="*/ 22823 h 345937"/>
                <a:gd name="connsiteX415" fmla="*/ 89171 w 345937"/>
                <a:gd name="connsiteY415" fmla="*/ 23040 h 345937"/>
                <a:gd name="connsiteX416" fmla="*/ 87504 w 345937"/>
                <a:gd name="connsiteY416" fmla="*/ 23979 h 345937"/>
                <a:gd name="connsiteX417" fmla="*/ 85616 w 345937"/>
                <a:gd name="connsiteY417" fmla="*/ 25092 h 345937"/>
                <a:gd name="connsiteX418" fmla="*/ 83844 w 345937"/>
                <a:gd name="connsiteY418" fmla="*/ 26151 h 345937"/>
                <a:gd name="connsiteX419" fmla="*/ 82000 w 345937"/>
                <a:gd name="connsiteY419" fmla="*/ 27294 h 345937"/>
                <a:gd name="connsiteX420" fmla="*/ 80219 w 345937"/>
                <a:gd name="connsiteY420" fmla="*/ 28423 h 345937"/>
                <a:gd name="connsiteX421" fmla="*/ 78400 w 345937"/>
                <a:gd name="connsiteY421" fmla="*/ 29611 h 345937"/>
                <a:gd name="connsiteX422" fmla="*/ 76642 w 345937"/>
                <a:gd name="connsiteY422" fmla="*/ 30787 h 345937"/>
                <a:gd name="connsiteX423" fmla="*/ 74896 w 345937"/>
                <a:gd name="connsiteY423" fmla="*/ 31992 h 345937"/>
                <a:gd name="connsiteX424" fmla="*/ 73142 w 345937"/>
                <a:gd name="connsiteY424" fmla="*/ 33231 h 345937"/>
                <a:gd name="connsiteX425" fmla="*/ 71389 w 345937"/>
                <a:gd name="connsiteY425" fmla="*/ 34504 h 345937"/>
                <a:gd name="connsiteX426" fmla="*/ 69718 w 345937"/>
                <a:gd name="connsiteY426" fmla="*/ 35750 h 345937"/>
                <a:gd name="connsiteX427" fmla="*/ 68005 w 345937"/>
                <a:gd name="connsiteY427" fmla="*/ 37055 h 345937"/>
                <a:gd name="connsiteX428" fmla="*/ 66335 w 345937"/>
                <a:gd name="connsiteY428" fmla="*/ 38368 h 345937"/>
                <a:gd name="connsiteX429" fmla="*/ 66143 w 345937"/>
                <a:gd name="connsiteY429" fmla="*/ 38520 h 345937"/>
                <a:gd name="connsiteX430" fmla="*/ 64685 w 345937"/>
                <a:gd name="connsiteY430" fmla="*/ 39689 h 345937"/>
                <a:gd name="connsiteX431" fmla="*/ 63040 w 345937"/>
                <a:gd name="connsiteY431" fmla="*/ 41048 h 345937"/>
                <a:gd name="connsiteX432" fmla="*/ 62806 w 345937"/>
                <a:gd name="connsiteY432" fmla="*/ 41243 h 345937"/>
                <a:gd name="connsiteX433" fmla="*/ 61403 w 345937"/>
                <a:gd name="connsiteY433" fmla="*/ 42424 h 345937"/>
                <a:gd name="connsiteX434" fmla="*/ 59783 w 345937"/>
                <a:gd name="connsiteY434" fmla="*/ 43837 h 345937"/>
                <a:gd name="connsiteX435" fmla="*/ 59378 w 345937"/>
                <a:gd name="connsiteY435" fmla="*/ 44191 h 345937"/>
                <a:gd name="connsiteX436" fmla="*/ 58191 w 345937"/>
                <a:gd name="connsiteY436" fmla="*/ 45239 h 345937"/>
                <a:gd name="connsiteX437" fmla="*/ 56716 w 345937"/>
                <a:gd name="connsiteY437" fmla="*/ 46592 h 345937"/>
                <a:gd name="connsiteX438" fmla="*/ 56245 w 345937"/>
                <a:gd name="connsiteY438" fmla="*/ 47026 h 345937"/>
                <a:gd name="connsiteX439" fmla="*/ 55068 w 345937"/>
                <a:gd name="connsiteY439" fmla="*/ 48118 h 345937"/>
                <a:gd name="connsiteX440" fmla="*/ 53646 w 345937"/>
                <a:gd name="connsiteY440" fmla="*/ 49490 h 345937"/>
                <a:gd name="connsiteX441" fmla="*/ 53214 w 345937"/>
                <a:gd name="connsiteY441" fmla="*/ 49906 h 345937"/>
                <a:gd name="connsiteX442" fmla="*/ 52192 w 345937"/>
                <a:gd name="connsiteY442" fmla="*/ 50895 h 345937"/>
                <a:gd name="connsiteX443" fmla="*/ 51973 w 345937"/>
                <a:gd name="connsiteY443" fmla="*/ 51119 h 345937"/>
                <a:gd name="connsiteX444" fmla="*/ 21762 w 345937"/>
                <a:gd name="connsiteY444" fmla="*/ 91457 h 345937"/>
                <a:gd name="connsiteX445" fmla="*/ 21619 w 345937"/>
                <a:gd name="connsiteY445" fmla="*/ 91710 h 345937"/>
                <a:gd name="connsiteX446" fmla="*/ 21246 w 345937"/>
                <a:gd name="connsiteY446" fmla="*/ 92423 h 345937"/>
                <a:gd name="connsiteX447" fmla="*/ 21163 w 345937"/>
                <a:gd name="connsiteY447" fmla="*/ 92585 h 345937"/>
                <a:gd name="connsiteX448" fmla="*/ 19705 w 345937"/>
                <a:gd name="connsiteY448" fmla="*/ 95375 h 345937"/>
                <a:gd name="connsiteX449" fmla="*/ 19007 w 345937"/>
                <a:gd name="connsiteY449" fmla="*/ 96770 h 345937"/>
                <a:gd name="connsiteX450" fmla="*/ 17743 w 345937"/>
                <a:gd name="connsiteY450" fmla="*/ 99368 h 345937"/>
                <a:gd name="connsiteX451" fmla="*/ 17023 w 345937"/>
                <a:gd name="connsiteY451" fmla="*/ 100896 h 345937"/>
                <a:gd name="connsiteX452" fmla="*/ 15857 w 345937"/>
                <a:gd name="connsiteY452" fmla="*/ 103466 h 345937"/>
                <a:gd name="connsiteX453" fmla="*/ 15734 w 345937"/>
                <a:gd name="connsiteY453" fmla="*/ 103746 h 345937"/>
                <a:gd name="connsiteX454" fmla="*/ 15189 w 345937"/>
                <a:gd name="connsiteY454" fmla="*/ 104993 h 345937"/>
                <a:gd name="connsiteX455" fmla="*/ 14104 w 345937"/>
                <a:gd name="connsiteY455" fmla="*/ 107564 h 345937"/>
                <a:gd name="connsiteX456" fmla="*/ 13447 w 345937"/>
                <a:gd name="connsiteY456" fmla="*/ 109164 h 345937"/>
                <a:gd name="connsiteX457" fmla="*/ 12402 w 345937"/>
                <a:gd name="connsiteY457" fmla="*/ 111843 h 345937"/>
                <a:gd name="connsiteX458" fmla="*/ 12281 w 345937"/>
                <a:gd name="connsiteY458" fmla="*/ 112157 h 345937"/>
                <a:gd name="connsiteX459" fmla="*/ 11814 w 345937"/>
                <a:gd name="connsiteY459" fmla="*/ 113386 h 345937"/>
                <a:gd name="connsiteX460" fmla="*/ 10777 w 345937"/>
                <a:gd name="connsiteY460" fmla="*/ 116283 h 345937"/>
                <a:gd name="connsiteX461" fmla="*/ 10290 w 345937"/>
                <a:gd name="connsiteY461" fmla="*/ 117654 h 345937"/>
                <a:gd name="connsiteX462" fmla="*/ 8898 w 345937"/>
                <a:gd name="connsiteY462" fmla="*/ 121904 h 345937"/>
                <a:gd name="connsiteX463" fmla="*/ 8808 w 345937"/>
                <a:gd name="connsiteY463" fmla="*/ 122200 h 345937"/>
                <a:gd name="connsiteX464" fmla="*/ 7594 w 345937"/>
                <a:gd name="connsiteY464" fmla="*/ 126288 h 345937"/>
                <a:gd name="connsiteX465" fmla="*/ 7178 w 345937"/>
                <a:gd name="connsiteY465" fmla="*/ 127820 h 345937"/>
                <a:gd name="connsiteX466" fmla="*/ 6428 w 345937"/>
                <a:gd name="connsiteY466" fmla="*/ 130634 h 345937"/>
                <a:gd name="connsiteX467" fmla="*/ 6106 w 345937"/>
                <a:gd name="connsiteY467" fmla="*/ 131936 h 345937"/>
                <a:gd name="connsiteX468" fmla="*/ 5971 w 345937"/>
                <a:gd name="connsiteY468" fmla="*/ 132500 h 345937"/>
                <a:gd name="connsiteX469" fmla="*/ 5364 w 345937"/>
                <a:gd name="connsiteY469" fmla="*/ 135062 h 345937"/>
                <a:gd name="connsiteX470" fmla="*/ 5031 w 345937"/>
                <a:gd name="connsiteY470" fmla="*/ 136572 h 345937"/>
                <a:gd name="connsiteX471" fmla="*/ 4928 w 345937"/>
                <a:gd name="connsiteY471" fmla="*/ 137050 h 345937"/>
                <a:gd name="connsiteX472" fmla="*/ 4405 w 345937"/>
                <a:gd name="connsiteY472" fmla="*/ 139553 h 345937"/>
                <a:gd name="connsiteX473" fmla="*/ 4007 w 345937"/>
                <a:gd name="connsiteY473" fmla="*/ 141626 h 345937"/>
                <a:gd name="connsiteX474" fmla="*/ 3571 w 345937"/>
                <a:gd name="connsiteY474" fmla="*/ 144068 h 345937"/>
                <a:gd name="connsiteX475" fmla="*/ 3222 w 345937"/>
                <a:gd name="connsiteY475" fmla="*/ 146167 h 345937"/>
                <a:gd name="connsiteX476" fmla="*/ 2850 w 345937"/>
                <a:gd name="connsiteY476" fmla="*/ 148656 h 345937"/>
                <a:gd name="connsiteX477" fmla="*/ 2785 w 345937"/>
                <a:gd name="connsiteY477" fmla="*/ 149103 h 345937"/>
                <a:gd name="connsiteX478" fmla="*/ 2551 w 345937"/>
                <a:gd name="connsiteY478" fmla="*/ 150770 h 345937"/>
                <a:gd name="connsiteX479" fmla="*/ 2252 w 345937"/>
                <a:gd name="connsiteY479" fmla="*/ 153257 h 345937"/>
                <a:gd name="connsiteX480" fmla="*/ 2211 w 345937"/>
                <a:gd name="connsiteY480" fmla="*/ 153593 h 345937"/>
                <a:gd name="connsiteX481" fmla="*/ 2002 w 345937"/>
                <a:gd name="connsiteY481" fmla="*/ 155413 h 345937"/>
                <a:gd name="connsiteX482" fmla="*/ 1802 w 345937"/>
                <a:gd name="connsiteY482" fmla="*/ 157552 h 345937"/>
                <a:gd name="connsiteX483" fmla="*/ 1705 w 345937"/>
                <a:gd name="connsiteY483" fmla="*/ 158621 h 345937"/>
                <a:gd name="connsiteX484" fmla="*/ 1581 w 345937"/>
                <a:gd name="connsiteY484" fmla="*/ 160031 h 345937"/>
                <a:gd name="connsiteX485" fmla="*/ 1350 w 345937"/>
                <a:gd name="connsiteY485" fmla="*/ 163581 h 345937"/>
                <a:gd name="connsiteX486" fmla="*/ 1329 w 345937"/>
                <a:gd name="connsiteY486" fmla="*/ 163886 h 345937"/>
                <a:gd name="connsiteX487" fmla="*/ 1280 w 345937"/>
                <a:gd name="connsiteY487" fmla="*/ 164669 h 345937"/>
                <a:gd name="connsiteX488" fmla="*/ 164658 w 345937"/>
                <a:gd name="connsiteY488" fmla="*/ 345562 h 345937"/>
                <a:gd name="connsiteX489" fmla="*/ 173619 w 345937"/>
                <a:gd name="connsiteY489" fmla="*/ 345790 h 345937"/>
                <a:gd name="connsiteX490" fmla="*/ 288941 w 345937"/>
                <a:gd name="connsiteY490" fmla="*/ 301337 h 345937"/>
                <a:gd name="connsiteX491" fmla="*/ 345548 w 345937"/>
                <a:gd name="connsiteY491" fmla="*/ 182180 h 345937"/>
                <a:gd name="connsiteX492" fmla="*/ 345593 w 345937"/>
                <a:gd name="connsiteY492" fmla="*/ 181050 h 345937"/>
                <a:gd name="connsiteX493" fmla="*/ 345723 w 345937"/>
                <a:gd name="connsiteY493" fmla="*/ 177487 h 345937"/>
                <a:gd name="connsiteX494" fmla="*/ 345741 w 345937"/>
                <a:gd name="connsiteY494" fmla="*/ 175991 h 345937"/>
                <a:gd name="connsiteX495" fmla="*/ 345750 w 345937"/>
                <a:gd name="connsiteY495" fmla="*/ 175241 h 345937"/>
                <a:gd name="connsiteX496" fmla="*/ 345769 w 345937"/>
                <a:gd name="connsiteY496" fmla="*/ 172896 h 345937"/>
                <a:gd name="connsiteX497" fmla="*/ 345751 w 345937"/>
                <a:gd name="connsiteY497" fmla="*/ 171195 h 345937"/>
                <a:gd name="connsiteX498" fmla="*/ 244463 w 345937"/>
                <a:gd name="connsiteY498" fmla="*/ 162433 h 345937"/>
                <a:gd name="connsiteX499" fmla="*/ 244463 w 345937"/>
                <a:gd name="connsiteY499" fmla="*/ 153991 h 345937"/>
                <a:gd name="connsiteX500" fmla="*/ 244913 w 345937"/>
                <a:gd name="connsiteY500" fmla="*/ 153845 h 345937"/>
                <a:gd name="connsiteX501" fmla="*/ 247489 w 345937"/>
                <a:gd name="connsiteY501" fmla="*/ 160560 h 345937"/>
                <a:gd name="connsiteX502" fmla="*/ 244246 w 345937"/>
                <a:gd name="connsiteY502" fmla="*/ 167895 h 345937"/>
                <a:gd name="connsiteX503" fmla="*/ 244463 w 345937"/>
                <a:gd name="connsiteY503" fmla="*/ 162433 h 345937"/>
                <a:gd name="connsiteX504" fmla="*/ 99494 w 345937"/>
                <a:gd name="connsiteY504" fmla="*/ 160557 h 345937"/>
                <a:gd name="connsiteX505" fmla="*/ 102052 w 345937"/>
                <a:gd name="connsiteY505" fmla="*/ 153863 h 345937"/>
                <a:gd name="connsiteX506" fmla="*/ 102659 w 345937"/>
                <a:gd name="connsiteY506" fmla="*/ 154045 h 345937"/>
                <a:gd name="connsiteX507" fmla="*/ 102659 w 345937"/>
                <a:gd name="connsiteY507" fmla="*/ 162433 h 345937"/>
                <a:gd name="connsiteX508" fmla="*/ 102885 w 345937"/>
                <a:gd name="connsiteY508" fmla="*/ 168013 h 345937"/>
                <a:gd name="connsiteX509" fmla="*/ 99494 w 345937"/>
                <a:gd name="connsiteY509" fmla="*/ 160557 h 345937"/>
                <a:gd name="connsiteX510" fmla="*/ 119568 w 345937"/>
                <a:gd name="connsiteY510" fmla="*/ 125557 h 345937"/>
                <a:gd name="connsiteX511" fmla="*/ 119528 w 345937"/>
                <a:gd name="connsiteY511" fmla="*/ 125557 h 345937"/>
                <a:gd name="connsiteX512" fmla="*/ 117095 w 345937"/>
                <a:gd name="connsiteY512" fmla="*/ 125827 h 345937"/>
                <a:gd name="connsiteX513" fmla="*/ 116941 w 345937"/>
                <a:gd name="connsiteY513" fmla="*/ 125788 h 345937"/>
                <a:gd name="connsiteX514" fmla="*/ 116941 w 345937"/>
                <a:gd name="connsiteY514" fmla="*/ 123114 h 345937"/>
                <a:gd name="connsiteX515" fmla="*/ 170743 w 345937"/>
                <a:gd name="connsiteY515" fmla="*/ 63226 h 345937"/>
                <a:gd name="connsiteX516" fmla="*/ 176167 w 345937"/>
                <a:gd name="connsiteY516" fmla="*/ 63226 h 345937"/>
                <a:gd name="connsiteX517" fmla="*/ 229969 w 345937"/>
                <a:gd name="connsiteY517" fmla="*/ 123113 h 345937"/>
                <a:gd name="connsiteX518" fmla="*/ 229969 w 345937"/>
                <a:gd name="connsiteY518" fmla="*/ 125786 h 345937"/>
                <a:gd name="connsiteX519" fmla="*/ 208439 w 345937"/>
                <a:gd name="connsiteY519" fmla="*/ 97214 h 345937"/>
                <a:gd name="connsiteX520" fmla="*/ 199511 w 345937"/>
                <a:gd name="connsiteY520" fmla="*/ 88411 h 345937"/>
                <a:gd name="connsiteX521" fmla="*/ 187953 w 345937"/>
                <a:gd name="connsiteY521" fmla="*/ 93272 h 345937"/>
                <a:gd name="connsiteX522" fmla="*/ 119568 w 345937"/>
                <a:gd name="connsiteY522" fmla="*/ 125557 h 345937"/>
                <a:gd name="connsiteX523" fmla="*/ 125255 w 345937"/>
                <a:gd name="connsiteY523" fmla="*/ 162433 h 345937"/>
                <a:gd name="connsiteX524" fmla="*/ 125255 w 345937"/>
                <a:gd name="connsiteY524" fmla="*/ 147909 h 345937"/>
                <a:gd name="connsiteX525" fmla="*/ 193578 w 345937"/>
                <a:gd name="connsiteY525" fmla="*/ 121127 h 345937"/>
                <a:gd name="connsiteX526" fmla="*/ 221866 w 345937"/>
                <a:gd name="connsiteY526" fmla="*/ 146949 h 345937"/>
                <a:gd name="connsiteX527" fmla="*/ 221866 w 345937"/>
                <a:gd name="connsiteY527" fmla="*/ 162432 h 345937"/>
                <a:gd name="connsiteX528" fmla="*/ 179393 w 345937"/>
                <a:gd name="connsiteY528" fmla="*/ 209932 h 345937"/>
                <a:gd name="connsiteX529" fmla="*/ 167728 w 345937"/>
                <a:gd name="connsiteY529" fmla="*/ 209932 h 345937"/>
                <a:gd name="connsiteX530" fmla="*/ 125255 w 345937"/>
                <a:gd name="connsiteY530" fmla="*/ 162433 h 345937"/>
                <a:gd name="connsiteX531" fmla="*/ 185347 w 345937"/>
                <a:gd name="connsiteY531" fmla="*/ 232225 h 345937"/>
                <a:gd name="connsiteX532" fmla="*/ 185347 w 345937"/>
                <a:gd name="connsiteY532" fmla="*/ 239138 h 345937"/>
                <a:gd name="connsiteX533" fmla="*/ 173678 w 345937"/>
                <a:gd name="connsiteY533" fmla="*/ 251250 h 345937"/>
                <a:gd name="connsiteX534" fmla="*/ 162751 w 345937"/>
                <a:gd name="connsiteY534" fmla="*/ 240611 h 345937"/>
                <a:gd name="connsiteX535" fmla="*/ 162751 w 345937"/>
                <a:gd name="connsiteY535" fmla="*/ 232305 h 345937"/>
                <a:gd name="connsiteX536" fmla="*/ 167727 w 345937"/>
                <a:gd name="connsiteY536" fmla="*/ 232532 h 345937"/>
                <a:gd name="connsiteX537" fmla="*/ 179392 w 345937"/>
                <a:gd name="connsiteY537" fmla="*/ 232532 h 345937"/>
                <a:gd name="connsiteX538" fmla="*/ 185347 w 345937"/>
                <a:gd name="connsiteY538" fmla="*/ 232225 h 345937"/>
                <a:gd name="connsiteX539" fmla="*/ 165804 w 345937"/>
                <a:gd name="connsiteY539" fmla="*/ 322999 h 345937"/>
                <a:gd name="connsiteX540" fmla="*/ 82045 w 345937"/>
                <a:gd name="connsiteY540" fmla="*/ 292013 h 345937"/>
                <a:gd name="connsiteX541" fmla="*/ 82109 w 345937"/>
                <a:gd name="connsiteY541" fmla="*/ 291885 h 345937"/>
                <a:gd name="connsiteX542" fmla="*/ 103254 w 345937"/>
                <a:gd name="connsiteY542" fmla="*/ 270487 h 345937"/>
                <a:gd name="connsiteX543" fmla="*/ 103772 w 345937"/>
                <a:gd name="connsiteY543" fmla="*/ 270298 h 345937"/>
                <a:gd name="connsiteX544" fmla="*/ 144480 w 345937"/>
                <a:gd name="connsiteY544" fmla="*/ 254357 h 345937"/>
                <a:gd name="connsiteX545" fmla="*/ 166048 w 345937"/>
                <a:gd name="connsiteY545" fmla="*/ 275363 h 345937"/>
                <a:gd name="connsiteX546" fmla="*/ 173930 w 345937"/>
                <a:gd name="connsiteY546" fmla="*/ 278568 h 345937"/>
                <a:gd name="connsiteX547" fmla="*/ 174108 w 345937"/>
                <a:gd name="connsiteY547" fmla="*/ 278567 h 345937"/>
                <a:gd name="connsiteX548" fmla="*/ 182065 w 345937"/>
                <a:gd name="connsiteY548" fmla="*/ 275108 h 345937"/>
                <a:gd name="connsiteX549" fmla="*/ 202418 w 345937"/>
                <a:gd name="connsiteY549" fmla="*/ 253983 h 345937"/>
                <a:gd name="connsiteX550" fmla="*/ 243023 w 345937"/>
                <a:gd name="connsiteY550" fmla="*/ 270264 h 345937"/>
                <a:gd name="connsiteX551" fmla="*/ 243532 w 345937"/>
                <a:gd name="connsiteY551" fmla="*/ 270454 h 345937"/>
                <a:gd name="connsiteX552" fmla="*/ 264807 w 345937"/>
                <a:gd name="connsiteY552" fmla="*/ 291984 h 345937"/>
                <a:gd name="connsiteX553" fmla="*/ 165804 w 345937"/>
                <a:gd name="connsiteY553" fmla="*/ 322999 h 345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</a:cxnLst>
              <a:rect l="l" t="t" r="r" b="b"/>
              <a:pathLst>
                <a:path w="345937" h="345937">
                  <a:moveTo>
                    <a:pt x="345751" y="171195"/>
                  </a:moveTo>
                  <a:lnTo>
                    <a:pt x="345744" y="170799"/>
                  </a:lnTo>
                  <a:cubicBezTo>
                    <a:pt x="345733" y="169944"/>
                    <a:pt x="345719" y="169089"/>
                    <a:pt x="345695" y="168203"/>
                  </a:cubicBezTo>
                  <a:lnTo>
                    <a:pt x="345615" y="166043"/>
                  </a:lnTo>
                  <a:cubicBezTo>
                    <a:pt x="345578" y="165220"/>
                    <a:pt x="345539" y="164398"/>
                    <a:pt x="345494" y="163588"/>
                  </a:cubicBezTo>
                  <a:cubicBezTo>
                    <a:pt x="345454" y="162876"/>
                    <a:pt x="345408" y="162165"/>
                    <a:pt x="345361" y="161480"/>
                  </a:cubicBezTo>
                  <a:cubicBezTo>
                    <a:pt x="345307" y="160643"/>
                    <a:pt x="345240" y="159809"/>
                    <a:pt x="345170" y="158950"/>
                  </a:cubicBezTo>
                  <a:cubicBezTo>
                    <a:pt x="345112" y="158257"/>
                    <a:pt x="345052" y="157560"/>
                    <a:pt x="344986" y="156859"/>
                  </a:cubicBezTo>
                  <a:cubicBezTo>
                    <a:pt x="344903" y="156014"/>
                    <a:pt x="344817" y="155177"/>
                    <a:pt x="344717" y="154287"/>
                  </a:cubicBezTo>
                  <a:cubicBezTo>
                    <a:pt x="344647" y="153640"/>
                    <a:pt x="344574" y="152993"/>
                    <a:pt x="344492" y="152307"/>
                  </a:cubicBezTo>
                  <a:cubicBezTo>
                    <a:pt x="344385" y="151438"/>
                    <a:pt x="344266" y="150571"/>
                    <a:pt x="344148" y="149705"/>
                  </a:cubicBezTo>
                  <a:lnTo>
                    <a:pt x="344089" y="149272"/>
                  </a:lnTo>
                  <a:cubicBezTo>
                    <a:pt x="344021" y="148778"/>
                    <a:pt x="343955" y="148285"/>
                    <a:pt x="343883" y="147818"/>
                  </a:cubicBezTo>
                  <a:cubicBezTo>
                    <a:pt x="343739" y="146848"/>
                    <a:pt x="343581" y="145887"/>
                    <a:pt x="343418" y="144921"/>
                  </a:cubicBezTo>
                  <a:lnTo>
                    <a:pt x="343156" y="143335"/>
                  </a:lnTo>
                  <a:cubicBezTo>
                    <a:pt x="342906" y="141920"/>
                    <a:pt x="342637" y="140510"/>
                    <a:pt x="342356" y="139108"/>
                  </a:cubicBezTo>
                  <a:cubicBezTo>
                    <a:pt x="342342" y="139039"/>
                    <a:pt x="342327" y="138956"/>
                    <a:pt x="342318" y="138912"/>
                  </a:cubicBezTo>
                  <a:cubicBezTo>
                    <a:pt x="342020" y="137436"/>
                    <a:pt x="341695" y="135966"/>
                    <a:pt x="341351" y="134475"/>
                  </a:cubicBezTo>
                  <a:lnTo>
                    <a:pt x="341018" y="133110"/>
                  </a:lnTo>
                  <a:cubicBezTo>
                    <a:pt x="340777" y="132103"/>
                    <a:pt x="340534" y="131099"/>
                    <a:pt x="340275" y="130103"/>
                  </a:cubicBezTo>
                  <a:cubicBezTo>
                    <a:pt x="340155" y="129646"/>
                    <a:pt x="340033" y="129194"/>
                    <a:pt x="339908" y="128738"/>
                  </a:cubicBezTo>
                  <a:lnTo>
                    <a:pt x="339845" y="128509"/>
                  </a:lnTo>
                  <a:cubicBezTo>
                    <a:pt x="339594" y="127582"/>
                    <a:pt x="339344" y="126657"/>
                    <a:pt x="339088" y="125775"/>
                  </a:cubicBezTo>
                  <a:cubicBezTo>
                    <a:pt x="338924" y="125203"/>
                    <a:pt x="338753" y="124636"/>
                    <a:pt x="338599" y="124118"/>
                  </a:cubicBezTo>
                  <a:cubicBezTo>
                    <a:pt x="338330" y="123218"/>
                    <a:pt x="338060" y="122325"/>
                    <a:pt x="337777" y="121440"/>
                  </a:cubicBezTo>
                  <a:lnTo>
                    <a:pt x="337249" y="119796"/>
                  </a:lnTo>
                  <a:cubicBezTo>
                    <a:pt x="336956" y="118904"/>
                    <a:pt x="336655" y="118013"/>
                    <a:pt x="336360" y="117158"/>
                  </a:cubicBezTo>
                  <a:cubicBezTo>
                    <a:pt x="336170" y="116608"/>
                    <a:pt x="335979" y="116059"/>
                    <a:pt x="335805" y="115578"/>
                  </a:cubicBezTo>
                  <a:cubicBezTo>
                    <a:pt x="335481" y="114666"/>
                    <a:pt x="335146" y="113757"/>
                    <a:pt x="334784" y="112785"/>
                  </a:cubicBezTo>
                  <a:lnTo>
                    <a:pt x="334251" y="111381"/>
                  </a:lnTo>
                  <a:cubicBezTo>
                    <a:pt x="333874" y="110407"/>
                    <a:pt x="333486" y="109443"/>
                    <a:pt x="333089" y="108463"/>
                  </a:cubicBezTo>
                  <a:lnTo>
                    <a:pt x="332735" y="107575"/>
                  </a:lnTo>
                  <a:cubicBezTo>
                    <a:pt x="332685" y="107453"/>
                    <a:pt x="332632" y="107331"/>
                    <a:pt x="332574" y="107210"/>
                  </a:cubicBezTo>
                  <a:cubicBezTo>
                    <a:pt x="329962" y="100935"/>
                    <a:pt x="326947" y="94756"/>
                    <a:pt x="323607" y="88838"/>
                  </a:cubicBezTo>
                  <a:cubicBezTo>
                    <a:pt x="320540" y="83403"/>
                    <a:pt x="313650" y="81482"/>
                    <a:pt x="308214" y="84549"/>
                  </a:cubicBezTo>
                  <a:cubicBezTo>
                    <a:pt x="302780" y="87615"/>
                    <a:pt x="300859" y="94507"/>
                    <a:pt x="303925" y="99942"/>
                  </a:cubicBezTo>
                  <a:cubicBezTo>
                    <a:pt x="306875" y="105169"/>
                    <a:pt x="309534" y="110631"/>
                    <a:pt x="311829" y="116175"/>
                  </a:cubicBezTo>
                  <a:cubicBezTo>
                    <a:pt x="311865" y="116258"/>
                    <a:pt x="311900" y="116339"/>
                    <a:pt x="311936" y="116423"/>
                  </a:cubicBezTo>
                  <a:lnTo>
                    <a:pt x="312156" y="116975"/>
                  </a:lnTo>
                  <a:cubicBezTo>
                    <a:pt x="312500" y="117823"/>
                    <a:pt x="312840" y="118672"/>
                    <a:pt x="313154" y="119482"/>
                  </a:cubicBezTo>
                  <a:lnTo>
                    <a:pt x="313636" y="120753"/>
                  </a:lnTo>
                  <a:cubicBezTo>
                    <a:pt x="313930" y="121541"/>
                    <a:pt x="314224" y="122333"/>
                    <a:pt x="314528" y="123193"/>
                  </a:cubicBezTo>
                  <a:cubicBezTo>
                    <a:pt x="314684" y="123623"/>
                    <a:pt x="314837" y="124058"/>
                    <a:pt x="314996" y="124523"/>
                  </a:cubicBezTo>
                  <a:cubicBezTo>
                    <a:pt x="315261" y="125287"/>
                    <a:pt x="315521" y="126055"/>
                    <a:pt x="315751" y="126761"/>
                  </a:cubicBezTo>
                  <a:lnTo>
                    <a:pt x="316231" y="128254"/>
                  </a:lnTo>
                  <a:cubicBezTo>
                    <a:pt x="316471" y="129016"/>
                    <a:pt x="316705" y="129779"/>
                    <a:pt x="316950" y="130597"/>
                  </a:cubicBezTo>
                  <a:cubicBezTo>
                    <a:pt x="317090" y="131061"/>
                    <a:pt x="317229" y="131524"/>
                    <a:pt x="317371" y="132026"/>
                  </a:cubicBezTo>
                  <a:cubicBezTo>
                    <a:pt x="317599" y="132812"/>
                    <a:pt x="317814" y="133605"/>
                    <a:pt x="318035" y="134430"/>
                  </a:cubicBezTo>
                  <a:lnTo>
                    <a:pt x="318401" y="135783"/>
                  </a:lnTo>
                  <a:cubicBezTo>
                    <a:pt x="318626" y="136654"/>
                    <a:pt x="318837" y="137530"/>
                    <a:pt x="319048" y="138399"/>
                  </a:cubicBezTo>
                  <a:lnTo>
                    <a:pt x="319335" y="139575"/>
                  </a:lnTo>
                  <a:cubicBezTo>
                    <a:pt x="319612" y="140777"/>
                    <a:pt x="319879" y="141983"/>
                    <a:pt x="320153" y="143318"/>
                  </a:cubicBezTo>
                  <a:cubicBezTo>
                    <a:pt x="320167" y="143385"/>
                    <a:pt x="320185" y="143474"/>
                    <a:pt x="320199" y="143556"/>
                  </a:cubicBezTo>
                  <a:cubicBezTo>
                    <a:pt x="320447" y="144785"/>
                    <a:pt x="320682" y="146022"/>
                    <a:pt x="320895" y="147227"/>
                  </a:cubicBezTo>
                  <a:lnTo>
                    <a:pt x="321127" y="148646"/>
                  </a:lnTo>
                  <a:cubicBezTo>
                    <a:pt x="321267" y="149475"/>
                    <a:pt x="321405" y="150301"/>
                    <a:pt x="321532" y="151161"/>
                  </a:cubicBezTo>
                  <a:cubicBezTo>
                    <a:pt x="321590" y="151539"/>
                    <a:pt x="321639" y="151920"/>
                    <a:pt x="321690" y="152301"/>
                  </a:cubicBezTo>
                  <a:lnTo>
                    <a:pt x="321755" y="152775"/>
                  </a:lnTo>
                  <a:cubicBezTo>
                    <a:pt x="321860" y="153540"/>
                    <a:pt x="321966" y="154306"/>
                    <a:pt x="322056" y="155038"/>
                  </a:cubicBezTo>
                  <a:cubicBezTo>
                    <a:pt x="322125" y="155611"/>
                    <a:pt x="322188" y="156188"/>
                    <a:pt x="322255" y="156808"/>
                  </a:cubicBezTo>
                  <a:cubicBezTo>
                    <a:pt x="322337" y="157546"/>
                    <a:pt x="322413" y="158283"/>
                    <a:pt x="322485" y="159015"/>
                  </a:cubicBezTo>
                  <a:cubicBezTo>
                    <a:pt x="322542" y="159616"/>
                    <a:pt x="322593" y="160225"/>
                    <a:pt x="322641" y="160809"/>
                  </a:cubicBezTo>
                  <a:cubicBezTo>
                    <a:pt x="322700" y="161526"/>
                    <a:pt x="322756" y="162246"/>
                    <a:pt x="322807" y="162996"/>
                  </a:cubicBezTo>
                  <a:cubicBezTo>
                    <a:pt x="322849" y="163609"/>
                    <a:pt x="322890" y="164223"/>
                    <a:pt x="322922" y="164848"/>
                  </a:cubicBezTo>
                  <a:cubicBezTo>
                    <a:pt x="322964" y="165585"/>
                    <a:pt x="322998" y="166323"/>
                    <a:pt x="323026" y="166949"/>
                  </a:cubicBezTo>
                  <a:lnTo>
                    <a:pt x="323096" y="168860"/>
                  </a:lnTo>
                  <a:cubicBezTo>
                    <a:pt x="323117" y="169598"/>
                    <a:pt x="323129" y="170339"/>
                    <a:pt x="323138" y="171118"/>
                  </a:cubicBezTo>
                  <a:lnTo>
                    <a:pt x="323145" y="171582"/>
                  </a:lnTo>
                  <a:cubicBezTo>
                    <a:pt x="323152" y="172020"/>
                    <a:pt x="323162" y="172457"/>
                    <a:pt x="323162" y="172935"/>
                  </a:cubicBezTo>
                  <a:cubicBezTo>
                    <a:pt x="323165" y="173593"/>
                    <a:pt x="323155" y="174254"/>
                    <a:pt x="323144" y="174915"/>
                  </a:cubicBezTo>
                  <a:lnTo>
                    <a:pt x="323122" y="176965"/>
                  </a:lnTo>
                  <a:cubicBezTo>
                    <a:pt x="323093" y="178002"/>
                    <a:pt x="323051" y="179042"/>
                    <a:pt x="323012" y="179993"/>
                  </a:cubicBezTo>
                  <a:lnTo>
                    <a:pt x="322971" y="181034"/>
                  </a:lnTo>
                  <a:cubicBezTo>
                    <a:pt x="321090" y="218007"/>
                    <a:pt x="305882" y="251196"/>
                    <a:pt x="282246" y="276192"/>
                  </a:cubicBezTo>
                  <a:cubicBezTo>
                    <a:pt x="271625" y="257375"/>
                    <a:pt x="254280" y="250328"/>
                    <a:pt x="251245" y="249213"/>
                  </a:cubicBezTo>
                  <a:lnTo>
                    <a:pt x="207933" y="231846"/>
                  </a:lnTo>
                  <a:lnTo>
                    <a:pt x="207933" y="225398"/>
                  </a:lnTo>
                  <a:cubicBezTo>
                    <a:pt x="221288" y="218341"/>
                    <a:pt x="232075" y="206499"/>
                    <a:pt x="238374" y="191959"/>
                  </a:cubicBezTo>
                  <a:cubicBezTo>
                    <a:pt x="238890" y="192030"/>
                    <a:pt x="239415" y="192083"/>
                    <a:pt x="239953" y="192083"/>
                  </a:cubicBezTo>
                  <a:cubicBezTo>
                    <a:pt x="256562" y="192083"/>
                    <a:pt x="270075" y="177937"/>
                    <a:pt x="270075" y="160552"/>
                  </a:cubicBezTo>
                  <a:cubicBezTo>
                    <a:pt x="270075" y="147878"/>
                    <a:pt x="262879" y="136956"/>
                    <a:pt x="252553" y="131950"/>
                  </a:cubicBezTo>
                  <a:lnTo>
                    <a:pt x="252553" y="123106"/>
                  </a:lnTo>
                  <a:cubicBezTo>
                    <a:pt x="252553" y="77626"/>
                    <a:pt x="218281" y="40624"/>
                    <a:pt x="176156" y="40624"/>
                  </a:cubicBezTo>
                  <a:lnTo>
                    <a:pt x="170732" y="40624"/>
                  </a:lnTo>
                  <a:cubicBezTo>
                    <a:pt x="128606" y="40624"/>
                    <a:pt x="94333" y="77626"/>
                    <a:pt x="94333" y="123106"/>
                  </a:cubicBezTo>
                  <a:lnTo>
                    <a:pt x="94333" y="131985"/>
                  </a:lnTo>
                  <a:cubicBezTo>
                    <a:pt x="84046" y="137008"/>
                    <a:pt x="76886" y="147907"/>
                    <a:pt x="76886" y="160549"/>
                  </a:cubicBezTo>
                  <a:cubicBezTo>
                    <a:pt x="76886" y="177934"/>
                    <a:pt x="90398" y="192080"/>
                    <a:pt x="107008" y="192080"/>
                  </a:cubicBezTo>
                  <a:cubicBezTo>
                    <a:pt x="107590" y="192080"/>
                    <a:pt x="108157" y="192022"/>
                    <a:pt x="108716" y="191936"/>
                  </a:cubicBezTo>
                  <a:cubicBezTo>
                    <a:pt x="115165" y="206840"/>
                    <a:pt x="126332" y="218907"/>
                    <a:pt x="140143" y="225896"/>
                  </a:cubicBezTo>
                  <a:lnTo>
                    <a:pt x="140143" y="231775"/>
                  </a:lnTo>
                  <a:lnTo>
                    <a:pt x="95666" y="249193"/>
                  </a:lnTo>
                  <a:cubicBezTo>
                    <a:pt x="92779" y="250246"/>
                    <a:pt x="75284" y="257286"/>
                    <a:pt x="64605" y="276230"/>
                  </a:cubicBezTo>
                  <a:cubicBezTo>
                    <a:pt x="37499" y="247531"/>
                    <a:pt x="21679" y="208257"/>
                    <a:pt x="23838" y="165811"/>
                  </a:cubicBezTo>
                  <a:lnTo>
                    <a:pt x="23901" y="164862"/>
                  </a:lnTo>
                  <a:cubicBezTo>
                    <a:pt x="23962" y="163832"/>
                    <a:pt x="24022" y="162806"/>
                    <a:pt x="24101" y="161775"/>
                  </a:cubicBezTo>
                  <a:cubicBezTo>
                    <a:pt x="24129" y="161415"/>
                    <a:pt x="24163" y="161056"/>
                    <a:pt x="24196" y="160699"/>
                  </a:cubicBezTo>
                  <a:lnTo>
                    <a:pt x="24299" y="159567"/>
                  </a:lnTo>
                  <a:cubicBezTo>
                    <a:pt x="24357" y="158939"/>
                    <a:pt x="24412" y="158311"/>
                    <a:pt x="24472" y="157715"/>
                  </a:cubicBezTo>
                  <a:cubicBezTo>
                    <a:pt x="24520" y="157244"/>
                    <a:pt x="24577" y="156776"/>
                    <a:pt x="24635" y="156305"/>
                  </a:cubicBezTo>
                  <a:lnTo>
                    <a:pt x="24686" y="155872"/>
                  </a:lnTo>
                  <a:cubicBezTo>
                    <a:pt x="24769" y="155143"/>
                    <a:pt x="24853" y="154413"/>
                    <a:pt x="24943" y="153721"/>
                  </a:cubicBezTo>
                  <a:lnTo>
                    <a:pt x="25210" y="151840"/>
                  </a:lnTo>
                  <a:cubicBezTo>
                    <a:pt x="25313" y="151123"/>
                    <a:pt x="25420" y="150407"/>
                    <a:pt x="25530" y="149711"/>
                  </a:cubicBezTo>
                  <a:cubicBezTo>
                    <a:pt x="25627" y="149099"/>
                    <a:pt x="25731" y="148489"/>
                    <a:pt x="25839" y="147859"/>
                  </a:cubicBezTo>
                  <a:cubicBezTo>
                    <a:pt x="25961" y="147137"/>
                    <a:pt x="26092" y="146420"/>
                    <a:pt x="26216" y="145749"/>
                  </a:cubicBezTo>
                  <a:cubicBezTo>
                    <a:pt x="26328" y="145143"/>
                    <a:pt x="26444" y="144539"/>
                    <a:pt x="26558" y="143972"/>
                  </a:cubicBezTo>
                  <a:cubicBezTo>
                    <a:pt x="26705" y="143236"/>
                    <a:pt x="26857" y="142507"/>
                    <a:pt x="27007" y="141806"/>
                  </a:cubicBezTo>
                  <a:lnTo>
                    <a:pt x="27391" y="140050"/>
                  </a:lnTo>
                  <a:cubicBezTo>
                    <a:pt x="27560" y="139302"/>
                    <a:pt x="27742" y="138558"/>
                    <a:pt x="27917" y="137839"/>
                  </a:cubicBezTo>
                  <a:lnTo>
                    <a:pt x="28315" y="136214"/>
                  </a:lnTo>
                  <a:cubicBezTo>
                    <a:pt x="28525" y="135394"/>
                    <a:pt x="28746" y="134582"/>
                    <a:pt x="28966" y="133778"/>
                  </a:cubicBezTo>
                  <a:lnTo>
                    <a:pt x="29331" y="132429"/>
                  </a:lnTo>
                  <a:cubicBezTo>
                    <a:pt x="29677" y="131213"/>
                    <a:pt x="30034" y="130011"/>
                    <a:pt x="30425" y="128756"/>
                  </a:cubicBezTo>
                  <a:lnTo>
                    <a:pt x="30458" y="128644"/>
                  </a:lnTo>
                  <a:cubicBezTo>
                    <a:pt x="30847" y="127399"/>
                    <a:pt x="31253" y="126165"/>
                    <a:pt x="31655" y="124985"/>
                  </a:cubicBezTo>
                  <a:lnTo>
                    <a:pt x="32080" y="123788"/>
                  </a:lnTo>
                  <a:cubicBezTo>
                    <a:pt x="32377" y="122940"/>
                    <a:pt x="32675" y="122096"/>
                    <a:pt x="32994" y="121236"/>
                  </a:cubicBezTo>
                  <a:lnTo>
                    <a:pt x="33497" y="119917"/>
                  </a:lnTo>
                  <a:cubicBezTo>
                    <a:pt x="33791" y="119147"/>
                    <a:pt x="34087" y="118378"/>
                    <a:pt x="34400" y="117603"/>
                  </a:cubicBezTo>
                  <a:cubicBezTo>
                    <a:pt x="34583" y="117148"/>
                    <a:pt x="34767" y="116698"/>
                    <a:pt x="34970" y="116215"/>
                  </a:cubicBezTo>
                  <a:cubicBezTo>
                    <a:pt x="35275" y="115476"/>
                    <a:pt x="35583" y="114739"/>
                    <a:pt x="35934" y="113930"/>
                  </a:cubicBezTo>
                  <a:lnTo>
                    <a:pt x="36512" y="112614"/>
                  </a:lnTo>
                  <a:cubicBezTo>
                    <a:pt x="36846" y="111864"/>
                    <a:pt x="37184" y="111119"/>
                    <a:pt x="37522" y="110391"/>
                  </a:cubicBezTo>
                  <a:lnTo>
                    <a:pt x="38146" y="109066"/>
                  </a:lnTo>
                  <a:cubicBezTo>
                    <a:pt x="38506" y="108305"/>
                    <a:pt x="38879" y="107547"/>
                    <a:pt x="39233" y="106831"/>
                  </a:cubicBezTo>
                  <a:lnTo>
                    <a:pt x="39847" y="105604"/>
                  </a:lnTo>
                  <a:cubicBezTo>
                    <a:pt x="40256" y="104798"/>
                    <a:pt x="40680" y="103995"/>
                    <a:pt x="41135" y="103137"/>
                  </a:cubicBezTo>
                  <a:lnTo>
                    <a:pt x="41419" y="102589"/>
                  </a:lnTo>
                  <a:cubicBezTo>
                    <a:pt x="41450" y="102530"/>
                    <a:pt x="41482" y="102473"/>
                    <a:pt x="41513" y="102414"/>
                  </a:cubicBezTo>
                  <a:cubicBezTo>
                    <a:pt x="48555" y="89356"/>
                    <a:pt x="57484" y="77435"/>
                    <a:pt x="68050" y="66981"/>
                  </a:cubicBezTo>
                  <a:cubicBezTo>
                    <a:pt x="68112" y="66919"/>
                    <a:pt x="68174" y="66857"/>
                    <a:pt x="68236" y="66793"/>
                  </a:cubicBezTo>
                  <a:cubicBezTo>
                    <a:pt x="68427" y="66607"/>
                    <a:pt x="68620" y="66424"/>
                    <a:pt x="68812" y="66240"/>
                  </a:cubicBezTo>
                  <a:lnTo>
                    <a:pt x="69407" y="65666"/>
                  </a:lnTo>
                  <a:cubicBezTo>
                    <a:pt x="69797" y="65287"/>
                    <a:pt x="70188" y="64905"/>
                    <a:pt x="70589" y="64526"/>
                  </a:cubicBezTo>
                  <a:cubicBezTo>
                    <a:pt x="70888" y="64243"/>
                    <a:pt x="71193" y="63963"/>
                    <a:pt x="71498" y="63683"/>
                  </a:cubicBezTo>
                  <a:lnTo>
                    <a:pt x="72065" y="63162"/>
                  </a:lnTo>
                  <a:cubicBezTo>
                    <a:pt x="72476" y="62781"/>
                    <a:pt x="72889" y="62398"/>
                    <a:pt x="73282" y="62045"/>
                  </a:cubicBezTo>
                  <a:lnTo>
                    <a:pt x="74706" y="60792"/>
                  </a:lnTo>
                  <a:cubicBezTo>
                    <a:pt x="75162" y="60390"/>
                    <a:pt x="75616" y="59989"/>
                    <a:pt x="76090" y="59584"/>
                  </a:cubicBezTo>
                  <a:cubicBezTo>
                    <a:pt x="76475" y="59254"/>
                    <a:pt x="76868" y="58928"/>
                    <a:pt x="77257" y="58604"/>
                  </a:cubicBezTo>
                  <a:lnTo>
                    <a:pt x="77544" y="58365"/>
                  </a:lnTo>
                  <a:cubicBezTo>
                    <a:pt x="77992" y="57988"/>
                    <a:pt x="78448" y="57608"/>
                    <a:pt x="78936" y="57212"/>
                  </a:cubicBezTo>
                  <a:cubicBezTo>
                    <a:pt x="79355" y="56870"/>
                    <a:pt x="79777" y="56535"/>
                    <a:pt x="80199" y="56199"/>
                  </a:cubicBezTo>
                  <a:lnTo>
                    <a:pt x="80385" y="56052"/>
                  </a:lnTo>
                  <a:cubicBezTo>
                    <a:pt x="80858" y="55673"/>
                    <a:pt x="81337" y="55297"/>
                    <a:pt x="81808" y="54932"/>
                  </a:cubicBezTo>
                  <a:cubicBezTo>
                    <a:pt x="82310" y="54546"/>
                    <a:pt x="82809" y="54165"/>
                    <a:pt x="83333" y="53771"/>
                  </a:cubicBezTo>
                  <a:cubicBezTo>
                    <a:pt x="83816" y="53407"/>
                    <a:pt x="84305" y="53044"/>
                    <a:pt x="84779" y="52692"/>
                  </a:cubicBezTo>
                  <a:cubicBezTo>
                    <a:pt x="85288" y="52317"/>
                    <a:pt x="85799" y="51948"/>
                    <a:pt x="86298" y="51591"/>
                  </a:cubicBezTo>
                  <a:cubicBezTo>
                    <a:pt x="86784" y="51244"/>
                    <a:pt x="87271" y="50896"/>
                    <a:pt x="87790" y="50538"/>
                  </a:cubicBezTo>
                  <a:cubicBezTo>
                    <a:pt x="88310" y="50176"/>
                    <a:pt x="88829" y="49816"/>
                    <a:pt x="89314" y="49486"/>
                  </a:cubicBezTo>
                  <a:cubicBezTo>
                    <a:pt x="89827" y="49141"/>
                    <a:pt x="90339" y="48795"/>
                    <a:pt x="90864" y="48450"/>
                  </a:cubicBezTo>
                  <a:cubicBezTo>
                    <a:pt x="91383" y="48106"/>
                    <a:pt x="91900" y="47765"/>
                    <a:pt x="92445" y="47415"/>
                  </a:cubicBezTo>
                  <a:cubicBezTo>
                    <a:pt x="92952" y="47088"/>
                    <a:pt x="93463" y="46765"/>
                    <a:pt x="93991" y="46436"/>
                  </a:cubicBezTo>
                  <a:cubicBezTo>
                    <a:pt x="94513" y="46110"/>
                    <a:pt x="95035" y="45780"/>
                    <a:pt x="95604" y="45435"/>
                  </a:cubicBezTo>
                  <a:cubicBezTo>
                    <a:pt x="96099" y="45132"/>
                    <a:pt x="96604" y="44835"/>
                    <a:pt x="97179" y="44495"/>
                  </a:cubicBezTo>
                  <a:cubicBezTo>
                    <a:pt x="97710" y="44179"/>
                    <a:pt x="98238" y="43864"/>
                    <a:pt x="98781" y="43552"/>
                  </a:cubicBezTo>
                  <a:cubicBezTo>
                    <a:pt x="99247" y="43283"/>
                    <a:pt x="99713" y="43023"/>
                    <a:pt x="100180" y="42763"/>
                  </a:cubicBezTo>
                  <a:lnTo>
                    <a:pt x="100599" y="42529"/>
                  </a:lnTo>
                  <a:cubicBezTo>
                    <a:pt x="101073" y="42262"/>
                    <a:pt x="101550" y="41996"/>
                    <a:pt x="102014" y="41743"/>
                  </a:cubicBezTo>
                  <a:cubicBezTo>
                    <a:pt x="102418" y="41525"/>
                    <a:pt x="102824" y="41311"/>
                    <a:pt x="103232" y="41096"/>
                  </a:cubicBezTo>
                  <a:lnTo>
                    <a:pt x="103789" y="40801"/>
                  </a:lnTo>
                  <a:cubicBezTo>
                    <a:pt x="104299" y="40530"/>
                    <a:pt x="104810" y="40258"/>
                    <a:pt x="105284" y="40016"/>
                  </a:cubicBezTo>
                  <a:cubicBezTo>
                    <a:pt x="105686" y="39811"/>
                    <a:pt x="106087" y="39613"/>
                    <a:pt x="106489" y="39416"/>
                  </a:cubicBezTo>
                  <a:lnTo>
                    <a:pt x="107406" y="38959"/>
                  </a:lnTo>
                  <a:cubicBezTo>
                    <a:pt x="107820" y="38752"/>
                    <a:pt x="108234" y="38545"/>
                    <a:pt x="108650" y="38346"/>
                  </a:cubicBezTo>
                  <a:cubicBezTo>
                    <a:pt x="109123" y="38118"/>
                    <a:pt x="109602" y="37898"/>
                    <a:pt x="110079" y="37678"/>
                  </a:cubicBezTo>
                  <a:lnTo>
                    <a:pt x="110903" y="37294"/>
                  </a:lnTo>
                  <a:cubicBezTo>
                    <a:pt x="111270" y="37122"/>
                    <a:pt x="111637" y="36949"/>
                    <a:pt x="112031" y="36772"/>
                  </a:cubicBezTo>
                  <a:cubicBezTo>
                    <a:pt x="112596" y="36516"/>
                    <a:pt x="113166" y="36271"/>
                    <a:pt x="113734" y="36027"/>
                  </a:cubicBezTo>
                  <a:lnTo>
                    <a:pt x="114063" y="35885"/>
                  </a:lnTo>
                  <a:cubicBezTo>
                    <a:pt x="114833" y="35551"/>
                    <a:pt x="115600" y="35225"/>
                    <a:pt x="116387" y="34900"/>
                  </a:cubicBezTo>
                  <a:cubicBezTo>
                    <a:pt x="117209" y="34561"/>
                    <a:pt x="118031" y="34223"/>
                    <a:pt x="118852" y="33900"/>
                  </a:cubicBezTo>
                  <a:cubicBezTo>
                    <a:pt x="119156" y="33781"/>
                    <a:pt x="119463" y="33668"/>
                    <a:pt x="119769" y="33555"/>
                  </a:cubicBezTo>
                  <a:lnTo>
                    <a:pt x="120893" y="33130"/>
                  </a:lnTo>
                  <a:cubicBezTo>
                    <a:pt x="121381" y="32944"/>
                    <a:pt x="121869" y="32757"/>
                    <a:pt x="122386" y="32570"/>
                  </a:cubicBezTo>
                  <a:cubicBezTo>
                    <a:pt x="122770" y="32430"/>
                    <a:pt x="123158" y="32297"/>
                    <a:pt x="123544" y="32164"/>
                  </a:cubicBezTo>
                  <a:lnTo>
                    <a:pt x="124483" y="31838"/>
                  </a:lnTo>
                  <a:cubicBezTo>
                    <a:pt x="124956" y="31672"/>
                    <a:pt x="125430" y="31503"/>
                    <a:pt x="125916" y="31343"/>
                  </a:cubicBezTo>
                  <a:cubicBezTo>
                    <a:pt x="126280" y="31220"/>
                    <a:pt x="126649" y="31105"/>
                    <a:pt x="127016" y="30987"/>
                  </a:cubicBezTo>
                  <a:lnTo>
                    <a:pt x="127983" y="30676"/>
                  </a:lnTo>
                  <a:cubicBezTo>
                    <a:pt x="128497" y="30511"/>
                    <a:pt x="129011" y="30344"/>
                    <a:pt x="129496" y="30195"/>
                  </a:cubicBezTo>
                  <a:lnTo>
                    <a:pt x="131537" y="29595"/>
                  </a:lnTo>
                  <a:cubicBezTo>
                    <a:pt x="132070" y="29438"/>
                    <a:pt x="132603" y="29282"/>
                    <a:pt x="133126" y="29136"/>
                  </a:cubicBezTo>
                  <a:cubicBezTo>
                    <a:pt x="133717" y="28972"/>
                    <a:pt x="134307" y="28814"/>
                    <a:pt x="134910" y="28654"/>
                  </a:cubicBezTo>
                  <a:cubicBezTo>
                    <a:pt x="135546" y="28485"/>
                    <a:pt x="136185" y="28316"/>
                    <a:pt x="136816" y="28159"/>
                  </a:cubicBezTo>
                  <a:cubicBezTo>
                    <a:pt x="137400" y="28011"/>
                    <a:pt x="137983" y="27872"/>
                    <a:pt x="138579" y="27731"/>
                  </a:cubicBezTo>
                  <a:cubicBezTo>
                    <a:pt x="139225" y="27578"/>
                    <a:pt x="139870" y="27423"/>
                    <a:pt x="140517" y="27278"/>
                  </a:cubicBezTo>
                  <a:cubicBezTo>
                    <a:pt x="141090" y="27149"/>
                    <a:pt x="141666" y="27027"/>
                    <a:pt x="142285" y="26896"/>
                  </a:cubicBezTo>
                  <a:cubicBezTo>
                    <a:pt x="142939" y="26760"/>
                    <a:pt x="143584" y="26622"/>
                    <a:pt x="144217" y="26498"/>
                  </a:cubicBezTo>
                  <a:cubicBezTo>
                    <a:pt x="144826" y="26378"/>
                    <a:pt x="145436" y="26263"/>
                    <a:pt x="146042" y="26151"/>
                  </a:cubicBezTo>
                  <a:cubicBezTo>
                    <a:pt x="146695" y="26031"/>
                    <a:pt x="147342" y="25914"/>
                    <a:pt x="148035" y="25798"/>
                  </a:cubicBezTo>
                  <a:cubicBezTo>
                    <a:pt x="148630" y="25695"/>
                    <a:pt x="149232" y="25595"/>
                    <a:pt x="149825" y="25501"/>
                  </a:cubicBezTo>
                  <a:cubicBezTo>
                    <a:pt x="150493" y="25395"/>
                    <a:pt x="151170" y="25294"/>
                    <a:pt x="151856" y="25196"/>
                  </a:cubicBezTo>
                  <a:cubicBezTo>
                    <a:pt x="152437" y="25113"/>
                    <a:pt x="153017" y="25030"/>
                    <a:pt x="153630" y="24950"/>
                  </a:cubicBezTo>
                  <a:cubicBezTo>
                    <a:pt x="154312" y="24860"/>
                    <a:pt x="154993" y="24778"/>
                    <a:pt x="155662" y="24698"/>
                  </a:cubicBezTo>
                  <a:cubicBezTo>
                    <a:pt x="156259" y="24628"/>
                    <a:pt x="156859" y="24556"/>
                    <a:pt x="157486" y="24490"/>
                  </a:cubicBezTo>
                  <a:cubicBezTo>
                    <a:pt x="158175" y="24417"/>
                    <a:pt x="158865" y="24353"/>
                    <a:pt x="159544" y="24290"/>
                  </a:cubicBezTo>
                  <a:cubicBezTo>
                    <a:pt x="160140" y="24235"/>
                    <a:pt x="160740" y="24180"/>
                    <a:pt x="161331" y="24134"/>
                  </a:cubicBezTo>
                  <a:cubicBezTo>
                    <a:pt x="162034" y="24078"/>
                    <a:pt x="162740" y="24033"/>
                    <a:pt x="163484" y="23985"/>
                  </a:cubicBezTo>
                  <a:lnTo>
                    <a:pt x="163723" y="23968"/>
                  </a:lnTo>
                  <a:cubicBezTo>
                    <a:pt x="164224" y="23934"/>
                    <a:pt x="164723" y="23899"/>
                    <a:pt x="165232" y="23873"/>
                  </a:cubicBezTo>
                  <a:cubicBezTo>
                    <a:pt x="165752" y="23844"/>
                    <a:pt x="166271" y="23825"/>
                    <a:pt x="166794" y="23804"/>
                  </a:cubicBezTo>
                  <a:lnTo>
                    <a:pt x="169126" y="23712"/>
                  </a:lnTo>
                  <a:cubicBezTo>
                    <a:pt x="169767" y="23695"/>
                    <a:pt x="170410" y="23688"/>
                    <a:pt x="171051" y="23681"/>
                  </a:cubicBezTo>
                  <a:lnTo>
                    <a:pt x="173061" y="23659"/>
                  </a:lnTo>
                  <a:cubicBezTo>
                    <a:pt x="173797" y="23659"/>
                    <a:pt x="174536" y="23671"/>
                    <a:pt x="175275" y="23681"/>
                  </a:cubicBezTo>
                  <a:lnTo>
                    <a:pt x="177050" y="23707"/>
                  </a:lnTo>
                  <a:cubicBezTo>
                    <a:pt x="178354" y="23738"/>
                    <a:pt x="179664" y="23788"/>
                    <a:pt x="180976" y="23854"/>
                  </a:cubicBezTo>
                  <a:cubicBezTo>
                    <a:pt x="181009" y="23856"/>
                    <a:pt x="181042" y="23857"/>
                    <a:pt x="181076" y="23858"/>
                  </a:cubicBezTo>
                  <a:cubicBezTo>
                    <a:pt x="182394" y="23926"/>
                    <a:pt x="183705" y="24012"/>
                    <a:pt x="185017" y="24112"/>
                  </a:cubicBezTo>
                  <a:lnTo>
                    <a:pt x="186863" y="24275"/>
                  </a:lnTo>
                  <a:cubicBezTo>
                    <a:pt x="187563" y="24337"/>
                    <a:pt x="188262" y="24397"/>
                    <a:pt x="188930" y="24466"/>
                  </a:cubicBezTo>
                  <a:lnTo>
                    <a:pt x="190986" y="24701"/>
                  </a:lnTo>
                  <a:cubicBezTo>
                    <a:pt x="191613" y="24773"/>
                    <a:pt x="192240" y="24844"/>
                    <a:pt x="192858" y="24922"/>
                  </a:cubicBezTo>
                  <a:lnTo>
                    <a:pt x="195088" y="25237"/>
                  </a:lnTo>
                  <a:cubicBezTo>
                    <a:pt x="195638" y="25315"/>
                    <a:pt x="196189" y="25393"/>
                    <a:pt x="196732" y="25477"/>
                  </a:cubicBezTo>
                  <a:cubicBezTo>
                    <a:pt x="197226" y="25556"/>
                    <a:pt x="197719" y="25639"/>
                    <a:pt x="198211" y="25723"/>
                  </a:cubicBezTo>
                  <a:lnTo>
                    <a:pt x="198532" y="25778"/>
                  </a:lnTo>
                  <a:cubicBezTo>
                    <a:pt x="199210" y="25890"/>
                    <a:pt x="199890" y="26006"/>
                    <a:pt x="200584" y="26134"/>
                  </a:cubicBezTo>
                  <a:cubicBezTo>
                    <a:pt x="201038" y="26217"/>
                    <a:pt x="201492" y="26304"/>
                    <a:pt x="201942" y="26392"/>
                  </a:cubicBezTo>
                  <a:lnTo>
                    <a:pt x="202339" y="26470"/>
                  </a:lnTo>
                  <a:cubicBezTo>
                    <a:pt x="203018" y="26603"/>
                    <a:pt x="203696" y="26737"/>
                    <a:pt x="204383" y="26880"/>
                  </a:cubicBezTo>
                  <a:cubicBezTo>
                    <a:pt x="204981" y="27007"/>
                    <a:pt x="205584" y="27139"/>
                    <a:pt x="206147" y="27264"/>
                  </a:cubicBezTo>
                  <a:cubicBezTo>
                    <a:pt x="206819" y="27416"/>
                    <a:pt x="207495" y="27567"/>
                    <a:pt x="208155" y="27724"/>
                  </a:cubicBezTo>
                  <a:cubicBezTo>
                    <a:pt x="208754" y="27868"/>
                    <a:pt x="209352" y="28015"/>
                    <a:pt x="209935" y="28162"/>
                  </a:cubicBezTo>
                  <a:cubicBezTo>
                    <a:pt x="210595" y="28326"/>
                    <a:pt x="211253" y="28496"/>
                    <a:pt x="211877" y="28659"/>
                  </a:cubicBezTo>
                  <a:cubicBezTo>
                    <a:pt x="212471" y="28817"/>
                    <a:pt x="213066" y="28980"/>
                    <a:pt x="213658" y="29143"/>
                  </a:cubicBezTo>
                  <a:cubicBezTo>
                    <a:pt x="214304" y="29323"/>
                    <a:pt x="214946" y="29506"/>
                    <a:pt x="215573" y="29689"/>
                  </a:cubicBezTo>
                  <a:cubicBezTo>
                    <a:pt x="216166" y="29862"/>
                    <a:pt x="216757" y="30036"/>
                    <a:pt x="217331" y="30213"/>
                  </a:cubicBezTo>
                  <a:cubicBezTo>
                    <a:pt x="217964" y="30407"/>
                    <a:pt x="218596" y="30608"/>
                    <a:pt x="219226" y="30810"/>
                  </a:cubicBezTo>
                  <a:cubicBezTo>
                    <a:pt x="219818" y="30999"/>
                    <a:pt x="220409" y="31191"/>
                    <a:pt x="220948" y="31368"/>
                  </a:cubicBezTo>
                  <a:cubicBezTo>
                    <a:pt x="221585" y="31584"/>
                    <a:pt x="222220" y="31804"/>
                    <a:pt x="222853" y="32025"/>
                  </a:cubicBezTo>
                  <a:cubicBezTo>
                    <a:pt x="223428" y="32224"/>
                    <a:pt x="224006" y="32427"/>
                    <a:pt x="224567" y="32631"/>
                  </a:cubicBezTo>
                  <a:cubicBezTo>
                    <a:pt x="225189" y="32856"/>
                    <a:pt x="225808" y="33090"/>
                    <a:pt x="226401" y="33313"/>
                  </a:cubicBezTo>
                  <a:lnTo>
                    <a:pt x="228129" y="33972"/>
                  </a:lnTo>
                  <a:cubicBezTo>
                    <a:pt x="228600" y="34156"/>
                    <a:pt x="229067" y="34348"/>
                    <a:pt x="229537" y="34539"/>
                  </a:cubicBezTo>
                  <a:lnTo>
                    <a:pt x="230455" y="34913"/>
                  </a:lnTo>
                  <a:cubicBezTo>
                    <a:pt x="230848" y="35073"/>
                    <a:pt x="231240" y="35232"/>
                    <a:pt x="231625" y="35395"/>
                  </a:cubicBezTo>
                  <a:cubicBezTo>
                    <a:pt x="232161" y="35622"/>
                    <a:pt x="232695" y="35857"/>
                    <a:pt x="233227" y="36090"/>
                  </a:cubicBezTo>
                  <a:lnTo>
                    <a:pt x="233971" y="36415"/>
                  </a:lnTo>
                  <a:cubicBezTo>
                    <a:pt x="234337" y="36575"/>
                    <a:pt x="234704" y="36733"/>
                    <a:pt x="235078" y="36903"/>
                  </a:cubicBezTo>
                  <a:cubicBezTo>
                    <a:pt x="235574" y="37128"/>
                    <a:pt x="236066" y="37360"/>
                    <a:pt x="236558" y="37589"/>
                  </a:cubicBezTo>
                  <a:lnTo>
                    <a:pt x="237537" y="38048"/>
                  </a:lnTo>
                  <a:cubicBezTo>
                    <a:pt x="237847" y="38192"/>
                    <a:pt x="238155" y="38336"/>
                    <a:pt x="238495" y="38500"/>
                  </a:cubicBezTo>
                  <a:cubicBezTo>
                    <a:pt x="238952" y="38720"/>
                    <a:pt x="239405" y="38948"/>
                    <a:pt x="239855" y="39174"/>
                  </a:cubicBezTo>
                  <a:lnTo>
                    <a:pt x="241836" y="40163"/>
                  </a:lnTo>
                  <a:cubicBezTo>
                    <a:pt x="242622" y="40569"/>
                    <a:pt x="243400" y="40987"/>
                    <a:pt x="244208" y="41423"/>
                  </a:cubicBezTo>
                  <a:cubicBezTo>
                    <a:pt x="244942" y="41816"/>
                    <a:pt x="245671" y="42218"/>
                    <a:pt x="246405" y="42629"/>
                  </a:cubicBezTo>
                  <a:lnTo>
                    <a:pt x="246759" y="42826"/>
                  </a:lnTo>
                  <a:cubicBezTo>
                    <a:pt x="247285" y="43118"/>
                    <a:pt x="247810" y="43411"/>
                    <a:pt x="248353" y="43727"/>
                  </a:cubicBezTo>
                  <a:cubicBezTo>
                    <a:pt x="248701" y="43930"/>
                    <a:pt x="249049" y="44137"/>
                    <a:pt x="249395" y="44346"/>
                  </a:cubicBezTo>
                  <a:lnTo>
                    <a:pt x="250283" y="44876"/>
                  </a:lnTo>
                  <a:cubicBezTo>
                    <a:pt x="250704" y="45125"/>
                    <a:pt x="251126" y="45374"/>
                    <a:pt x="251550" y="45634"/>
                  </a:cubicBezTo>
                  <a:cubicBezTo>
                    <a:pt x="251933" y="45868"/>
                    <a:pt x="252310" y="46105"/>
                    <a:pt x="252687" y="46346"/>
                  </a:cubicBezTo>
                  <a:lnTo>
                    <a:pt x="253609" y="46928"/>
                  </a:lnTo>
                  <a:cubicBezTo>
                    <a:pt x="253972" y="47156"/>
                    <a:pt x="254335" y="47385"/>
                    <a:pt x="254705" y="47623"/>
                  </a:cubicBezTo>
                  <a:cubicBezTo>
                    <a:pt x="255112" y="47888"/>
                    <a:pt x="255520" y="48158"/>
                    <a:pt x="255927" y="48430"/>
                  </a:cubicBezTo>
                  <a:lnTo>
                    <a:pt x="256581" y="48867"/>
                  </a:lnTo>
                  <a:cubicBezTo>
                    <a:pt x="256984" y="49134"/>
                    <a:pt x="257386" y="49400"/>
                    <a:pt x="257803" y="49686"/>
                  </a:cubicBezTo>
                  <a:cubicBezTo>
                    <a:pt x="258277" y="50010"/>
                    <a:pt x="258749" y="50342"/>
                    <a:pt x="259216" y="50671"/>
                  </a:cubicBezTo>
                  <a:cubicBezTo>
                    <a:pt x="259223" y="50677"/>
                    <a:pt x="259334" y="50754"/>
                    <a:pt x="259340" y="50759"/>
                  </a:cubicBezTo>
                  <a:lnTo>
                    <a:pt x="259507" y="50877"/>
                  </a:lnTo>
                  <a:cubicBezTo>
                    <a:pt x="259949" y="51188"/>
                    <a:pt x="260390" y="51495"/>
                    <a:pt x="260857" y="51832"/>
                  </a:cubicBezTo>
                  <a:cubicBezTo>
                    <a:pt x="261356" y="52190"/>
                    <a:pt x="261850" y="52556"/>
                    <a:pt x="262360" y="52935"/>
                  </a:cubicBezTo>
                  <a:lnTo>
                    <a:pt x="262511" y="53045"/>
                  </a:lnTo>
                  <a:cubicBezTo>
                    <a:pt x="262942" y="53364"/>
                    <a:pt x="263374" y="53682"/>
                    <a:pt x="263826" y="54027"/>
                  </a:cubicBezTo>
                  <a:cubicBezTo>
                    <a:pt x="264328" y="54406"/>
                    <a:pt x="264824" y="54793"/>
                    <a:pt x="265316" y="55174"/>
                  </a:cubicBezTo>
                  <a:cubicBezTo>
                    <a:pt x="265794" y="55548"/>
                    <a:pt x="266275" y="55922"/>
                    <a:pt x="266770" y="56319"/>
                  </a:cubicBezTo>
                  <a:cubicBezTo>
                    <a:pt x="267250" y="56701"/>
                    <a:pt x="267728" y="57090"/>
                    <a:pt x="268215" y="57489"/>
                  </a:cubicBezTo>
                  <a:cubicBezTo>
                    <a:pt x="268687" y="57877"/>
                    <a:pt x="269161" y="58268"/>
                    <a:pt x="269622" y="58652"/>
                  </a:cubicBezTo>
                  <a:cubicBezTo>
                    <a:pt x="270106" y="59060"/>
                    <a:pt x="270590" y="59472"/>
                    <a:pt x="271090" y="59902"/>
                  </a:cubicBezTo>
                  <a:cubicBezTo>
                    <a:pt x="271542" y="60289"/>
                    <a:pt x="271987" y="60681"/>
                    <a:pt x="272442" y="61082"/>
                  </a:cubicBezTo>
                  <a:cubicBezTo>
                    <a:pt x="272913" y="61497"/>
                    <a:pt x="273380" y="61914"/>
                    <a:pt x="273833" y="62322"/>
                  </a:cubicBezTo>
                  <a:cubicBezTo>
                    <a:pt x="274288" y="62733"/>
                    <a:pt x="274740" y="63150"/>
                    <a:pt x="275180" y="63557"/>
                  </a:cubicBezTo>
                  <a:cubicBezTo>
                    <a:pt x="275637" y="63980"/>
                    <a:pt x="276090" y="64403"/>
                    <a:pt x="276555" y="64846"/>
                  </a:cubicBezTo>
                  <a:cubicBezTo>
                    <a:pt x="276992" y="65261"/>
                    <a:pt x="277424" y="65680"/>
                    <a:pt x="277852" y="66098"/>
                  </a:cubicBezTo>
                  <a:lnTo>
                    <a:pt x="278193" y="66433"/>
                  </a:lnTo>
                  <a:cubicBezTo>
                    <a:pt x="278531" y="66763"/>
                    <a:pt x="278867" y="67091"/>
                    <a:pt x="279225" y="67448"/>
                  </a:cubicBezTo>
                  <a:cubicBezTo>
                    <a:pt x="279652" y="67871"/>
                    <a:pt x="280073" y="68302"/>
                    <a:pt x="280507" y="68746"/>
                  </a:cubicBezTo>
                  <a:cubicBezTo>
                    <a:pt x="280938" y="69188"/>
                    <a:pt x="281371" y="69630"/>
                    <a:pt x="281785" y="70064"/>
                  </a:cubicBezTo>
                  <a:cubicBezTo>
                    <a:pt x="282129" y="70425"/>
                    <a:pt x="282468" y="70791"/>
                    <a:pt x="282810" y="71159"/>
                  </a:cubicBezTo>
                  <a:lnTo>
                    <a:pt x="283063" y="71432"/>
                  </a:lnTo>
                  <a:cubicBezTo>
                    <a:pt x="287313" y="75999"/>
                    <a:pt x="294459" y="76257"/>
                    <a:pt x="299031" y="72006"/>
                  </a:cubicBezTo>
                  <a:cubicBezTo>
                    <a:pt x="303599" y="67756"/>
                    <a:pt x="303856" y="60607"/>
                    <a:pt x="299605" y="56038"/>
                  </a:cubicBezTo>
                  <a:lnTo>
                    <a:pt x="299363" y="55776"/>
                  </a:lnTo>
                  <a:cubicBezTo>
                    <a:pt x="298962" y="55347"/>
                    <a:pt x="298563" y="54917"/>
                    <a:pt x="298147" y="54480"/>
                  </a:cubicBezTo>
                  <a:cubicBezTo>
                    <a:pt x="297654" y="53965"/>
                    <a:pt x="297157" y="53453"/>
                    <a:pt x="296671" y="52958"/>
                  </a:cubicBezTo>
                  <a:cubicBezTo>
                    <a:pt x="296168" y="52442"/>
                    <a:pt x="295665" y="51927"/>
                    <a:pt x="295181" y="51443"/>
                  </a:cubicBezTo>
                  <a:cubicBezTo>
                    <a:pt x="294784" y="51047"/>
                    <a:pt x="294383" y="50657"/>
                    <a:pt x="293983" y="50265"/>
                  </a:cubicBezTo>
                  <a:lnTo>
                    <a:pt x="293656" y="49946"/>
                  </a:lnTo>
                  <a:cubicBezTo>
                    <a:pt x="293150" y="49452"/>
                    <a:pt x="292638" y="48956"/>
                    <a:pt x="292142" y="48485"/>
                  </a:cubicBezTo>
                  <a:cubicBezTo>
                    <a:pt x="291617" y="47984"/>
                    <a:pt x="291090" y="47492"/>
                    <a:pt x="290547" y="46988"/>
                  </a:cubicBezTo>
                  <a:cubicBezTo>
                    <a:pt x="290038" y="46517"/>
                    <a:pt x="289525" y="46043"/>
                    <a:pt x="288995" y="45564"/>
                  </a:cubicBezTo>
                  <a:cubicBezTo>
                    <a:pt x="288460" y="45082"/>
                    <a:pt x="287922" y="44601"/>
                    <a:pt x="287392" y="44134"/>
                  </a:cubicBezTo>
                  <a:cubicBezTo>
                    <a:pt x="286859" y="43663"/>
                    <a:pt x="286321" y="43190"/>
                    <a:pt x="285800" y="42744"/>
                  </a:cubicBezTo>
                  <a:cubicBezTo>
                    <a:pt x="285257" y="42278"/>
                    <a:pt x="284713" y="41813"/>
                    <a:pt x="284154" y="41345"/>
                  </a:cubicBezTo>
                  <a:cubicBezTo>
                    <a:pt x="283621" y="40897"/>
                    <a:pt x="283083" y="40454"/>
                    <a:pt x="282555" y="40020"/>
                  </a:cubicBezTo>
                  <a:cubicBezTo>
                    <a:pt x="281989" y="39555"/>
                    <a:pt x="281419" y="39091"/>
                    <a:pt x="280865" y="38649"/>
                  </a:cubicBezTo>
                  <a:cubicBezTo>
                    <a:pt x="280314" y="38209"/>
                    <a:pt x="279757" y="37773"/>
                    <a:pt x="279196" y="37337"/>
                  </a:cubicBezTo>
                  <a:cubicBezTo>
                    <a:pt x="278631" y="36897"/>
                    <a:pt x="278063" y="36457"/>
                    <a:pt x="277517" y="36042"/>
                  </a:cubicBezTo>
                  <a:cubicBezTo>
                    <a:pt x="276995" y="35644"/>
                    <a:pt x="276469" y="35256"/>
                    <a:pt x="275942" y="34865"/>
                  </a:cubicBezTo>
                  <a:lnTo>
                    <a:pt x="275812" y="34770"/>
                  </a:lnTo>
                  <a:cubicBezTo>
                    <a:pt x="275222" y="34332"/>
                    <a:pt x="274634" y="33896"/>
                    <a:pt x="274069" y="33488"/>
                  </a:cubicBezTo>
                  <a:cubicBezTo>
                    <a:pt x="273543" y="33109"/>
                    <a:pt x="273014" y="32736"/>
                    <a:pt x="272482" y="32366"/>
                  </a:cubicBezTo>
                  <a:lnTo>
                    <a:pt x="272236" y="32193"/>
                  </a:lnTo>
                  <a:cubicBezTo>
                    <a:pt x="271678" y="31798"/>
                    <a:pt x="271116" y="31406"/>
                    <a:pt x="270567" y="31030"/>
                  </a:cubicBezTo>
                  <a:cubicBezTo>
                    <a:pt x="270078" y="30694"/>
                    <a:pt x="269581" y="30367"/>
                    <a:pt x="269085" y="30036"/>
                  </a:cubicBezTo>
                  <a:lnTo>
                    <a:pt x="268496" y="29642"/>
                  </a:lnTo>
                  <a:cubicBezTo>
                    <a:pt x="267992" y="29305"/>
                    <a:pt x="267490" y="28972"/>
                    <a:pt x="266991" y="28648"/>
                  </a:cubicBezTo>
                  <a:cubicBezTo>
                    <a:pt x="266544" y="28358"/>
                    <a:pt x="266091" y="28074"/>
                    <a:pt x="265641" y="27790"/>
                  </a:cubicBezTo>
                  <a:lnTo>
                    <a:pt x="264778" y="27248"/>
                  </a:lnTo>
                  <a:cubicBezTo>
                    <a:pt x="264307" y="26949"/>
                    <a:pt x="263834" y="26651"/>
                    <a:pt x="263364" y="26363"/>
                  </a:cubicBezTo>
                  <a:cubicBezTo>
                    <a:pt x="262843" y="26044"/>
                    <a:pt x="262317" y="25732"/>
                    <a:pt x="261791" y="25421"/>
                  </a:cubicBezTo>
                  <a:lnTo>
                    <a:pt x="261050" y="24978"/>
                  </a:lnTo>
                  <a:cubicBezTo>
                    <a:pt x="260588" y="24701"/>
                    <a:pt x="260129" y="24425"/>
                    <a:pt x="259688" y="24171"/>
                  </a:cubicBezTo>
                  <a:cubicBezTo>
                    <a:pt x="259053" y="23802"/>
                    <a:pt x="258407" y="23444"/>
                    <a:pt x="257766" y="23084"/>
                  </a:cubicBezTo>
                  <a:lnTo>
                    <a:pt x="257433" y="22898"/>
                  </a:lnTo>
                  <a:cubicBezTo>
                    <a:pt x="256585" y="22425"/>
                    <a:pt x="255737" y="21956"/>
                    <a:pt x="254916" y="21517"/>
                  </a:cubicBezTo>
                  <a:cubicBezTo>
                    <a:pt x="254016" y="21032"/>
                    <a:pt x="253114" y="20548"/>
                    <a:pt x="252176" y="20064"/>
                  </a:cubicBezTo>
                  <a:cubicBezTo>
                    <a:pt x="251784" y="19863"/>
                    <a:pt x="251392" y="19669"/>
                    <a:pt x="250999" y="19475"/>
                  </a:cubicBezTo>
                  <a:lnTo>
                    <a:pt x="250004" y="18977"/>
                  </a:lnTo>
                  <a:cubicBezTo>
                    <a:pt x="249440" y="18695"/>
                    <a:pt x="248876" y="18411"/>
                    <a:pt x="248340" y="18155"/>
                  </a:cubicBezTo>
                  <a:cubicBezTo>
                    <a:pt x="247921" y="17949"/>
                    <a:pt x="247496" y="17753"/>
                    <a:pt x="247073" y="17557"/>
                  </a:cubicBezTo>
                  <a:lnTo>
                    <a:pt x="246163" y="17131"/>
                  </a:lnTo>
                  <a:cubicBezTo>
                    <a:pt x="245575" y="16855"/>
                    <a:pt x="244987" y="16581"/>
                    <a:pt x="244404" y="16315"/>
                  </a:cubicBezTo>
                  <a:cubicBezTo>
                    <a:pt x="243934" y="16103"/>
                    <a:pt x="243462" y="15898"/>
                    <a:pt x="242988" y="15690"/>
                  </a:cubicBezTo>
                  <a:lnTo>
                    <a:pt x="242318" y="15397"/>
                  </a:lnTo>
                  <a:cubicBezTo>
                    <a:pt x="241684" y="15119"/>
                    <a:pt x="241049" y="14842"/>
                    <a:pt x="240403" y="14569"/>
                  </a:cubicBezTo>
                  <a:cubicBezTo>
                    <a:pt x="239932" y="14370"/>
                    <a:pt x="239455" y="14175"/>
                    <a:pt x="238981" y="13982"/>
                  </a:cubicBezTo>
                  <a:lnTo>
                    <a:pt x="238057" y="13605"/>
                  </a:lnTo>
                  <a:cubicBezTo>
                    <a:pt x="237495" y="13378"/>
                    <a:pt x="236935" y="13147"/>
                    <a:pt x="236362" y="12925"/>
                  </a:cubicBezTo>
                  <a:cubicBezTo>
                    <a:pt x="235834" y="12718"/>
                    <a:pt x="235305" y="12518"/>
                    <a:pt x="234777" y="12317"/>
                  </a:cubicBezTo>
                  <a:lnTo>
                    <a:pt x="234404" y="12175"/>
                  </a:lnTo>
                  <a:cubicBezTo>
                    <a:pt x="233702" y="11910"/>
                    <a:pt x="232998" y="11647"/>
                    <a:pt x="232286" y="11388"/>
                  </a:cubicBezTo>
                  <a:cubicBezTo>
                    <a:pt x="231625" y="11149"/>
                    <a:pt x="230956" y="10915"/>
                    <a:pt x="230287" y="10682"/>
                  </a:cubicBezTo>
                  <a:cubicBezTo>
                    <a:pt x="229586" y="10437"/>
                    <a:pt x="228886" y="10195"/>
                    <a:pt x="228131" y="9941"/>
                  </a:cubicBezTo>
                  <a:cubicBezTo>
                    <a:pt x="227471" y="9721"/>
                    <a:pt x="226809" y="9510"/>
                    <a:pt x="226149" y="9297"/>
                  </a:cubicBezTo>
                  <a:cubicBezTo>
                    <a:pt x="225425" y="9063"/>
                    <a:pt x="224691" y="8833"/>
                    <a:pt x="223947" y="8603"/>
                  </a:cubicBezTo>
                  <a:cubicBezTo>
                    <a:pt x="223283" y="8401"/>
                    <a:pt x="222614" y="8203"/>
                    <a:pt x="221929" y="8003"/>
                  </a:cubicBezTo>
                  <a:cubicBezTo>
                    <a:pt x="221191" y="7786"/>
                    <a:pt x="220451" y="7577"/>
                    <a:pt x="219706" y="7369"/>
                  </a:cubicBezTo>
                  <a:cubicBezTo>
                    <a:pt x="219037" y="7183"/>
                    <a:pt x="218367" y="7002"/>
                    <a:pt x="217667" y="6816"/>
                  </a:cubicBezTo>
                  <a:cubicBezTo>
                    <a:pt x="216915" y="6618"/>
                    <a:pt x="216166" y="6424"/>
                    <a:pt x="215399" y="6233"/>
                  </a:cubicBezTo>
                  <a:cubicBezTo>
                    <a:pt x="214728" y="6067"/>
                    <a:pt x="214054" y="5899"/>
                    <a:pt x="213371" y="5738"/>
                  </a:cubicBezTo>
                  <a:cubicBezTo>
                    <a:pt x="212620" y="5562"/>
                    <a:pt x="211863" y="5390"/>
                    <a:pt x="211072" y="5210"/>
                  </a:cubicBezTo>
                  <a:cubicBezTo>
                    <a:pt x="210395" y="5061"/>
                    <a:pt x="209720" y="4912"/>
                    <a:pt x="209059" y="4773"/>
                  </a:cubicBezTo>
                  <a:cubicBezTo>
                    <a:pt x="208275" y="4607"/>
                    <a:pt x="207488" y="4451"/>
                    <a:pt x="206669" y="4290"/>
                  </a:cubicBezTo>
                  <a:lnTo>
                    <a:pt x="206261" y="4210"/>
                  </a:lnTo>
                  <a:cubicBezTo>
                    <a:pt x="205728" y="4108"/>
                    <a:pt x="205191" y="4002"/>
                    <a:pt x="204675" y="3909"/>
                  </a:cubicBezTo>
                  <a:cubicBezTo>
                    <a:pt x="203880" y="3762"/>
                    <a:pt x="203080" y="3627"/>
                    <a:pt x="202259" y="3489"/>
                  </a:cubicBezTo>
                  <a:lnTo>
                    <a:pt x="202007" y="3447"/>
                  </a:lnTo>
                  <a:cubicBezTo>
                    <a:pt x="201420" y="3348"/>
                    <a:pt x="200837" y="3248"/>
                    <a:pt x="200239" y="3154"/>
                  </a:cubicBezTo>
                  <a:cubicBezTo>
                    <a:pt x="199581" y="3052"/>
                    <a:pt x="198922" y="2959"/>
                    <a:pt x="198261" y="2865"/>
                  </a:cubicBezTo>
                  <a:lnTo>
                    <a:pt x="197131" y="2704"/>
                  </a:lnTo>
                  <a:cubicBezTo>
                    <a:pt x="196683" y="2640"/>
                    <a:pt x="196234" y="2575"/>
                    <a:pt x="195774" y="2516"/>
                  </a:cubicBezTo>
                  <a:cubicBezTo>
                    <a:pt x="195037" y="2422"/>
                    <a:pt x="194299" y="2334"/>
                    <a:pt x="193562" y="2250"/>
                  </a:cubicBezTo>
                  <a:lnTo>
                    <a:pt x="191274" y="1988"/>
                  </a:lnTo>
                  <a:cubicBezTo>
                    <a:pt x="190462" y="1905"/>
                    <a:pt x="189647" y="1834"/>
                    <a:pt x="188829" y="1762"/>
                  </a:cubicBezTo>
                  <a:lnTo>
                    <a:pt x="187794" y="1671"/>
                  </a:lnTo>
                  <a:cubicBezTo>
                    <a:pt x="187441" y="1637"/>
                    <a:pt x="187088" y="1605"/>
                    <a:pt x="186739" y="1578"/>
                  </a:cubicBezTo>
                  <a:cubicBezTo>
                    <a:pt x="185287" y="1464"/>
                    <a:pt x="183835" y="1368"/>
                    <a:pt x="182374" y="1291"/>
                  </a:cubicBezTo>
                  <a:cubicBezTo>
                    <a:pt x="182250" y="1283"/>
                    <a:pt x="182117" y="1275"/>
                    <a:pt x="181980" y="1271"/>
                  </a:cubicBezTo>
                  <a:cubicBezTo>
                    <a:pt x="180515" y="1198"/>
                    <a:pt x="179051" y="1143"/>
                    <a:pt x="177628" y="1110"/>
                  </a:cubicBezTo>
                  <a:cubicBezTo>
                    <a:pt x="177277" y="1098"/>
                    <a:pt x="176926" y="1095"/>
                    <a:pt x="176576" y="1091"/>
                  </a:cubicBezTo>
                  <a:lnTo>
                    <a:pt x="175603" y="1079"/>
                  </a:lnTo>
                  <a:cubicBezTo>
                    <a:pt x="174759" y="1066"/>
                    <a:pt x="173916" y="1055"/>
                    <a:pt x="173018" y="1055"/>
                  </a:cubicBezTo>
                  <a:cubicBezTo>
                    <a:pt x="173014" y="1055"/>
                    <a:pt x="173007" y="1055"/>
                    <a:pt x="173003" y="1055"/>
                  </a:cubicBezTo>
                  <a:lnTo>
                    <a:pt x="170788" y="1083"/>
                  </a:lnTo>
                  <a:cubicBezTo>
                    <a:pt x="170034" y="1091"/>
                    <a:pt x="169282" y="1101"/>
                    <a:pt x="168504" y="1121"/>
                  </a:cubicBezTo>
                  <a:cubicBezTo>
                    <a:pt x="168046" y="1135"/>
                    <a:pt x="167592" y="1153"/>
                    <a:pt x="167135" y="1171"/>
                  </a:cubicBezTo>
                  <a:lnTo>
                    <a:pt x="165913" y="1219"/>
                  </a:lnTo>
                  <a:cubicBezTo>
                    <a:pt x="165277" y="1245"/>
                    <a:pt x="164641" y="1268"/>
                    <a:pt x="164016" y="1304"/>
                  </a:cubicBezTo>
                  <a:cubicBezTo>
                    <a:pt x="163408" y="1335"/>
                    <a:pt x="162802" y="1377"/>
                    <a:pt x="162194" y="1418"/>
                  </a:cubicBezTo>
                  <a:lnTo>
                    <a:pt x="162002" y="1432"/>
                  </a:lnTo>
                  <a:cubicBezTo>
                    <a:pt x="161183" y="1482"/>
                    <a:pt x="160361" y="1537"/>
                    <a:pt x="159534" y="1603"/>
                  </a:cubicBezTo>
                  <a:cubicBezTo>
                    <a:pt x="158846" y="1658"/>
                    <a:pt x="158163" y="1720"/>
                    <a:pt x="157465" y="1785"/>
                  </a:cubicBezTo>
                  <a:cubicBezTo>
                    <a:pt x="156668" y="1858"/>
                    <a:pt x="155872" y="1934"/>
                    <a:pt x="155110" y="2014"/>
                  </a:cubicBezTo>
                  <a:cubicBezTo>
                    <a:pt x="154410" y="2087"/>
                    <a:pt x="153708" y="2170"/>
                    <a:pt x="152996" y="2253"/>
                  </a:cubicBezTo>
                  <a:cubicBezTo>
                    <a:pt x="152226" y="2346"/>
                    <a:pt x="151454" y="2440"/>
                    <a:pt x="150711" y="2535"/>
                  </a:cubicBezTo>
                  <a:cubicBezTo>
                    <a:pt x="150022" y="2624"/>
                    <a:pt x="149339" y="2723"/>
                    <a:pt x="148585" y="2829"/>
                  </a:cubicBezTo>
                  <a:cubicBezTo>
                    <a:pt x="147820" y="2940"/>
                    <a:pt x="147049" y="3056"/>
                    <a:pt x="146281" y="3175"/>
                  </a:cubicBezTo>
                  <a:cubicBezTo>
                    <a:pt x="145587" y="3285"/>
                    <a:pt x="144893" y="3402"/>
                    <a:pt x="144241" y="3514"/>
                  </a:cubicBezTo>
                  <a:cubicBezTo>
                    <a:pt x="143469" y="3645"/>
                    <a:pt x="142704" y="3781"/>
                    <a:pt x="141936" y="3922"/>
                  </a:cubicBezTo>
                  <a:cubicBezTo>
                    <a:pt x="141258" y="4047"/>
                    <a:pt x="140582" y="4178"/>
                    <a:pt x="139882" y="4314"/>
                  </a:cubicBezTo>
                  <a:cubicBezTo>
                    <a:pt x="139132" y="4463"/>
                    <a:pt x="138387" y="4617"/>
                    <a:pt x="137540" y="4795"/>
                  </a:cubicBezTo>
                  <a:cubicBezTo>
                    <a:pt x="136878" y="4937"/>
                    <a:pt x="136211" y="5078"/>
                    <a:pt x="135549" y="5227"/>
                  </a:cubicBezTo>
                  <a:cubicBezTo>
                    <a:pt x="134816" y="5393"/>
                    <a:pt x="134085" y="5566"/>
                    <a:pt x="133365" y="5738"/>
                  </a:cubicBezTo>
                  <a:cubicBezTo>
                    <a:pt x="132672" y="5901"/>
                    <a:pt x="131977" y="6068"/>
                    <a:pt x="131280" y="6244"/>
                  </a:cubicBezTo>
                  <a:cubicBezTo>
                    <a:pt x="130548" y="6429"/>
                    <a:pt x="129821" y="6619"/>
                    <a:pt x="129110" y="6809"/>
                  </a:cubicBezTo>
                  <a:cubicBezTo>
                    <a:pt x="128436" y="6989"/>
                    <a:pt x="127760" y="7169"/>
                    <a:pt x="127075" y="7359"/>
                  </a:cubicBezTo>
                  <a:cubicBezTo>
                    <a:pt x="126445" y="7533"/>
                    <a:pt x="125819" y="7716"/>
                    <a:pt x="125192" y="7900"/>
                  </a:cubicBezTo>
                  <a:lnTo>
                    <a:pt x="122877" y="8585"/>
                  </a:lnTo>
                  <a:cubicBezTo>
                    <a:pt x="122265" y="8774"/>
                    <a:pt x="121659" y="8968"/>
                    <a:pt x="121055" y="9163"/>
                  </a:cubicBezTo>
                  <a:lnTo>
                    <a:pt x="120157" y="9451"/>
                  </a:lnTo>
                  <a:cubicBezTo>
                    <a:pt x="119689" y="9600"/>
                    <a:pt x="119222" y="9750"/>
                    <a:pt x="118765" y="9901"/>
                  </a:cubicBezTo>
                  <a:cubicBezTo>
                    <a:pt x="118170" y="10100"/>
                    <a:pt x="117584" y="10306"/>
                    <a:pt x="116996" y="10512"/>
                  </a:cubicBezTo>
                  <a:lnTo>
                    <a:pt x="116169" y="10800"/>
                  </a:lnTo>
                  <a:cubicBezTo>
                    <a:pt x="115659" y="10976"/>
                    <a:pt x="115148" y="11153"/>
                    <a:pt x="114666" y="11330"/>
                  </a:cubicBezTo>
                  <a:cubicBezTo>
                    <a:pt x="114056" y="11550"/>
                    <a:pt x="113448" y="11782"/>
                    <a:pt x="112846" y="12011"/>
                  </a:cubicBezTo>
                  <a:lnTo>
                    <a:pt x="111865" y="12382"/>
                  </a:lnTo>
                  <a:cubicBezTo>
                    <a:pt x="111449" y="12538"/>
                    <a:pt x="111032" y="12694"/>
                    <a:pt x="110610" y="12860"/>
                  </a:cubicBezTo>
                  <a:cubicBezTo>
                    <a:pt x="109661" y="13233"/>
                    <a:pt x="108718" y="13620"/>
                    <a:pt x="107791" y="14002"/>
                  </a:cubicBezTo>
                  <a:cubicBezTo>
                    <a:pt x="106898" y="14369"/>
                    <a:pt x="106015" y="14747"/>
                    <a:pt x="105118" y="15135"/>
                  </a:cubicBezTo>
                  <a:lnTo>
                    <a:pt x="104791" y="15282"/>
                  </a:lnTo>
                  <a:cubicBezTo>
                    <a:pt x="104112" y="15574"/>
                    <a:pt x="103432" y="15870"/>
                    <a:pt x="102776" y="16163"/>
                  </a:cubicBezTo>
                  <a:cubicBezTo>
                    <a:pt x="102285" y="16383"/>
                    <a:pt x="101799" y="16612"/>
                    <a:pt x="101310" y="16841"/>
                  </a:cubicBezTo>
                  <a:lnTo>
                    <a:pt x="100626" y="17160"/>
                  </a:lnTo>
                  <a:cubicBezTo>
                    <a:pt x="100035" y="17433"/>
                    <a:pt x="99446" y="17705"/>
                    <a:pt x="98858" y="17987"/>
                  </a:cubicBezTo>
                  <a:cubicBezTo>
                    <a:pt x="98347" y="18233"/>
                    <a:pt x="97836" y="18488"/>
                    <a:pt x="97328" y="18741"/>
                  </a:cubicBezTo>
                  <a:lnTo>
                    <a:pt x="96482" y="19162"/>
                  </a:lnTo>
                  <a:cubicBezTo>
                    <a:pt x="96004" y="19398"/>
                    <a:pt x="95526" y="19633"/>
                    <a:pt x="95007" y="19897"/>
                  </a:cubicBezTo>
                  <a:cubicBezTo>
                    <a:pt x="94399" y="20209"/>
                    <a:pt x="93796" y="20530"/>
                    <a:pt x="93110" y="20894"/>
                  </a:cubicBezTo>
                  <a:lnTo>
                    <a:pt x="92699" y="21112"/>
                  </a:lnTo>
                  <a:cubicBezTo>
                    <a:pt x="92212" y="21368"/>
                    <a:pt x="91724" y="21625"/>
                    <a:pt x="91225" y="21897"/>
                  </a:cubicBezTo>
                  <a:cubicBezTo>
                    <a:pt x="90666" y="22200"/>
                    <a:pt x="90110" y="22511"/>
                    <a:pt x="89556" y="22823"/>
                  </a:cubicBezTo>
                  <a:lnTo>
                    <a:pt x="89171" y="23040"/>
                  </a:lnTo>
                  <a:cubicBezTo>
                    <a:pt x="88610" y="23352"/>
                    <a:pt x="88051" y="23664"/>
                    <a:pt x="87504" y="23979"/>
                  </a:cubicBezTo>
                  <a:cubicBezTo>
                    <a:pt x="86872" y="24344"/>
                    <a:pt x="86242" y="24718"/>
                    <a:pt x="85616" y="25092"/>
                  </a:cubicBezTo>
                  <a:cubicBezTo>
                    <a:pt x="85010" y="25449"/>
                    <a:pt x="84402" y="25810"/>
                    <a:pt x="83844" y="26151"/>
                  </a:cubicBezTo>
                  <a:cubicBezTo>
                    <a:pt x="83218" y="26530"/>
                    <a:pt x="82601" y="26917"/>
                    <a:pt x="82000" y="27294"/>
                  </a:cubicBezTo>
                  <a:cubicBezTo>
                    <a:pt x="81398" y="27672"/>
                    <a:pt x="80795" y="28050"/>
                    <a:pt x="80219" y="28423"/>
                  </a:cubicBezTo>
                  <a:cubicBezTo>
                    <a:pt x="79607" y="28817"/>
                    <a:pt x="78998" y="29213"/>
                    <a:pt x="78400" y="29611"/>
                  </a:cubicBezTo>
                  <a:cubicBezTo>
                    <a:pt x="77824" y="29993"/>
                    <a:pt x="77253" y="30375"/>
                    <a:pt x="76642" y="30787"/>
                  </a:cubicBezTo>
                  <a:cubicBezTo>
                    <a:pt x="76049" y="31192"/>
                    <a:pt x="75458" y="31598"/>
                    <a:pt x="74896" y="31992"/>
                  </a:cubicBezTo>
                  <a:cubicBezTo>
                    <a:pt x="74312" y="32397"/>
                    <a:pt x="73734" y="32808"/>
                    <a:pt x="73142" y="33231"/>
                  </a:cubicBezTo>
                  <a:cubicBezTo>
                    <a:pt x="72559" y="33649"/>
                    <a:pt x="71981" y="34069"/>
                    <a:pt x="71389" y="34504"/>
                  </a:cubicBezTo>
                  <a:cubicBezTo>
                    <a:pt x="70823" y="34920"/>
                    <a:pt x="70260" y="35340"/>
                    <a:pt x="69718" y="35750"/>
                  </a:cubicBezTo>
                  <a:cubicBezTo>
                    <a:pt x="69147" y="36180"/>
                    <a:pt x="68579" y="36612"/>
                    <a:pt x="68005" y="37055"/>
                  </a:cubicBezTo>
                  <a:cubicBezTo>
                    <a:pt x="67450" y="37484"/>
                    <a:pt x="66897" y="37922"/>
                    <a:pt x="66335" y="38368"/>
                  </a:cubicBezTo>
                  <a:lnTo>
                    <a:pt x="66143" y="38520"/>
                  </a:lnTo>
                  <a:cubicBezTo>
                    <a:pt x="65644" y="38918"/>
                    <a:pt x="65148" y="39310"/>
                    <a:pt x="64685" y="39689"/>
                  </a:cubicBezTo>
                  <a:cubicBezTo>
                    <a:pt x="64117" y="40150"/>
                    <a:pt x="63553" y="40617"/>
                    <a:pt x="63040" y="41048"/>
                  </a:cubicBezTo>
                  <a:lnTo>
                    <a:pt x="62806" y="41243"/>
                  </a:lnTo>
                  <a:cubicBezTo>
                    <a:pt x="62334" y="41639"/>
                    <a:pt x="61859" y="42033"/>
                    <a:pt x="61403" y="42424"/>
                  </a:cubicBezTo>
                  <a:cubicBezTo>
                    <a:pt x="60853" y="42895"/>
                    <a:pt x="60308" y="43373"/>
                    <a:pt x="59783" y="43837"/>
                  </a:cubicBezTo>
                  <a:lnTo>
                    <a:pt x="59378" y="44191"/>
                  </a:lnTo>
                  <a:cubicBezTo>
                    <a:pt x="58988" y="44532"/>
                    <a:pt x="58599" y="44872"/>
                    <a:pt x="58191" y="45239"/>
                  </a:cubicBezTo>
                  <a:cubicBezTo>
                    <a:pt x="57696" y="45685"/>
                    <a:pt x="57204" y="46140"/>
                    <a:pt x="56716" y="46592"/>
                  </a:cubicBezTo>
                  <a:lnTo>
                    <a:pt x="56245" y="47026"/>
                  </a:lnTo>
                  <a:cubicBezTo>
                    <a:pt x="55848" y="47389"/>
                    <a:pt x="55453" y="47752"/>
                    <a:pt x="55068" y="48118"/>
                  </a:cubicBezTo>
                  <a:cubicBezTo>
                    <a:pt x="54590" y="48569"/>
                    <a:pt x="54117" y="49029"/>
                    <a:pt x="53646" y="49490"/>
                  </a:cubicBezTo>
                  <a:lnTo>
                    <a:pt x="53214" y="49906"/>
                  </a:lnTo>
                  <a:cubicBezTo>
                    <a:pt x="52871" y="50235"/>
                    <a:pt x="52530" y="50563"/>
                    <a:pt x="52192" y="50895"/>
                  </a:cubicBezTo>
                  <a:cubicBezTo>
                    <a:pt x="52117" y="50968"/>
                    <a:pt x="52044" y="51043"/>
                    <a:pt x="51973" y="51119"/>
                  </a:cubicBezTo>
                  <a:cubicBezTo>
                    <a:pt x="39965" y="63034"/>
                    <a:pt x="29802" y="76603"/>
                    <a:pt x="21762" y="91457"/>
                  </a:cubicBezTo>
                  <a:cubicBezTo>
                    <a:pt x="21714" y="91541"/>
                    <a:pt x="21668" y="91624"/>
                    <a:pt x="21619" y="91710"/>
                  </a:cubicBezTo>
                  <a:cubicBezTo>
                    <a:pt x="21492" y="91946"/>
                    <a:pt x="21368" y="92183"/>
                    <a:pt x="21246" y="92423"/>
                  </a:cubicBezTo>
                  <a:lnTo>
                    <a:pt x="21163" y="92585"/>
                  </a:lnTo>
                  <a:cubicBezTo>
                    <a:pt x="20671" y="93511"/>
                    <a:pt x="20177" y="94444"/>
                    <a:pt x="19705" y="95375"/>
                  </a:cubicBezTo>
                  <a:lnTo>
                    <a:pt x="19007" y="96770"/>
                  </a:lnTo>
                  <a:cubicBezTo>
                    <a:pt x="18578" y="97637"/>
                    <a:pt x="18154" y="98506"/>
                    <a:pt x="17743" y="99368"/>
                  </a:cubicBezTo>
                  <a:cubicBezTo>
                    <a:pt x="17504" y="99873"/>
                    <a:pt x="17265" y="100378"/>
                    <a:pt x="17023" y="100896"/>
                  </a:cubicBezTo>
                  <a:cubicBezTo>
                    <a:pt x="16634" y="101739"/>
                    <a:pt x="16248" y="102586"/>
                    <a:pt x="15857" y="103466"/>
                  </a:cubicBezTo>
                  <a:lnTo>
                    <a:pt x="15734" y="103746"/>
                  </a:lnTo>
                  <a:cubicBezTo>
                    <a:pt x="15540" y="104186"/>
                    <a:pt x="15345" y="104626"/>
                    <a:pt x="15189" y="104993"/>
                  </a:cubicBezTo>
                  <a:cubicBezTo>
                    <a:pt x="14812" y="105855"/>
                    <a:pt x="14450" y="106725"/>
                    <a:pt x="14104" y="107564"/>
                  </a:cubicBezTo>
                  <a:cubicBezTo>
                    <a:pt x="13880" y="108100"/>
                    <a:pt x="13659" y="108637"/>
                    <a:pt x="13447" y="109164"/>
                  </a:cubicBezTo>
                  <a:cubicBezTo>
                    <a:pt x="13087" y="110055"/>
                    <a:pt x="12742" y="110953"/>
                    <a:pt x="12402" y="111843"/>
                  </a:cubicBezTo>
                  <a:lnTo>
                    <a:pt x="12281" y="112157"/>
                  </a:lnTo>
                  <a:cubicBezTo>
                    <a:pt x="12121" y="112573"/>
                    <a:pt x="11962" y="112989"/>
                    <a:pt x="11814" y="113386"/>
                  </a:cubicBezTo>
                  <a:cubicBezTo>
                    <a:pt x="11453" y="114358"/>
                    <a:pt x="11108" y="115336"/>
                    <a:pt x="10777" y="116283"/>
                  </a:cubicBezTo>
                  <a:lnTo>
                    <a:pt x="10290" y="117654"/>
                  </a:lnTo>
                  <a:cubicBezTo>
                    <a:pt x="9809" y="119064"/>
                    <a:pt x="9344" y="120479"/>
                    <a:pt x="8898" y="121904"/>
                  </a:cubicBezTo>
                  <a:cubicBezTo>
                    <a:pt x="8867" y="122002"/>
                    <a:pt x="8837" y="122100"/>
                    <a:pt x="8808" y="122200"/>
                  </a:cubicBezTo>
                  <a:cubicBezTo>
                    <a:pt x="8390" y="123546"/>
                    <a:pt x="7991" y="124895"/>
                    <a:pt x="7594" y="126288"/>
                  </a:cubicBezTo>
                  <a:lnTo>
                    <a:pt x="7178" y="127820"/>
                  </a:lnTo>
                  <a:cubicBezTo>
                    <a:pt x="6921" y="128759"/>
                    <a:pt x="6666" y="129696"/>
                    <a:pt x="6428" y="130634"/>
                  </a:cubicBezTo>
                  <a:cubicBezTo>
                    <a:pt x="6317" y="131065"/>
                    <a:pt x="6212" y="131501"/>
                    <a:pt x="6106" y="131936"/>
                  </a:cubicBezTo>
                  <a:lnTo>
                    <a:pt x="5971" y="132500"/>
                  </a:lnTo>
                  <a:cubicBezTo>
                    <a:pt x="5762" y="133359"/>
                    <a:pt x="5555" y="134217"/>
                    <a:pt x="5364" y="135062"/>
                  </a:cubicBezTo>
                  <a:cubicBezTo>
                    <a:pt x="5250" y="135564"/>
                    <a:pt x="5140" y="136069"/>
                    <a:pt x="5031" y="136572"/>
                  </a:cubicBezTo>
                  <a:lnTo>
                    <a:pt x="4928" y="137050"/>
                  </a:lnTo>
                  <a:cubicBezTo>
                    <a:pt x="4752" y="137872"/>
                    <a:pt x="4582" y="138693"/>
                    <a:pt x="4405" y="139553"/>
                  </a:cubicBezTo>
                  <a:cubicBezTo>
                    <a:pt x="4273" y="140228"/>
                    <a:pt x="4143" y="140903"/>
                    <a:pt x="4007" y="141626"/>
                  </a:cubicBezTo>
                  <a:cubicBezTo>
                    <a:pt x="3855" y="142446"/>
                    <a:pt x="3707" y="143267"/>
                    <a:pt x="3571" y="144068"/>
                  </a:cubicBezTo>
                  <a:cubicBezTo>
                    <a:pt x="3451" y="144762"/>
                    <a:pt x="3335" y="145457"/>
                    <a:pt x="3222" y="146167"/>
                  </a:cubicBezTo>
                  <a:cubicBezTo>
                    <a:pt x="3090" y="146997"/>
                    <a:pt x="2966" y="147831"/>
                    <a:pt x="2850" y="148656"/>
                  </a:cubicBezTo>
                  <a:lnTo>
                    <a:pt x="2785" y="149103"/>
                  </a:lnTo>
                  <a:cubicBezTo>
                    <a:pt x="2706" y="149646"/>
                    <a:pt x="2629" y="150192"/>
                    <a:pt x="2551" y="150770"/>
                  </a:cubicBezTo>
                  <a:cubicBezTo>
                    <a:pt x="2440" y="151622"/>
                    <a:pt x="2339" y="152481"/>
                    <a:pt x="2252" y="153257"/>
                  </a:cubicBezTo>
                  <a:lnTo>
                    <a:pt x="2211" y="153593"/>
                  </a:lnTo>
                  <a:cubicBezTo>
                    <a:pt x="2139" y="154190"/>
                    <a:pt x="2068" y="154785"/>
                    <a:pt x="2002" y="155413"/>
                  </a:cubicBezTo>
                  <a:cubicBezTo>
                    <a:pt x="1930" y="156125"/>
                    <a:pt x="1865" y="156838"/>
                    <a:pt x="1802" y="157552"/>
                  </a:cubicBezTo>
                  <a:lnTo>
                    <a:pt x="1705" y="158621"/>
                  </a:lnTo>
                  <a:cubicBezTo>
                    <a:pt x="1661" y="159092"/>
                    <a:pt x="1618" y="159566"/>
                    <a:pt x="1581" y="160031"/>
                  </a:cubicBezTo>
                  <a:cubicBezTo>
                    <a:pt x="1490" y="161196"/>
                    <a:pt x="1421" y="162370"/>
                    <a:pt x="1350" y="163581"/>
                  </a:cubicBezTo>
                  <a:lnTo>
                    <a:pt x="1329" y="163886"/>
                  </a:lnTo>
                  <a:cubicBezTo>
                    <a:pt x="1310" y="164146"/>
                    <a:pt x="1293" y="164409"/>
                    <a:pt x="1280" y="164669"/>
                  </a:cubicBezTo>
                  <a:cubicBezTo>
                    <a:pt x="-3548" y="259584"/>
                    <a:pt x="69742" y="340733"/>
                    <a:pt x="164658" y="345562"/>
                  </a:cubicBezTo>
                  <a:cubicBezTo>
                    <a:pt x="167655" y="345715"/>
                    <a:pt x="170640" y="345790"/>
                    <a:pt x="173619" y="345790"/>
                  </a:cubicBezTo>
                  <a:cubicBezTo>
                    <a:pt x="216344" y="345788"/>
                    <a:pt x="257002" y="330185"/>
                    <a:pt x="288941" y="301337"/>
                  </a:cubicBezTo>
                  <a:cubicBezTo>
                    <a:pt x="323106" y="270480"/>
                    <a:pt x="343210" y="228164"/>
                    <a:pt x="345548" y="182180"/>
                  </a:cubicBezTo>
                  <a:lnTo>
                    <a:pt x="345593" y="181050"/>
                  </a:lnTo>
                  <a:cubicBezTo>
                    <a:pt x="345643" y="179890"/>
                    <a:pt x="345689" y="178729"/>
                    <a:pt x="345723" y="177487"/>
                  </a:cubicBezTo>
                  <a:cubicBezTo>
                    <a:pt x="345731" y="176988"/>
                    <a:pt x="345737" y="176490"/>
                    <a:pt x="345741" y="175991"/>
                  </a:cubicBezTo>
                  <a:lnTo>
                    <a:pt x="345750" y="175241"/>
                  </a:lnTo>
                  <a:cubicBezTo>
                    <a:pt x="345759" y="174445"/>
                    <a:pt x="345772" y="173649"/>
                    <a:pt x="345769" y="172896"/>
                  </a:cubicBezTo>
                  <a:cubicBezTo>
                    <a:pt x="345771" y="172332"/>
                    <a:pt x="345762" y="171764"/>
                    <a:pt x="345751" y="171195"/>
                  </a:cubicBezTo>
                  <a:close/>
                  <a:moveTo>
                    <a:pt x="244463" y="162433"/>
                  </a:moveTo>
                  <a:lnTo>
                    <a:pt x="244463" y="153991"/>
                  </a:lnTo>
                  <a:cubicBezTo>
                    <a:pt x="244615" y="153946"/>
                    <a:pt x="244763" y="153894"/>
                    <a:pt x="244913" y="153845"/>
                  </a:cubicBezTo>
                  <a:cubicBezTo>
                    <a:pt x="246488" y="155485"/>
                    <a:pt x="247489" y="157883"/>
                    <a:pt x="247489" y="160560"/>
                  </a:cubicBezTo>
                  <a:cubicBezTo>
                    <a:pt x="247488" y="163596"/>
                    <a:pt x="246202" y="166281"/>
                    <a:pt x="244246" y="167895"/>
                  </a:cubicBezTo>
                  <a:cubicBezTo>
                    <a:pt x="244374" y="166089"/>
                    <a:pt x="244463" y="164273"/>
                    <a:pt x="244463" y="162433"/>
                  </a:cubicBezTo>
                  <a:close/>
                  <a:moveTo>
                    <a:pt x="99494" y="160557"/>
                  </a:moveTo>
                  <a:cubicBezTo>
                    <a:pt x="99494" y="157891"/>
                    <a:pt x="100487" y="155502"/>
                    <a:pt x="102052" y="153863"/>
                  </a:cubicBezTo>
                  <a:cubicBezTo>
                    <a:pt x="102252" y="153930"/>
                    <a:pt x="102454" y="153989"/>
                    <a:pt x="102659" y="154045"/>
                  </a:cubicBezTo>
                  <a:lnTo>
                    <a:pt x="102659" y="162433"/>
                  </a:lnTo>
                  <a:cubicBezTo>
                    <a:pt x="102659" y="164313"/>
                    <a:pt x="102748" y="166171"/>
                    <a:pt x="102885" y="168013"/>
                  </a:cubicBezTo>
                  <a:cubicBezTo>
                    <a:pt x="100844" y="166413"/>
                    <a:pt x="99494" y="163671"/>
                    <a:pt x="99494" y="160557"/>
                  </a:cubicBezTo>
                  <a:close/>
                  <a:moveTo>
                    <a:pt x="119568" y="125557"/>
                  </a:moveTo>
                  <a:cubicBezTo>
                    <a:pt x="119554" y="125557"/>
                    <a:pt x="119542" y="125557"/>
                    <a:pt x="119528" y="125557"/>
                  </a:cubicBezTo>
                  <a:cubicBezTo>
                    <a:pt x="118691" y="125557"/>
                    <a:pt x="117879" y="125655"/>
                    <a:pt x="117095" y="125827"/>
                  </a:cubicBezTo>
                  <a:cubicBezTo>
                    <a:pt x="117044" y="125812"/>
                    <a:pt x="116992" y="125802"/>
                    <a:pt x="116941" y="125788"/>
                  </a:cubicBezTo>
                  <a:lnTo>
                    <a:pt x="116941" y="123114"/>
                  </a:lnTo>
                  <a:cubicBezTo>
                    <a:pt x="116941" y="90091"/>
                    <a:pt x="141078" y="63226"/>
                    <a:pt x="170743" y="63226"/>
                  </a:cubicBezTo>
                  <a:lnTo>
                    <a:pt x="176167" y="63226"/>
                  </a:lnTo>
                  <a:cubicBezTo>
                    <a:pt x="205832" y="63226"/>
                    <a:pt x="229969" y="90091"/>
                    <a:pt x="229969" y="123113"/>
                  </a:cubicBezTo>
                  <a:lnTo>
                    <a:pt x="229969" y="125786"/>
                  </a:lnTo>
                  <a:cubicBezTo>
                    <a:pt x="214088" y="121496"/>
                    <a:pt x="208483" y="97418"/>
                    <a:pt x="208439" y="97214"/>
                  </a:cubicBezTo>
                  <a:cubicBezTo>
                    <a:pt x="207514" y="92746"/>
                    <a:pt x="203992" y="89273"/>
                    <a:pt x="199511" y="88411"/>
                  </a:cubicBezTo>
                  <a:cubicBezTo>
                    <a:pt x="195019" y="87550"/>
                    <a:pt x="190469" y="89467"/>
                    <a:pt x="187953" y="93272"/>
                  </a:cubicBezTo>
                  <a:cubicBezTo>
                    <a:pt x="166876" y="125127"/>
                    <a:pt x="120308" y="125556"/>
                    <a:pt x="119568" y="125557"/>
                  </a:cubicBezTo>
                  <a:close/>
                  <a:moveTo>
                    <a:pt x="125255" y="162433"/>
                  </a:moveTo>
                  <a:lnTo>
                    <a:pt x="125255" y="147909"/>
                  </a:lnTo>
                  <a:cubicBezTo>
                    <a:pt x="138193" y="147001"/>
                    <a:pt x="169935" y="142605"/>
                    <a:pt x="193578" y="121127"/>
                  </a:cubicBezTo>
                  <a:cubicBezTo>
                    <a:pt x="198933" y="131189"/>
                    <a:pt x="207794" y="142327"/>
                    <a:pt x="221866" y="146949"/>
                  </a:cubicBezTo>
                  <a:lnTo>
                    <a:pt x="221866" y="162432"/>
                  </a:lnTo>
                  <a:cubicBezTo>
                    <a:pt x="221866" y="188625"/>
                    <a:pt x="202814" y="209932"/>
                    <a:pt x="179393" y="209932"/>
                  </a:cubicBezTo>
                  <a:lnTo>
                    <a:pt x="167728" y="209932"/>
                  </a:lnTo>
                  <a:cubicBezTo>
                    <a:pt x="144307" y="209932"/>
                    <a:pt x="125255" y="188625"/>
                    <a:pt x="125255" y="162433"/>
                  </a:cubicBezTo>
                  <a:close/>
                  <a:moveTo>
                    <a:pt x="185347" y="232225"/>
                  </a:moveTo>
                  <a:lnTo>
                    <a:pt x="185347" y="239138"/>
                  </a:lnTo>
                  <a:lnTo>
                    <a:pt x="173678" y="251250"/>
                  </a:lnTo>
                  <a:lnTo>
                    <a:pt x="162751" y="240611"/>
                  </a:lnTo>
                  <a:lnTo>
                    <a:pt x="162751" y="232305"/>
                  </a:lnTo>
                  <a:cubicBezTo>
                    <a:pt x="164397" y="232439"/>
                    <a:pt x="166050" y="232532"/>
                    <a:pt x="167727" y="232532"/>
                  </a:cubicBezTo>
                  <a:lnTo>
                    <a:pt x="179392" y="232532"/>
                  </a:lnTo>
                  <a:cubicBezTo>
                    <a:pt x="181400" y="232530"/>
                    <a:pt x="183384" y="232418"/>
                    <a:pt x="185347" y="232225"/>
                  </a:cubicBezTo>
                  <a:close/>
                  <a:moveTo>
                    <a:pt x="165804" y="322999"/>
                  </a:moveTo>
                  <a:cubicBezTo>
                    <a:pt x="134203" y="321390"/>
                    <a:pt x="105368" y="310037"/>
                    <a:pt x="82045" y="292013"/>
                  </a:cubicBezTo>
                  <a:cubicBezTo>
                    <a:pt x="82064" y="291968"/>
                    <a:pt x="82090" y="291930"/>
                    <a:pt x="82109" y="291885"/>
                  </a:cubicBezTo>
                  <a:cubicBezTo>
                    <a:pt x="88514" y="275909"/>
                    <a:pt x="102747" y="270668"/>
                    <a:pt x="103254" y="270487"/>
                  </a:cubicBezTo>
                  <a:cubicBezTo>
                    <a:pt x="103427" y="270429"/>
                    <a:pt x="103600" y="270366"/>
                    <a:pt x="103772" y="270298"/>
                  </a:cubicBezTo>
                  <a:lnTo>
                    <a:pt x="144480" y="254357"/>
                  </a:lnTo>
                  <a:lnTo>
                    <a:pt x="166048" y="275363"/>
                  </a:lnTo>
                  <a:cubicBezTo>
                    <a:pt x="168158" y="277419"/>
                    <a:pt x="170988" y="278568"/>
                    <a:pt x="173930" y="278568"/>
                  </a:cubicBezTo>
                  <a:cubicBezTo>
                    <a:pt x="173990" y="278568"/>
                    <a:pt x="174051" y="278568"/>
                    <a:pt x="174108" y="278567"/>
                  </a:cubicBezTo>
                  <a:cubicBezTo>
                    <a:pt x="177115" y="278519"/>
                    <a:pt x="179979" y="277275"/>
                    <a:pt x="182065" y="275108"/>
                  </a:cubicBezTo>
                  <a:lnTo>
                    <a:pt x="202418" y="253983"/>
                  </a:lnTo>
                  <a:lnTo>
                    <a:pt x="243023" y="270264"/>
                  </a:lnTo>
                  <a:cubicBezTo>
                    <a:pt x="243221" y="270346"/>
                    <a:pt x="243327" y="270387"/>
                    <a:pt x="243532" y="270454"/>
                  </a:cubicBezTo>
                  <a:cubicBezTo>
                    <a:pt x="244163" y="270681"/>
                    <a:pt x="258413" y="275944"/>
                    <a:pt x="264807" y="291984"/>
                  </a:cubicBezTo>
                  <a:cubicBezTo>
                    <a:pt x="237517" y="313054"/>
                    <a:pt x="202879" y="324879"/>
                    <a:pt x="165804" y="32299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" name="Полилиния: фигура 129">
              <a:extLst>
                <a:ext uri="{FF2B5EF4-FFF2-40B4-BE49-F238E27FC236}">
                  <a16:creationId xmlns:a16="http://schemas.microsoft.com/office/drawing/2014/main" id="{389887F5-8A63-4F83-B5EA-148A6BC31C96}"/>
                </a:ext>
              </a:extLst>
            </p:cNvPr>
            <p:cNvSpPr/>
            <p:nvPr/>
          </p:nvSpPr>
          <p:spPr>
            <a:xfrm>
              <a:off x="4208428" y="1733414"/>
              <a:ext cx="255938" cy="312188"/>
            </a:xfrm>
            <a:custGeom>
              <a:avLst/>
              <a:gdLst>
                <a:gd name="connsiteX0" fmla="*/ 12353 w 255937"/>
                <a:gd name="connsiteY0" fmla="*/ 312072 h 312187"/>
                <a:gd name="connsiteX1" fmla="*/ 23650 w 255937"/>
                <a:gd name="connsiteY1" fmla="*/ 300774 h 312187"/>
                <a:gd name="connsiteX2" fmla="*/ 23650 w 255937"/>
                <a:gd name="connsiteY2" fmla="*/ 89624 h 312187"/>
                <a:gd name="connsiteX3" fmla="*/ 219237 w 255937"/>
                <a:gd name="connsiteY3" fmla="*/ 89624 h 312187"/>
                <a:gd name="connsiteX4" fmla="*/ 169064 w 255937"/>
                <a:gd name="connsiteY4" fmla="*/ 139796 h 312187"/>
                <a:gd name="connsiteX5" fmla="*/ 169064 w 255937"/>
                <a:gd name="connsiteY5" fmla="*/ 155776 h 312187"/>
                <a:gd name="connsiteX6" fmla="*/ 177054 w 255937"/>
                <a:gd name="connsiteY6" fmla="*/ 159083 h 312187"/>
                <a:gd name="connsiteX7" fmla="*/ 185044 w 255937"/>
                <a:gd name="connsiteY7" fmla="*/ 155776 h 312187"/>
                <a:gd name="connsiteX8" fmla="*/ 252761 w 255937"/>
                <a:gd name="connsiteY8" fmla="*/ 88060 h 312187"/>
                <a:gd name="connsiteX9" fmla="*/ 256068 w 255937"/>
                <a:gd name="connsiteY9" fmla="*/ 80070 h 312187"/>
                <a:gd name="connsiteX10" fmla="*/ 252758 w 255937"/>
                <a:gd name="connsiteY10" fmla="*/ 72080 h 312187"/>
                <a:gd name="connsiteX11" fmla="*/ 185041 w 255937"/>
                <a:gd name="connsiteY11" fmla="*/ 4363 h 312187"/>
                <a:gd name="connsiteX12" fmla="*/ 169062 w 255937"/>
                <a:gd name="connsiteY12" fmla="*/ 4363 h 312187"/>
                <a:gd name="connsiteX13" fmla="*/ 169062 w 255937"/>
                <a:gd name="connsiteY13" fmla="*/ 20342 h 312187"/>
                <a:gd name="connsiteX14" fmla="*/ 215747 w 255937"/>
                <a:gd name="connsiteY14" fmla="*/ 67026 h 312187"/>
                <a:gd name="connsiteX15" fmla="*/ 12353 w 255937"/>
                <a:gd name="connsiteY15" fmla="*/ 67026 h 312187"/>
                <a:gd name="connsiteX16" fmla="*/ 1055 w 255937"/>
                <a:gd name="connsiteY16" fmla="*/ 78324 h 312187"/>
                <a:gd name="connsiteX17" fmla="*/ 1055 w 255937"/>
                <a:gd name="connsiteY17" fmla="*/ 300774 h 312187"/>
                <a:gd name="connsiteX18" fmla="*/ 12353 w 255937"/>
                <a:gd name="connsiteY18" fmla="*/ 312072 h 312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55937" h="312187">
                  <a:moveTo>
                    <a:pt x="12353" y="312072"/>
                  </a:moveTo>
                  <a:cubicBezTo>
                    <a:pt x="18593" y="312072"/>
                    <a:pt x="23650" y="307015"/>
                    <a:pt x="23650" y="300774"/>
                  </a:cubicBezTo>
                  <a:lnTo>
                    <a:pt x="23650" y="89624"/>
                  </a:lnTo>
                  <a:lnTo>
                    <a:pt x="219237" y="89624"/>
                  </a:lnTo>
                  <a:lnTo>
                    <a:pt x="169064" y="139796"/>
                  </a:lnTo>
                  <a:cubicBezTo>
                    <a:pt x="164651" y="144211"/>
                    <a:pt x="164651" y="151363"/>
                    <a:pt x="169064" y="155776"/>
                  </a:cubicBezTo>
                  <a:cubicBezTo>
                    <a:pt x="171270" y="157981"/>
                    <a:pt x="174161" y="159083"/>
                    <a:pt x="177054" y="159083"/>
                  </a:cubicBezTo>
                  <a:cubicBezTo>
                    <a:pt x="179945" y="159083"/>
                    <a:pt x="182838" y="157981"/>
                    <a:pt x="185044" y="155776"/>
                  </a:cubicBezTo>
                  <a:lnTo>
                    <a:pt x="252761" y="88060"/>
                  </a:lnTo>
                  <a:cubicBezTo>
                    <a:pt x="254879" y="85941"/>
                    <a:pt x="256068" y="83068"/>
                    <a:pt x="256068" y="80070"/>
                  </a:cubicBezTo>
                  <a:cubicBezTo>
                    <a:pt x="256068" y="77072"/>
                    <a:pt x="254877" y="74200"/>
                    <a:pt x="252758" y="72080"/>
                  </a:cubicBezTo>
                  <a:lnTo>
                    <a:pt x="185041" y="4363"/>
                  </a:lnTo>
                  <a:cubicBezTo>
                    <a:pt x="180627" y="-48"/>
                    <a:pt x="173475" y="-48"/>
                    <a:pt x="169062" y="4363"/>
                  </a:cubicBezTo>
                  <a:cubicBezTo>
                    <a:pt x="164649" y="8777"/>
                    <a:pt x="164649" y="15930"/>
                    <a:pt x="169062" y="20342"/>
                  </a:cubicBezTo>
                  <a:lnTo>
                    <a:pt x="215747" y="67026"/>
                  </a:lnTo>
                  <a:lnTo>
                    <a:pt x="12353" y="67026"/>
                  </a:lnTo>
                  <a:cubicBezTo>
                    <a:pt x="6112" y="67026"/>
                    <a:pt x="1055" y="72083"/>
                    <a:pt x="1055" y="78324"/>
                  </a:cubicBezTo>
                  <a:lnTo>
                    <a:pt x="1055" y="300774"/>
                  </a:lnTo>
                  <a:cubicBezTo>
                    <a:pt x="1055" y="307015"/>
                    <a:pt x="6112" y="312072"/>
                    <a:pt x="12353" y="3120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" name="Полилиния: фигура 130">
              <a:extLst>
                <a:ext uri="{FF2B5EF4-FFF2-40B4-BE49-F238E27FC236}">
                  <a16:creationId xmlns:a16="http://schemas.microsoft.com/office/drawing/2014/main" id="{1422C8B8-589A-4400-878F-F699EFFBFC23}"/>
                </a:ext>
              </a:extLst>
            </p:cNvPr>
            <p:cNvSpPr/>
            <p:nvPr/>
          </p:nvSpPr>
          <p:spPr>
            <a:xfrm>
              <a:off x="4489559" y="2089790"/>
              <a:ext cx="255938" cy="312188"/>
            </a:xfrm>
            <a:custGeom>
              <a:avLst/>
              <a:gdLst>
                <a:gd name="connsiteX0" fmla="*/ 244768 w 255937"/>
                <a:gd name="connsiteY0" fmla="*/ 1055 h 312187"/>
                <a:gd name="connsiteX1" fmla="*/ 233470 w 255937"/>
                <a:gd name="connsiteY1" fmla="*/ 12352 h 312187"/>
                <a:gd name="connsiteX2" fmla="*/ 233470 w 255937"/>
                <a:gd name="connsiteY2" fmla="*/ 223504 h 312187"/>
                <a:gd name="connsiteX3" fmla="*/ 37884 w 255937"/>
                <a:gd name="connsiteY3" fmla="*/ 223504 h 312187"/>
                <a:gd name="connsiteX4" fmla="*/ 88058 w 255937"/>
                <a:gd name="connsiteY4" fmla="*/ 173332 h 312187"/>
                <a:gd name="connsiteX5" fmla="*/ 88058 w 255937"/>
                <a:gd name="connsiteY5" fmla="*/ 157352 h 312187"/>
                <a:gd name="connsiteX6" fmla="*/ 72079 w 255937"/>
                <a:gd name="connsiteY6" fmla="*/ 157352 h 312187"/>
                <a:gd name="connsiteX7" fmla="*/ 4362 w 255937"/>
                <a:gd name="connsiteY7" fmla="*/ 225068 h 312187"/>
                <a:gd name="connsiteX8" fmla="*/ 1055 w 255937"/>
                <a:gd name="connsiteY8" fmla="*/ 233058 h 312187"/>
                <a:gd name="connsiteX9" fmla="*/ 4362 w 255937"/>
                <a:gd name="connsiteY9" fmla="*/ 241048 h 312187"/>
                <a:gd name="connsiteX10" fmla="*/ 72079 w 255937"/>
                <a:gd name="connsiteY10" fmla="*/ 308765 h 312187"/>
                <a:gd name="connsiteX11" fmla="*/ 80069 w 255937"/>
                <a:gd name="connsiteY11" fmla="*/ 312072 h 312187"/>
                <a:gd name="connsiteX12" fmla="*/ 88059 w 255937"/>
                <a:gd name="connsiteY12" fmla="*/ 308765 h 312187"/>
                <a:gd name="connsiteX13" fmla="*/ 88059 w 255937"/>
                <a:gd name="connsiteY13" fmla="*/ 292785 h 312187"/>
                <a:gd name="connsiteX14" fmla="*/ 41375 w 255937"/>
                <a:gd name="connsiteY14" fmla="*/ 246102 h 312187"/>
                <a:gd name="connsiteX15" fmla="*/ 244771 w 255937"/>
                <a:gd name="connsiteY15" fmla="*/ 246102 h 312187"/>
                <a:gd name="connsiteX16" fmla="*/ 256068 w 255937"/>
                <a:gd name="connsiteY16" fmla="*/ 234804 h 312187"/>
                <a:gd name="connsiteX17" fmla="*/ 256068 w 255937"/>
                <a:gd name="connsiteY17" fmla="*/ 12352 h 312187"/>
                <a:gd name="connsiteX18" fmla="*/ 244768 w 255937"/>
                <a:gd name="connsiteY18" fmla="*/ 1055 h 312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55937" h="312187">
                  <a:moveTo>
                    <a:pt x="244768" y="1055"/>
                  </a:moveTo>
                  <a:cubicBezTo>
                    <a:pt x="238527" y="1055"/>
                    <a:pt x="233470" y="6112"/>
                    <a:pt x="233470" y="12352"/>
                  </a:cubicBezTo>
                  <a:lnTo>
                    <a:pt x="233470" y="223504"/>
                  </a:lnTo>
                  <a:lnTo>
                    <a:pt x="37884" y="223504"/>
                  </a:lnTo>
                  <a:lnTo>
                    <a:pt x="88058" y="173332"/>
                  </a:lnTo>
                  <a:cubicBezTo>
                    <a:pt x="92471" y="168917"/>
                    <a:pt x="92471" y="161765"/>
                    <a:pt x="88058" y="157352"/>
                  </a:cubicBezTo>
                  <a:cubicBezTo>
                    <a:pt x="83645" y="152941"/>
                    <a:pt x="76493" y="152941"/>
                    <a:pt x="72079" y="157352"/>
                  </a:cubicBezTo>
                  <a:lnTo>
                    <a:pt x="4362" y="225068"/>
                  </a:lnTo>
                  <a:cubicBezTo>
                    <a:pt x="2244" y="227187"/>
                    <a:pt x="1055" y="230060"/>
                    <a:pt x="1055" y="233058"/>
                  </a:cubicBezTo>
                  <a:cubicBezTo>
                    <a:pt x="1055" y="236056"/>
                    <a:pt x="2244" y="238927"/>
                    <a:pt x="4362" y="241048"/>
                  </a:cubicBezTo>
                  <a:lnTo>
                    <a:pt x="72079" y="308765"/>
                  </a:lnTo>
                  <a:cubicBezTo>
                    <a:pt x="74285" y="310970"/>
                    <a:pt x="77178" y="312072"/>
                    <a:pt x="80069" y="312072"/>
                  </a:cubicBezTo>
                  <a:cubicBezTo>
                    <a:pt x="82960" y="312072"/>
                    <a:pt x="85853" y="310970"/>
                    <a:pt x="88059" y="308765"/>
                  </a:cubicBezTo>
                  <a:cubicBezTo>
                    <a:pt x="92472" y="304350"/>
                    <a:pt x="92472" y="297198"/>
                    <a:pt x="88059" y="292785"/>
                  </a:cubicBezTo>
                  <a:lnTo>
                    <a:pt x="41375" y="246102"/>
                  </a:lnTo>
                  <a:lnTo>
                    <a:pt x="244771" y="246102"/>
                  </a:lnTo>
                  <a:cubicBezTo>
                    <a:pt x="251011" y="246102"/>
                    <a:pt x="256068" y="241045"/>
                    <a:pt x="256068" y="234804"/>
                  </a:cubicBezTo>
                  <a:lnTo>
                    <a:pt x="256068" y="12352"/>
                  </a:lnTo>
                  <a:cubicBezTo>
                    <a:pt x="256067" y="6113"/>
                    <a:pt x="251010" y="1055"/>
                    <a:pt x="244768" y="10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" name="Полилиния: фигура 131">
              <a:extLst>
                <a:ext uri="{FF2B5EF4-FFF2-40B4-BE49-F238E27FC236}">
                  <a16:creationId xmlns:a16="http://schemas.microsoft.com/office/drawing/2014/main" id="{756D49FF-FF88-49DF-A4DD-B562B1FEAE64}"/>
                </a:ext>
              </a:extLst>
            </p:cNvPr>
            <p:cNvSpPr/>
            <p:nvPr/>
          </p:nvSpPr>
          <p:spPr>
            <a:xfrm>
              <a:off x="4118723" y="2084933"/>
              <a:ext cx="345938" cy="345938"/>
            </a:xfrm>
            <a:custGeom>
              <a:avLst/>
              <a:gdLst>
                <a:gd name="connsiteX0" fmla="*/ 194554 w 345937"/>
                <a:gd name="connsiteY0" fmla="*/ 2367 h 345937"/>
                <a:gd name="connsiteX1" fmla="*/ 2355 w 345937"/>
                <a:gd name="connsiteY1" fmla="*/ 152343 h 345937"/>
                <a:gd name="connsiteX2" fmla="*/ 2237 w 345937"/>
                <a:gd name="connsiteY2" fmla="*/ 153414 h 345937"/>
                <a:gd name="connsiteX3" fmla="*/ 1850 w 345937"/>
                <a:gd name="connsiteY3" fmla="*/ 156959 h 345937"/>
                <a:gd name="connsiteX4" fmla="*/ 1724 w 345937"/>
                <a:gd name="connsiteY4" fmla="*/ 158455 h 345937"/>
                <a:gd name="connsiteX5" fmla="*/ 1659 w 345937"/>
                <a:gd name="connsiteY5" fmla="*/ 159233 h 345937"/>
                <a:gd name="connsiteX6" fmla="*/ 1473 w 345937"/>
                <a:gd name="connsiteY6" fmla="*/ 161540 h 345937"/>
                <a:gd name="connsiteX7" fmla="*/ 1364 w 345937"/>
                <a:gd name="connsiteY7" fmla="*/ 163373 h 345937"/>
                <a:gd name="connsiteX8" fmla="*/ 1349 w 345937"/>
                <a:gd name="connsiteY8" fmla="*/ 163623 h 345937"/>
                <a:gd name="connsiteX9" fmla="*/ 1210 w 345937"/>
                <a:gd name="connsiteY9" fmla="*/ 166224 h 345937"/>
                <a:gd name="connsiteX10" fmla="*/ 1124 w 345937"/>
                <a:gd name="connsiteY10" fmla="*/ 168685 h 345937"/>
                <a:gd name="connsiteX11" fmla="*/ 1077 w 345937"/>
                <a:gd name="connsiteY11" fmla="*/ 170861 h 345937"/>
                <a:gd name="connsiteX12" fmla="*/ 1057 w 345937"/>
                <a:gd name="connsiteY12" fmla="*/ 172945 h 345937"/>
                <a:gd name="connsiteX13" fmla="*/ 1064 w 345937"/>
                <a:gd name="connsiteY13" fmla="*/ 175496 h 345937"/>
                <a:gd name="connsiteX14" fmla="*/ 1099 w 345937"/>
                <a:gd name="connsiteY14" fmla="*/ 177615 h 345937"/>
                <a:gd name="connsiteX15" fmla="*/ 1178 w 345937"/>
                <a:gd name="connsiteY15" fmla="*/ 180127 h 345937"/>
                <a:gd name="connsiteX16" fmla="*/ 1262 w 345937"/>
                <a:gd name="connsiteY16" fmla="*/ 182157 h 345937"/>
                <a:gd name="connsiteX17" fmla="*/ 1418 w 345937"/>
                <a:gd name="connsiteY17" fmla="*/ 184791 h 345937"/>
                <a:gd name="connsiteX18" fmla="*/ 1447 w 345937"/>
                <a:gd name="connsiteY18" fmla="*/ 185241 h 345937"/>
                <a:gd name="connsiteX19" fmla="*/ 1544 w 345937"/>
                <a:gd name="connsiteY19" fmla="*/ 186681 h 345937"/>
                <a:gd name="connsiteX20" fmla="*/ 1798 w 345937"/>
                <a:gd name="connsiteY20" fmla="*/ 189592 h 345937"/>
                <a:gd name="connsiteX21" fmla="*/ 1946 w 345937"/>
                <a:gd name="connsiteY21" fmla="*/ 191214 h 345937"/>
                <a:gd name="connsiteX22" fmla="*/ 2441 w 345937"/>
                <a:gd name="connsiteY22" fmla="*/ 195500 h 345937"/>
                <a:gd name="connsiteX23" fmla="*/ 2465 w 345937"/>
                <a:gd name="connsiteY23" fmla="*/ 195690 h 345937"/>
                <a:gd name="connsiteX24" fmla="*/ 3109 w 345937"/>
                <a:gd name="connsiteY24" fmla="*/ 200185 h 345937"/>
                <a:gd name="connsiteX25" fmla="*/ 3339 w 345937"/>
                <a:gd name="connsiteY25" fmla="*/ 201558 h 345937"/>
                <a:gd name="connsiteX26" fmla="*/ 3865 w 345937"/>
                <a:gd name="connsiteY26" fmla="*/ 204607 h 345937"/>
                <a:gd name="connsiteX27" fmla="*/ 4118 w 345937"/>
                <a:gd name="connsiteY27" fmla="*/ 205926 h 345937"/>
                <a:gd name="connsiteX28" fmla="*/ 4180 w 345937"/>
                <a:gd name="connsiteY28" fmla="*/ 206234 h 345937"/>
                <a:gd name="connsiteX29" fmla="*/ 4737 w 345937"/>
                <a:gd name="connsiteY29" fmla="*/ 209019 h 345937"/>
                <a:gd name="connsiteX30" fmla="*/ 5110 w 345937"/>
                <a:gd name="connsiteY30" fmla="*/ 210715 h 345937"/>
                <a:gd name="connsiteX31" fmla="*/ 5727 w 345937"/>
                <a:gd name="connsiteY31" fmla="*/ 213418 h 345937"/>
                <a:gd name="connsiteX32" fmla="*/ 6138 w 345937"/>
                <a:gd name="connsiteY32" fmla="*/ 215106 h 345937"/>
                <a:gd name="connsiteX33" fmla="*/ 6839 w 345937"/>
                <a:gd name="connsiteY33" fmla="*/ 217834 h 345937"/>
                <a:gd name="connsiteX34" fmla="*/ 7274 w 345937"/>
                <a:gd name="connsiteY34" fmla="*/ 219419 h 345937"/>
                <a:gd name="connsiteX35" fmla="*/ 8097 w 345937"/>
                <a:gd name="connsiteY35" fmla="*/ 222294 h 345937"/>
                <a:gd name="connsiteX36" fmla="*/ 8526 w 345937"/>
                <a:gd name="connsiteY36" fmla="*/ 223733 h 345937"/>
                <a:gd name="connsiteX37" fmla="*/ 9486 w 345937"/>
                <a:gd name="connsiteY37" fmla="*/ 226765 h 345937"/>
                <a:gd name="connsiteX38" fmla="*/ 9762 w 345937"/>
                <a:gd name="connsiteY38" fmla="*/ 227626 h 345937"/>
                <a:gd name="connsiteX39" fmla="*/ 9892 w 345937"/>
                <a:gd name="connsiteY39" fmla="*/ 228000 h 345937"/>
                <a:gd name="connsiteX40" fmla="*/ 17520 w 345937"/>
                <a:gd name="connsiteY40" fmla="*/ 246981 h 345937"/>
                <a:gd name="connsiteX41" fmla="*/ 32561 w 345937"/>
                <a:gd name="connsiteY41" fmla="*/ 252367 h 345937"/>
                <a:gd name="connsiteX42" fmla="*/ 37947 w 345937"/>
                <a:gd name="connsiteY42" fmla="*/ 237326 h 345937"/>
                <a:gd name="connsiteX43" fmla="*/ 31232 w 345937"/>
                <a:gd name="connsiteY43" fmla="*/ 220566 h 345937"/>
                <a:gd name="connsiteX44" fmla="*/ 31144 w 345937"/>
                <a:gd name="connsiteY44" fmla="*/ 220312 h 345937"/>
                <a:gd name="connsiteX45" fmla="*/ 30969 w 345937"/>
                <a:gd name="connsiteY45" fmla="*/ 219762 h 345937"/>
                <a:gd name="connsiteX46" fmla="*/ 30145 w 345937"/>
                <a:gd name="connsiteY46" fmla="*/ 217159 h 345937"/>
                <a:gd name="connsiteX47" fmla="*/ 29763 w 345937"/>
                <a:gd name="connsiteY47" fmla="*/ 215861 h 345937"/>
                <a:gd name="connsiteX48" fmla="*/ 29044 w 345937"/>
                <a:gd name="connsiteY48" fmla="*/ 213349 h 345937"/>
                <a:gd name="connsiteX49" fmla="*/ 28683 w 345937"/>
                <a:gd name="connsiteY49" fmla="*/ 212026 h 345937"/>
                <a:gd name="connsiteX50" fmla="*/ 28087 w 345937"/>
                <a:gd name="connsiteY50" fmla="*/ 209709 h 345937"/>
                <a:gd name="connsiteX51" fmla="*/ 27712 w 345937"/>
                <a:gd name="connsiteY51" fmla="*/ 208171 h 345937"/>
                <a:gd name="connsiteX52" fmla="*/ 27165 w 345937"/>
                <a:gd name="connsiteY52" fmla="*/ 205781 h 345937"/>
                <a:gd name="connsiteX53" fmla="*/ 26850 w 345937"/>
                <a:gd name="connsiteY53" fmla="*/ 204346 h 345937"/>
                <a:gd name="connsiteX54" fmla="*/ 26364 w 345937"/>
                <a:gd name="connsiteY54" fmla="*/ 201912 h 345937"/>
                <a:gd name="connsiteX55" fmla="*/ 26090 w 345937"/>
                <a:gd name="connsiteY55" fmla="*/ 200503 h 345937"/>
                <a:gd name="connsiteX56" fmla="*/ 25630 w 345937"/>
                <a:gd name="connsiteY56" fmla="*/ 197826 h 345937"/>
                <a:gd name="connsiteX57" fmla="*/ 25434 w 345937"/>
                <a:gd name="connsiteY57" fmla="*/ 196670 h 345937"/>
                <a:gd name="connsiteX58" fmla="*/ 24883 w 345937"/>
                <a:gd name="connsiteY58" fmla="*/ 192825 h 345937"/>
                <a:gd name="connsiteX59" fmla="*/ 24859 w 345937"/>
                <a:gd name="connsiteY59" fmla="*/ 192638 h 345937"/>
                <a:gd name="connsiteX60" fmla="*/ 24430 w 345937"/>
                <a:gd name="connsiteY60" fmla="*/ 188923 h 345937"/>
                <a:gd name="connsiteX61" fmla="*/ 24295 w 345937"/>
                <a:gd name="connsiteY61" fmla="*/ 187432 h 345937"/>
                <a:gd name="connsiteX62" fmla="*/ 24079 w 345937"/>
                <a:gd name="connsiteY62" fmla="*/ 184966 h 345937"/>
                <a:gd name="connsiteX63" fmla="*/ 24001 w 345937"/>
                <a:gd name="connsiteY63" fmla="*/ 183822 h 345937"/>
                <a:gd name="connsiteX64" fmla="*/ 23969 w 345937"/>
                <a:gd name="connsiteY64" fmla="*/ 183330 h 345937"/>
                <a:gd name="connsiteX65" fmla="*/ 23834 w 345937"/>
                <a:gd name="connsiteY65" fmla="*/ 181059 h 345937"/>
                <a:gd name="connsiteX66" fmla="*/ 23761 w 345937"/>
                <a:gd name="connsiteY66" fmla="*/ 179277 h 345937"/>
                <a:gd name="connsiteX67" fmla="*/ 23691 w 345937"/>
                <a:gd name="connsiteY67" fmla="*/ 177060 h 345937"/>
                <a:gd name="connsiteX68" fmla="*/ 23662 w 345937"/>
                <a:gd name="connsiteY68" fmla="*/ 175253 h 345937"/>
                <a:gd name="connsiteX69" fmla="*/ 23655 w 345937"/>
                <a:gd name="connsiteY69" fmla="*/ 173073 h 345937"/>
                <a:gd name="connsiteX70" fmla="*/ 23672 w 345937"/>
                <a:gd name="connsiteY70" fmla="*/ 171200 h 345937"/>
                <a:gd name="connsiteX71" fmla="*/ 23716 w 345937"/>
                <a:gd name="connsiteY71" fmla="*/ 169282 h 345937"/>
                <a:gd name="connsiteX72" fmla="*/ 23786 w 345937"/>
                <a:gd name="connsiteY72" fmla="*/ 167192 h 345937"/>
                <a:gd name="connsiteX73" fmla="*/ 23910 w 345937"/>
                <a:gd name="connsiteY73" fmla="*/ 164912 h 345937"/>
                <a:gd name="connsiteX74" fmla="*/ 23928 w 345937"/>
                <a:gd name="connsiteY74" fmla="*/ 164571 h 345937"/>
                <a:gd name="connsiteX75" fmla="*/ 24014 w 345937"/>
                <a:gd name="connsiteY75" fmla="*/ 163132 h 345937"/>
                <a:gd name="connsiteX76" fmla="*/ 24174 w 345937"/>
                <a:gd name="connsiteY76" fmla="*/ 161154 h 345937"/>
                <a:gd name="connsiteX77" fmla="*/ 24344 w 345937"/>
                <a:gd name="connsiteY77" fmla="*/ 159107 h 345937"/>
                <a:gd name="connsiteX78" fmla="*/ 24681 w 345937"/>
                <a:gd name="connsiteY78" fmla="*/ 156046 h 345937"/>
                <a:gd name="connsiteX79" fmla="*/ 24789 w 345937"/>
                <a:gd name="connsiteY79" fmla="*/ 155055 h 345937"/>
                <a:gd name="connsiteX80" fmla="*/ 191785 w 345937"/>
                <a:gd name="connsiteY80" fmla="*/ 24788 h 345937"/>
                <a:gd name="connsiteX81" fmla="*/ 322042 w 345937"/>
                <a:gd name="connsiteY81" fmla="*/ 191834 h 345937"/>
                <a:gd name="connsiteX82" fmla="*/ 321918 w 345937"/>
                <a:gd name="connsiteY82" fmla="*/ 192725 h 345937"/>
                <a:gd name="connsiteX83" fmla="*/ 321492 w 345937"/>
                <a:gd name="connsiteY83" fmla="*/ 195812 h 345937"/>
                <a:gd name="connsiteX84" fmla="*/ 321321 w 345937"/>
                <a:gd name="connsiteY84" fmla="*/ 196885 h 345937"/>
                <a:gd name="connsiteX85" fmla="*/ 321146 w 345937"/>
                <a:gd name="connsiteY85" fmla="*/ 197945 h 345937"/>
                <a:gd name="connsiteX86" fmla="*/ 320835 w 345937"/>
                <a:gd name="connsiteY86" fmla="*/ 199807 h 345937"/>
                <a:gd name="connsiteX87" fmla="*/ 320571 w 345937"/>
                <a:gd name="connsiteY87" fmla="*/ 201198 h 345937"/>
                <a:gd name="connsiteX88" fmla="*/ 320488 w 345937"/>
                <a:gd name="connsiteY88" fmla="*/ 201628 h 345937"/>
                <a:gd name="connsiteX89" fmla="*/ 320073 w 345937"/>
                <a:gd name="connsiteY89" fmla="*/ 203762 h 345937"/>
                <a:gd name="connsiteX90" fmla="*/ 319677 w 345937"/>
                <a:gd name="connsiteY90" fmla="*/ 205595 h 345937"/>
                <a:gd name="connsiteX91" fmla="*/ 319196 w 345937"/>
                <a:gd name="connsiteY91" fmla="*/ 207738 h 345937"/>
                <a:gd name="connsiteX92" fmla="*/ 318763 w 345937"/>
                <a:gd name="connsiteY92" fmla="*/ 209534 h 345937"/>
                <a:gd name="connsiteX93" fmla="*/ 318231 w 345937"/>
                <a:gd name="connsiteY93" fmla="*/ 211627 h 345937"/>
                <a:gd name="connsiteX94" fmla="*/ 317760 w 345937"/>
                <a:gd name="connsiteY94" fmla="*/ 213387 h 345937"/>
                <a:gd name="connsiteX95" fmla="*/ 317160 w 345937"/>
                <a:gd name="connsiteY95" fmla="*/ 215498 h 345937"/>
                <a:gd name="connsiteX96" fmla="*/ 317036 w 345937"/>
                <a:gd name="connsiteY96" fmla="*/ 215919 h 345937"/>
                <a:gd name="connsiteX97" fmla="*/ 316649 w 345937"/>
                <a:gd name="connsiteY97" fmla="*/ 217225 h 345937"/>
                <a:gd name="connsiteX98" fmla="*/ 316027 w 345937"/>
                <a:gd name="connsiteY98" fmla="*/ 219206 h 345937"/>
                <a:gd name="connsiteX99" fmla="*/ 315457 w 345937"/>
                <a:gd name="connsiteY99" fmla="*/ 220978 h 345937"/>
                <a:gd name="connsiteX100" fmla="*/ 314637 w 345937"/>
                <a:gd name="connsiteY100" fmla="*/ 223346 h 345937"/>
                <a:gd name="connsiteX101" fmla="*/ 314173 w 345937"/>
                <a:gd name="connsiteY101" fmla="*/ 224671 h 345937"/>
                <a:gd name="connsiteX102" fmla="*/ 312865 w 345937"/>
                <a:gd name="connsiteY102" fmla="*/ 228140 h 345937"/>
                <a:gd name="connsiteX103" fmla="*/ 312820 w 345937"/>
                <a:gd name="connsiteY103" fmla="*/ 228260 h 345937"/>
                <a:gd name="connsiteX104" fmla="*/ 312779 w 345937"/>
                <a:gd name="connsiteY104" fmla="*/ 228362 h 345937"/>
                <a:gd name="connsiteX105" fmla="*/ 311317 w 345937"/>
                <a:gd name="connsiteY105" fmla="*/ 231940 h 345937"/>
                <a:gd name="connsiteX106" fmla="*/ 310805 w 345937"/>
                <a:gd name="connsiteY106" fmla="*/ 233104 h 345937"/>
                <a:gd name="connsiteX107" fmla="*/ 309709 w 345937"/>
                <a:gd name="connsiteY107" fmla="*/ 235582 h 345937"/>
                <a:gd name="connsiteX108" fmla="*/ 309112 w 345937"/>
                <a:gd name="connsiteY108" fmla="*/ 236866 h 345937"/>
                <a:gd name="connsiteX109" fmla="*/ 308051 w 345937"/>
                <a:gd name="connsiteY109" fmla="*/ 239101 h 345937"/>
                <a:gd name="connsiteX110" fmla="*/ 307375 w 345937"/>
                <a:gd name="connsiteY110" fmla="*/ 240458 h 345937"/>
                <a:gd name="connsiteX111" fmla="*/ 306243 w 345937"/>
                <a:gd name="connsiteY111" fmla="*/ 242677 h 345937"/>
                <a:gd name="connsiteX112" fmla="*/ 305725 w 345937"/>
                <a:gd name="connsiteY112" fmla="*/ 243661 h 345937"/>
                <a:gd name="connsiteX113" fmla="*/ 305579 w 345937"/>
                <a:gd name="connsiteY113" fmla="*/ 243937 h 345937"/>
                <a:gd name="connsiteX114" fmla="*/ 304415 w 345937"/>
                <a:gd name="connsiteY114" fmla="*/ 246074 h 345937"/>
                <a:gd name="connsiteX115" fmla="*/ 303693 w 345937"/>
                <a:gd name="connsiteY115" fmla="*/ 247358 h 345937"/>
                <a:gd name="connsiteX116" fmla="*/ 302449 w 345937"/>
                <a:gd name="connsiteY116" fmla="*/ 249507 h 345937"/>
                <a:gd name="connsiteX117" fmla="*/ 301743 w 345937"/>
                <a:gd name="connsiteY117" fmla="*/ 250695 h 345937"/>
                <a:gd name="connsiteX118" fmla="*/ 300306 w 345937"/>
                <a:gd name="connsiteY118" fmla="*/ 253022 h 345937"/>
                <a:gd name="connsiteX119" fmla="*/ 299985 w 345937"/>
                <a:gd name="connsiteY119" fmla="*/ 253546 h 345937"/>
                <a:gd name="connsiteX120" fmla="*/ 299857 w 345937"/>
                <a:gd name="connsiteY120" fmla="*/ 253741 h 345937"/>
                <a:gd name="connsiteX121" fmla="*/ 282292 w 345937"/>
                <a:gd name="connsiteY121" fmla="*/ 276254 h 345937"/>
                <a:gd name="connsiteX122" fmla="*/ 251260 w 345937"/>
                <a:gd name="connsiteY122" fmla="*/ 249220 h 345937"/>
                <a:gd name="connsiteX123" fmla="*/ 207947 w 345937"/>
                <a:gd name="connsiteY123" fmla="*/ 231853 h 345937"/>
                <a:gd name="connsiteX124" fmla="*/ 207947 w 345937"/>
                <a:gd name="connsiteY124" fmla="*/ 225405 h 345937"/>
                <a:gd name="connsiteX125" fmla="*/ 238388 w 345937"/>
                <a:gd name="connsiteY125" fmla="*/ 191966 h 345937"/>
                <a:gd name="connsiteX126" fmla="*/ 239968 w 345937"/>
                <a:gd name="connsiteY126" fmla="*/ 192090 h 345937"/>
                <a:gd name="connsiteX127" fmla="*/ 270090 w 345937"/>
                <a:gd name="connsiteY127" fmla="*/ 160559 h 345937"/>
                <a:gd name="connsiteX128" fmla="*/ 252568 w 345937"/>
                <a:gd name="connsiteY128" fmla="*/ 131957 h 345937"/>
                <a:gd name="connsiteX129" fmla="*/ 252568 w 345937"/>
                <a:gd name="connsiteY129" fmla="*/ 123113 h 345937"/>
                <a:gd name="connsiteX130" fmla="*/ 176169 w 345937"/>
                <a:gd name="connsiteY130" fmla="*/ 40631 h 345937"/>
                <a:gd name="connsiteX131" fmla="*/ 170745 w 345937"/>
                <a:gd name="connsiteY131" fmla="*/ 40631 h 345937"/>
                <a:gd name="connsiteX132" fmla="*/ 94346 w 345937"/>
                <a:gd name="connsiteY132" fmla="*/ 123113 h 345937"/>
                <a:gd name="connsiteX133" fmla="*/ 94346 w 345937"/>
                <a:gd name="connsiteY133" fmla="*/ 131994 h 345937"/>
                <a:gd name="connsiteX134" fmla="*/ 76899 w 345937"/>
                <a:gd name="connsiteY134" fmla="*/ 160557 h 345937"/>
                <a:gd name="connsiteX135" fmla="*/ 107021 w 345937"/>
                <a:gd name="connsiteY135" fmla="*/ 192088 h 345937"/>
                <a:gd name="connsiteX136" fmla="*/ 108729 w 345937"/>
                <a:gd name="connsiteY136" fmla="*/ 191945 h 345937"/>
                <a:gd name="connsiteX137" fmla="*/ 140158 w 345937"/>
                <a:gd name="connsiteY137" fmla="*/ 225904 h 345937"/>
                <a:gd name="connsiteX138" fmla="*/ 140158 w 345937"/>
                <a:gd name="connsiteY138" fmla="*/ 231784 h 345937"/>
                <a:gd name="connsiteX139" fmla="*/ 95681 w 345937"/>
                <a:gd name="connsiteY139" fmla="*/ 249202 h 345937"/>
                <a:gd name="connsiteX140" fmla="*/ 64587 w 345937"/>
                <a:gd name="connsiteY140" fmla="*/ 276295 h 345937"/>
                <a:gd name="connsiteX141" fmla="*/ 63997 w 345937"/>
                <a:gd name="connsiteY141" fmla="*/ 275669 h 345937"/>
                <a:gd name="connsiteX142" fmla="*/ 62732 w 345937"/>
                <a:gd name="connsiteY142" fmla="*/ 274300 h 345937"/>
                <a:gd name="connsiteX143" fmla="*/ 61527 w 345937"/>
                <a:gd name="connsiteY143" fmla="*/ 272956 h 345937"/>
                <a:gd name="connsiteX144" fmla="*/ 60253 w 345937"/>
                <a:gd name="connsiteY144" fmla="*/ 271506 h 345937"/>
                <a:gd name="connsiteX145" fmla="*/ 59066 w 345937"/>
                <a:gd name="connsiteY145" fmla="*/ 270114 h 345937"/>
                <a:gd name="connsiteX146" fmla="*/ 57899 w 345937"/>
                <a:gd name="connsiteY146" fmla="*/ 268723 h 345937"/>
                <a:gd name="connsiteX147" fmla="*/ 56711 w 345937"/>
                <a:gd name="connsiteY147" fmla="*/ 267249 h 345937"/>
                <a:gd name="connsiteX148" fmla="*/ 40826 w 345937"/>
                <a:gd name="connsiteY148" fmla="*/ 265528 h 345937"/>
                <a:gd name="connsiteX149" fmla="*/ 39104 w 345937"/>
                <a:gd name="connsiteY149" fmla="*/ 281413 h 345937"/>
                <a:gd name="connsiteX150" fmla="*/ 39372 w 345937"/>
                <a:gd name="connsiteY150" fmla="*/ 281747 h 345937"/>
                <a:gd name="connsiteX151" fmla="*/ 40457 w 345937"/>
                <a:gd name="connsiteY151" fmla="*/ 283090 h 345937"/>
                <a:gd name="connsiteX152" fmla="*/ 41807 w 345937"/>
                <a:gd name="connsiteY152" fmla="*/ 284695 h 345937"/>
                <a:gd name="connsiteX153" fmla="*/ 43194 w 345937"/>
                <a:gd name="connsiteY153" fmla="*/ 286321 h 345937"/>
                <a:gd name="connsiteX154" fmla="*/ 44275 w 345937"/>
                <a:gd name="connsiteY154" fmla="*/ 287550 h 345937"/>
                <a:gd name="connsiteX155" fmla="*/ 44618 w 345937"/>
                <a:gd name="connsiteY155" fmla="*/ 287937 h 345937"/>
                <a:gd name="connsiteX156" fmla="*/ 46013 w 345937"/>
                <a:gd name="connsiteY156" fmla="*/ 289494 h 345937"/>
                <a:gd name="connsiteX157" fmla="*/ 47482 w 345937"/>
                <a:gd name="connsiteY157" fmla="*/ 291083 h 345937"/>
                <a:gd name="connsiteX158" fmla="*/ 48934 w 345937"/>
                <a:gd name="connsiteY158" fmla="*/ 292622 h 345937"/>
                <a:gd name="connsiteX159" fmla="*/ 50542 w 345937"/>
                <a:gd name="connsiteY159" fmla="*/ 294278 h 345937"/>
                <a:gd name="connsiteX160" fmla="*/ 51917 w 345937"/>
                <a:gd name="connsiteY160" fmla="*/ 295664 h 345937"/>
                <a:gd name="connsiteX161" fmla="*/ 53462 w 345937"/>
                <a:gd name="connsiteY161" fmla="*/ 297186 h 345937"/>
                <a:gd name="connsiteX162" fmla="*/ 54952 w 345937"/>
                <a:gd name="connsiteY162" fmla="*/ 298613 h 345937"/>
                <a:gd name="connsiteX163" fmla="*/ 56552 w 345937"/>
                <a:gd name="connsiteY163" fmla="*/ 300112 h 345937"/>
                <a:gd name="connsiteX164" fmla="*/ 58132 w 345937"/>
                <a:gd name="connsiteY164" fmla="*/ 301552 h 345937"/>
                <a:gd name="connsiteX165" fmla="*/ 58328 w 345937"/>
                <a:gd name="connsiteY165" fmla="*/ 301727 h 345937"/>
                <a:gd name="connsiteX166" fmla="*/ 59702 w 345937"/>
                <a:gd name="connsiteY166" fmla="*/ 302951 h 345937"/>
                <a:gd name="connsiteX167" fmla="*/ 61091 w 345937"/>
                <a:gd name="connsiteY167" fmla="*/ 304155 h 345937"/>
                <a:gd name="connsiteX168" fmla="*/ 61311 w 345937"/>
                <a:gd name="connsiteY168" fmla="*/ 304345 h 345937"/>
                <a:gd name="connsiteX169" fmla="*/ 62959 w 345937"/>
                <a:gd name="connsiteY169" fmla="*/ 305747 h 345937"/>
                <a:gd name="connsiteX170" fmla="*/ 64338 w 345937"/>
                <a:gd name="connsiteY170" fmla="*/ 306883 h 345937"/>
                <a:gd name="connsiteX171" fmla="*/ 64650 w 345937"/>
                <a:gd name="connsiteY171" fmla="*/ 307138 h 345937"/>
                <a:gd name="connsiteX172" fmla="*/ 66276 w 345937"/>
                <a:gd name="connsiteY172" fmla="*/ 308454 h 345937"/>
                <a:gd name="connsiteX173" fmla="*/ 67948 w 345937"/>
                <a:gd name="connsiteY173" fmla="*/ 309758 h 345937"/>
                <a:gd name="connsiteX174" fmla="*/ 68227 w 345937"/>
                <a:gd name="connsiteY174" fmla="*/ 309976 h 345937"/>
                <a:gd name="connsiteX175" fmla="*/ 69664 w 345937"/>
                <a:gd name="connsiteY175" fmla="*/ 311081 h 345937"/>
                <a:gd name="connsiteX176" fmla="*/ 70955 w 345937"/>
                <a:gd name="connsiteY176" fmla="*/ 312039 h 345937"/>
                <a:gd name="connsiteX177" fmla="*/ 71706 w 345937"/>
                <a:gd name="connsiteY177" fmla="*/ 312590 h 345937"/>
                <a:gd name="connsiteX178" fmla="*/ 73109 w 345937"/>
                <a:gd name="connsiteY178" fmla="*/ 313616 h 345937"/>
                <a:gd name="connsiteX179" fmla="*/ 74678 w 345937"/>
                <a:gd name="connsiteY179" fmla="*/ 314717 h 345937"/>
                <a:gd name="connsiteX180" fmla="*/ 75353 w 345937"/>
                <a:gd name="connsiteY180" fmla="*/ 315189 h 345937"/>
                <a:gd name="connsiteX181" fmla="*/ 76626 w 345937"/>
                <a:gd name="connsiteY181" fmla="*/ 316074 h 345937"/>
                <a:gd name="connsiteX182" fmla="*/ 78478 w 345937"/>
                <a:gd name="connsiteY182" fmla="*/ 317305 h 345937"/>
                <a:gd name="connsiteX183" fmla="*/ 78787 w 345937"/>
                <a:gd name="connsiteY183" fmla="*/ 317509 h 345937"/>
                <a:gd name="connsiteX184" fmla="*/ 81195 w 345937"/>
                <a:gd name="connsiteY184" fmla="*/ 319064 h 345937"/>
                <a:gd name="connsiteX185" fmla="*/ 83804 w 345937"/>
                <a:gd name="connsiteY185" fmla="*/ 320698 h 345937"/>
                <a:gd name="connsiteX186" fmla="*/ 85030 w 345937"/>
                <a:gd name="connsiteY186" fmla="*/ 321427 h 345937"/>
                <a:gd name="connsiteX187" fmla="*/ 85920 w 345937"/>
                <a:gd name="connsiteY187" fmla="*/ 321954 h 345937"/>
                <a:gd name="connsiteX188" fmla="*/ 87516 w 345937"/>
                <a:gd name="connsiteY188" fmla="*/ 322892 h 345937"/>
                <a:gd name="connsiteX189" fmla="*/ 88741 w 345937"/>
                <a:gd name="connsiteY189" fmla="*/ 323584 h 345937"/>
                <a:gd name="connsiteX190" fmla="*/ 89544 w 345937"/>
                <a:gd name="connsiteY190" fmla="*/ 324032 h 345937"/>
                <a:gd name="connsiteX191" fmla="*/ 91304 w 345937"/>
                <a:gd name="connsiteY191" fmla="*/ 325008 h 345937"/>
                <a:gd name="connsiteX192" fmla="*/ 92593 w 345937"/>
                <a:gd name="connsiteY192" fmla="*/ 325692 h 345937"/>
                <a:gd name="connsiteX193" fmla="*/ 93123 w 345937"/>
                <a:gd name="connsiteY193" fmla="*/ 325970 h 345937"/>
                <a:gd name="connsiteX194" fmla="*/ 95174 w 345937"/>
                <a:gd name="connsiteY194" fmla="*/ 327042 h 345937"/>
                <a:gd name="connsiteX195" fmla="*/ 96638 w 345937"/>
                <a:gd name="connsiteY195" fmla="*/ 327770 h 345937"/>
                <a:gd name="connsiteX196" fmla="*/ 97505 w 345937"/>
                <a:gd name="connsiteY196" fmla="*/ 328198 h 345937"/>
                <a:gd name="connsiteX197" fmla="*/ 99097 w 345937"/>
                <a:gd name="connsiteY197" fmla="*/ 328975 h 345937"/>
                <a:gd name="connsiteX198" fmla="*/ 100968 w 345937"/>
                <a:gd name="connsiteY198" fmla="*/ 329849 h 345937"/>
                <a:gd name="connsiteX199" fmla="*/ 103028 w 345937"/>
                <a:gd name="connsiteY199" fmla="*/ 330789 h 345937"/>
                <a:gd name="connsiteX200" fmla="*/ 104986 w 345937"/>
                <a:gd name="connsiteY200" fmla="*/ 331644 h 345937"/>
                <a:gd name="connsiteX201" fmla="*/ 107078 w 345937"/>
                <a:gd name="connsiteY201" fmla="*/ 332536 h 345937"/>
                <a:gd name="connsiteX202" fmla="*/ 108997 w 345937"/>
                <a:gd name="connsiteY202" fmla="*/ 333318 h 345937"/>
                <a:gd name="connsiteX203" fmla="*/ 111162 w 345937"/>
                <a:gd name="connsiteY203" fmla="*/ 334173 h 345937"/>
                <a:gd name="connsiteX204" fmla="*/ 113108 w 345937"/>
                <a:gd name="connsiteY204" fmla="*/ 334910 h 345937"/>
                <a:gd name="connsiteX205" fmla="*/ 115309 w 345937"/>
                <a:gd name="connsiteY205" fmla="*/ 335713 h 345937"/>
                <a:gd name="connsiteX206" fmla="*/ 117296 w 345937"/>
                <a:gd name="connsiteY206" fmla="*/ 336410 h 345937"/>
                <a:gd name="connsiteX207" fmla="*/ 119497 w 345937"/>
                <a:gd name="connsiteY207" fmla="*/ 337147 h 345937"/>
                <a:gd name="connsiteX208" fmla="*/ 121497 w 345937"/>
                <a:gd name="connsiteY208" fmla="*/ 337791 h 345937"/>
                <a:gd name="connsiteX209" fmla="*/ 123747 w 345937"/>
                <a:gd name="connsiteY209" fmla="*/ 338482 h 345937"/>
                <a:gd name="connsiteX210" fmla="*/ 125735 w 345937"/>
                <a:gd name="connsiteY210" fmla="*/ 339068 h 345937"/>
                <a:gd name="connsiteX211" fmla="*/ 128064 w 345937"/>
                <a:gd name="connsiteY211" fmla="*/ 339715 h 345937"/>
                <a:gd name="connsiteX212" fmla="*/ 128465 w 345937"/>
                <a:gd name="connsiteY212" fmla="*/ 339823 h 345937"/>
                <a:gd name="connsiteX213" fmla="*/ 130042 w 345937"/>
                <a:gd name="connsiteY213" fmla="*/ 340244 h 345937"/>
                <a:gd name="connsiteX214" fmla="*/ 132423 w 345937"/>
                <a:gd name="connsiteY214" fmla="*/ 340837 h 345937"/>
                <a:gd name="connsiteX215" fmla="*/ 132704 w 345937"/>
                <a:gd name="connsiteY215" fmla="*/ 340906 h 345937"/>
                <a:gd name="connsiteX216" fmla="*/ 134403 w 345937"/>
                <a:gd name="connsiteY216" fmla="*/ 341314 h 345937"/>
                <a:gd name="connsiteX217" fmla="*/ 136394 w 345937"/>
                <a:gd name="connsiteY217" fmla="*/ 341755 h 345937"/>
                <a:gd name="connsiteX218" fmla="*/ 137403 w 345937"/>
                <a:gd name="connsiteY218" fmla="*/ 341973 h 345937"/>
                <a:gd name="connsiteX219" fmla="*/ 138819 w 345937"/>
                <a:gd name="connsiteY219" fmla="*/ 342276 h 345937"/>
                <a:gd name="connsiteX220" fmla="*/ 141094 w 345937"/>
                <a:gd name="connsiteY220" fmla="*/ 342714 h 345937"/>
                <a:gd name="connsiteX221" fmla="*/ 143268 w 345937"/>
                <a:gd name="connsiteY221" fmla="*/ 343122 h 345937"/>
                <a:gd name="connsiteX222" fmla="*/ 145666 w 345937"/>
                <a:gd name="connsiteY222" fmla="*/ 343522 h 345937"/>
                <a:gd name="connsiteX223" fmla="*/ 146752 w 345937"/>
                <a:gd name="connsiteY223" fmla="*/ 343696 h 345937"/>
                <a:gd name="connsiteX224" fmla="*/ 147760 w 345937"/>
                <a:gd name="connsiteY224" fmla="*/ 343858 h 345937"/>
                <a:gd name="connsiteX225" fmla="*/ 152050 w 345937"/>
                <a:gd name="connsiteY225" fmla="*/ 344447 h 345937"/>
                <a:gd name="connsiteX226" fmla="*/ 152074 w 345937"/>
                <a:gd name="connsiteY226" fmla="*/ 344451 h 345937"/>
                <a:gd name="connsiteX227" fmla="*/ 152544 w 345937"/>
                <a:gd name="connsiteY227" fmla="*/ 344509 h 345937"/>
                <a:gd name="connsiteX228" fmla="*/ 156795 w 345937"/>
                <a:gd name="connsiteY228" fmla="*/ 344974 h 345937"/>
                <a:gd name="connsiteX229" fmla="*/ 157840 w 345937"/>
                <a:gd name="connsiteY229" fmla="*/ 345067 h 345937"/>
                <a:gd name="connsiteX230" fmla="*/ 158804 w 345937"/>
                <a:gd name="connsiteY230" fmla="*/ 345152 h 345937"/>
                <a:gd name="connsiteX231" fmla="*/ 161388 w 345937"/>
                <a:gd name="connsiteY231" fmla="*/ 345361 h 345937"/>
                <a:gd name="connsiteX232" fmla="*/ 162600 w 345937"/>
                <a:gd name="connsiteY232" fmla="*/ 345437 h 345937"/>
                <a:gd name="connsiteX233" fmla="*/ 163629 w 345937"/>
                <a:gd name="connsiteY233" fmla="*/ 345497 h 345937"/>
                <a:gd name="connsiteX234" fmla="*/ 165910 w 345937"/>
                <a:gd name="connsiteY234" fmla="*/ 345624 h 345937"/>
                <a:gd name="connsiteX235" fmla="*/ 167284 w 345937"/>
                <a:gd name="connsiteY235" fmla="*/ 345670 h 345937"/>
                <a:gd name="connsiteX236" fmla="*/ 168456 w 345937"/>
                <a:gd name="connsiteY236" fmla="*/ 345708 h 345937"/>
                <a:gd name="connsiteX237" fmla="*/ 170395 w 345937"/>
                <a:gd name="connsiteY237" fmla="*/ 345763 h 345937"/>
                <a:gd name="connsiteX238" fmla="*/ 172217 w 345937"/>
                <a:gd name="connsiteY238" fmla="*/ 345780 h 345937"/>
                <a:gd name="connsiteX239" fmla="*/ 172397 w 345937"/>
                <a:gd name="connsiteY239" fmla="*/ 345782 h 345937"/>
                <a:gd name="connsiteX240" fmla="*/ 174062 w 345937"/>
                <a:gd name="connsiteY240" fmla="*/ 345790 h 345937"/>
                <a:gd name="connsiteX241" fmla="*/ 174875 w 345937"/>
                <a:gd name="connsiteY241" fmla="*/ 345787 h 345937"/>
                <a:gd name="connsiteX242" fmla="*/ 176668 w 345937"/>
                <a:gd name="connsiteY242" fmla="*/ 345760 h 345937"/>
                <a:gd name="connsiteX243" fmla="*/ 176951 w 345937"/>
                <a:gd name="connsiteY243" fmla="*/ 345756 h 345937"/>
                <a:gd name="connsiteX244" fmla="*/ 179324 w 345937"/>
                <a:gd name="connsiteY244" fmla="*/ 345696 h 345937"/>
                <a:gd name="connsiteX245" fmla="*/ 181200 w 345937"/>
                <a:gd name="connsiteY245" fmla="*/ 345618 h 345937"/>
                <a:gd name="connsiteX246" fmla="*/ 181447 w 345937"/>
                <a:gd name="connsiteY246" fmla="*/ 345607 h 345937"/>
                <a:gd name="connsiteX247" fmla="*/ 183726 w 345937"/>
                <a:gd name="connsiteY247" fmla="*/ 345489 h 345937"/>
                <a:gd name="connsiteX248" fmla="*/ 185632 w 345937"/>
                <a:gd name="connsiteY248" fmla="*/ 345365 h 345937"/>
                <a:gd name="connsiteX249" fmla="*/ 185882 w 345937"/>
                <a:gd name="connsiteY249" fmla="*/ 345348 h 345937"/>
                <a:gd name="connsiteX250" fmla="*/ 188213 w 345937"/>
                <a:gd name="connsiteY250" fmla="*/ 345166 h 345937"/>
                <a:gd name="connsiteX251" fmla="*/ 190282 w 345937"/>
                <a:gd name="connsiteY251" fmla="*/ 344976 h 345937"/>
                <a:gd name="connsiteX252" fmla="*/ 192628 w 345937"/>
                <a:gd name="connsiteY252" fmla="*/ 344731 h 345937"/>
                <a:gd name="connsiteX253" fmla="*/ 194675 w 345937"/>
                <a:gd name="connsiteY253" fmla="*/ 344493 h 345937"/>
                <a:gd name="connsiteX254" fmla="*/ 196974 w 345937"/>
                <a:gd name="connsiteY254" fmla="*/ 344191 h 345937"/>
                <a:gd name="connsiteX255" fmla="*/ 199053 w 345937"/>
                <a:gd name="connsiteY255" fmla="*/ 343896 h 345937"/>
                <a:gd name="connsiteX256" fmla="*/ 201273 w 345937"/>
                <a:gd name="connsiteY256" fmla="*/ 343544 h 345937"/>
                <a:gd name="connsiteX257" fmla="*/ 203397 w 345937"/>
                <a:gd name="connsiteY257" fmla="*/ 343188 h 345937"/>
                <a:gd name="connsiteX258" fmla="*/ 205583 w 345937"/>
                <a:gd name="connsiteY258" fmla="*/ 342783 h 345937"/>
                <a:gd name="connsiteX259" fmla="*/ 207663 w 345937"/>
                <a:gd name="connsiteY259" fmla="*/ 342380 h 345937"/>
                <a:gd name="connsiteX260" fmla="*/ 209924 w 345937"/>
                <a:gd name="connsiteY260" fmla="*/ 341902 h 345937"/>
                <a:gd name="connsiteX261" fmla="*/ 210462 w 345937"/>
                <a:gd name="connsiteY261" fmla="*/ 341784 h 345937"/>
                <a:gd name="connsiteX262" fmla="*/ 211944 w 345937"/>
                <a:gd name="connsiteY262" fmla="*/ 341457 h 345937"/>
                <a:gd name="connsiteX263" fmla="*/ 213676 w 345937"/>
                <a:gd name="connsiteY263" fmla="*/ 341042 h 345937"/>
                <a:gd name="connsiteX264" fmla="*/ 214783 w 345937"/>
                <a:gd name="connsiteY264" fmla="*/ 340772 h 345937"/>
                <a:gd name="connsiteX265" fmla="*/ 216143 w 345937"/>
                <a:gd name="connsiteY265" fmla="*/ 340436 h 345937"/>
                <a:gd name="connsiteX266" fmla="*/ 217899 w 345937"/>
                <a:gd name="connsiteY266" fmla="*/ 339968 h 345937"/>
                <a:gd name="connsiteX267" fmla="*/ 218685 w 345937"/>
                <a:gd name="connsiteY267" fmla="*/ 339756 h 345937"/>
                <a:gd name="connsiteX268" fmla="*/ 220341 w 345937"/>
                <a:gd name="connsiteY268" fmla="*/ 339304 h 345937"/>
                <a:gd name="connsiteX269" fmla="*/ 222136 w 345937"/>
                <a:gd name="connsiteY269" fmla="*/ 338776 h 345937"/>
                <a:gd name="connsiteX270" fmla="*/ 223146 w 345937"/>
                <a:gd name="connsiteY270" fmla="*/ 338476 h 345937"/>
                <a:gd name="connsiteX271" fmla="*/ 224488 w 345937"/>
                <a:gd name="connsiteY271" fmla="*/ 338074 h 345937"/>
                <a:gd name="connsiteX272" fmla="*/ 227393 w 345937"/>
                <a:gd name="connsiteY272" fmla="*/ 337134 h 345937"/>
                <a:gd name="connsiteX273" fmla="*/ 230125 w 345937"/>
                <a:gd name="connsiteY273" fmla="*/ 336204 h 345937"/>
                <a:gd name="connsiteX274" fmla="*/ 230450 w 345937"/>
                <a:gd name="connsiteY274" fmla="*/ 336091 h 345937"/>
                <a:gd name="connsiteX275" fmla="*/ 232544 w 345937"/>
                <a:gd name="connsiteY275" fmla="*/ 335350 h 345937"/>
                <a:gd name="connsiteX276" fmla="*/ 234009 w 345937"/>
                <a:gd name="connsiteY276" fmla="*/ 334797 h 345937"/>
                <a:gd name="connsiteX277" fmla="*/ 234689 w 345937"/>
                <a:gd name="connsiteY277" fmla="*/ 334539 h 345937"/>
                <a:gd name="connsiteX278" fmla="*/ 236570 w 345937"/>
                <a:gd name="connsiteY278" fmla="*/ 333819 h 345937"/>
                <a:gd name="connsiteX279" fmla="*/ 238066 w 345937"/>
                <a:gd name="connsiteY279" fmla="*/ 333211 h 345937"/>
                <a:gd name="connsiteX280" fmla="*/ 239047 w 345937"/>
                <a:gd name="connsiteY280" fmla="*/ 332809 h 345937"/>
                <a:gd name="connsiteX281" fmla="*/ 240560 w 345937"/>
                <a:gd name="connsiteY281" fmla="*/ 332186 h 345937"/>
                <a:gd name="connsiteX282" fmla="*/ 242160 w 345937"/>
                <a:gd name="connsiteY282" fmla="*/ 331490 h 345937"/>
                <a:gd name="connsiteX283" fmla="*/ 244492 w 345937"/>
                <a:gd name="connsiteY283" fmla="*/ 330458 h 345937"/>
                <a:gd name="connsiteX284" fmla="*/ 246144 w 345937"/>
                <a:gd name="connsiteY284" fmla="*/ 329690 h 345937"/>
                <a:gd name="connsiteX285" fmla="*/ 246778 w 345937"/>
                <a:gd name="connsiteY285" fmla="*/ 329393 h 345937"/>
                <a:gd name="connsiteX286" fmla="*/ 248342 w 345937"/>
                <a:gd name="connsiteY286" fmla="*/ 328652 h 345937"/>
                <a:gd name="connsiteX287" fmla="*/ 250358 w 345937"/>
                <a:gd name="connsiteY287" fmla="*/ 327654 h 345937"/>
                <a:gd name="connsiteX288" fmla="*/ 252160 w 345937"/>
                <a:gd name="connsiteY288" fmla="*/ 326745 h 345937"/>
                <a:gd name="connsiteX289" fmla="*/ 254081 w 345937"/>
                <a:gd name="connsiteY289" fmla="*/ 325735 h 345937"/>
                <a:gd name="connsiteX290" fmla="*/ 255938 w 345937"/>
                <a:gd name="connsiteY290" fmla="*/ 324738 h 345937"/>
                <a:gd name="connsiteX291" fmla="*/ 257837 w 345937"/>
                <a:gd name="connsiteY291" fmla="*/ 323684 h 345937"/>
                <a:gd name="connsiteX292" fmla="*/ 259664 w 345937"/>
                <a:gd name="connsiteY292" fmla="*/ 322644 h 345937"/>
                <a:gd name="connsiteX293" fmla="*/ 261507 w 345937"/>
                <a:gd name="connsiteY293" fmla="*/ 321560 h 345937"/>
                <a:gd name="connsiteX294" fmla="*/ 263337 w 345937"/>
                <a:gd name="connsiteY294" fmla="*/ 320458 h 345937"/>
                <a:gd name="connsiteX295" fmla="*/ 265158 w 345937"/>
                <a:gd name="connsiteY295" fmla="*/ 319326 h 345937"/>
                <a:gd name="connsiteX296" fmla="*/ 266911 w 345937"/>
                <a:gd name="connsiteY296" fmla="*/ 318205 h 345937"/>
                <a:gd name="connsiteX297" fmla="*/ 268734 w 345937"/>
                <a:gd name="connsiteY297" fmla="*/ 317014 h 345937"/>
                <a:gd name="connsiteX298" fmla="*/ 270502 w 345937"/>
                <a:gd name="connsiteY298" fmla="*/ 315823 h 345937"/>
                <a:gd name="connsiteX299" fmla="*/ 270843 w 345937"/>
                <a:gd name="connsiteY299" fmla="*/ 315589 h 345937"/>
                <a:gd name="connsiteX300" fmla="*/ 272230 w 345937"/>
                <a:gd name="connsiteY300" fmla="*/ 314632 h 345937"/>
                <a:gd name="connsiteX301" fmla="*/ 273962 w 345937"/>
                <a:gd name="connsiteY301" fmla="*/ 313397 h 345937"/>
                <a:gd name="connsiteX302" fmla="*/ 274190 w 345937"/>
                <a:gd name="connsiteY302" fmla="*/ 313234 h 345937"/>
                <a:gd name="connsiteX303" fmla="*/ 275692 w 345937"/>
                <a:gd name="connsiteY303" fmla="*/ 312144 h 345937"/>
                <a:gd name="connsiteX304" fmla="*/ 277422 w 345937"/>
                <a:gd name="connsiteY304" fmla="*/ 310845 h 345937"/>
                <a:gd name="connsiteX305" fmla="*/ 277907 w 345937"/>
                <a:gd name="connsiteY305" fmla="*/ 310479 h 345937"/>
                <a:gd name="connsiteX306" fmla="*/ 279099 w 345937"/>
                <a:gd name="connsiteY306" fmla="*/ 309569 h 345937"/>
                <a:gd name="connsiteX307" fmla="*/ 280582 w 345937"/>
                <a:gd name="connsiteY307" fmla="*/ 308394 h 345937"/>
                <a:gd name="connsiteX308" fmla="*/ 281157 w 345937"/>
                <a:gd name="connsiteY308" fmla="*/ 307935 h 345937"/>
                <a:gd name="connsiteX309" fmla="*/ 282420 w 345937"/>
                <a:gd name="connsiteY309" fmla="*/ 306924 h 345937"/>
                <a:gd name="connsiteX310" fmla="*/ 283781 w 345937"/>
                <a:gd name="connsiteY310" fmla="*/ 305789 h 345937"/>
                <a:gd name="connsiteX311" fmla="*/ 284460 w 345937"/>
                <a:gd name="connsiteY311" fmla="*/ 305221 h 345937"/>
                <a:gd name="connsiteX312" fmla="*/ 285494 w 345937"/>
                <a:gd name="connsiteY312" fmla="*/ 304358 h 345937"/>
                <a:gd name="connsiteX313" fmla="*/ 285734 w 345937"/>
                <a:gd name="connsiteY313" fmla="*/ 304145 h 345937"/>
                <a:gd name="connsiteX314" fmla="*/ 318742 w 345937"/>
                <a:gd name="connsiteY314" fmla="*/ 266129 h 345937"/>
                <a:gd name="connsiteX315" fmla="*/ 318930 w 345937"/>
                <a:gd name="connsiteY315" fmla="*/ 265845 h 345937"/>
                <a:gd name="connsiteX316" fmla="*/ 319332 w 345937"/>
                <a:gd name="connsiteY316" fmla="*/ 265195 h 345937"/>
                <a:gd name="connsiteX317" fmla="*/ 319447 w 345937"/>
                <a:gd name="connsiteY317" fmla="*/ 265007 h 345937"/>
                <a:gd name="connsiteX318" fmla="*/ 321079 w 345937"/>
                <a:gd name="connsiteY318" fmla="*/ 262363 h 345937"/>
                <a:gd name="connsiteX319" fmla="*/ 321892 w 345937"/>
                <a:gd name="connsiteY319" fmla="*/ 260992 h 345937"/>
                <a:gd name="connsiteX320" fmla="*/ 323333 w 345937"/>
                <a:gd name="connsiteY320" fmla="*/ 258504 h 345937"/>
                <a:gd name="connsiteX321" fmla="*/ 324161 w 345937"/>
                <a:gd name="connsiteY321" fmla="*/ 257029 h 345937"/>
                <a:gd name="connsiteX322" fmla="*/ 325514 w 345937"/>
                <a:gd name="connsiteY322" fmla="*/ 254545 h 345937"/>
                <a:gd name="connsiteX323" fmla="*/ 325660 w 345937"/>
                <a:gd name="connsiteY323" fmla="*/ 254273 h 345937"/>
                <a:gd name="connsiteX324" fmla="*/ 326299 w 345937"/>
                <a:gd name="connsiteY324" fmla="*/ 253056 h 345937"/>
                <a:gd name="connsiteX325" fmla="*/ 327560 w 345937"/>
                <a:gd name="connsiteY325" fmla="*/ 250584 h 345937"/>
                <a:gd name="connsiteX326" fmla="*/ 328338 w 345937"/>
                <a:gd name="connsiteY326" fmla="*/ 249020 h 345937"/>
                <a:gd name="connsiteX327" fmla="*/ 329558 w 345937"/>
                <a:gd name="connsiteY327" fmla="*/ 246458 h 345937"/>
                <a:gd name="connsiteX328" fmla="*/ 330259 w 345937"/>
                <a:gd name="connsiteY328" fmla="*/ 244953 h 345937"/>
                <a:gd name="connsiteX329" fmla="*/ 331510 w 345937"/>
                <a:gd name="connsiteY329" fmla="*/ 242125 h 345937"/>
                <a:gd name="connsiteX330" fmla="*/ 332094 w 345937"/>
                <a:gd name="connsiteY330" fmla="*/ 240794 h 345937"/>
                <a:gd name="connsiteX331" fmla="*/ 333772 w 345937"/>
                <a:gd name="connsiteY331" fmla="*/ 236692 h 345937"/>
                <a:gd name="connsiteX332" fmla="*/ 333867 w 345937"/>
                <a:gd name="connsiteY332" fmla="*/ 236446 h 345937"/>
                <a:gd name="connsiteX333" fmla="*/ 335415 w 345937"/>
                <a:gd name="connsiteY333" fmla="*/ 232339 h 345937"/>
                <a:gd name="connsiteX334" fmla="*/ 335926 w 345937"/>
                <a:gd name="connsiteY334" fmla="*/ 230882 h 345937"/>
                <a:gd name="connsiteX335" fmla="*/ 336881 w 345937"/>
                <a:gd name="connsiteY335" fmla="*/ 228122 h 345937"/>
                <a:gd name="connsiteX336" fmla="*/ 337294 w 345937"/>
                <a:gd name="connsiteY336" fmla="*/ 226846 h 345937"/>
                <a:gd name="connsiteX337" fmla="*/ 337545 w 345937"/>
                <a:gd name="connsiteY337" fmla="*/ 226065 h 345937"/>
                <a:gd name="connsiteX338" fmla="*/ 338260 w 345937"/>
                <a:gd name="connsiteY338" fmla="*/ 223786 h 345937"/>
                <a:gd name="connsiteX339" fmla="*/ 338715 w 345937"/>
                <a:gd name="connsiteY339" fmla="*/ 222251 h 345937"/>
                <a:gd name="connsiteX340" fmla="*/ 338837 w 345937"/>
                <a:gd name="connsiteY340" fmla="*/ 221836 h 345937"/>
                <a:gd name="connsiteX341" fmla="*/ 339534 w 345937"/>
                <a:gd name="connsiteY341" fmla="*/ 219388 h 345937"/>
                <a:gd name="connsiteX342" fmla="*/ 340088 w 345937"/>
                <a:gd name="connsiteY342" fmla="*/ 217321 h 345937"/>
                <a:gd name="connsiteX343" fmla="*/ 340694 w 345937"/>
                <a:gd name="connsiteY343" fmla="*/ 214933 h 345937"/>
                <a:gd name="connsiteX344" fmla="*/ 341194 w 345937"/>
                <a:gd name="connsiteY344" fmla="*/ 212866 h 345937"/>
                <a:gd name="connsiteX345" fmla="*/ 341748 w 345937"/>
                <a:gd name="connsiteY345" fmla="*/ 210399 h 345937"/>
                <a:gd name="connsiteX346" fmla="*/ 341841 w 345937"/>
                <a:gd name="connsiteY346" fmla="*/ 209974 h 345937"/>
                <a:gd name="connsiteX347" fmla="*/ 342199 w 345937"/>
                <a:gd name="connsiteY347" fmla="*/ 208301 h 345937"/>
                <a:gd name="connsiteX348" fmla="*/ 342679 w 345937"/>
                <a:gd name="connsiteY348" fmla="*/ 205840 h 345937"/>
                <a:gd name="connsiteX349" fmla="*/ 342746 w 345937"/>
                <a:gd name="connsiteY349" fmla="*/ 205487 h 345937"/>
                <a:gd name="connsiteX350" fmla="*/ 343077 w 345937"/>
                <a:gd name="connsiteY350" fmla="*/ 203739 h 345937"/>
                <a:gd name="connsiteX351" fmla="*/ 343441 w 345937"/>
                <a:gd name="connsiteY351" fmla="*/ 201559 h 345937"/>
                <a:gd name="connsiteX352" fmla="*/ 343601 w 345937"/>
                <a:gd name="connsiteY352" fmla="*/ 200586 h 345937"/>
                <a:gd name="connsiteX353" fmla="*/ 343832 w 345937"/>
                <a:gd name="connsiteY353" fmla="*/ 199143 h 345937"/>
                <a:gd name="connsiteX354" fmla="*/ 344318 w 345937"/>
                <a:gd name="connsiteY354" fmla="*/ 195628 h 345937"/>
                <a:gd name="connsiteX355" fmla="*/ 344358 w 345937"/>
                <a:gd name="connsiteY355" fmla="*/ 195345 h 345937"/>
                <a:gd name="connsiteX356" fmla="*/ 344465 w 345937"/>
                <a:gd name="connsiteY356" fmla="*/ 194546 h 345937"/>
                <a:gd name="connsiteX357" fmla="*/ 194554 w 345937"/>
                <a:gd name="connsiteY357" fmla="*/ 2367 h 345937"/>
                <a:gd name="connsiteX358" fmla="*/ 244465 w 345937"/>
                <a:gd name="connsiteY358" fmla="*/ 162435 h 345937"/>
                <a:gd name="connsiteX359" fmla="*/ 244465 w 345937"/>
                <a:gd name="connsiteY359" fmla="*/ 153993 h 345937"/>
                <a:gd name="connsiteX360" fmla="*/ 244915 w 345937"/>
                <a:gd name="connsiteY360" fmla="*/ 153847 h 345937"/>
                <a:gd name="connsiteX361" fmla="*/ 247491 w 345937"/>
                <a:gd name="connsiteY361" fmla="*/ 160562 h 345937"/>
                <a:gd name="connsiteX362" fmla="*/ 244248 w 345937"/>
                <a:gd name="connsiteY362" fmla="*/ 167897 h 345937"/>
                <a:gd name="connsiteX363" fmla="*/ 244465 w 345937"/>
                <a:gd name="connsiteY363" fmla="*/ 162435 h 345937"/>
                <a:gd name="connsiteX364" fmla="*/ 99497 w 345937"/>
                <a:gd name="connsiteY364" fmla="*/ 160557 h 345937"/>
                <a:gd name="connsiteX365" fmla="*/ 102055 w 345937"/>
                <a:gd name="connsiteY365" fmla="*/ 153864 h 345937"/>
                <a:gd name="connsiteX366" fmla="*/ 102663 w 345937"/>
                <a:gd name="connsiteY366" fmla="*/ 154045 h 345937"/>
                <a:gd name="connsiteX367" fmla="*/ 102663 w 345937"/>
                <a:gd name="connsiteY367" fmla="*/ 162433 h 345937"/>
                <a:gd name="connsiteX368" fmla="*/ 102888 w 345937"/>
                <a:gd name="connsiteY368" fmla="*/ 168013 h 345937"/>
                <a:gd name="connsiteX369" fmla="*/ 99497 w 345937"/>
                <a:gd name="connsiteY369" fmla="*/ 160557 h 345937"/>
                <a:gd name="connsiteX370" fmla="*/ 119573 w 345937"/>
                <a:gd name="connsiteY370" fmla="*/ 125559 h 345937"/>
                <a:gd name="connsiteX371" fmla="*/ 119532 w 345937"/>
                <a:gd name="connsiteY371" fmla="*/ 125559 h 345937"/>
                <a:gd name="connsiteX372" fmla="*/ 117099 w 345937"/>
                <a:gd name="connsiteY372" fmla="*/ 125829 h 345937"/>
                <a:gd name="connsiteX373" fmla="*/ 116946 w 345937"/>
                <a:gd name="connsiteY373" fmla="*/ 125789 h 345937"/>
                <a:gd name="connsiteX374" fmla="*/ 116946 w 345937"/>
                <a:gd name="connsiteY374" fmla="*/ 123116 h 345937"/>
                <a:gd name="connsiteX375" fmla="*/ 170748 w 345937"/>
                <a:gd name="connsiteY375" fmla="*/ 63228 h 345937"/>
                <a:gd name="connsiteX376" fmla="*/ 176172 w 345937"/>
                <a:gd name="connsiteY376" fmla="*/ 63228 h 345937"/>
                <a:gd name="connsiteX377" fmla="*/ 229973 w 345937"/>
                <a:gd name="connsiteY377" fmla="*/ 123114 h 345937"/>
                <a:gd name="connsiteX378" fmla="*/ 229973 w 345937"/>
                <a:gd name="connsiteY378" fmla="*/ 125788 h 345937"/>
                <a:gd name="connsiteX379" fmla="*/ 208444 w 345937"/>
                <a:gd name="connsiteY379" fmla="*/ 97216 h 345937"/>
                <a:gd name="connsiteX380" fmla="*/ 199515 w 345937"/>
                <a:gd name="connsiteY380" fmla="*/ 88412 h 345937"/>
                <a:gd name="connsiteX381" fmla="*/ 187957 w 345937"/>
                <a:gd name="connsiteY381" fmla="*/ 93274 h 345937"/>
                <a:gd name="connsiteX382" fmla="*/ 119573 w 345937"/>
                <a:gd name="connsiteY382" fmla="*/ 125559 h 345937"/>
                <a:gd name="connsiteX383" fmla="*/ 125258 w 345937"/>
                <a:gd name="connsiteY383" fmla="*/ 162435 h 345937"/>
                <a:gd name="connsiteX384" fmla="*/ 125258 w 345937"/>
                <a:gd name="connsiteY384" fmla="*/ 147905 h 345937"/>
                <a:gd name="connsiteX385" fmla="*/ 193581 w 345937"/>
                <a:gd name="connsiteY385" fmla="*/ 121130 h 345937"/>
                <a:gd name="connsiteX386" fmla="*/ 221869 w 345937"/>
                <a:gd name="connsiteY386" fmla="*/ 146952 h 345937"/>
                <a:gd name="connsiteX387" fmla="*/ 221869 w 345937"/>
                <a:gd name="connsiteY387" fmla="*/ 162435 h 345937"/>
                <a:gd name="connsiteX388" fmla="*/ 179396 w 345937"/>
                <a:gd name="connsiteY388" fmla="*/ 209935 h 345937"/>
                <a:gd name="connsiteX389" fmla="*/ 167731 w 345937"/>
                <a:gd name="connsiteY389" fmla="*/ 209935 h 345937"/>
                <a:gd name="connsiteX390" fmla="*/ 125258 w 345937"/>
                <a:gd name="connsiteY390" fmla="*/ 162435 h 345937"/>
                <a:gd name="connsiteX391" fmla="*/ 185350 w 345937"/>
                <a:gd name="connsiteY391" fmla="*/ 232225 h 345937"/>
                <a:gd name="connsiteX392" fmla="*/ 185350 w 345937"/>
                <a:gd name="connsiteY392" fmla="*/ 239137 h 345937"/>
                <a:gd name="connsiteX393" fmla="*/ 173681 w 345937"/>
                <a:gd name="connsiteY393" fmla="*/ 251251 h 345937"/>
                <a:gd name="connsiteX394" fmla="*/ 162755 w 345937"/>
                <a:gd name="connsiteY394" fmla="*/ 240611 h 345937"/>
                <a:gd name="connsiteX395" fmla="*/ 162755 w 345937"/>
                <a:gd name="connsiteY395" fmla="*/ 232306 h 345937"/>
                <a:gd name="connsiteX396" fmla="*/ 167730 w 345937"/>
                <a:gd name="connsiteY396" fmla="*/ 232532 h 345937"/>
                <a:gd name="connsiteX397" fmla="*/ 179395 w 345937"/>
                <a:gd name="connsiteY397" fmla="*/ 232532 h 345937"/>
                <a:gd name="connsiteX398" fmla="*/ 185350 w 345937"/>
                <a:gd name="connsiteY398" fmla="*/ 232225 h 345937"/>
                <a:gd name="connsiteX399" fmla="*/ 263742 w 345937"/>
                <a:gd name="connsiteY399" fmla="*/ 292874 h 345937"/>
                <a:gd name="connsiteX400" fmla="*/ 262274 w 345937"/>
                <a:gd name="connsiteY400" fmla="*/ 293978 h 345937"/>
                <a:gd name="connsiteX401" fmla="*/ 261033 w 345937"/>
                <a:gd name="connsiteY401" fmla="*/ 294878 h 345937"/>
                <a:gd name="connsiteX402" fmla="*/ 260742 w 345937"/>
                <a:gd name="connsiteY402" fmla="*/ 295088 h 345937"/>
                <a:gd name="connsiteX403" fmla="*/ 259271 w 345937"/>
                <a:gd name="connsiteY403" fmla="*/ 296135 h 345937"/>
                <a:gd name="connsiteX404" fmla="*/ 258082 w 345937"/>
                <a:gd name="connsiteY404" fmla="*/ 296958 h 345937"/>
                <a:gd name="connsiteX405" fmla="*/ 257762 w 345937"/>
                <a:gd name="connsiteY405" fmla="*/ 297177 h 345937"/>
                <a:gd name="connsiteX406" fmla="*/ 256246 w 345937"/>
                <a:gd name="connsiteY406" fmla="*/ 298200 h 345937"/>
                <a:gd name="connsiteX407" fmla="*/ 254633 w 345937"/>
                <a:gd name="connsiteY407" fmla="*/ 299253 h 345937"/>
                <a:gd name="connsiteX408" fmla="*/ 253119 w 345937"/>
                <a:gd name="connsiteY408" fmla="*/ 300222 h 345937"/>
                <a:gd name="connsiteX409" fmla="*/ 251534 w 345937"/>
                <a:gd name="connsiteY409" fmla="*/ 301206 h 345937"/>
                <a:gd name="connsiteX410" fmla="*/ 249966 w 345937"/>
                <a:gd name="connsiteY410" fmla="*/ 302154 h 345937"/>
                <a:gd name="connsiteX411" fmla="*/ 248364 w 345937"/>
                <a:gd name="connsiteY411" fmla="*/ 303098 h 345937"/>
                <a:gd name="connsiteX412" fmla="*/ 246753 w 345937"/>
                <a:gd name="connsiteY412" fmla="*/ 304013 h 345937"/>
                <a:gd name="connsiteX413" fmla="*/ 245109 w 345937"/>
                <a:gd name="connsiteY413" fmla="*/ 304926 h 345937"/>
                <a:gd name="connsiteX414" fmla="*/ 243486 w 345937"/>
                <a:gd name="connsiteY414" fmla="*/ 305796 h 345937"/>
                <a:gd name="connsiteX415" fmla="*/ 241801 w 345937"/>
                <a:gd name="connsiteY415" fmla="*/ 306681 h 345937"/>
                <a:gd name="connsiteX416" fmla="*/ 240301 w 345937"/>
                <a:gd name="connsiteY416" fmla="*/ 307437 h 345937"/>
                <a:gd name="connsiteX417" fmla="*/ 240162 w 345937"/>
                <a:gd name="connsiteY417" fmla="*/ 307505 h 345937"/>
                <a:gd name="connsiteX418" fmla="*/ 238499 w 345937"/>
                <a:gd name="connsiteY418" fmla="*/ 308329 h 345937"/>
                <a:gd name="connsiteX419" fmla="*/ 237200 w 345937"/>
                <a:gd name="connsiteY419" fmla="*/ 308945 h 345937"/>
                <a:gd name="connsiteX420" fmla="*/ 236557 w 345937"/>
                <a:gd name="connsiteY420" fmla="*/ 309244 h 345937"/>
                <a:gd name="connsiteX421" fmla="*/ 235165 w 345937"/>
                <a:gd name="connsiteY421" fmla="*/ 309894 h 345937"/>
                <a:gd name="connsiteX422" fmla="*/ 233049 w 345937"/>
                <a:gd name="connsiteY422" fmla="*/ 310828 h 345937"/>
                <a:gd name="connsiteX423" fmla="*/ 231762 w 345937"/>
                <a:gd name="connsiteY423" fmla="*/ 311390 h 345937"/>
                <a:gd name="connsiteX424" fmla="*/ 229473 w 345937"/>
                <a:gd name="connsiteY424" fmla="*/ 312330 h 345937"/>
                <a:gd name="connsiteX425" fmla="*/ 228268 w 345937"/>
                <a:gd name="connsiteY425" fmla="*/ 312818 h 345937"/>
                <a:gd name="connsiteX426" fmla="*/ 226752 w 345937"/>
                <a:gd name="connsiteY426" fmla="*/ 313397 h 345937"/>
                <a:gd name="connsiteX427" fmla="*/ 225907 w 345937"/>
                <a:gd name="connsiteY427" fmla="*/ 313718 h 345937"/>
                <a:gd name="connsiteX428" fmla="*/ 224784 w 345937"/>
                <a:gd name="connsiteY428" fmla="*/ 314142 h 345937"/>
                <a:gd name="connsiteX429" fmla="*/ 223034 w 345937"/>
                <a:gd name="connsiteY429" fmla="*/ 314761 h 345937"/>
                <a:gd name="connsiteX430" fmla="*/ 222696 w 345937"/>
                <a:gd name="connsiteY430" fmla="*/ 314876 h 345937"/>
                <a:gd name="connsiteX431" fmla="*/ 220319 w 345937"/>
                <a:gd name="connsiteY431" fmla="*/ 315688 h 345937"/>
                <a:gd name="connsiteX432" fmla="*/ 217784 w 345937"/>
                <a:gd name="connsiteY432" fmla="*/ 316509 h 345937"/>
                <a:gd name="connsiteX433" fmla="*/ 216774 w 345937"/>
                <a:gd name="connsiteY433" fmla="*/ 316810 h 345937"/>
                <a:gd name="connsiteX434" fmla="*/ 215642 w 345937"/>
                <a:gd name="connsiteY434" fmla="*/ 317146 h 345937"/>
                <a:gd name="connsiteX435" fmla="*/ 214159 w 345937"/>
                <a:gd name="connsiteY435" fmla="*/ 317585 h 345937"/>
                <a:gd name="connsiteX436" fmla="*/ 212878 w 345937"/>
                <a:gd name="connsiteY436" fmla="*/ 317931 h 345937"/>
                <a:gd name="connsiteX437" fmla="*/ 211959 w 345937"/>
                <a:gd name="connsiteY437" fmla="*/ 318180 h 345937"/>
                <a:gd name="connsiteX438" fmla="*/ 210547 w 345937"/>
                <a:gd name="connsiteY438" fmla="*/ 318557 h 345937"/>
                <a:gd name="connsiteX439" fmla="*/ 209489 w 345937"/>
                <a:gd name="connsiteY439" fmla="*/ 318817 h 345937"/>
                <a:gd name="connsiteX440" fmla="*/ 208323 w 345937"/>
                <a:gd name="connsiteY440" fmla="*/ 319099 h 345937"/>
                <a:gd name="connsiteX441" fmla="*/ 206883 w 345937"/>
                <a:gd name="connsiteY441" fmla="*/ 319444 h 345937"/>
                <a:gd name="connsiteX442" fmla="*/ 205004 w 345937"/>
                <a:gd name="connsiteY442" fmla="*/ 319853 h 345937"/>
                <a:gd name="connsiteX443" fmla="*/ 203196 w 345937"/>
                <a:gd name="connsiteY443" fmla="*/ 320237 h 345937"/>
                <a:gd name="connsiteX444" fmla="*/ 201372 w 345937"/>
                <a:gd name="connsiteY444" fmla="*/ 320590 h 345937"/>
                <a:gd name="connsiteX445" fmla="*/ 199444 w 345937"/>
                <a:gd name="connsiteY445" fmla="*/ 320946 h 345937"/>
                <a:gd name="connsiteX446" fmla="*/ 197638 w 345937"/>
                <a:gd name="connsiteY446" fmla="*/ 321247 h 345937"/>
                <a:gd name="connsiteX447" fmla="*/ 195689 w 345937"/>
                <a:gd name="connsiteY447" fmla="*/ 321557 h 345937"/>
                <a:gd name="connsiteX448" fmla="*/ 193896 w 345937"/>
                <a:gd name="connsiteY448" fmla="*/ 321812 h 345937"/>
                <a:gd name="connsiteX449" fmla="*/ 191960 w 345937"/>
                <a:gd name="connsiteY449" fmla="*/ 322068 h 345937"/>
                <a:gd name="connsiteX450" fmla="*/ 190110 w 345937"/>
                <a:gd name="connsiteY450" fmla="*/ 322284 h 345937"/>
                <a:gd name="connsiteX451" fmla="*/ 188105 w 345937"/>
                <a:gd name="connsiteY451" fmla="*/ 322493 h 345937"/>
                <a:gd name="connsiteX452" fmla="*/ 186281 w 345937"/>
                <a:gd name="connsiteY452" fmla="*/ 322660 h 345937"/>
                <a:gd name="connsiteX453" fmla="*/ 184289 w 345937"/>
                <a:gd name="connsiteY453" fmla="*/ 322816 h 345937"/>
                <a:gd name="connsiteX454" fmla="*/ 184049 w 345937"/>
                <a:gd name="connsiteY454" fmla="*/ 322833 h 345937"/>
                <a:gd name="connsiteX455" fmla="*/ 182437 w 345937"/>
                <a:gd name="connsiteY455" fmla="*/ 322937 h 345937"/>
                <a:gd name="connsiteX456" fmla="*/ 180414 w 345937"/>
                <a:gd name="connsiteY456" fmla="*/ 323041 h 345937"/>
                <a:gd name="connsiteX457" fmla="*/ 180175 w 345937"/>
                <a:gd name="connsiteY457" fmla="*/ 323052 h 345937"/>
                <a:gd name="connsiteX458" fmla="*/ 178589 w 345937"/>
                <a:gd name="connsiteY458" fmla="*/ 323117 h 345937"/>
                <a:gd name="connsiteX459" fmla="*/ 176520 w 345937"/>
                <a:gd name="connsiteY459" fmla="*/ 323168 h 345937"/>
                <a:gd name="connsiteX460" fmla="*/ 176246 w 345937"/>
                <a:gd name="connsiteY460" fmla="*/ 323173 h 345937"/>
                <a:gd name="connsiteX461" fmla="*/ 174708 w 345937"/>
                <a:gd name="connsiteY461" fmla="*/ 323196 h 345937"/>
                <a:gd name="connsiteX462" fmla="*/ 172555 w 345937"/>
                <a:gd name="connsiteY462" fmla="*/ 323190 h 345937"/>
                <a:gd name="connsiteX463" fmla="*/ 172313 w 345937"/>
                <a:gd name="connsiteY463" fmla="*/ 323189 h 345937"/>
                <a:gd name="connsiteX464" fmla="*/ 170791 w 345937"/>
                <a:gd name="connsiteY464" fmla="*/ 323175 h 345937"/>
                <a:gd name="connsiteX465" fmla="*/ 169209 w 345937"/>
                <a:gd name="connsiteY465" fmla="*/ 323131 h 345937"/>
                <a:gd name="connsiteX466" fmla="*/ 166910 w 345937"/>
                <a:gd name="connsiteY466" fmla="*/ 323054 h 345937"/>
                <a:gd name="connsiteX467" fmla="*/ 164989 w 345937"/>
                <a:gd name="connsiteY467" fmla="*/ 322947 h 345937"/>
                <a:gd name="connsiteX468" fmla="*/ 162967 w 345937"/>
                <a:gd name="connsiteY468" fmla="*/ 322826 h 345937"/>
                <a:gd name="connsiteX469" fmla="*/ 160759 w 345937"/>
                <a:gd name="connsiteY469" fmla="*/ 322644 h 345937"/>
                <a:gd name="connsiteX470" fmla="*/ 159011 w 345937"/>
                <a:gd name="connsiteY470" fmla="*/ 322494 h 345937"/>
                <a:gd name="connsiteX471" fmla="*/ 155102 w 345937"/>
                <a:gd name="connsiteY471" fmla="*/ 322064 h 345937"/>
                <a:gd name="connsiteX472" fmla="*/ 155008 w 345937"/>
                <a:gd name="connsiteY472" fmla="*/ 322051 h 345937"/>
                <a:gd name="connsiteX473" fmla="*/ 155002 w 345937"/>
                <a:gd name="connsiteY473" fmla="*/ 322051 h 345937"/>
                <a:gd name="connsiteX474" fmla="*/ 151104 w 345937"/>
                <a:gd name="connsiteY474" fmla="*/ 321518 h 345937"/>
                <a:gd name="connsiteX475" fmla="*/ 149259 w 345937"/>
                <a:gd name="connsiteY475" fmla="*/ 321220 h 345937"/>
                <a:gd name="connsiteX476" fmla="*/ 147216 w 345937"/>
                <a:gd name="connsiteY476" fmla="*/ 320881 h 345937"/>
                <a:gd name="connsiteX477" fmla="*/ 145271 w 345937"/>
                <a:gd name="connsiteY477" fmla="*/ 320515 h 345937"/>
                <a:gd name="connsiteX478" fmla="*/ 143332 w 345937"/>
                <a:gd name="connsiteY478" fmla="*/ 320141 h 345937"/>
                <a:gd name="connsiteX479" fmla="*/ 141156 w 345937"/>
                <a:gd name="connsiteY479" fmla="*/ 319673 h 345937"/>
                <a:gd name="connsiteX480" fmla="*/ 139515 w 345937"/>
                <a:gd name="connsiteY480" fmla="*/ 319312 h 345937"/>
                <a:gd name="connsiteX481" fmla="*/ 138068 w 345937"/>
                <a:gd name="connsiteY481" fmla="*/ 318964 h 345937"/>
                <a:gd name="connsiteX482" fmla="*/ 137714 w 345937"/>
                <a:gd name="connsiteY482" fmla="*/ 318877 h 345937"/>
                <a:gd name="connsiteX483" fmla="*/ 135704 w 345937"/>
                <a:gd name="connsiteY483" fmla="*/ 318377 h 345937"/>
                <a:gd name="connsiteX484" fmla="*/ 134378 w 345937"/>
                <a:gd name="connsiteY484" fmla="*/ 318022 h 345937"/>
                <a:gd name="connsiteX485" fmla="*/ 133970 w 345937"/>
                <a:gd name="connsiteY485" fmla="*/ 317912 h 345937"/>
                <a:gd name="connsiteX486" fmla="*/ 131976 w 345937"/>
                <a:gd name="connsiteY486" fmla="*/ 317360 h 345937"/>
                <a:gd name="connsiteX487" fmla="*/ 130246 w 345937"/>
                <a:gd name="connsiteY487" fmla="*/ 316851 h 345937"/>
                <a:gd name="connsiteX488" fmla="*/ 128266 w 345937"/>
                <a:gd name="connsiteY488" fmla="*/ 316245 h 345937"/>
                <a:gd name="connsiteX489" fmla="*/ 126520 w 345937"/>
                <a:gd name="connsiteY489" fmla="*/ 315679 h 345937"/>
                <a:gd name="connsiteX490" fmla="*/ 124640 w 345937"/>
                <a:gd name="connsiteY490" fmla="*/ 315051 h 345937"/>
                <a:gd name="connsiteX491" fmla="*/ 122893 w 345937"/>
                <a:gd name="connsiteY491" fmla="*/ 314438 h 345937"/>
                <a:gd name="connsiteX492" fmla="*/ 121002 w 345937"/>
                <a:gd name="connsiteY492" fmla="*/ 313747 h 345937"/>
                <a:gd name="connsiteX493" fmla="*/ 119296 w 345937"/>
                <a:gd name="connsiteY493" fmla="*/ 313100 h 345937"/>
                <a:gd name="connsiteX494" fmla="*/ 117437 w 345937"/>
                <a:gd name="connsiteY494" fmla="*/ 312365 h 345937"/>
                <a:gd name="connsiteX495" fmla="*/ 115773 w 345937"/>
                <a:gd name="connsiteY495" fmla="*/ 311688 h 345937"/>
                <a:gd name="connsiteX496" fmla="*/ 113925 w 345937"/>
                <a:gd name="connsiteY496" fmla="*/ 310901 h 345937"/>
                <a:gd name="connsiteX497" fmla="*/ 112256 w 345937"/>
                <a:gd name="connsiteY497" fmla="*/ 310172 h 345937"/>
                <a:gd name="connsiteX498" fmla="*/ 110463 w 345937"/>
                <a:gd name="connsiteY498" fmla="*/ 309351 h 345937"/>
                <a:gd name="connsiteX499" fmla="*/ 108808 w 345937"/>
                <a:gd name="connsiteY499" fmla="*/ 308581 h 345937"/>
                <a:gd name="connsiteX500" fmla="*/ 107509 w 345937"/>
                <a:gd name="connsiteY500" fmla="*/ 307945 h 345937"/>
                <a:gd name="connsiteX501" fmla="*/ 106645 w 345937"/>
                <a:gd name="connsiteY501" fmla="*/ 307519 h 345937"/>
                <a:gd name="connsiteX502" fmla="*/ 105436 w 345937"/>
                <a:gd name="connsiteY502" fmla="*/ 306918 h 345937"/>
                <a:gd name="connsiteX503" fmla="*/ 103679 w 345937"/>
                <a:gd name="connsiteY503" fmla="*/ 306002 h 345937"/>
                <a:gd name="connsiteX504" fmla="*/ 103079 w 345937"/>
                <a:gd name="connsiteY504" fmla="*/ 305685 h 345937"/>
                <a:gd name="connsiteX505" fmla="*/ 102079 w 345937"/>
                <a:gd name="connsiteY505" fmla="*/ 305155 h 345937"/>
                <a:gd name="connsiteX506" fmla="*/ 100605 w 345937"/>
                <a:gd name="connsiteY506" fmla="*/ 304337 h 345937"/>
                <a:gd name="connsiteX507" fmla="*/ 99727 w 345937"/>
                <a:gd name="connsiteY507" fmla="*/ 303846 h 345937"/>
                <a:gd name="connsiteX508" fmla="*/ 98776 w 345937"/>
                <a:gd name="connsiteY508" fmla="*/ 303313 h 345937"/>
                <a:gd name="connsiteX509" fmla="*/ 97500 w 345937"/>
                <a:gd name="connsiteY509" fmla="*/ 302560 h 345937"/>
                <a:gd name="connsiteX510" fmla="*/ 96465 w 345937"/>
                <a:gd name="connsiteY510" fmla="*/ 301949 h 345937"/>
                <a:gd name="connsiteX511" fmla="*/ 95565 w 345937"/>
                <a:gd name="connsiteY511" fmla="*/ 301416 h 345937"/>
                <a:gd name="connsiteX512" fmla="*/ 93290 w 345937"/>
                <a:gd name="connsiteY512" fmla="*/ 299991 h 345937"/>
                <a:gd name="connsiteX513" fmla="*/ 91188 w 345937"/>
                <a:gd name="connsiteY513" fmla="*/ 298633 h 345937"/>
                <a:gd name="connsiteX514" fmla="*/ 90864 w 345937"/>
                <a:gd name="connsiteY514" fmla="*/ 298419 h 345937"/>
                <a:gd name="connsiteX515" fmla="*/ 89343 w 345937"/>
                <a:gd name="connsiteY515" fmla="*/ 297409 h 345937"/>
                <a:gd name="connsiteX516" fmla="*/ 88358 w 345937"/>
                <a:gd name="connsiteY516" fmla="*/ 296724 h 345937"/>
                <a:gd name="connsiteX517" fmla="*/ 87541 w 345937"/>
                <a:gd name="connsiteY517" fmla="*/ 296154 h 345937"/>
                <a:gd name="connsiteX518" fmla="*/ 86273 w 345937"/>
                <a:gd name="connsiteY518" fmla="*/ 295265 h 345937"/>
                <a:gd name="connsiteX519" fmla="*/ 85121 w 345937"/>
                <a:gd name="connsiteY519" fmla="*/ 294421 h 345937"/>
                <a:gd name="connsiteX520" fmla="*/ 84318 w 345937"/>
                <a:gd name="connsiteY520" fmla="*/ 293830 h 345937"/>
                <a:gd name="connsiteX521" fmla="*/ 83278 w 345937"/>
                <a:gd name="connsiteY521" fmla="*/ 293057 h 345937"/>
                <a:gd name="connsiteX522" fmla="*/ 82110 w 345937"/>
                <a:gd name="connsiteY522" fmla="*/ 292156 h 345937"/>
                <a:gd name="connsiteX523" fmla="*/ 82018 w 345937"/>
                <a:gd name="connsiteY523" fmla="*/ 292084 h 345937"/>
                <a:gd name="connsiteX524" fmla="*/ 82115 w 345937"/>
                <a:gd name="connsiteY524" fmla="*/ 291888 h 345937"/>
                <a:gd name="connsiteX525" fmla="*/ 103260 w 345937"/>
                <a:gd name="connsiteY525" fmla="*/ 270489 h 345937"/>
                <a:gd name="connsiteX526" fmla="*/ 103778 w 345937"/>
                <a:gd name="connsiteY526" fmla="*/ 270301 h 345937"/>
                <a:gd name="connsiteX527" fmla="*/ 144486 w 345937"/>
                <a:gd name="connsiteY527" fmla="*/ 254360 h 345937"/>
                <a:gd name="connsiteX528" fmla="*/ 166054 w 345937"/>
                <a:gd name="connsiteY528" fmla="*/ 275366 h 345937"/>
                <a:gd name="connsiteX529" fmla="*/ 173936 w 345937"/>
                <a:gd name="connsiteY529" fmla="*/ 278571 h 345937"/>
                <a:gd name="connsiteX530" fmla="*/ 174114 w 345937"/>
                <a:gd name="connsiteY530" fmla="*/ 278570 h 345937"/>
                <a:gd name="connsiteX531" fmla="*/ 182071 w 345937"/>
                <a:gd name="connsiteY531" fmla="*/ 275110 h 345937"/>
                <a:gd name="connsiteX532" fmla="*/ 202424 w 345937"/>
                <a:gd name="connsiteY532" fmla="*/ 253986 h 345937"/>
                <a:gd name="connsiteX533" fmla="*/ 243029 w 345937"/>
                <a:gd name="connsiteY533" fmla="*/ 270267 h 345937"/>
                <a:gd name="connsiteX534" fmla="*/ 243538 w 345937"/>
                <a:gd name="connsiteY534" fmla="*/ 270457 h 345937"/>
                <a:gd name="connsiteX535" fmla="*/ 264834 w 345937"/>
                <a:gd name="connsiteY535" fmla="*/ 292042 h 345937"/>
                <a:gd name="connsiteX536" fmla="*/ 263742 w 345937"/>
                <a:gd name="connsiteY536" fmla="*/ 292874 h 345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</a:cxnLst>
              <a:rect l="l" t="t" r="r" b="b"/>
              <a:pathLst>
                <a:path w="345937" h="345937">
                  <a:moveTo>
                    <a:pt x="194554" y="2367"/>
                  </a:moveTo>
                  <a:cubicBezTo>
                    <a:pt x="100214" y="-9285"/>
                    <a:pt x="14018" y="57970"/>
                    <a:pt x="2355" y="152343"/>
                  </a:cubicBezTo>
                  <a:lnTo>
                    <a:pt x="2237" y="153414"/>
                  </a:lnTo>
                  <a:cubicBezTo>
                    <a:pt x="2103" y="154568"/>
                    <a:pt x="1974" y="155721"/>
                    <a:pt x="1850" y="156959"/>
                  </a:cubicBezTo>
                  <a:cubicBezTo>
                    <a:pt x="1805" y="157459"/>
                    <a:pt x="1763" y="157956"/>
                    <a:pt x="1724" y="158455"/>
                  </a:cubicBezTo>
                  <a:lnTo>
                    <a:pt x="1659" y="159233"/>
                  </a:lnTo>
                  <a:cubicBezTo>
                    <a:pt x="1591" y="160013"/>
                    <a:pt x="1525" y="160792"/>
                    <a:pt x="1473" y="161540"/>
                  </a:cubicBezTo>
                  <a:cubicBezTo>
                    <a:pt x="1430" y="162151"/>
                    <a:pt x="1394" y="162762"/>
                    <a:pt x="1364" y="163373"/>
                  </a:cubicBezTo>
                  <a:lnTo>
                    <a:pt x="1349" y="163623"/>
                  </a:lnTo>
                  <a:cubicBezTo>
                    <a:pt x="1299" y="164484"/>
                    <a:pt x="1250" y="165340"/>
                    <a:pt x="1210" y="166224"/>
                  </a:cubicBezTo>
                  <a:lnTo>
                    <a:pt x="1124" y="168685"/>
                  </a:lnTo>
                  <a:cubicBezTo>
                    <a:pt x="1105" y="169411"/>
                    <a:pt x="1087" y="170139"/>
                    <a:pt x="1077" y="170861"/>
                  </a:cubicBezTo>
                  <a:cubicBezTo>
                    <a:pt x="1064" y="171565"/>
                    <a:pt x="1060" y="172274"/>
                    <a:pt x="1057" y="172945"/>
                  </a:cubicBezTo>
                  <a:cubicBezTo>
                    <a:pt x="1051" y="173790"/>
                    <a:pt x="1057" y="174632"/>
                    <a:pt x="1064" y="175496"/>
                  </a:cubicBezTo>
                  <a:cubicBezTo>
                    <a:pt x="1072" y="176192"/>
                    <a:pt x="1082" y="176888"/>
                    <a:pt x="1099" y="177615"/>
                  </a:cubicBezTo>
                  <a:cubicBezTo>
                    <a:pt x="1120" y="178456"/>
                    <a:pt x="1146" y="179287"/>
                    <a:pt x="1178" y="180127"/>
                  </a:cubicBezTo>
                  <a:cubicBezTo>
                    <a:pt x="1203" y="180790"/>
                    <a:pt x="1229" y="181460"/>
                    <a:pt x="1262" y="182157"/>
                  </a:cubicBezTo>
                  <a:cubicBezTo>
                    <a:pt x="1306" y="183040"/>
                    <a:pt x="1364" y="183917"/>
                    <a:pt x="1418" y="184791"/>
                  </a:cubicBezTo>
                  <a:lnTo>
                    <a:pt x="1447" y="185241"/>
                  </a:lnTo>
                  <a:cubicBezTo>
                    <a:pt x="1479" y="185732"/>
                    <a:pt x="1508" y="186221"/>
                    <a:pt x="1544" y="186681"/>
                  </a:cubicBezTo>
                  <a:cubicBezTo>
                    <a:pt x="1615" y="187646"/>
                    <a:pt x="1705" y="188599"/>
                    <a:pt x="1798" y="189592"/>
                  </a:cubicBezTo>
                  <a:lnTo>
                    <a:pt x="1946" y="191214"/>
                  </a:lnTo>
                  <a:cubicBezTo>
                    <a:pt x="2093" y="192648"/>
                    <a:pt x="2259" y="194075"/>
                    <a:pt x="2441" y="195500"/>
                  </a:cubicBezTo>
                  <a:cubicBezTo>
                    <a:pt x="2448" y="195562"/>
                    <a:pt x="2456" y="195626"/>
                    <a:pt x="2465" y="195690"/>
                  </a:cubicBezTo>
                  <a:cubicBezTo>
                    <a:pt x="2656" y="197187"/>
                    <a:pt x="2872" y="198675"/>
                    <a:pt x="3109" y="200185"/>
                  </a:cubicBezTo>
                  <a:lnTo>
                    <a:pt x="3339" y="201558"/>
                  </a:lnTo>
                  <a:cubicBezTo>
                    <a:pt x="3509" y="202590"/>
                    <a:pt x="3681" y="203618"/>
                    <a:pt x="3865" y="204607"/>
                  </a:cubicBezTo>
                  <a:cubicBezTo>
                    <a:pt x="3947" y="205048"/>
                    <a:pt x="4031" y="205488"/>
                    <a:pt x="4118" y="205926"/>
                  </a:cubicBezTo>
                  <a:lnTo>
                    <a:pt x="4180" y="206234"/>
                  </a:lnTo>
                  <a:cubicBezTo>
                    <a:pt x="4363" y="207182"/>
                    <a:pt x="4547" y="208124"/>
                    <a:pt x="4737" y="209019"/>
                  </a:cubicBezTo>
                  <a:cubicBezTo>
                    <a:pt x="4861" y="209612"/>
                    <a:pt x="4992" y="210198"/>
                    <a:pt x="5110" y="210715"/>
                  </a:cubicBezTo>
                  <a:cubicBezTo>
                    <a:pt x="5312" y="211637"/>
                    <a:pt x="5519" y="212553"/>
                    <a:pt x="5727" y="213418"/>
                  </a:cubicBezTo>
                  <a:lnTo>
                    <a:pt x="6138" y="215106"/>
                  </a:lnTo>
                  <a:cubicBezTo>
                    <a:pt x="6363" y="216016"/>
                    <a:pt x="6599" y="216923"/>
                    <a:pt x="6839" y="217834"/>
                  </a:cubicBezTo>
                  <a:cubicBezTo>
                    <a:pt x="6990" y="218395"/>
                    <a:pt x="7142" y="218956"/>
                    <a:pt x="7274" y="219419"/>
                  </a:cubicBezTo>
                  <a:cubicBezTo>
                    <a:pt x="7531" y="220358"/>
                    <a:pt x="7801" y="221292"/>
                    <a:pt x="8097" y="222294"/>
                  </a:cubicBezTo>
                  <a:lnTo>
                    <a:pt x="8526" y="223733"/>
                  </a:lnTo>
                  <a:cubicBezTo>
                    <a:pt x="8828" y="224723"/>
                    <a:pt x="9144" y="225707"/>
                    <a:pt x="9486" y="226765"/>
                  </a:cubicBezTo>
                  <a:lnTo>
                    <a:pt x="9762" y="227626"/>
                  </a:lnTo>
                  <a:cubicBezTo>
                    <a:pt x="9801" y="227749"/>
                    <a:pt x="9846" y="227874"/>
                    <a:pt x="9892" y="228000"/>
                  </a:cubicBezTo>
                  <a:cubicBezTo>
                    <a:pt x="12044" y="234440"/>
                    <a:pt x="14609" y="240825"/>
                    <a:pt x="17520" y="246981"/>
                  </a:cubicBezTo>
                  <a:cubicBezTo>
                    <a:pt x="20186" y="252623"/>
                    <a:pt x="26921" y="255031"/>
                    <a:pt x="32561" y="252367"/>
                  </a:cubicBezTo>
                  <a:cubicBezTo>
                    <a:pt x="38203" y="249701"/>
                    <a:pt x="40615" y="242966"/>
                    <a:pt x="37947" y="237326"/>
                  </a:cubicBezTo>
                  <a:cubicBezTo>
                    <a:pt x="35378" y="231891"/>
                    <a:pt x="33119" y="226252"/>
                    <a:pt x="31232" y="220566"/>
                  </a:cubicBezTo>
                  <a:cubicBezTo>
                    <a:pt x="31204" y="220482"/>
                    <a:pt x="31175" y="220397"/>
                    <a:pt x="31144" y="220312"/>
                  </a:cubicBezTo>
                  <a:lnTo>
                    <a:pt x="30969" y="219762"/>
                  </a:lnTo>
                  <a:cubicBezTo>
                    <a:pt x="30687" y="218883"/>
                    <a:pt x="30404" y="218005"/>
                    <a:pt x="30145" y="217159"/>
                  </a:cubicBezTo>
                  <a:lnTo>
                    <a:pt x="29763" y="215861"/>
                  </a:lnTo>
                  <a:cubicBezTo>
                    <a:pt x="29528" y="215058"/>
                    <a:pt x="29293" y="214255"/>
                    <a:pt x="29044" y="213349"/>
                  </a:cubicBezTo>
                  <a:cubicBezTo>
                    <a:pt x="28919" y="212908"/>
                    <a:pt x="28798" y="212463"/>
                    <a:pt x="28683" y="212026"/>
                  </a:cubicBezTo>
                  <a:cubicBezTo>
                    <a:pt x="28475" y="211241"/>
                    <a:pt x="28269" y="210455"/>
                    <a:pt x="28087" y="209709"/>
                  </a:cubicBezTo>
                  <a:lnTo>
                    <a:pt x="27712" y="208171"/>
                  </a:lnTo>
                  <a:cubicBezTo>
                    <a:pt x="27525" y="207399"/>
                    <a:pt x="27352" y="206629"/>
                    <a:pt x="27165" y="205781"/>
                  </a:cubicBezTo>
                  <a:cubicBezTo>
                    <a:pt x="27060" y="205318"/>
                    <a:pt x="26957" y="204856"/>
                    <a:pt x="26850" y="204346"/>
                  </a:cubicBezTo>
                  <a:cubicBezTo>
                    <a:pt x="26680" y="203546"/>
                    <a:pt x="26524" y="202745"/>
                    <a:pt x="26364" y="201912"/>
                  </a:cubicBezTo>
                  <a:lnTo>
                    <a:pt x="26090" y="200503"/>
                  </a:lnTo>
                  <a:cubicBezTo>
                    <a:pt x="25928" y="199631"/>
                    <a:pt x="25784" y="198754"/>
                    <a:pt x="25630" y="197826"/>
                  </a:cubicBezTo>
                  <a:lnTo>
                    <a:pt x="25434" y="196670"/>
                  </a:lnTo>
                  <a:cubicBezTo>
                    <a:pt x="25236" y="195393"/>
                    <a:pt x="25048" y="194113"/>
                    <a:pt x="24883" y="192825"/>
                  </a:cubicBezTo>
                  <a:cubicBezTo>
                    <a:pt x="24876" y="192765"/>
                    <a:pt x="24866" y="192701"/>
                    <a:pt x="24859" y="192638"/>
                  </a:cubicBezTo>
                  <a:cubicBezTo>
                    <a:pt x="24702" y="191396"/>
                    <a:pt x="24555" y="190149"/>
                    <a:pt x="24430" y="188923"/>
                  </a:cubicBezTo>
                  <a:lnTo>
                    <a:pt x="24295" y="187432"/>
                  </a:lnTo>
                  <a:cubicBezTo>
                    <a:pt x="24218" y="186621"/>
                    <a:pt x="24142" y="185811"/>
                    <a:pt x="24079" y="184966"/>
                  </a:cubicBezTo>
                  <a:cubicBezTo>
                    <a:pt x="24049" y="184584"/>
                    <a:pt x="24027" y="184203"/>
                    <a:pt x="24001" y="183822"/>
                  </a:cubicBezTo>
                  <a:lnTo>
                    <a:pt x="23969" y="183330"/>
                  </a:lnTo>
                  <a:cubicBezTo>
                    <a:pt x="23920" y="182564"/>
                    <a:pt x="23871" y="181794"/>
                    <a:pt x="23834" y="181059"/>
                  </a:cubicBezTo>
                  <a:cubicBezTo>
                    <a:pt x="23806" y="180466"/>
                    <a:pt x="23783" y="179869"/>
                    <a:pt x="23761" y="179277"/>
                  </a:cubicBezTo>
                  <a:cubicBezTo>
                    <a:pt x="23733" y="178526"/>
                    <a:pt x="23710" y="177780"/>
                    <a:pt x="23691" y="177060"/>
                  </a:cubicBezTo>
                  <a:cubicBezTo>
                    <a:pt x="23677" y="176452"/>
                    <a:pt x="23668" y="175840"/>
                    <a:pt x="23662" y="175253"/>
                  </a:cubicBezTo>
                  <a:cubicBezTo>
                    <a:pt x="23655" y="174538"/>
                    <a:pt x="23648" y="173822"/>
                    <a:pt x="23655" y="173073"/>
                  </a:cubicBezTo>
                  <a:cubicBezTo>
                    <a:pt x="23658" y="172449"/>
                    <a:pt x="23662" y="171827"/>
                    <a:pt x="23672" y="171200"/>
                  </a:cubicBezTo>
                  <a:cubicBezTo>
                    <a:pt x="23684" y="170560"/>
                    <a:pt x="23699" y="169919"/>
                    <a:pt x="23716" y="169282"/>
                  </a:cubicBezTo>
                  <a:lnTo>
                    <a:pt x="23786" y="167192"/>
                  </a:lnTo>
                  <a:cubicBezTo>
                    <a:pt x="23820" y="166459"/>
                    <a:pt x="23859" y="165724"/>
                    <a:pt x="23910" y="164912"/>
                  </a:cubicBezTo>
                  <a:lnTo>
                    <a:pt x="23928" y="164571"/>
                  </a:lnTo>
                  <a:cubicBezTo>
                    <a:pt x="23954" y="164101"/>
                    <a:pt x="23977" y="163631"/>
                    <a:pt x="24014" y="163132"/>
                  </a:cubicBezTo>
                  <a:cubicBezTo>
                    <a:pt x="24060" y="162474"/>
                    <a:pt x="24117" y="161814"/>
                    <a:pt x="24174" y="161154"/>
                  </a:cubicBezTo>
                  <a:lnTo>
                    <a:pt x="24344" y="159107"/>
                  </a:lnTo>
                  <a:cubicBezTo>
                    <a:pt x="24447" y="158074"/>
                    <a:pt x="24564" y="157037"/>
                    <a:pt x="24681" y="156046"/>
                  </a:cubicBezTo>
                  <a:lnTo>
                    <a:pt x="24789" y="155055"/>
                  </a:lnTo>
                  <a:cubicBezTo>
                    <a:pt x="34917" y="73101"/>
                    <a:pt x="109829" y="14655"/>
                    <a:pt x="191785" y="24788"/>
                  </a:cubicBezTo>
                  <a:cubicBezTo>
                    <a:pt x="273737" y="34917"/>
                    <a:pt x="332173" y="109831"/>
                    <a:pt x="322042" y="191834"/>
                  </a:cubicBezTo>
                  <a:lnTo>
                    <a:pt x="321918" y="192725"/>
                  </a:lnTo>
                  <a:cubicBezTo>
                    <a:pt x="321783" y="193749"/>
                    <a:pt x="321648" y="194771"/>
                    <a:pt x="321492" y="195812"/>
                  </a:cubicBezTo>
                  <a:cubicBezTo>
                    <a:pt x="321439" y="196171"/>
                    <a:pt x="321380" y="196528"/>
                    <a:pt x="321321" y="196885"/>
                  </a:cubicBezTo>
                  <a:lnTo>
                    <a:pt x="321146" y="197945"/>
                  </a:lnTo>
                  <a:cubicBezTo>
                    <a:pt x="321045" y="198572"/>
                    <a:pt x="320942" y="199198"/>
                    <a:pt x="320835" y="199807"/>
                  </a:cubicBezTo>
                  <a:cubicBezTo>
                    <a:pt x="320752" y="200273"/>
                    <a:pt x="320662" y="200735"/>
                    <a:pt x="320571" y="201198"/>
                  </a:cubicBezTo>
                  <a:lnTo>
                    <a:pt x="320488" y="201628"/>
                  </a:lnTo>
                  <a:cubicBezTo>
                    <a:pt x="320352" y="202354"/>
                    <a:pt x="320212" y="203082"/>
                    <a:pt x="320073" y="203762"/>
                  </a:cubicBezTo>
                  <a:lnTo>
                    <a:pt x="319677" y="205595"/>
                  </a:lnTo>
                  <a:cubicBezTo>
                    <a:pt x="319522" y="206308"/>
                    <a:pt x="319364" y="207017"/>
                    <a:pt x="319196" y="207738"/>
                  </a:cubicBezTo>
                  <a:cubicBezTo>
                    <a:pt x="319057" y="208332"/>
                    <a:pt x="318913" y="208922"/>
                    <a:pt x="318763" y="209534"/>
                  </a:cubicBezTo>
                  <a:cubicBezTo>
                    <a:pt x="318587" y="210250"/>
                    <a:pt x="318404" y="210963"/>
                    <a:pt x="318231" y="211627"/>
                  </a:cubicBezTo>
                  <a:cubicBezTo>
                    <a:pt x="318076" y="212214"/>
                    <a:pt x="317920" y="212797"/>
                    <a:pt x="317760" y="213387"/>
                  </a:cubicBezTo>
                  <a:cubicBezTo>
                    <a:pt x="317563" y="214102"/>
                    <a:pt x="317359" y="214808"/>
                    <a:pt x="317160" y="215498"/>
                  </a:cubicBezTo>
                  <a:lnTo>
                    <a:pt x="317036" y="215919"/>
                  </a:lnTo>
                  <a:cubicBezTo>
                    <a:pt x="316912" y="216343"/>
                    <a:pt x="316787" y="216769"/>
                    <a:pt x="316649" y="217225"/>
                  </a:cubicBezTo>
                  <a:cubicBezTo>
                    <a:pt x="316447" y="217889"/>
                    <a:pt x="316238" y="218550"/>
                    <a:pt x="316027" y="219206"/>
                  </a:cubicBezTo>
                  <a:lnTo>
                    <a:pt x="315457" y="220978"/>
                  </a:lnTo>
                  <a:cubicBezTo>
                    <a:pt x="315189" y="221780"/>
                    <a:pt x="314911" y="222570"/>
                    <a:pt x="314637" y="223346"/>
                  </a:cubicBezTo>
                  <a:lnTo>
                    <a:pt x="314173" y="224671"/>
                  </a:lnTo>
                  <a:cubicBezTo>
                    <a:pt x="313738" y="225861"/>
                    <a:pt x="313294" y="227041"/>
                    <a:pt x="312865" y="228140"/>
                  </a:cubicBezTo>
                  <a:lnTo>
                    <a:pt x="312820" y="228260"/>
                  </a:lnTo>
                  <a:cubicBezTo>
                    <a:pt x="312804" y="228294"/>
                    <a:pt x="312792" y="228327"/>
                    <a:pt x="312779" y="228362"/>
                  </a:cubicBezTo>
                  <a:cubicBezTo>
                    <a:pt x="312301" y="229582"/>
                    <a:pt x="311806" y="230787"/>
                    <a:pt x="311317" y="231940"/>
                  </a:cubicBezTo>
                  <a:lnTo>
                    <a:pt x="310805" y="233104"/>
                  </a:lnTo>
                  <a:cubicBezTo>
                    <a:pt x="310450" y="233923"/>
                    <a:pt x="310094" y="234737"/>
                    <a:pt x="309709" y="235582"/>
                  </a:cubicBezTo>
                  <a:cubicBezTo>
                    <a:pt x="309519" y="236000"/>
                    <a:pt x="309324" y="236413"/>
                    <a:pt x="309112" y="236866"/>
                  </a:cubicBezTo>
                  <a:cubicBezTo>
                    <a:pt x="308763" y="237614"/>
                    <a:pt x="308411" y="238362"/>
                    <a:pt x="308051" y="239101"/>
                  </a:cubicBezTo>
                  <a:cubicBezTo>
                    <a:pt x="307835" y="239539"/>
                    <a:pt x="307618" y="239975"/>
                    <a:pt x="307375" y="240458"/>
                  </a:cubicBezTo>
                  <a:cubicBezTo>
                    <a:pt x="307019" y="241172"/>
                    <a:pt x="306656" y="241884"/>
                    <a:pt x="306243" y="242677"/>
                  </a:cubicBezTo>
                  <a:cubicBezTo>
                    <a:pt x="306074" y="243007"/>
                    <a:pt x="305898" y="243335"/>
                    <a:pt x="305725" y="243661"/>
                  </a:cubicBezTo>
                  <a:lnTo>
                    <a:pt x="305579" y="243937"/>
                  </a:lnTo>
                  <a:cubicBezTo>
                    <a:pt x="305197" y="244654"/>
                    <a:pt x="304808" y="245365"/>
                    <a:pt x="304415" y="246074"/>
                  </a:cubicBezTo>
                  <a:cubicBezTo>
                    <a:pt x="304184" y="246492"/>
                    <a:pt x="303949" y="246907"/>
                    <a:pt x="303693" y="247358"/>
                  </a:cubicBezTo>
                  <a:cubicBezTo>
                    <a:pt x="303280" y="248089"/>
                    <a:pt x="302855" y="248815"/>
                    <a:pt x="302449" y="249507"/>
                  </a:cubicBezTo>
                  <a:lnTo>
                    <a:pt x="301743" y="250695"/>
                  </a:lnTo>
                  <a:cubicBezTo>
                    <a:pt x="301279" y="251469"/>
                    <a:pt x="300801" y="252234"/>
                    <a:pt x="300306" y="253022"/>
                  </a:cubicBezTo>
                  <a:lnTo>
                    <a:pt x="299985" y="253546"/>
                  </a:lnTo>
                  <a:cubicBezTo>
                    <a:pt x="299943" y="253610"/>
                    <a:pt x="299899" y="253676"/>
                    <a:pt x="299857" y="253741"/>
                  </a:cubicBezTo>
                  <a:cubicBezTo>
                    <a:pt x="294728" y="261803"/>
                    <a:pt x="288842" y="269329"/>
                    <a:pt x="282292" y="276254"/>
                  </a:cubicBezTo>
                  <a:cubicBezTo>
                    <a:pt x="271673" y="257396"/>
                    <a:pt x="254299" y="250334"/>
                    <a:pt x="251260" y="249220"/>
                  </a:cubicBezTo>
                  <a:lnTo>
                    <a:pt x="207947" y="231853"/>
                  </a:lnTo>
                  <a:lnTo>
                    <a:pt x="207947" y="225405"/>
                  </a:lnTo>
                  <a:cubicBezTo>
                    <a:pt x="221302" y="218349"/>
                    <a:pt x="232090" y="206507"/>
                    <a:pt x="238388" y="191966"/>
                  </a:cubicBezTo>
                  <a:cubicBezTo>
                    <a:pt x="238905" y="192038"/>
                    <a:pt x="239429" y="192090"/>
                    <a:pt x="239968" y="192090"/>
                  </a:cubicBezTo>
                  <a:cubicBezTo>
                    <a:pt x="256577" y="192090"/>
                    <a:pt x="270090" y="177944"/>
                    <a:pt x="270090" y="160559"/>
                  </a:cubicBezTo>
                  <a:cubicBezTo>
                    <a:pt x="270090" y="147886"/>
                    <a:pt x="262894" y="136963"/>
                    <a:pt x="252568" y="131957"/>
                  </a:cubicBezTo>
                  <a:lnTo>
                    <a:pt x="252568" y="123113"/>
                  </a:lnTo>
                  <a:cubicBezTo>
                    <a:pt x="252568" y="77634"/>
                    <a:pt x="218296" y="40631"/>
                    <a:pt x="176169" y="40631"/>
                  </a:cubicBezTo>
                  <a:lnTo>
                    <a:pt x="170745" y="40631"/>
                  </a:lnTo>
                  <a:cubicBezTo>
                    <a:pt x="128618" y="40631"/>
                    <a:pt x="94346" y="77634"/>
                    <a:pt x="94346" y="123113"/>
                  </a:cubicBezTo>
                  <a:lnTo>
                    <a:pt x="94346" y="131994"/>
                  </a:lnTo>
                  <a:cubicBezTo>
                    <a:pt x="84059" y="137017"/>
                    <a:pt x="76899" y="147915"/>
                    <a:pt x="76899" y="160557"/>
                  </a:cubicBezTo>
                  <a:cubicBezTo>
                    <a:pt x="76899" y="177943"/>
                    <a:pt x="90412" y="192088"/>
                    <a:pt x="107021" y="192088"/>
                  </a:cubicBezTo>
                  <a:cubicBezTo>
                    <a:pt x="107603" y="192088"/>
                    <a:pt x="108170" y="192031"/>
                    <a:pt x="108729" y="191945"/>
                  </a:cubicBezTo>
                  <a:cubicBezTo>
                    <a:pt x="115178" y="206848"/>
                    <a:pt x="126345" y="218915"/>
                    <a:pt x="140158" y="225904"/>
                  </a:cubicBezTo>
                  <a:lnTo>
                    <a:pt x="140158" y="231784"/>
                  </a:lnTo>
                  <a:lnTo>
                    <a:pt x="95681" y="249202"/>
                  </a:lnTo>
                  <a:cubicBezTo>
                    <a:pt x="92791" y="250256"/>
                    <a:pt x="75263" y="257307"/>
                    <a:pt x="64587" y="276295"/>
                  </a:cubicBezTo>
                  <a:cubicBezTo>
                    <a:pt x="64392" y="276086"/>
                    <a:pt x="64193" y="275881"/>
                    <a:pt x="63997" y="275669"/>
                  </a:cubicBezTo>
                  <a:cubicBezTo>
                    <a:pt x="63572" y="275213"/>
                    <a:pt x="63151" y="274762"/>
                    <a:pt x="62732" y="274300"/>
                  </a:cubicBezTo>
                  <a:cubicBezTo>
                    <a:pt x="62319" y="273846"/>
                    <a:pt x="61910" y="273388"/>
                    <a:pt x="61527" y="272956"/>
                  </a:cubicBezTo>
                  <a:lnTo>
                    <a:pt x="60253" y="271506"/>
                  </a:lnTo>
                  <a:cubicBezTo>
                    <a:pt x="59857" y="271053"/>
                    <a:pt x="59468" y="270594"/>
                    <a:pt x="59066" y="270114"/>
                  </a:cubicBezTo>
                  <a:cubicBezTo>
                    <a:pt x="58663" y="269640"/>
                    <a:pt x="58262" y="269162"/>
                    <a:pt x="57899" y="268723"/>
                  </a:cubicBezTo>
                  <a:lnTo>
                    <a:pt x="56711" y="267249"/>
                  </a:lnTo>
                  <a:cubicBezTo>
                    <a:pt x="52800" y="262388"/>
                    <a:pt x="45690" y="261619"/>
                    <a:pt x="40826" y="265528"/>
                  </a:cubicBezTo>
                  <a:cubicBezTo>
                    <a:pt x="35963" y="269440"/>
                    <a:pt x="35194" y="276550"/>
                    <a:pt x="39104" y="281413"/>
                  </a:cubicBezTo>
                  <a:lnTo>
                    <a:pt x="39372" y="281747"/>
                  </a:lnTo>
                  <a:cubicBezTo>
                    <a:pt x="39722" y="282181"/>
                    <a:pt x="40071" y="282614"/>
                    <a:pt x="40457" y="283090"/>
                  </a:cubicBezTo>
                  <a:cubicBezTo>
                    <a:pt x="40907" y="283632"/>
                    <a:pt x="41366" y="284174"/>
                    <a:pt x="41807" y="284695"/>
                  </a:cubicBezTo>
                  <a:cubicBezTo>
                    <a:pt x="42273" y="285247"/>
                    <a:pt x="42737" y="285795"/>
                    <a:pt x="43194" y="286321"/>
                  </a:cubicBezTo>
                  <a:cubicBezTo>
                    <a:pt x="43551" y="286732"/>
                    <a:pt x="43914" y="287142"/>
                    <a:pt x="44275" y="287550"/>
                  </a:cubicBezTo>
                  <a:lnTo>
                    <a:pt x="44618" y="287937"/>
                  </a:lnTo>
                  <a:cubicBezTo>
                    <a:pt x="45082" y="288460"/>
                    <a:pt x="45547" y="288979"/>
                    <a:pt x="46013" y="289494"/>
                  </a:cubicBezTo>
                  <a:cubicBezTo>
                    <a:pt x="46500" y="290028"/>
                    <a:pt x="46992" y="290559"/>
                    <a:pt x="47482" y="291083"/>
                  </a:cubicBezTo>
                  <a:cubicBezTo>
                    <a:pt x="47960" y="291596"/>
                    <a:pt x="48442" y="292111"/>
                    <a:pt x="48934" y="292622"/>
                  </a:cubicBezTo>
                  <a:cubicBezTo>
                    <a:pt x="49432" y="293143"/>
                    <a:pt x="49934" y="293659"/>
                    <a:pt x="50542" y="294278"/>
                  </a:cubicBezTo>
                  <a:cubicBezTo>
                    <a:pt x="51011" y="294756"/>
                    <a:pt x="51478" y="295232"/>
                    <a:pt x="51917" y="295664"/>
                  </a:cubicBezTo>
                  <a:cubicBezTo>
                    <a:pt x="52429" y="296173"/>
                    <a:pt x="52943" y="296681"/>
                    <a:pt x="53462" y="297186"/>
                  </a:cubicBezTo>
                  <a:cubicBezTo>
                    <a:pt x="53960" y="297667"/>
                    <a:pt x="54459" y="298143"/>
                    <a:pt x="54952" y="298613"/>
                  </a:cubicBezTo>
                  <a:cubicBezTo>
                    <a:pt x="55486" y="299122"/>
                    <a:pt x="56026" y="299630"/>
                    <a:pt x="56552" y="300112"/>
                  </a:cubicBezTo>
                  <a:cubicBezTo>
                    <a:pt x="57065" y="300586"/>
                    <a:pt x="57585" y="301059"/>
                    <a:pt x="58132" y="301552"/>
                  </a:cubicBezTo>
                  <a:lnTo>
                    <a:pt x="58328" y="301727"/>
                  </a:lnTo>
                  <a:cubicBezTo>
                    <a:pt x="58789" y="302140"/>
                    <a:pt x="59249" y="302553"/>
                    <a:pt x="59702" y="302951"/>
                  </a:cubicBezTo>
                  <a:cubicBezTo>
                    <a:pt x="60162" y="303358"/>
                    <a:pt x="60626" y="303756"/>
                    <a:pt x="61091" y="304155"/>
                  </a:cubicBezTo>
                  <a:lnTo>
                    <a:pt x="61311" y="304345"/>
                  </a:lnTo>
                  <a:cubicBezTo>
                    <a:pt x="61863" y="304819"/>
                    <a:pt x="62416" y="305296"/>
                    <a:pt x="62959" y="305747"/>
                  </a:cubicBezTo>
                  <a:cubicBezTo>
                    <a:pt x="63417" y="306131"/>
                    <a:pt x="63878" y="306508"/>
                    <a:pt x="64338" y="306883"/>
                  </a:cubicBezTo>
                  <a:lnTo>
                    <a:pt x="64650" y="307138"/>
                  </a:lnTo>
                  <a:cubicBezTo>
                    <a:pt x="65192" y="307581"/>
                    <a:pt x="65736" y="308025"/>
                    <a:pt x="66276" y="308454"/>
                  </a:cubicBezTo>
                  <a:cubicBezTo>
                    <a:pt x="66841" y="308903"/>
                    <a:pt x="67414" y="309346"/>
                    <a:pt x="67948" y="309758"/>
                  </a:cubicBezTo>
                  <a:lnTo>
                    <a:pt x="68227" y="309976"/>
                  </a:lnTo>
                  <a:cubicBezTo>
                    <a:pt x="68706" y="310348"/>
                    <a:pt x="69183" y="310719"/>
                    <a:pt x="69664" y="311081"/>
                  </a:cubicBezTo>
                  <a:cubicBezTo>
                    <a:pt x="70091" y="311404"/>
                    <a:pt x="70524" y="311722"/>
                    <a:pt x="70955" y="312039"/>
                  </a:cubicBezTo>
                  <a:lnTo>
                    <a:pt x="71706" y="312590"/>
                  </a:lnTo>
                  <a:cubicBezTo>
                    <a:pt x="72177" y="312936"/>
                    <a:pt x="72646" y="313284"/>
                    <a:pt x="73109" y="313616"/>
                  </a:cubicBezTo>
                  <a:cubicBezTo>
                    <a:pt x="73629" y="313990"/>
                    <a:pt x="74152" y="314353"/>
                    <a:pt x="74678" y="314717"/>
                  </a:cubicBezTo>
                  <a:lnTo>
                    <a:pt x="75353" y="315189"/>
                  </a:lnTo>
                  <a:cubicBezTo>
                    <a:pt x="75777" y="315487"/>
                    <a:pt x="76201" y="315785"/>
                    <a:pt x="76626" y="316074"/>
                  </a:cubicBezTo>
                  <a:cubicBezTo>
                    <a:pt x="77238" y="316492"/>
                    <a:pt x="77858" y="316900"/>
                    <a:pt x="78478" y="317305"/>
                  </a:cubicBezTo>
                  <a:lnTo>
                    <a:pt x="78787" y="317509"/>
                  </a:lnTo>
                  <a:cubicBezTo>
                    <a:pt x="79599" y="318042"/>
                    <a:pt x="80412" y="318569"/>
                    <a:pt x="81195" y="319064"/>
                  </a:cubicBezTo>
                  <a:cubicBezTo>
                    <a:pt x="82058" y="319614"/>
                    <a:pt x="82925" y="320162"/>
                    <a:pt x="83804" y="320698"/>
                  </a:cubicBezTo>
                  <a:cubicBezTo>
                    <a:pt x="84210" y="320946"/>
                    <a:pt x="84621" y="321186"/>
                    <a:pt x="85030" y="321427"/>
                  </a:cubicBezTo>
                  <a:lnTo>
                    <a:pt x="85920" y="321954"/>
                  </a:lnTo>
                  <a:cubicBezTo>
                    <a:pt x="86461" y="322277"/>
                    <a:pt x="87004" y="322602"/>
                    <a:pt x="87516" y="322892"/>
                  </a:cubicBezTo>
                  <a:cubicBezTo>
                    <a:pt x="87922" y="323127"/>
                    <a:pt x="88333" y="323356"/>
                    <a:pt x="88741" y="323584"/>
                  </a:cubicBezTo>
                  <a:lnTo>
                    <a:pt x="89544" y="324032"/>
                  </a:lnTo>
                  <a:cubicBezTo>
                    <a:pt x="90133" y="324364"/>
                    <a:pt x="90719" y="324692"/>
                    <a:pt x="91304" y="325008"/>
                  </a:cubicBezTo>
                  <a:cubicBezTo>
                    <a:pt x="91731" y="325240"/>
                    <a:pt x="92159" y="325467"/>
                    <a:pt x="92593" y="325692"/>
                  </a:cubicBezTo>
                  <a:lnTo>
                    <a:pt x="93123" y="325970"/>
                  </a:lnTo>
                  <a:cubicBezTo>
                    <a:pt x="93794" y="326325"/>
                    <a:pt x="94467" y="326680"/>
                    <a:pt x="95174" y="327042"/>
                  </a:cubicBezTo>
                  <a:cubicBezTo>
                    <a:pt x="95661" y="327289"/>
                    <a:pt x="96148" y="327530"/>
                    <a:pt x="96638" y="327770"/>
                  </a:cubicBezTo>
                  <a:lnTo>
                    <a:pt x="97505" y="328198"/>
                  </a:lnTo>
                  <a:cubicBezTo>
                    <a:pt x="98022" y="328454"/>
                    <a:pt x="98541" y="328710"/>
                    <a:pt x="99097" y="328975"/>
                  </a:cubicBezTo>
                  <a:cubicBezTo>
                    <a:pt x="99721" y="329271"/>
                    <a:pt x="100345" y="329562"/>
                    <a:pt x="100968" y="329849"/>
                  </a:cubicBezTo>
                  <a:cubicBezTo>
                    <a:pt x="101650" y="330165"/>
                    <a:pt x="102338" y="330482"/>
                    <a:pt x="103028" y="330789"/>
                  </a:cubicBezTo>
                  <a:cubicBezTo>
                    <a:pt x="103671" y="331076"/>
                    <a:pt x="104321" y="331359"/>
                    <a:pt x="104986" y="331644"/>
                  </a:cubicBezTo>
                  <a:cubicBezTo>
                    <a:pt x="105665" y="331936"/>
                    <a:pt x="106344" y="332230"/>
                    <a:pt x="107078" y="332536"/>
                  </a:cubicBezTo>
                  <a:cubicBezTo>
                    <a:pt x="107725" y="332803"/>
                    <a:pt x="108369" y="333066"/>
                    <a:pt x="108997" y="333318"/>
                  </a:cubicBezTo>
                  <a:cubicBezTo>
                    <a:pt x="109708" y="333605"/>
                    <a:pt x="110421" y="333887"/>
                    <a:pt x="111162" y="334173"/>
                  </a:cubicBezTo>
                  <a:cubicBezTo>
                    <a:pt x="111813" y="334423"/>
                    <a:pt x="112462" y="334671"/>
                    <a:pt x="113108" y="334910"/>
                  </a:cubicBezTo>
                  <a:cubicBezTo>
                    <a:pt x="113830" y="335180"/>
                    <a:pt x="114553" y="335443"/>
                    <a:pt x="115309" y="335713"/>
                  </a:cubicBezTo>
                  <a:lnTo>
                    <a:pt x="117296" y="336410"/>
                  </a:lnTo>
                  <a:cubicBezTo>
                    <a:pt x="118030" y="336661"/>
                    <a:pt x="118762" y="336905"/>
                    <a:pt x="119497" y="337147"/>
                  </a:cubicBezTo>
                  <a:cubicBezTo>
                    <a:pt x="120157" y="337364"/>
                    <a:pt x="120820" y="337577"/>
                    <a:pt x="121497" y="337791"/>
                  </a:cubicBezTo>
                  <a:cubicBezTo>
                    <a:pt x="122228" y="338020"/>
                    <a:pt x="122968" y="338247"/>
                    <a:pt x="123747" y="338482"/>
                  </a:cubicBezTo>
                  <a:cubicBezTo>
                    <a:pt x="124406" y="338679"/>
                    <a:pt x="125070" y="338877"/>
                    <a:pt x="125735" y="339068"/>
                  </a:cubicBezTo>
                  <a:cubicBezTo>
                    <a:pt x="126504" y="339287"/>
                    <a:pt x="127278" y="339500"/>
                    <a:pt x="128064" y="339715"/>
                  </a:cubicBezTo>
                  <a:lnTo>
                    <a:pt x="128465" y="339823"/>
                  </a:lnTo>
                  <a:cubicBezTo>
                    <a:pt x="128993" y="339967"/>
                    <a:pt x="129522" y="340109"/>
                    <a:pt x="130042" y="340244"/>
                  </a:cubicBezTo>
                  <a:cubicBezTo>
                    <a:pt x="130810" y="340442"/>
                    <a:pt x="131584" y="340632"/>
                    <a:pt x="132423" y="340837"/>
                  </a:cubicBezTo>
                  <a:lnTo>
                    <a:pt x="132704" y="340906"/>
                  </a:lnTo>
                  <a:cubicBezTo>
                    <a:pt x="133263" y="341041"/>
                    <a:pt x="133821" y="341179"/>
                    <a:pt x="134403" y="341314"/>
                  </a:cubicBezTo>
                  <a:cubicBezTo>
                    <a:pt x="135064" y="341469"/>
                    <a:pt x="135731" y="341611"/>
                    <a:pt x="136394" y="341755"/>
                  </a:cubicBezTo>
                  <a:lnTo>
                    <a:pt x="137403" y="341973"/>
                  </a:lnTo>
                  <a:cubicBezTo>
                    <a:pt x="137867" y="342075"/>
                    <a:pt x="138331" y="342177"/>
                    <a:pt x="138819" y="342276"/>
                  </a:cubicBezTo>
                  <a:cubicBezTo>
                    <a:pt x="139575" y="342429"/>
                    <a:pt x="140336" y="342571"/>
                    <a:pt x="141094" y="342714"/>
                  </a:cubicBezTo>
                  <a:lnTo>
                    <a:pt x="143268" y="343122"/>
                  </a:lnTo>
                  <a:cubicBezTo>
                    <a:pt x="144066" y="343263"/>
                    <a:pt x="144866" y="343392"/>
                    <a:pt x="145666" y="343522"/>
                  </a:cubicBezTo>
                  <a:lnTo>
                    <a:pt x="146752" y="343696"/>
                  </a:lnTo>
                  <a:cubicBezTo>
                    <a:pt x="147082" y="343752"/>
                    <a:pt x="147411" y="343806"/>
                    <a:pt x="147760" y="343858"/>
                  </a:cubicBezTo>
                  <a:cubicBezTo>
                    <a:pt x="149183" y="344070"/>
                    <a:pt x="150612" y="344267"/>
                    <a:pt x="152050" y="344447"/>
                  </a:cubicBezTo>
                  <a:cubicBezTo>
                    <a:pt x="152057" y="344448"/>
                    <a:pt x="152067" y="344450"/>
                    <a:pt x="152074" y="344451"/>
                  </a:cubicBezTo>
                  <a:cubicBezTo>
                    <a:pt x="152230" y="344474"/>
                    <a:pt x="152386" y="344492"/>
                    <a:pt x="152544" y="344509"/>
                  </a:cubicBezTo>
                  <a:cubicBezTo>
                    <a:pt x="153977" y="344683"/>
                    <a:pt x="155408" y="344841"/>
                    <a:pt x="156795" y="344974"/>
                  </a:cubicBezTo>
                  <a:cubicBezTo>
                    <a:pt x="157145" y="345009"/>
                    <a:pt x="157494" y="345039"/>
                    <a:pt x="157840" y="345067"/>
                  </a:cubicBezTo>
                  <a:lnTo>
                    <a:pt x="158804" y="345152"/>
                  </a:lnTo>
                  <a:cubicBezTo>
                    <a:pt x="159662" y="345226"/>
                    <a:pt x="160517" y="345301"/>
                    <a:pt x="161388" y="345361"/>
                  </a:cubicBezTo>
                  <a:cubicBezTo>
                    <a:pt x="161791" y="345391"/>
                    <a:pt x="162195" y="345412"/>
                    <a:pt x="162600" y="345437"/>
                  </a:cubicBezTo>
                  <a:lnTo>
                    <a:pt x="163629" y="345497"/>
                  </a:lnTo>
                  <a:cubicBezTo>
                    <a:pt x="164380" y="345542"/>
                    <a:pt x="165130" y="345589"/>
                    <a:pt x="165910" y="345624"/>
                  </a:cubicBezTo>
                  <a:cubicBezTo>
                    <a:pt x="166369" y="345644"/>
                    <a:pt x="166826" y="345658"/>
                    <a:pt x="167284" y="345670"/>
                  </a:cubicBezTo>
                  <a:lnTo>
                    <a:pt x="168456" y="345708"/>
                  </a:lnTo>
                  <a:cubicBezTo>
                    <a:pt x="169109" y="345731"/>
                    <a:pt x="169762" y="345751"/>
                    <a:pt x="170395" y="345763"/>
                  </a:cubicBezTo>
                  <a:cubicBezTo>
                    <a:pt x="171001" y="345774"/>
                    <a:pt x="171611" y="345777"/>
                    <a:pt x="172217" y="345780"/>
                  </a:cubicBezTo>
                  <a:lnTo>
                    <a:pt x="172397" y="345782"/>
                  </a:lnTo>
                  <a:cubicBezTo>
                    <a:pt x="172951" y="345786"/>
                    <a:pt x="173507" y="345790"/>
                    <a:pt x="174062" y="345790"/>
                  </a:cubicBezTo>
                  <a:cubicBezTo>
                    <a:pt x="174334" y="345790"/>
                    <a:pt x="174605" y="345789"/>
                    <a:pt x="174875" y="345787"/>
                  </a:cubicBezTo>
                  <a:cubicBezTo>
                    <a:pt x="175471" y="345783"/>
                    <a:pt x="176072" y="345772"/>
                    <a:pt x="176668" y="345760"/>
                  </a:cubicBezTo>
                  <a:lnTo>
                    <a:pt x="176951" y="345756"/>
                  </a:lnTo>
                  <a:cubicBezTo>
                    <a:pt x="177751" y="345739"/>
                    <a:pt x="178550" y="345722"/>
                    <a:pt x="179324" y="345696"/>
                  </a:cubicBezTo>
                  <a:cubicBezTo>
                    <a:pt x="179947" y="345676"/>
                    <a:pt x="180575" y="345649"/>
                    <a:pt x="181200" y="345618"/>
                  </a:cubicBezTo>
                  <a:lnTo>
                    <a:pt x="181447" y="345607"/>
                  </a:lnTo>
                  <a:cubicBezTo>
                    <a:pt x="182231" y="345571"/>
                    <a:pt x="183014" y="345531"/>
                    <a:pt x="183726" y="345489"/>
                  </a:cubicBezTo>
                  <a:cubicBezTo>
                    <a:pt x="184363" y="345455"/>
                    <a:pt x="184997" y="345410"/>
                    <a:pt x="185632" y="345365"/>
                  </a:cubicBezTo>
                  <a:lnTo>
                    <a:pt x="185882" y="345348"/>
                  </a:lnTo>
                  <a:cubicBezTo>
                    <a:pt x="186659" y="345292"/>
                    <a:pt x="187440" y="345233"/>
                    <a:pt x="188213" y="345166"/>
                  </a:cubicBezTo>
                  <a:cubicBezTo>
                    <a:pt x="188911" y="345105"/>
                    <a:pt x="189608" y="345042"/>
                    <a:pt x="190282" y="344976"/>
                  </a:cubicBezTo>
                  <a:cubicBezTo>
                    <a:pt x="191061" y="344900"/>
                    <a:pt x="191826" y="344821"/>
                    <a:pt x="192628" y="344731"/>
                  </a:cubicBezTo>
                  <a:lnTo>
                    <a:pt x="194675" y="344493"/>
                  </a:lnTo>
                  <a:cubicBezTo>
                    <a:pt x="195443" y="344398"/>
                    <a:pt x="196201" y="344297"/>
                    <a:pt x="196974" y="344191"/>
                  </a:cubicBezTo>
                  <a:cubicBezTo>
                    <a:pt x="197676" y="344094"/>
                    <a:pt x="198379" y="343997"/>
                    <a:pt x="199053" y="343896"/>
                  </a:cubicBezTo>
                  <a:cubicBezTo>
                    <a:pt x="199811" y="343783"/>
                    <a:pt x="200567" y="343661"/>
                    <a:pt x="201273" y="343544"/>
                  </a:cubicBezTo>
                  <a:cubicBezTo>
                    <a:pt x="201986" y="343430"/>
                    <a:pt x="202695" y="343314"/>
                    <a:pt x="203397" y="343188"/>
                  </a:cubicBezTo>
                  <a:cubicBezTo>
                    <a:pt x="204148" y="343056"/>
                    <a:pt x="204893" y="342916"/>
                    <a:pt x="205583" y="342783"/>
                  </a:cubicBezTo>
                  <a:cubicBezTo>
                    <a:pt x="206281" y="342653"/>
                    <a:pt x="206977" y="342518"/>
                    <a:pt x="207663" y="342380"/>
                  </a:cubicBezTo>
                  <a:cubicBezTo>
                    <a:pt x="208376" y="342236"/>
                    <a:pt x="209082" y="342084"/>
                    <a:pt x="209924" y="341902"/>
                  </a:cubicBezTo>
                  <a:lnTo>
                    <a:pt x="210462" y="341784"/>
                  </a:lnTo>
                  <a:cubicBezTo>
                    <a:pt x="210951" y="341678"/>
                    <a:pt x="211440" y="341571"/>
                    <a:pt x="211944" y="341457"/>
                  </a:cubicBezTo>
                  <a:cubicBezTo>
                    <a:pt x="212523" y="341324"/>
                    <a:pt x="213101" y="341183"/>
                    <a:pt x="213676" y="341042"/>
                  </a:cubicBezTo>
                  <a:lnTo>
                    <a:pt x="214783" y="340772"/>
                  </a:lnTo>
                  <a:cubicBezTo>
                    <a:pt x="215240" y="340663"/>
                    <a:pt x="215696" y="340553"/>
                    <a:pt x="216143" y="340436"/>
                  </a:cubicBezTo>
                  <a:cubicBezTo>
                    <a:pt x="216734" y="340286"/>
                    <a:pt x="217317" y="340127"/>
                    <a:pt x="217899" y="339968"/>
                  </a:cubicBezTo>
                  <a:lnTo>
                    <a:pt x="218685" y="339756"/>
                  </a:lnTo>
                  <a:cubicBezTo>
                    <a:pt x="219244" y="339607"/>
                    <a:pt x="219802" y="339459"/>
                    <a:pt x="220341" y="339304"/>
                  </a:cubicBezTo>
                  <a:cubicBezTo>
                    <a:pt x="220940" y="339136"/>
                    <a:pt x="221540" y="338957"/>
                    <a:pt x="222136" y="338776"/>
                  </a:cubicBezTo>
                  <a:lnTo>
                    <a:pt x="223146" y="338476"/>
                  </a:lnTo>
                  <a:cubicBezTo>
                    <a:pt x="223590" y="338345"/>
                    <a:pt x="224035" y="338214"/>
                    <a:pt x="224488" y="338074"/>
                  </a:cubicBezTo>
                  <a:cubicBezTo>
                    <a:pt x="225459" y="337772"/>
                    <a:pt x="226425" y="337454"/>
                    <a:pt x="227393" y="337134"/>
                  </a:cubicBezTo>
                  <a:cubicBezTo>
                    <a:pt x="228307" y="336834"/>
                    <a:pt x="229214" y="336521"/>
                    <a:pt x="230125" y="336204"/>
                  </a:cubicBezTo>
                  <a:lnTo>
                    <a:pt x="230450" y="336091"/>
                  </a:lnTo>
                  <a:cubicBezTo>
                    <a:pt x="231157" y="335845"/>
                    <a:pt x="231863" y="335599"/>
                    <a:pt x="232544" y="335350"/>
                  </a:cubicBezTo>
                  <a:cubicBezTo>
                    <a:pt x="233033" y="335170"/>
                    <a:pt x="233521" y="334984"/>
                    <a:pt x="234009" y="334797"/>
                  </a:cubicBezTo>
                  <a:lnTo>
                    <a:pt x="234689" y="334539"/>
                  </a:lnTo>
                  <a:cubicBezTo>
                    <a:pt x="235324" y="334301"/>
                    <a:pt x="235958" y="334062"/>
                    <a:pt x="236570" y="333819"/>
                  </a:cubicBezTo>
                  <a:cubicBezTo>
                    <a:pt x="237071" y="333622"/>
                    <a:pt x="237569" y="333416"/>
                    <a:pt x="238066" y="333211"/>
                  </a:cubicBezTo>
                  <a:lnTo>
                    <a:pt x="239047" y="332809"/>
                  </a:lnTo>
                  <a:cubicBezTo>
                    <a:pt x="239534" y="332611"/>
                    <a:pt x="240020" y="332411"/>
                    <a:pt x="240560" y="332186"/>
                  </a:cubicBezTo>
                  <a:cubicBezTo>
                    <a:pt x="241093" y="331958"/>
                    <a:pt x="241626" y="331723"/>
                    <a:pt x="242160" y="331490"/>
                  </a:cubicBezTo>
                  <a:lnTo>
                    <a:pt x="244492" y="330458"/>
                  </a:lnTo>
                  <a:cubicBezTo>
                    <a:pt x="245044" y="330205"/>
                    <a:pt x="245594" y="329947"/>
                    <a:pt x="246144" y="329690"/>
                  </a:cubicBezTo>
                  <a:lnTo>
                    <a:pt x="246778" y="329393"/>
                  </a:lnTo>
                  <a:cubicBezTo>
                    <a:pt x="247300" y="329148"/>
                    <a:pt x="247820" y="328905"/>
                    <a:pt x="248342" y="328652"/>
                  </a:cubicBezTo>
                  <a:cubicBezTo>
                    <a:pt x="248997" y="328336"/>
                    <a:pt x="249648" y="328009"/>
                    <a:pt x="250358" y="327654"/>
                  </a:cubicBezTo>
                  <a:cubicBezTo>
                    <a:pt x="250969" y="327351"/>
                    <a:pt x="251580" y="327046"/>
                    <a:pt x="252160" y="326745"/>
                  </a:cubicBezTo>
                  <a:cubicBezTo>
                    <a:pt x="252802" y="326413"/>
                    <a:pt x="253442" y="326076"/>
                    <a:pt x="254081" y="325735"/>
                  </a:cubicBezTo>
                  <a:cubicBezTo>
                    <a:pt x="254698" y="325406"/>
                    <a:pt x="255314" y="325077"/>
                    <a:pt x="255938" y="324738"/>
                  </a:cubicBezTo>
                  <a:cubicBezTo>
                    <a:pt x="256568" y="324394"/>
                    <a:pt x="257194" y="324044"/>
                    <a:pt x="257837" y="323684"/>
                  </a:cubicBezTo>
                  <a:cubicBezTo>
                    <a:pt x="258433" y="323346"/>
                    <a:pt x="259028" y="323010"/>
                    <a:pt x="259664" y="322644"/>
                  </a:cubicBezTo>
                  <a:cubicBezTo>
                    <a:pt x="260279" y="322287"/>
                    <a:pt x="260897" y="321923"/>
                    <a:pt x="261507" y="321560"/>
                  </a:cubicBezTo>
                  <a:cubicBezTo>
                    <a:pt x="262108" y="321204"/>
                    <a:pt x="262705" y="320842"/>
                    <a:pt x="263337" y="320458"/>
                  </a:cubicBezTo>
                  <a:cubicBezTo>
                    <a:pt x="263944" y="320084"/>
                    <a:pt x="264549" y="319711"/>
                    <a:pt x="265158" y="319326"/>
                  </a:cubicBezTo>
                  <a:cubicBezTo>
                    <a:pt x="265755" y="318947"/>
                    <a:pt x="266356" y="318566"/>
                    <a:pt x="266911" y="318205"/>
                  </a:cubicBezTo>
                  <a:cubicBezTo>
                    <a:pt x="267517" y="317813"/>
                    <a:pt x="268118" y="317422"/>
                    <a:pt x="268734" y="317014"/>
                  </a:cubicBezTo>
                  <a:cubicBezTo>
                    <a:pt x="269312" y="316631"/>
                    <a:pt x="269888" y="316238"/>
                    <a:pt x="270502" y="315823"/>
                  </a:cubicBezTo>
                  <a:lnTo>
                    <a:pt x="270843" y="315589"/>
                  </a:lnTo>
                  <a:cubicBezTo>
                    <a:pt x="271317" y="315264"/>
                    <a:pt x="271791" y="314938"/>
                    <a:pt x="272230" y="314632"/>
                  </a:cubicBezTo>
                  <a:cubicBezTo>
                    <a:pt x="272827" y="314214"/>
                    <a:pt x="273427" y="313785"/>
                    <a:pt x="273962" y="313397"/>
                  </a:cubicBezTo>
                  <a:lnTo>
                    <a:pt x="274190" y="313234"/>
                  </a:lnTo>
                  <a:cubicBezTo>
                    <a:pt x="274702" y="312867"/>
                    <a:pt x="275217" y="312498"/>
                    <a:pt x="275692" y="312144"/>
                  </a:cubicBezTo>
                  <a:cubicBezTo>
                    <a:pt x="276281" y="311709"/>
                    <a:pt x="276863" y="311269"/>
                    <a:pt x="277422" y="310845"/>
                  </a:cubicBezTo>
                  <a:lnTo>
                    <a:pt x="277907" y="310479"/>
                  </a:lnTo>
                  <a:cubicBezTo>
                    <a:pt x="278295" y="310184"/>
                    <a:pt x="278686" y="309888"/>
                    <a:pt x="279099" y="309569"/>
                  </a:cubicBezTo>
                  <a:cubicBezTo>
                    <a:pt x="279597" y="309182"/>
                    <a:pt x="280089" y="308787"/>
                    <a:pt x="280582" y="308394"/>
                  </a:cubicBezTo>
                  <a:lnTo>
                    <a:pt x="281157" y="307935"/>
                  </a:lnTo>
                  <a:cubicBezTo>
                    <a:pt x="281587" y="307595"/>
                    <a:pt x="282017" y="307254"/>
                    <a:pt x="282420" y="306924"/>
                  </a:cubicBezTo>
                  <a:cubicBezTo>
                    <a:pt x="282878" y="306550"/>
                    <a:pt x="283329" y="306169"/>
                    <a:pt x="283781" y="305789"/>
                  </a:cubicBezTo>
                  <a:lnTo>
                    <a:pt x="284460" y="305221"/>
                  </a:lnTo>
                  <a:cubicBezTo>
                    <a:pt x="284805" y="304937"/>
                    <a:pt x="285152" y="304649"/>
                    <a:pt x="285494" y="304358"/>
                  </a:cubicBezTo>
                  <a:cubicBezTo>
                    <a:pt x="285574" y="304289"/>
                    <a:pt x="285654" y="304217"/>
                    <a:pt x="285734" y="304145"/>
                  </a:cubicBezTo>
                  <a:cubicBezTo>
                    <a:pt x="298555" y="293134"/>
                    <a:pt x="309659" y="280347"/>
                    <a:pt x="318742" y="266129"/>
                  </a:cubicBezTo>
                  <a:cubicBezTo>
                    <a:pt x="318806" y="266033"/>
                    <a:pt x="318868" y="265940"/>
                    <a:pt x="318930" y="265845"/>
                  </a:cubicBezTo>
                  <a:cubicBezTo>
                    <a:pt x="319068" y="265629"/>
                    <a:pt x="319201" y="265413"/>
                    <a:pt x="319332" y="265195"/>
                  </a:cubicBezTo>
                  <a:lnTo>
                    <a:pt x="319447" y="265007"/>
                  </a:lnTo>
                  <a:cubicBezTo>
                    <a:pt x="320006" y="264115"/>
                    <a:pt x="320567" y="263216"/>
                    <a:pt x="321079" y="262363"/>
                  </a:cubicBezTo>
                  <a:lnTo>
                    <a:pt x="321892" y="260992"/>
                  </a:lnTo>
                  <a:cubicBezTo>
                    <a:pt x="322384" y="260154"/>
                    <a:pt x="322876" y="259315"/>
                    <a:pt x="323333" y="258504"/>
                  </a:cubicBezTo>
                  <a:cubicBezTo>
                    <a:pt x="323613" y="258016"/>
                    <a:pt x="323887" y="257525"/>
                    <a:pt x="324161" y="257029"/>
                  </a:cubicBezTo>
                  <a:cubicBezTo>
                    <a:pt x="324615" y="256210"/>
                    <a:pt x="325064" y="255389"/>
                    <a:pt x="325514" y="254545"/>
                  </a:cubicBezTo>
                  <a:lnTo>
                    <a:pt x="325660" y="254273"/>
                  </a:lnTo>
                  <a:cubicBezTo>
                    <a:pt x="325889" y="253841"/>
                    <a:pt x="326120" y="253408"/>
                    <a:pt x="326299" y="253056"/>
                  </a:cubicBezTo>
                  <a:cubicBezTo>
                    <a:pt x="326735" y="252222"/>
                    <a:pt x="327161" y="251383"/>
                    <a:pt x="327560" y="250584"/>
                  </a:cubicBezTo>
                  <a:cubicBezTo>
                    <a:pt x="327822" y="250064"/>
                    <a:pt x="328082" y="249546"/>
                    <a:pt x="328338" y="249020"/>
                  </a:cubicBezTo>
                  <a:cubicBezTo>
                    <a:pt x="328758" y="248160"/>
                    <a:pt x="329167" y="247292"/>
                    <a:pt x="329558" y="246458"/>
                  </a:cubicBezTo>
                  <a:cubicBezTo>
                    <a:pt x="329799" y="245945"/>
                    <a:pt x="330039" y="245434"/>
                    <a:pt x="330259" y="244953"/>
                  </a:cubicBezTo>
                  <a:cubicBezTo>
                    <a:pt x="330695" y="244004"/>
                    <a:pt x="331109" y="243048"/>
                    <a:pt x="331510" y="242125"/>
                  </a:cubicBezTo>
                  <a:lnTo>
                    <a:pt x="332094" y="240794"/>
                  </a:lnTo>
                  <a:cubicBezTo>
                    <a:pt x="332670" y="239437"/>
                    <a:pt x="333230" y="238070"/>
                    <a:pt x="333772" y="236692"/>
                  </a:cubicBezTo>
                  <a:cubicBezTo>
                    <a:pt x="333807" y="236603"/>
                    <a:pt x="333840" y="236520"/>
                    <a:pt x="333867" y="236446"/>
                  </a:cubicBezTo>
                  <a:cubicBezTo>
                    <a:pt x="334392" y="235111"/>
                    <a:pt x="334895" y="233769"/>
                    <a:pt x="335415" y="232339"/>
                  </a:cubicBezTo>
                  <a:lnTo>
                    <a:pt x="335926" y="230882"/>
                  </a:lnTo>
                  <a:cubicBezTo>
                    <a:pt x="336252" y="229960"/>
                    <a:pt x="336574" y="229043"/>
                    <a:pt x="336881" y="228122"/>
                  </a:cubicBezTo>
                  <a:cubicBezTo>
                    <a:pt x="337023" y="227699"/>
                    <a:pt x="337159" y="227274"/>
                    <a:pt x="337294" y="226846"/>
                  </a:cubicBezTo>
                  <a:lnTo>
                    <a:pt x="337545" y="226065"/>
                  </a:lnTo>
                  <a:cubicBezTo>
                    <a:pt x="337791" y="225298"/>
                    <a:pt x="338034" y="224529"/>
                    <a:pt x="338260" y="223786"/>
                  </a:cubicBezTo>
                  <a:cubicBezTo>
                    <a:pt x="338415" y="223277"/>
                    <a:pt x="338564" y="222766"/>
                    <a:pt x="338715" y="222251"/>
                  </a:cubicBezTo>
                  <a:lnTo>
                    <a:pt x="338837" y="221836"/>
                  </a:lnTo>
                  <a:cubicBezTo>
                    <a:pt x="339075" y="221020"/>
                    <a:pt x="339308" y="220205"/>
                    <a:pt x="339534" y="219388"/>
                  </a:cubicBezTo>
                  <a:cubicBezTo>
                    <a:pt x="339720" y="218716"/>
                    <a:pt x="339899" y="218042"/>
                    <a:pt x="340088" y="217321"/>
                  </a:cubicBezTo>
                  <a:cubicBezTo>
                    <a:pt x="340297" y="216519"/>
                    <a:pt x="340502" y="215717"/>
                    <a:pt x="340694" y="214933"/>
                  </a:cubicBezTo>
                  <a:cubicBezTo>
                    <a:pt x="340865" y="214239"/>
                    <a:pt x="341036" y="213545"/>
                    <a:pt x="341194" y="212866"/>
                  </a:cubicBezTo>
                  <a:cubicBezTo>
                    <a:pt x="341385" y="212053"/>
                    <a:pt x="341566" y="211233"/>
                    <a:pt x="341748" y="210399"/>
                  </a:cubicBezTo>
                  <a:lnTo>
                    <a:pt x="341841" y="209974"/>
                  </a:lnTo>
                  <a:cubicBezTo>
                    <a:pt x="341960" y="209432"/>
                    <a:pt x="342078" y="208887"/>
                    <a:pt x="342199" y="208301"/>
                  </a:cubicBezTo>
                  <a:cubicBezTo>
                    <a:pt x="342369" y="207466"/>
                    <a:pt x="342532" y="206623"/>
                    <a:pt x="342679" y="205840"/>
                  </a:cubicBezTo>
                  <a:lnTo>
                    <a:pt x="342746" y="205487"/>
                  </a:lnTo>
                  <a:cubicBezTo>
                    <a:pt x="342857" y="204910"/>
                    <a:pt x="342970" y="204334"/>
                    <a:pt x="343077" y="203739"/>
                  </a:cubicBezTo>
                  <a:cubicBezTo>
                    <a:pt x="343205" y="203016"/>
                    <a:pt x="343324" y="202286"/>
                    <a:pt x="343441" y="201559"/>
                  </a:cubicBezTo>
                  <a:lnTo>
                    <a:pt x="343601" y="200586"/>
                  </a:lnTo>
                  <a:cubicBezTo>
                    <a:pt x="343683" y="200098"/>
                    <a:pt x="343763" y="199610"/>
                    <a:pt x="343832" y="199143"/>
                  </a:cubicBezTo>
                  <a:cubicBezTo>
                    <a:pt x="344005" y="197993"/>
                    <a:pt x="344161" y="196830"/>
                    <a:pt x="344318" y="195628"/>
                  </a:cubicBezTo>
                  <a:lnTo>
                    <a:pt x="344358" y="195345"/>
                  </a:lnTo>
                  <a:cubicBezTo>
                    <a:pt x="344397" y="195062"/>
                    <a:pt x="344438" y="194781"/>
                    <a:pt x="344465" y="194546"/>
                  </a:cubicBezTo>
                  <a:cubicBezTo>
                    <a:pt x="356129" y="100240"/>
                    <a:pt x="288877" y="14025"/>
                    <a:pt x="194554" y="2367"/>
                  </a:cubicBezTo>
                  <a:close/>
                  <a:moveTo>
                    <a:pt x="244465" y="162435"/>
                  </a:moveTo>
                  <a:lnTo>
                    <a:pt x="244465" y="153993"/>
                  </a:lnTo>
                  <a:cubicBezTo>
                    <a:pt x="244617" y="153948"/>
                    <a:pt x="244766" y="153896"/>
                    <a:pt x="244915" y="153847"/>
                  </a:cubicBezTo>
                  <a:cubicBezTo>
                    <a:pt x="246490" y="155486"/>
                    <a:pt x="247491" y="157884"/>
                    <a:pt x="247491" y="160562"/>
                  </a:cubicBezTo>
                  <a:cubicBezTo>
                    <a:pt x="247491" y="163598"/>
                    <a:pt x="246204" y="166282"/>
                    <a:pt x="244248" y="167897"/>
                  </a:cubicBezTo>
                  <a:cubicBezTo>
                    <a:pt x="244378" y="166091"/>
                    <a:pt x="244465" y="164274"/>
                    <a:pt x="244465" y="162435"/>
                  </a:cubicBezTo>
                  <a:close/>
                  <a:moveTo>
                    <a:pt x="99497" y="160557"/>
                  </a:moveTo>
                  <a:cubicBezTo>
                    <a:pt x="99497" y="157891"/>
                    <a:pt x="100490" y="155502"/>
                    <a:pt x="102055" y="153864"/>
                  </a:cubicBezTo>
                  <a:cubicBezTo>
                    <a:pt x="102255" y="153930"/>
                    <a:pt x="102457" y="153989"/>
                    <a:pt x="102663" y="154045"/>
                  </a:cubicBezTo>
                  <a:lnTo>
                    <a:pt x="102663" y="162433"/>
                  </a:lnTo>
                  <a:cubicBezTo>
                    <a:pt x="102663" y="164313"/>
                    <a:pt x="102751" y="166171"/>
                    <a:pt x="102888" y="168013"/>
                  </a:cubicBezTo>
                  <a:cubicBezTo>
                    <a:pt x="100847" y="166414"/>
                    <a:pt x="99497" y="163672"/>
                    <a:pt x="99497" y="160557"/>
                  </a:cubicBezTo>
                  <a:close/>
                  <a:moveTo>
                    <a:pt x="119573" y="125559"/>
                  </a:moveTo>
                  <a:cubicBezTo>
                    <a:pt x="119559" y="125559"/>
                    <a:pt x="119546" y="125559"/>
                    <a:pt x="119532" y="125559"/>
                  </a:cubicBezTo>
                  <a:cubicBezTo>
                    <a:pt x="118695" y="125559"/>
                    <a:pt x="117884" y="125657"/>
                    <a:pt x="117099" y="125829"/>
                  </a:cubicBezTo>
                  <a:cubicBezTo>
                    <a:pt x="117049" y="125813"/>
                    <a:pt x="116997" y="125803"/>
                    <a:pt x="116946" y="125789"/>
                  </a:cubicBezTo>
                  <a:lnTo>
                    <a:pt x="116946" y="123116"/>
                  </a:lnTo>
                  <a:cubicBezTo>
                    <a:pt x="116946" y="90093"/>
                    <a:pt x="141082" y="63228"/>
                    <a:pt x="170748" y="63228"/>
                  </a:cubicBezTo>
                  <a:lnTo>
                    <a:pt x="176172" y="63228"/>
                  </a:lnTo>
                  <a:cubicBezTo>
                    <a:pt x="205837" y="63228"/>
                    <a:pt x="229973" y="90093"/>
                    <a:pt x="229973" y="123114"/>
                  </a:cubicBezTo>
                  <a:lnTo>
                    <a:pt x="229973" y="125788"/>
                  </a:lnTo>
                  <a:cubicBezTo>
                    <a:pt x="214093" y="121497"/>
                    <a:pt x="208487" y="97419"/>
                    <a:pt x="208444" y="97216"/>
                  </a:cubicBezTo>
                  <a:cubicBezTo>
                    <a:pt x="207518" y="92748"/>
                    <a:pt x="203997" y="89274"/>
                    <a:pt x="199515" y="88412"/>
                  </a:cubicBezTo>
                  <a:cubicBezTo>
                    <a:pt x="195025" y="87549"/>
                    <a:pt x="190475" y="89469"/>
                    <a:pt x="187957" y="93274"/>
                  </a:cubicBezTo>
                  <a:cubicBezTo>
                    <a:pt x="166879" y="125128"/>
                    <a:pt x="120313" y="125557"/>
                    <a:pt x="119573" y="125559"/>
                  </a:cubicBezTo>
                  <a:close/>
                  <a:moveTo>
                    <a:pt x="125258" y="162435"/>
                  </a:moveTo>
                  <a:lnTo>
                    <a:pt x="125258" y="147905"/>
                  </a:lnTo>
                  <a:cubicBezTo>
                    <a:pt x="138196" y="146993"/>
                    <a:pt x="169949" y="142599"/>
                    <a:pt x="193581" y="121130"/>
                  </a:cubicBezTo>
                  <a:cubicBezTo>
                    <a:pt x="198936" y="131193"/>
                    <a:pt x="207797" y="142329"/>
                    <a:pt x="221869" y="146952"/>
                  </a:cubicBezTo>
                  <a:lnTo>
                    <a:pt x="221869" y="162435"/>
                  </a:lnTo>
                  <a:cubicBezTo>
                    <a:pt x="221869" y="188627"/>
                    <a:pt x="202817" y="209935"/>
                    <a:pt x="179396" y="209935"/>
                  </a:cubicBezTo>
                  <a:lnTo>
                    <a:pt x="167731" y="209935"/>
                  </a:lnTo>
                  <a:cubicBezTo>
                    <a:pt x="144312" y="209935"/>
                    <a:pt x="125258" y="188626"/>
                    <a:pt x="125258" y="162435"/>
                  </a:cubicBezTo>
                  <a:close/>
                  <a:moveTo>
                    <a:pt x="185350" y="232225"/>
                  </a:moveTo>
                  <a:lnTo>
                    <a:pt x="185350" y="239137"/>
                  </a:lnTo>
                  <a:lnTo>
                    <a:pt x="173681" y="251251"/>
                  </a:lnTo>
                  <a:lnTo>
                    <a:pt x="162755" y="240611"/>
                  </a:lnTo>
                  <a:lnTo>
                    <a:pt x="162755" y="232306"/>
                  </a:lnTo>
                  <a:cubicBezTo>
                    <a:pt x="164399" y="232439"/>
                    <a:pt x="166054" y="232532"/>
                    <a:pt x="167730" y="232532"/>
                  </a:cubicBezTo>
                  <a:lnTo>
                    <a:pt x="179395" y="232532"/>
                  </a:lnTo>
                  <a:cubicBezTo>
                    <a:pt x="181403" y="232532"/>
                    <a:pt x="183387" y="232418"/>
                    <a:pt x="185350" y="232225"/>
                  </a:cubicBezTo>
                  <a:close/>
                  <a:moveTo>
                    <a:pt x="263742" y="292874"/>
                  </a:moveTo>
                  <a:cubicBezTo>
                    <a:pt x="263266" y="293237"/>
                    <a:pt x="262784" y="293601"/>
                    <a:pt x="262274" y="293978"/>
                  </a:cubicBezTo>
                  <a:cubicBezTo>
                    <a:pt x="261866" y="294280"/>
                    <a:pt x="261448" y="294577"/>
                    <a:pt x="261033" y="294878"/>
                  </a:cubicBezTo>
                  <a:lnTo>
                    <a:pt x="260742" y="295088"/>
                  </a:lnTo>
                  <a:cubicBezTo>
                    <a:pt x="260270" y="295432"/>
                    <a:pt x="259789" y="295775"/>
                    <a:pt x="259271" y="296135"/>
                  </a:cubicBezTo>
                  <a:cubicBezTo>
                    <a:pt x="258875" y="296414"/>
                    <a:pt x="258479" y="296685"/>
                    <a:pt x="258082" y="296958"/>
                  </a:cubicBezTo>
                  <a:lnTo>
                    <a:pt x="257762" y="297177"/>
                  </a:lnTo>
                  <a:cubicBezTo>
                    <a:pt x="257252" y="297523"/>
                    <a:pt x="256741" y="297871"/>
                    <a:pt x="256246" y="298200"/>
                  </a:cubicBezTo>
                  <a:cubicBezTo>
                    <a:pt x="255722" y="298546"/>
                    <a:pt x="255199" y="298889"/>
                    <a:pt x="254633" y="299253"/>
                  </a:cubicBezTo>
                  <a:cubicBezTo>
                    <a:pt x="254131" y="299579"/>
                    <a:pt x="253624" y="299905"/>
                    <a:pt x="253119" y="300222"/>
                  </a:cubicBezTo>
                  <a:cubicBezTo>
                    <a:pt x="252582" y="300562"/>
                    <a:pt x="252040" y="300894"/>
                    <a:pt x="251534" y="301206"/>
                  </a:cubicBezTo>
                  <a:cubicBezTo>
                    <a:pt x="251012" y="301524"/>
                    <a:pt x="250495" y="301839"/>
                    <a:pt x="249966" y="302154"/>
                  </a:cubicBezTo>
                  <a:cubicBezTo>
                    <a:pt x="249419" y="302479"/>
                    <a:pt x="248871" y="302802"/>
                    <a:pt x="248364" y="303098"/>
                  </a:cubicBezTo>
                  <a:cubicBezTo>
                    <a:pt x="247823" y="303408"/>
                    <a:pt x="247282" y="303715"/>
                    <a:pt x="246753" y="304013"/>
                  </a:cubicBezTo>
                  <a:cubicBezTo>
                    <a:pt x="246203" y="304324"/>
                    <a:pt x="245653" y="304629"/>
                    <a:pt x="245109" y="304926"/>
                  </a:cubicBezTo>
                  <a:cubicBezTo>
                    <a:pt x="244570" y="305220"/>
                    <a:pt x="244026" y="305511"/>
                    <a:pt x="243486" y="305796"/>
                  </a:cubicBezTo>
                  <a:cubicBezTo>
                    <a:pt x="242936" y="306089"/>
                    <a:pt x="242384" y="306381"/>
                    <a:pt x="241801" y="306681"/>
                  </a:cubicBezTo>
                  <a:cubicBezTo>
                    <a:pt x="241306" y="306937"/>
                    <a:pt x="240803" y="307187"/>
                    <a:pt x="240301" y="307437"/>
                  </a:cubicBezTo>
                  <a:cubicBezTo>
                    <a:pt x="240287" y="307443"/>
                    <a:pt x="240176" y="307499"/>
                    <a:pt x="240162" y="307505"/>
                  </a:cubicBezTo>
                  <a:cubicBezTo>
                    <a:pt x="239609" y="307785"/>
                    <a:pt x="239055" y="308060"/>
                    <a:pt x="238499" y="308329"/>
                  </a:cubicBezTo>
                  <a:cubicBezTo>
                    <a:pt x="238068" y="308538"/>
                    <a:pt x="237633" y="308739"/>
                    <a:pt x="237200" y="308945"/>
                  </a:cubicBezTo>
                  <a:lnTo>
                    <a:pt x="236557" y="309244"/>
                  </a:lnTo>
                  <a:cubicBezTo>
                    <a:pt x="236077" y="309471"/>
                    <a:pt x="235593" y="309697"/>
                    <a:pt x="235165" y="309894"/>
                  </a:cubicBezTo>
                  <a:lnTo>
                    <a:pt x="233049" y="310828"/>
                  </a:lnTo>
                  <a:cubicBezTo>
                    <a:pt x="232604" y="311023"/>
                    <a:pt x="232160" y="311222"/>
                    <a:pt x="231762" y="311390"/>
                  </a:cubicBezTo>
                  <a:lnTo>
                    <a:pt x="229473" y="312330"/>
                  </a:lnTo>
                  <a:cubicBezTo>
                    <a:pt x="229078" y="312491"/>
                    <a:pt x="228685" y="312654"/>
                    <a:pt x="228268" y="312818"/>
                  </a:cubicBezTo>
                  <a:cubicBezTo>
                    <a:pt x="227764" y="313017"/>
                    <a:pt x="227258" y="313207"/>
                    <a:pt x="226752" y="313397"/>
                  </a:cubicBezTo>
                  <a:lnTo>
                    <a:pt x="225907" y="313718"/>
                  </a:lnTo>
                  <a:cubicBezTo>
                    <a:pt x="225542" y="313860"/>
                    <a:pt x="225178" y="313999"/>
                    <a:pt x="224784" y="314142"/>
                  </a:cubicBezTo>
                  <a:cubicBezTo>
                    <a:pt x="224201" y="314356"/>
                    <a:pt x="223619" y="314559"/>
                    <a:pt x="223034" y="314761"/>
                  </a:cubicBezTo>
                  <a:lnTo>
                    <a:pt x="222696" y="314876"/>
                  </a:lnTo>
                  <a:cubicBezTo>
                    <a:pt x="221902" y="315153"/>
                    <a:pt x="221113" y="315426"/>
                    <a:pt x="220319" y="315688"/>
                  </a:cubicBezTo>
                  <a:cubicBezTo>
                    <a:pt x="219472" y="315968"/>
                    <a:pt x="218626" y="316246"/>
                    <a:pt x="217784" y="316509"/>
                  </a:cubicBezTo>
                  <a:cubicBezTo>
                    <a:pt x="217449" y="316612"/>
                    <a:pt x="217113" y="316712"/>
                    <a:pt x="216774" y="316810"/>
                  </a:cubicBezTo>
                  <a:lnTo>
                    <a:pt x="215642" y="317146"/>
                  </a:lnTo>
                  <a:cubicBezTo>
                    <a:pt x="215156" y="317294"/>
                    <a:pt x="214666" y="317440"/>
                    <a:pt x="214159" y="317585"/>
                  </a:cubicBezTo>
                  <a:cubicBezTo>
                    <a:pt x="213734" y="317706"/>
                    <a:pt x="213307" y="317818"/>
                    <a:pt x="212878" y="317931"/>
                  </a:cubicBezTo>
                  <a:lnTo>
                    <a:pt x="211959" y="318180"/>
                  </a:lnTo>
                  <a:cubicBezTo>
                    <a:pt x="211492" y="318306"/>
                    <a:pt x="211027" y="318434"/>
                    <a:pt x="210547" y="318557"/>
                  </a:cubicBezTo>
                  <a:cubicBezTo>
                    <a:pt x="210196" y="318646"/>
                    <a:pt x="209842" y="318731"/>
                    <a:pt x="209489" y="318817"/>
                  </a:cubicBezTo>
                  <a:lnTo>
                    <a:pt x="208323" y="319099"/>
                  </a:lnTo>
                  <a:cubicBezTo>
                    <a:pt x="207839" y="319217"/>
                    <a:pt x="207354" y="319336"/>
                    <a:pt x="206883" y="319444"/>
                  </a:cubicBezTo>
                  <a:lnTo>
                    <a:pt x="205004" y="319853"/>
                  </a:lnTo>
                  <a:cubicBezTo>
                    <a:pt x="204405" y="319984"/>
                    <a:pt x="203803" y="320115"/>
                    <a:pt x="203196" y="320237"/>
                  </a:cubicBezTo>
                  <a:cubicBezTo>
                    <a:pt x="202605" y="320357"/>
                    <a:pt x="202013" y="320469"/>
                    <a:pt x="201372" y="320590"/>
                  </a:cubicBezTo>
                  <a:cubicBezTo>
                    <a:pt x="200733" y="320712"/>
                    <a:pt x="200092" y="320830"/>
                    <a:pt x="199444" y="320946"/>
                  </a:cubicBezTo>
                  <a:cubicBezTo>
                    <a:pt x="198859" y="321050"/>
                    <a:pt x="198274" y="321145"/>
                    <a:pt x="197638" y="321247"/>
                  </a:cubicBezTo>
                  <a:cubicBezTo>
                    <a:pt x="197000" y="321352"/>
                    <a:pt x="196357" y="321458"/>
                    <a:pt x="195689" y="321557"/>
                  </a:cubicBezTo>
                  <a:cubicBezTo>
                    <a:pt x="195090" y="321649"/>
                    <a:pt x="194488" y="321730"/>
                    <a:pt x="193896" y="321812"/>
                  </a:cubicBezTo>
                  <a:cubicBezTo>
                    <a:pt x="193242" y="321902"/>
                    <a:pt x="192594" y="321989"/>
                    <a:pt x="191960" y="322068"/>
                  </a:cubicBezTo>
                  <a:lnTo>
                    <a:pt x="190110" y="322284"/>
                  </a:lnTo>
                  <a:cubicBezTo>
                    <a:pt x="189449" y="322356"/>
                    <a:pt x="188791" y="322428"/>
                    <a:pt x="188105" y="322493"/>
                  </a:cubicBezTo>
                  <a:cubicBezTo>
                    <a:pt x="187500" y="322552"/>
                    <a:pt x="186892" y="322608"/>
                    <a:pt x="186281" y="322660"/>
                  </a:cubicBezTo>
                  <a:cubicBezTo>
                    <a:pt x="185616" y="322718"/>
                    <a:pt x="184940" y="322768"/>
                    <a:pt x="184289" y="322816"/>
                  </a:cubicBezTo>
                  <a:lnTo>
                    <a:pt x="184049" y="322833"/>
                  </a:lnTo>
                  <a:cubicBezTo>
                    <a:pt x="183536" y="322869"/>
                    <a:pt x="183026" y="322905"/>
                    <a:pt x="182437" y="322937"/>
                  </a:cubicBezTo>
                  <a:cubicBezTo>
                    <a:pt x="181759" y="322978"/>
                    <a:pt x="181081" y="323010"/>
                    <a:pt x="180414" y="323041"/>
                  </a:cubicBezTo>
                  <a:lnTo>
                    <a:pt x="180175" y="323052"/>
                  </a:lnTo>
                  <a:cubicBezTo>
                    <a:pt x="179654" y="323076"/>
                    <a:pt x="179133" y="323100"/>
                    <a:pt x="178589" y="323117"/>
                  </a:cubicBezTo>
                  <a:cubicBezTo>
                    <a:pt x="177894" y="323141"/>
                    <a:pt x="177200" y="323155"/>
                    <a:pt x="176520" y="323168"/>
                  </a:cubicBezTo>
                  <a:lnTo>
                    <a:pt x="176246" y="323173"/>
                  </a:lnTo>
                  <a:cubicBezTo>
                    <a:pt x="175737" y="323182"/>
                    <a:pt x="175228" y="323193"/>
                    <a:pt x="174708" y="323196"/>
                  </a:cubicBezTo>
                  <a:cubicBezTo>
                    <a:pt x="174007" y="323200"/>
                    <a:pt x="173309" y="323197"/>
                    <a:pt x="172555" y="323190"/>
                  </a:cubicBezTo>
                  <a:lnTo>
                    <a:pt x="172313" y="323189"/>
                  </a:lnTo>
                  <a:cubicBezTo>
                    <a:pt x="171812" y="323187"/>
                    <a:pt x="171312" y="323186"/>
                    <a:pt x="170791" y="323175"/>
                  </a:cubicBezTo>
                  <a:cubicBezTo>
                    <a:pt x="170264" y="323166"/>
                    <a:pt x="169737" y="323148"/>
                    <a:pt x="169209" y="323131"/>
                  </a:cubicBezTo>
                  <a:lnTo>
                    <a:pt x="166910" y="323054"/>
                  </a:lnTo>
                  <a:cubicBezTo>
                    <a:pt x="166270" y="323024"/>
                    <a:pt x="165628" y="322986"/>
                    <a:pt x="164989" y="322947"/>
                  </a:cubicBezTo>
                  <a:lnTo>
                    <a:pt x="162967" y="322826"/>
                  </a:lnTo>
                  <a:cubicBezTo>
                    <a:pt x="162232" y="322775"/>
                    <a:pt x="161495" y="322711"/>
                    <a:pt x="160759" y="322644"/>
                  </a:cubicBezTo>
                  <a:lnTo>
                    <a:pt x="159011" y="322494"/>
                  </a:lnTo>
                  <a:cubicBezTo>
                    <a:pt x="157715" y="322367"/>
                    <a:pt x="156407" y="322224"/>
                    <a:pt x="155102" y="322064"/>
                  </a:cubicBezTo>
                  <a:cubicBezTo>
                    <a:pt x="155071" y="322059"/>
                    <a:pt x="155039" y="322057"/>
                    <a:pt x="155008" y="322051"/>
                  </a:cubicBezTo>
                  <a:cubicBezTo>
                    <a:pt x="155006" y="322051"/>
                    <a:pt x="155003" y="322051"/>
                    <a:pt x="155002" y="322051"/>
                  </a:cubicBezTo>
                  <a:cubicBezTo>
                    <a:pt x="153690" y="321889"/>
                    <a:pt x="152388" y="321708"/>
                    <a:pt x="151104" y="321518"/>
                  </a:cubicBezTo>
                  <a:lnTo>
                    <a:pt x="149259" y="321220"/>
                  </a:lnTo>
                  <a:cubicBezTo>
                    <a:pt x="148563" y="321109"/>
                    <a:pt x="147869" y="320999"/>
                    <a:pt x="147216" y="320881"/>
                  </a:cubicBezTo>
                  <a:lnTo>
                    <a:pt x="145271" y="320515"/>
                  </a:lnTo>
                  <a:cubicBezTo>
                    <a:pt x="144617" y="320393"/>
                    <a:pt x="143963" y="320269"/>
                    <a:pt x="143332" y="320141"/>
                  </a:cubicBezTo>
                  <a:lnTo>
                    <a:pt x="141156" y="319673"/>
                  </a:lnTo>
                  <a:cubicBezTo>
                    <a:pt x="140602" y="319552"/>
                    <a:pt x="140049" y="319434"/>
                    <a:pt x="139515" y="319312"/>
                  </a:cubicBezTo>
                  <a:cubicBezTo>
                    <a:pt x="139031" y="319199"/>
                    <a:pt x="138547" y="319081"/>
                    <a:pt x="138068" y="318964"/>
                  </a:cubicBezTo>
                  <a:lnTo>
                    <a:pt x="137714" y="318877"/>
                  </a:lnTo>
                  <a:cubicBezTo>
                    <a:pt x="137047" y="318714"/>
                    <a:pt x="136379" y="318552"/>
                    <a:pt x="135704" y="318377"/>
                  </a:cubicBezTo>
                  <a:cubicBezTo>
                    <a:pt x="135260" y="318263"/>
                    <a:pt x="134818" y="318142"/>
                    <a:pt x="134378" y="318022"/>
                  </a:cubicBezTo>
                  <a:lnTo>
                    <a:pt x="133970" y="317912"/>
                  </a:lnTo>
                  <a:cubicBezTo>
                    <a:pt x="133301" y="317731"/>
                    <a:pt x="132633" y="317550"/>
                    <a:pt x="131976" y="317360"/>
                  </a:cubicBezTo>
                  <a:cubicBezTo>
                    <a:pt x="131385" y="317191"/>
                    <a:pt x="130795" y="317015"/>
                    <a:pt x="130246" y="316851"/>
                  </a:cubicBezTo>
                  <a:cubicBezTo>
                    <a:pt x="129584" y="316648"/>
                    <a:pt x="128915" y="316447"/>
                    <a:pt x="128266" y="316245"/>
                  </a:cubicBezTo>
                  <a:cubicBezTo>
                    <a:pt x="127680" y="316060"/>
                    <a:pt x="127102" y="315869"/>
                    <a:pt x="126520" y="315679"/>
                  </a:cubicBezTo>
                  <a:cubicBezTo>
                    <a:pt x="125869" y="315467"/>
                    <a:pt x="125227" y="315252"/>
                    <a:pt x="124640" y="315051"/>
                  </a:cubicBezTo>
                  <a:lnTo>
                    <a:pt x="122893" y="314438"/>
                  </a:lnTo>
                  <a:cubicBezTo>
                    <a:pt x="122263" y="314213"/>
                    <a:pt x="121637" y="313985"/>
                    <a:pt x="121002" y="313747"/>
                  </a:cubicBezTo>
                  <a:cubicBezTo>
                    <a:pt x="120424" y="313531"/>
                    <a:pt x="119846" y="313313"/>
                    <a:pt x="119296" y="313100"/>
                  </a:cubicBezTo>
                  <a:cubicBezTo>
                    <a:pt x="118683" y="312864"/>
                    <a:pt x="118068" y="312619"/>
                    <a:pt x="117437" y="312365"/>
                  </a:cubicBezTo>
                  <a:cubicBezTo>
                    <a:pt x="116863" y="312134"/>
                    <a:pt x="116291" y="311902"/>
                    <a:pt x="115773" y="311688"/>
                  </a:cubicBezTo>
                  <a:cubicBezTo>
                    <a:pt x="115152" y="311427"/>
                    <a:pt x="114530" y="311160"/>
                    <a:pt x="113925" y="310901"/>
                  </a:cubicBezTo>
                  <a:cubicBezTo>
                    <a:pt x="113367" y="310660"/>
                    <a:pt x="112807" y="310419"/>
                    <a:pt x="112256" y="310172"/>
                  </a:cubicBezTo>
                  <a:cubicBezTo>
                    <a:pt x="111657" y="309902"/>
                    <a:pt x="111058" y="309628"/>
                    <a:pt x="110463" y="309351"/>
                  </a:cubicBezTo>
                  <a:cubicBezTo>
                    <a:pt x="109899" y="309091"/>
                    <a:pt x="109337" y="308829"/>
                    <a:pt x="108808" y="308581"/>
                  </a:cubicBezTo>
                  <a:cubicBezTo>
                    <a:pt x="108374" y="308372"/>
                    <a:pt x="107940" y="308159"/>
                    <a:pt x="107509" y="307945"/>
                  </a:cubicBezTo>
                  <a:lnTo>
                    <a:pt x="106645" y="307519"/>
                  </a:lnTo>
                  <a:cubicBezTo>
                    <a:pt x="106230" y="307314"/>
                    <a:pt x="105817" y="307111"/>
                    <a:pt x="105436" y="306918"/>
                  </a:cubicBezTo>
                  <a:cubicBezTo>
                    <a:pt x="104847" y="306617"/>
                    <a:pt x="104260" y="306307"/>
                    <a:pt x="103679" y="306002"/>
                  </a:cubicBezTo>
                  <a:lnTo>
                    <a:pt x="103079" y="305685"/>
                  </a:lnTo>
                  <a:cubicBezTo>
                    <a:pt x="102747" y="305512"/>
                    <a:pt x="102419" y="305341"/>
                    <a:pt x="102079" y="305155"/>
                  </a:cubicBezTo>
                  <a:cubicBezTo>
                    <a:pt x="101584" y="304885"/>
                    <a:pt x="101095" y="304612"/>
                    <a:pt x="100605" y="304337"/>
                  </a:cubicBezTo>
                  <a:lnTo>
                    <a:pt x="99727" y="303846"/>
                  </a:lnTo>
                  <a:cubicBezTo>
                    <a:pt x="99421" y="303677"/>
                    <a:pt x="99115" y="303505"/>
                    <a:pt x="98776" y="303313"/>
                  </a:cubicBezTo>
                  <a:cubicBezTo>
                    <a:pt x="98348" y="303067"/>
                    <a:pt x="97924" y="302812"/>
                    <a:pt x="97500" y="302560"/>
                  </a:cubicBezTo>
                  <a:lnTo>
                    <a:pt x="96465" y="301949"/>
                  </a:lnTo>
                  <a:cubicBezTo>
                    <a:pt x="96166" y="301773"/>
                    <a:pt x="95865" y="301596"/>
                    <a:pt x="95565" y="301416"/>
                  </a:cubicBezTo>
                  <a:cubicBezTo>
                    <a:pt x="94810" y="300954"/>
                    <a:pt x="94068" y="300485"/>
                    <a:pt x="93290" y="299991"/>
                  </a:cubicBezTo>
                  <a:cubicBezTo>
                    <a:pt x="92586" y="299547"/>
                    <a:pt x="91888" y="299091"/>
                    <a:pt x="91188" y="298633"/>
                  </a:cubicBezTo>
                  <a:lnTo>
                    <a:pt x="90864" y="298419"/>
                  </a:lnTo>
                  <a:cubicBezTo>
                    <a:pt x="90358" y="298086"/>
                    <a:pt x="89849" y="297755"/>
                    <a:pt x="89343" y="297409"/>
                  </a:cubicBezTo>
                  <a:cubicBezTo>
                    <a:pt x="89012" y="297184"/>
                    <a:pt x="88685" y="296952"/>
                    <a:pt x="88358" y="296724"/>
                  </a:cubicBezTo>
                  <a:lnTo>
                    <a:pt x="87541" y="296154"/>
                  </a:lnTo>
                  <a:cubicBezTo>
                    <a:pt x="87122" y="295862"/>
                    <a:pt x="86702" y="295571"/>
                    <a:pt x="86273" y="295265"/>
                  </a:cubicBezTo>
                  <a:cubicBezTo>
                    <a:pt x="85886" y="294986"/>
                    <a:pt x="85504" y="294705"/>
                    <a:pt x="85121" y="294421"/>
                  </a:cubicBezTo>
                  <a:lnTo>
                    <a:pt x="84318" y="293830"/>
                  </a:lnTo>
                  <a:cubicBezTo>
                    <a:pt x="83974" y="293576"/>
                    <a:pt x="83625" y="293321"/>
                    <a:pt x="83278" y="293057"/>
                  </a:cubicBezTo>
                  <a:cubicBezTo>
                    <a:pt x="82884" y="292762"/>
                    <a:pt x="82497" y="292461"/>
                    <a:pt x="82110" y="292156"/>
                  </a:cubicBezTo>
                  <a:lnTo>
                    <a:pt x="82018" y="292084"/>
                  </a:lnTo>
                  <a:cubicBezTo>
                    <a:pt x="82046" y="292016"/>
                    <a:pt x="82087" y="291957"/>
                    <a:pt x="82115" y="291888"/>
                  </a:cubicBezTo>
                  <a:cubicBezTo>
                    <a:pt x="88520" y="275912"/>
                    <a:pt x="102753" y="270671"/>
                    <a:pt x="103260" y="270489"/>
                  </a:cubicBezTo>
                  <a:cubicBezTo>
                    <a:pt x="103433" y="270432"/>
                    <a:pt x="103606" y="270369"/>
                    <a:pt x="103778" y="270301"/>
                  </a:cubicBezTo>
                  <a:lnTo>
                    <a:pt x="144486" y="254360"/>
                  </a:lnTo>
                  <a:lnTo>
                    <a:pt x="166054" y="275366"/>
                  </a:lnTo>
                  <a:cubicBezTo>
                    <a:pt x="168164" y="277422"/>
                    <a:pt x="170994" y="278571"/>
                    <a:pt x="173936" y="278571"/>
                  </a:cubicBezTo>
                  <a:cubicBezTo>
                    <a:pt x="173996" y="278571"/>
                    <a:pt x="174057" y="278571"/>
                    <a:pt x="174114" y="278570"/>
                  </a:cubicBezTo>
                  <a:cubicBezTo>
                    <a:pt x="177121" y="278522"/>
                    <a:pt x="179985" y="277277"/>
                    <a:pt x="182071" y="275110"/>
                  </a:cubicBezTo>
                  <a:lnTo>
                    <a:pt x="202424" y="253986"/>
                  </a:lnTo>
                  <a:lnTo>
                    <a:pt x="243029" y="270267"/>
                  </a:lnTo>
                  <a:cubicBezTo>
                    <a:pt x="243227" y="270349"/>
                    <a:pt x="243333" y="270390"/>
                    <a:pt x="243538" y="270457"/>
                  </a:cubicBezTo>
                  <a:cubicBezTo>
                    <a:pt x="244171" y="270684"/>
                    <a:pt x="258451" y="275958"/>
                    <a:pt x="264834" y="292042"/>
                  </a:cubicBezTo>
                  <a:lnTo>
                    <a:pt x="263742" y="292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3" name="Рисунок 4">
            <a:extLst>
              <a:ext uri="{FF2B5EF4-FFF2-40B4-BE49-F238E27FC236}">
                <a16:creationId xmlns:a16="http://schemas.microsoft.com/office/drawing/2014/main" id="{FB8DDE92-A52E-4EBD-B3A9-777A89D04024}"/>
              </a:ext>
            </a:extLst>
          </p:cNvPr>
          <p:cNvGrpSpPr/>
          <p:nvPr/>
        </p:nvGrpSpPr>
        <p:grpSpPr>
          <a:xfrm>
            <a:off x="9011883" y="3146804"/>
            <a:ext cx="324000" cy="396000"/>
            <a:chOff x="8507886" y="1413719"/>
            <a:chExt cx="773988" cy="773988"/>
          </a:xfrm>
          <a:solidFill>
            <a:schemeClr val="bg1"/>
          </a:solidFill>
        </p:grpSpPr>
        <p:sp>
          <p:nvSpPr>
            <p:cNvPr id="134" name="Полилиния: фигура 133">
              <a:extLst>
                <a:ext uri="{FF2B5EF4-FFF2-40B4-BE49-F238E27FC236}">
                  <a16:creationId xmlns:a16="http://schemas.microsoft.com/office/drawing/2014/main" id="{27E87437-F957-4944-8BFA-E33F47C395F7}"/>
                </a:ext>
              </a:extLst>
            </p:cNvPr>
            <p:cNvSpPr/>
            <p:nvPr/>
          </p:nvSpPr>
          <p:spPr>
            <a:xfrm>
              <a:off x="8506470" y="1747716"/>
              <a:ext cx="403984" cy="439852"/>
            </a:xfrm>
            <a:custGeom>
              <a:avLst/>
              <a:gdLst>
                <a:gd name="connsiteX0" fmla="*/ 275851 w 403983"/>
                <a:gd name="connsiteY0" fmla="*/ 219977 h 439851"/>
                <a:gd name="connsiteX1" fmla="*/ 272517 w 403983"/>
                <a:gd name="connsiteY1" fmla="*/ 219424 h 439851"/>
                <a:gd name="connsiteX2" fmla="*/ 299250 w 403983"/>
                <a:gd name="connsiteY2" fmla="*/ 152717 h 439851"/>
                <a:gd name="connsiteX3" fmla="*/ 299250 w 403983"/>
                <a:gd name="connsiteY3" fmla="*/ 73261 h 439851"/>
                <a:gd name="connsiteX4" fmla="*/ 299080 w 403983"/>
                <a:gd name="connsiteY4" fmla="*/ 71130 h 439851"/>
                <a:gd name="connsiteX5" fmla="*/ 299250 w 403983"/>
                <a:gd name="connsiteY5" fmla="*/ 66788 h 439851"/>
                <a:gd name="connsiteX6" fmla="*/ 299250 w 403983"/>
                <a:gd name="connsiteY6" fmla="*/ 16518 h 439851"/>
                <a:gd name="connsiteX7" fmla="*/ 284148 w 403983"/>
                <a:gd name="connsiteY7" fmla="*/ 1416 h 439851"/>
                <a:gd name="connsiteX8" fmla="*/ 182848 w 403983"/>
                <a:gd name="connsiteY8" fmla="*/ 1416 h 439851"/>
                <a:gd name="connsiteX9" fmla="*/ 105495 w 403983"/>
                <a:gd name="connsiteY9" fmla="*/ 78777 h 439851"/>
                <a:gd name="connsiteX10" fmla="*/ 105495 w 403983"/>
                <a:gd name="connsiteY10" fmla="*/ 152717 h 439851"/>
                <a:gd name="connsiteX11" fmla="*/ 132225 w 403983"/>
                <a:gd name="connsiteY11" fmla="*/ 219424 h 439851"/>
                <a:gd name="connsiteX12" fmla="*/ 128892 w 403983"/>
                <a:gd name="connsiteY12" fmla="*/ 219977 h 439851"/>
                <a:gd name="connsiteX13" fmla="*/ 1416 w 403983"/>
                <a:gd name="connsiteY13" fmla="*/ 359614 h 439851"/>
                <a:gd name="connsiteX14" fmla="*/ 1416 w 403983"/>
                <a:gd name="connsiteY14" fmla="*/ 424138 h 439851"/>
                <a:gd name="connsiteX15" fmla="*/ 16518 w 403983"/>
                <a:gd name="connsiteY15" fmla="*/ 439240 h 439851"/>
                <a:gd name="connsiteX16" fmla="*/ 388225 w 403983"/>
                <a:gd name="connsiteY16" fmla="*/ 439240 h 439851"/>
                <a:gd name="connsiteX17" fmla="*/ 403327 w 403983"/>
                <a:gd name="connsiteY17" fmla="*/ 424138 h 439851"/>
                <a:gd name="connsiteX18" fmla="*/ 403327 w 403983"/>
                <a:gd name="connsiteY18" fmla="*/ 359614 h 439851"/>
                <a:gd name="connsiteX19" fmla="*/ 275851 w 403983"/>
                <a:gd name="connsiteY19" fmla="*/ 219977 h 439851"/>
                <a:gd name="connsiteX20" fmla="*/ 275851 w 403983"/>
                <a:gd name="connsiteY20" fmla="*/ 219977 h 439851"/>
                <a:gd name="connsiteX21" fmla="*/ 135699 w 403983"/>
                <a:gd name="connsiteY21" fmla="*/ 97928 h 439851"/>
                <a:gd name="connsiteX22" fmla="*/ 135699 w 403983"/>
                <a:gd name="connsiteY22" fmla="*/ 78777 h 439851"/>
                <a:gd name="connsiteX23" fmla="*/ 182848 w 403983"/>
                <a:gd name="connsiteY23" fmla="*/ 31620 h 439851"/>
                <a:gd name="connsiteX24" fmla="*/ 269046 w 403983"/>
                <a:gd name="connsiteY24" fmla="*/ 31620 h 439851"/>
                <a:gd name="connsiteX25" fmla="*/ 269046 w 403983"/>
                <a:gd name="connsiteY25" fmla="*/ 66788 h 439851"/>
                <a:gd name="connsiteX26" fmla="*/ 236939 w 403983"/>
                <a:gd name="connsiteY26" fmla="*/ 98893 h 439851"/>
                <a:gd name="connsiteX27" fmla="*/ 135699 w 403983"/>
                <a:gd name="connsiteY27" fmla="*/ 98893 h 439851"/>
                <a:gd name="connsiteX28" fmla="*/ 135699 w 403983"/>
                <a:gd name="connsiteY28" fmla="*/ 97928 h 439851"/>
                <a:gd name="connsiteX29" fmla="*/ 135699 w 403983"/>
                <a:gd name="connsiteY29" fmla="*/ 129097 h 439851"/>
                <a:gd name="connsiteX30" fmla="*/ 236939 w 403983"/>
                <a:gd name="connsiteY30" fmla="*/ 129097 h 439851"/>
                <a:gd name="connsiteX31" fmla="*/ 269046 w 403983"/>
                <a:gd name="connsiteY31" fmla="*/ 120168 h 439851"/>
                <a:gd name="connsiteX32" fmla="*/ 269046 w 403983"/>
                <a:gd name="connsiteY32" fmla="*/ 152710 h 439851"/>
                <a:gd name="connsiteX33" fmla="*/ 202375 w 403983"/>
                <a:gd name="connsiteY33" fmla="*/ 219388 h 439851"/>
                <a:gd name="connsiteX34" fmla="*/ 135699 w 403983"/>
                <a:gd name="connsiteY34" fmla="*/ 152710 h 439851"/>
                <a:gd name="connsiteX35" fmla="*/ 135699 w 403983"/>
                <a:gd name="connsiteY35" fmla="*/ 129097 h 439851"/>
                <a:gd name="connsiteX36" fmla="*/ 235241 w 403983"/>
                <a:gd name="connsiteY36" fmla="*/ 249592 h 439851"/>
                <a:gd name="connsiteX37" fmla="*/ 202375 w 403983"/>
                <a:gd name="connsiteY37" fmla="*/ 282466 h 439851"/>
                <a:gd name="connsiteX38" fmla="*/ 169501 w 403983"/>
                <a:gd name="connsiteY38" fmla="*/ 249592 h 439851"/>
                <a:gd name="connsiteX39" fmla="*/ 235241 w 403983"/>
                <a:gd name="connsiteY39" fmla="*/ 249592 h 439851"/>
                <a:gd name="connsiteX40" fmla="*/ 373123 w 403983"/>
                <a:gd name="connsiteY40" fmla="*/ 409036 h 439851"/>
                <a:gd name="connsiteX41" fmla="*/ 31620 w 403983"/>
                <a:gd name="connsiteY41" fmla="*/ 409036 h 439851"/>
                <a:gd name="connsiteX42" fmla="*/ 31620 w 403983"/>
                <a:gd name="connsiteY42" fmla="*/ 378831 h 439851"/>
                <a:gd name="connsiteX43" fmla="*/ 94293 w 403983"/>
                <a:gd name="connsiteY43" fmla="*/ 378831 h 439851"/>
                <a:gd name="connsiteX44" fmla="*/ 109395 w 403983"/>
                <a:gd name="connsiteY44" fmla="*/ 363729 h 439851"/>
                <a:gd name="connsiteX45" fmla="*/ 94293 w 403983"/>
                <a:gd name="connsiteY45" fmla="*/ 348627 h 439851"/>
                <a:gd name="connsiteX46" fmla="*/ 32173 w 403983"/>
                <a:gd name="connsiteY46" fmla="*/ 348627 h 439851"/>
                <a:gd name="connsiteX47" fmla="*/ 127699 w 403983"/>
                <a:gd name="connsiteY47" fmla="*/ 250506 h 439851"/>
                <a:gd name="connsiteX48" fmla="*/ 191690 w 403983"/>
                <a:gd name="connsiteY48" fmla="*/ 314498 h 439851"/>
                <a:gd name="connsiteX49" fmla="*/ 202375 w 403983"/>
                <a:gd name="connsiteY49" fmla="*/ 318923 h 439851"/>
                <a:gd name="connsiteX50" fmla="*/ 213052 w 403983"/>
                <a:gd name="connsiteY50" fmla="*/ 314498 h 439851"/>
                <a:gd name="connsiteX51" fmla="*/ 277046 w 403983"/>
                <a:gd name="connsiteY51" fmla="*/ 250506 h 439851"/>
                <a:gd name="connsiteX52" fmla="*/ 373123 w 403983"/>
                <a:gd name="connsiteY52" fmla="*/ 359614 h 439851"/>
                <a:gd name="connsiteX53" fmla="*/ 373123 w 403983"/>
                <a:gd name="connsiteY53" fmla="*/ 409036 h 439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03983" h="439851">
                  <a:moveTo>
                    <a:pt x="275851" y="219977"/>
                  </a:moveTo>
                  <a:cubicBezTo>
                    <a:pt x="274760" y="219660"/>
                    <a:pt x="273646" y="219490"/>
                    <a:pt x="272517" y="219424"/>
                  </a:cubicBezTo>
                  <a:cubicBezTo>
                    <a:pt x="289058" y="202043"/>
                    <a:pt x="299250" y="178550"/>
                    <a:pt x="299250" y="152717"/>
                  </a:cubicBezTo>
                  <a:lnTo>
                    <a:pt x="299250" y="73261"/>
                  </a:lnTo>
                  <a:cubicBezTo>
                    <a:pt x="299250" y="72532"/>
                    <a:pt x="299182" y="71824"/>
                    <a:pt x="299080" y="71130"/>
                  </a:cubicBezTo>
                  <a:cubicBezTo>
                    <a:pt x="299182" y="69693"/>
                    <a:pt x="299250" y="68247"/>
                    <a:pt x="299250" y="66788"/>
                  </a:cubicBezTo>
                  <a:lnTo>
                    <a:pt x="299250" y="16518"/>
                  </a:lnTo>
                  <a:cubicBezTo>
                    <a:pt x="299250" y="8178"/>
                    <a:pt x="292488" y="1416"/>
                    <a:pt x="284148" y="1416"/>
                  </a:cubicBezTo>
                  <a:lnTo>
                    <a:pt x="182848" y="1416"/>
                  </a:lnTo>
                  <a:cubicBezTo>
                    <a:pt x="140198" y="1416"/>
                    <a:pt x="105495" y="36124"/>
                    <a:pt x="105495" y="78777"/>
                  </a:cubicBezTo>
                  <a:lnTo>
                    <a:pt x="105495" y="152717"/>
                  </a:lnTo>
                  <a:cubicBezTo>
                    <a:pt x="105495" y="178550"/>
                    <a:pt x="115677" y="202043"/>
                    <a:pt x="132225" y="219424"/>
                  </a:cubicBezTo>
                  <a:cubicBezTo>
                    <a:pt x="131104" y="219490"/>
                    <a:pt x="129983" y="219660"/>
                    <a:pt x="128892" y="219977"/>
                  </a:cubicBezTo>
                  <a:cubicBezTo>
                    <a:pt x="57526" y="226437"/>
                    <a:pt x="1416" y="286587"/>
                    <a:pt x="1416" y="359614"/>
                  </a:cubicBezTo>
                  <a:lnTo>
                    <a:pt x="1416" y="424138"/>
                  </a:lnTo>
                  <a:cubicBezTo>
                    <a:pt x="1416" y="432478"/>
                    <a:pt x="8178" y="439240"/>
                    <a:pt x="16518" y="439240"/>
                  </a:cubicBezTo>
                  <a:lnTo>
                    <a:pt x="388225" y="439240"/>
                  </a:lnTo>
                  <a:cubicBezTo>
                    <a:pt x="396565" y="439240"/>
                    <a:pt x="403327" y="432478"/>
                    <a:pt x="403327" y="424138"/>
                  </a:cubicBezTo>
                  <a:lnTo>
                    <a:pt x="403327" y="359614"/>
                  </a:lnTo>
                  <a:cubicBezTo>
                    <a:pt x="403327" y="286587"/>
                    <a:pt x="347219" y="226437"/>
                    <a:pt x="275851" y="219977"/>
                  </a:cubicBezTo>
                  <a:lnTo>
                    <a:pt x="275851" y="219977"/>
                  </a:lnTo>
                  <a:close/>
                  <a:moveTo>
                    <a:pt x="135699" y="97928"/>
                  </a:moveTo>
                  <a:lnTo>
                    <a:pt x="135699" y="78777"/>
                  </a:lnTo>
                  <a:cubicBezTo>
                    <a:pt x="135699" y="52777"/>
                    <a:pt x="156855" y="31620"/>
                    <a:pt x="182848" y="31620"/>
                  </a:cubicBezTo>
                  <a:lnTo>
                    <a:pt x="269046" y="31620"/>
                  </a:lnTo>
                  <a:lnTo>
                    <a:pt x="269046" y="66788"/>
                  </a:lnTo>
                  <a:cubicBezTo>
                    <a:pt x="269046" y="84493"/>
                    <a:pt x="254644" y="98893"/>
                    <a:pt x="236939" y="98893"/>
                  </a:cubicBezTo>
                  <a:lnTo>
                    <a:pt x="135699" y="98893"/>
                  </a:lnTo>
                  <a:lnTo>
                    <a:pt x="135699" y="97928"/>
                  </a:lnTo>
                  <a:close/>
                  <a:moveTo>
                    <a:pt x="135699" y="129097"/>
                  </a:moveTo>
                  <a:lnTo>
                    <a:pt x="236939" y="129097"/>
                  </a:lnTo>
                  <a:cubicBezTo>
                    <a:pt x="248677" y="129097"/>
                    <a:pt x="259665" y="125839"/>
                    <a:pt x="269046" y="120168"/>
                  </a:cubicBezTo>
                  <a:lnTo>
                    <a:pt x="269046" y="152710"/>
                  </a:lnTo>
                  <a:cubicBezTo>
                    <a:pt x="269046" y="189478"/>
                    <a:pt x="239136" y="219388"/>
                    <a:pt x="202375" y="219388"/>
                  </a:cubicBezTo>
                  <a:cubicBezTo>
                    <a:pt x="165609" y="219388"/>
                    <a:pt x="135699" y="189478"/>
                    <a:pt x="135699" y="152710"/>
                  </a:cubicBezTo>
                  <a:lnTo>
                    <a:pt x="135699" y="129097"/>
                  </a:lnTo>
                  <a:close/>
                  <a:moveTo>
                    <a:pt x="235241" y="249592"/>
                  </a:moveTo>
                  <a:lnTo>
                    <a:pt x="202375" y="282466"/>
                  </a:lnTo>
                  <a:lnTo>
                    <a:pt x="169501" y="249592"/>
                  </a:lnTo>
                  <a:lnTo>
                    <a:pt x="235241" y="249592"/>
                  </a:lnTo>
                  <a:close/>
                  <a:moveTo>
                    <a:pt x="373123" y="409036"/>
                  </a:moveTo>
                  <a:lnTo>
                    <a:pt x="31620" y="409036"/>
                  </a:lnTo>
                  <a:lnTo>
                    <a:pt x="31620" y="378831"/>
                  </a:lnTo>
                  <a:lnTo>
                    <a:pt x="94293" y="378831"/>
                  </a:lnTo>
                  <a:cubicBezTo>
                    <a:pt x="102633" y="378831"/>
                    <a:pt x="109395" y="372069"/>
                    <a:pt x="109395" y="363729"/>
                  </a:cubicBezTo>
                  <a:cubicBezTo>
                    <a:pt x="109395" y="355381"/>
                    <a:pt x="102633" y="348627"/>
                    <a:pt x="94293" y="348627"/>
                  </a:cubicBezTo>
                  <a:lnTo>
                    <a:pt x="32173" y="348627"/>
                  </a:lnTo>
                  <a:cubicBezTo>
                    <a:pt x="37246" y="297708"/>
                    <a:pt x="77185" y="256928"/>
                    <a:pt x="127699" y="250506"/>
                  </a:cubicBezTo>
                  <a:lnTo>
                    <a:pt x="191690" y="314498"/>
                  </a:lnTo>
                  <a:cubicBezTo>
                    <a:pt x="194522" y="317329"/>
                    <a:pt x="198364" y="318923"/>
                    <a:pt x="202375" y="318923"/>
                  </a:cubicBezTo>
                  <a:cubicBezTo>
                    <a:pt x="206379" y="318923"/>
                    <a:pt x="210221" y="317329"/>
                    <a:pt x="213052" y="314498"/>
                  </a:cubicBezTo>
                  <a:lnTo>
                    <a:pt x="277046" y="250506"/>
                  </a:lnTo>
                  <a:cubicBezTo>
                    <a:pt x="331142" y="257379"/>
                    <a:pt x="373123" y="303673"/>
                    <a:pt x="373123" y="359614"/>
                  </a:cubicBezTo>
                  <a:lnTo>
                    <a:pt x="373123" y="4090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" name="Полилиния: фигура 134">
              <a:extLst>
                <a:ext uri="{FF2B5EF4-FFF2-40B4-BE49-F238E27FC236}">
                  <a16:creationId xmlns:a16="http://schemas.microsoft.com/office/drawing/2014/main" id="{52351259-A704-49E5-B846-3BE47E2DB51A}"/>
                </a:ext>
              </a:extLst>
            </p:cNvPr>
            <p:cNvSpPr/>
            <p:nvPr/>
          </p:nvSpPr>
          <p:spPr>
            <a:xfrm>
              <a:off x="8877794" y="1412303"/>
              <a:ext cx="403984" cy="439852"/>
            </a:xfrm>
            <a:custGeom>
              <a:avLst/>
              <a:gdLst>
                <a:gd name="connsiteX0" fmla="*/ 275851 w 403983"/>
                <a:gd name="connsiteY0" fmla="*/ 219969 h 439851"/>
                <a:gd name="connsiteX1" fmla="*/ 272519 w 403983"/>
                <a:gd name="connsiteY1" fmla="*/ 219424 h 439851"/>
                <a:gd name="connsiteX2" fmla="*/ 299250 w 403983"/>
                <a:gd name="connsiteY2" fmla="*/ 152712 h 439851"/>
                <a:gd name="connsiteX3" fmla="*/ 299250 w 403983"/>
                <a:gd name="connsiteY3" fmla="*/ 73255 h 439851"/>
                <a:gd name="connsiteX4" fmla="*/ 299080 w 403983"/>
                <a:gd name="connsiteY4" fmla="*/ 71124 h 439851"/>
                <a:gd name="connsiteX5" fmla="*/ 299250 w 403983"/>
                <a:gd name="connsiteY5" fmla="*/ 66788 h 439851"/>
                <a:gd name="connsiteX6" fmla="*/ 299250 w 403983"/>
                <a:gd name="connsiteY6" fmla="*/ 16518 h 439851"/>
                <a:gd name="connsiteX7" fmla="*/ 284148 w 403983"/>
                <a:gd name="connsiteY7" fmla="*/ 1416 h 439851"/>
                <a:gd name="connsiteX8" fmla="*/ 182850 w 403983"/>
                <a:gd name="connsiteY8" fmla="*/ 1416 h 439851"/>
                <a:gd name="connsiteX9" fmla="*/ 105495 w 403983"/>
                <a:gd name="connsiteY9" fmla="*/ 78771 h 439851"/>
                <a:gd name="connsiteX10" fmla="*/ 105495 w 403983"/>
                <a:gd name="connsiteY10" fmla="*/ 152712 h 439851"/>
                <a:gd name="connsiteX11" fmla="*/ 132218 w 403983"/>
                <a:gd name="connsiteY11" fmla="*/ 219424 h 439851"/>
                <a:gd name="connsiteX12" fmla="*/ 128886 w 403983"/>
                <a:gd name="connsiteY12" fmla="*/ 219969 h 439851"/>
                <a:gd name="connsiteX13" fmla="*/ 1416 w 403983"/>
                <a:gd name="connsiteY13" fmla="*/ 359606 h 439851"/>
                <a:gd name="connsiteX14" fmla="*/ 1416 w 403983"/>
                <a:gd name="connsiteY14" fmla="*/ 424130 h 439851"/>
                <a:gd name="connsiteX15" fmla="*/ 16518 w 403983"/>
                <a:gd name="connsiteY15" fmla="*/ 439233 h 439851"/>
                <a:gd name="connsiteX16" fmla="*/ 138029 w 403983"/>
                <a:gd name="connsiteY16" fmla="*/ 439233 h 439851"/>
                <a:gd name="connsiteX17" fmla="*/ 153131 w 403983"/>
                <a:gd name="connsiteY17" fmla="*/ 424130 h 439851"/>
                <a:gd name="connsiteX18" fmla="*/ 138029 w 403983"/>
                <a:gd name="connsiteY18" fmla="*/ 409028 h 439851"/>
                <a:gd name="connsiteX19" fmla="*/ 31620 w 403983"/>
                <a:gd name="connsiteY19" fmla="*/ 409028 h 439851"/>
                <a:gd name="connsiteX20" fmla="*/ 31620 w 403983"/>
                <a:gd name="connsiteY20" fmla="*/ 359606 h 439851"/>
                <a:gd name="connsiteX21" fmla="*/ 127699 w 403983"/>
                <a:gd name="connsiteY21" fmla="*/ 250506 h 439851"/>
                <a:gd name="connsiteX22" fmla="*/ 191690 w 403983"/>
                <a:gd name="connsiteY22" fmla="*/ 314500 h 439851"/>
                <a:gd name="connsiteX23" fmla="*/ 202368 w 403983"/>
                <a:gd name="connsiteY23" fmla="*/ 318923 h 439851"/>
                <a:gd name="connsiteX24" fmla="*/ 213047 w 403983"/>
                <a:gd name="connsiteY24" fmla="*/ 314500 h 439851"/>
                <a:gd name="connsiteX25" fmla="*/ 277039 w 403983"/>
                <a:gd name="connsiteY25" fmla="*/ 250506 h 439851"/>
                <a:gd name="connsiteX26" fmla="*/ 373124 w 403983"/>
                <a:gd name="connsiteY26" fmla="*/ 359606 h 439851"/>
                <a:gd name="connsiteX27" fmla="*/ 373124 w 403983"/>
                <a:gd name="connsiteY27" fmla="*/ 409028 h 439851"/>
                <a:gd name="connsiteX28" fmla="*/ 261870 w 403983"/>
                <a:gd name="connsiteY28" fmla="*/ 409028 h 439851"/>
                <a:gd name="connsiteX29" fmla="*/ 246768 w 403983"/>
                <a:gd name="connsiteY29" fmla="*/ 424130 h 439851"/>
                <a:gd name="connsiteX30" fmla="*/ 261870 w 403983"/>
                <a:gd name="connsiteY30" fmla="*/ 439233 h 439851"/>
                <a:gd name="connsiteX31" fmla="*/ 388227 w 403983"/>
                <a:gd name="connsiteY31" fmla="*/ 439233 h 439851"/>
                <a:gd name="connsiteX32" fmla="*/ 403329 w 403983"/>
                <a:gd name="connsiteY32" fmla="*/ 424130 h 439851"/>
                <a:gd name="connsiteX33" fmla="*/ 403329 w 403983"/>
                <a:gd name="connsiteY33" fmla="*/ 359606 h 439851"/>
                <a:gd name="connsiteX34" fmla="*/ 275851 w 403983"/>
                <a:gd name="connsiteY34" fmla="*/ 219969 h 439851"/>
                <a:gd name="connsiteX35" fmla="*/ 275851 w 403983"/>
                <a:gd name="connsiteY35" fmla="*/ 219969 h 439851"/>
                <a:gd name="connsiteX36" fmla="*/ 202368 w 403983"/>
                <a:gd name="connsiteY36" fmla="*/ 282458 h 439851"/>
                <a:gd name="connsiteX37" fmla="*/ 169501 w 403983"/>
                <a:gd name="connsiteY37" fmla="*/ 249592 h 439851"/>
                <a:gd name="connsiteX38" fmla="*/ 235241 w 403983"/>
                <a:gd name="connsiteY38" fmla="*/ 249592 h 439851"/>
                <a:gd name="connsiteX39" fmla="*/ 202368 w 403983"/>
                <a:gd name="connsiteY39" fmla="*/ 282458 h 439851"/>
                <a:gd name="connsiteX40" fmla="*/ 269046 w 403983"/>
                <a:gd name="connsiteY40" fmla="*/ 152712 h 439851"/>
                <a:gd name="connsiteX41" fmla="*/ 202368 w 403983"/>
                <a:gd name="connsiteY41" fmla="*/ 219388 h 439851"/>
                <a:gd name="connsiteX42" fmla="*/ 135699 w 403983"/>
                <a:gd name="connsiteY42" fmla="*/ 152712 h 439851"/>
                <a:gd name="connsiteX43" fmla="*/ 135699 w 403983"/>
                <a:gd name="connsiteY43" fmla="*/ 129099 h 439851"/>
                <a:gd name="connsiteX44" fmla="*/ 236938 w 403983"/>
                <a:gd name="connsiteY44" fmla="*/ 129099 h 439851"/>
                <a:gd name="connsiteX45" fmla="*/ 269046 w 403983"/>
                <a:gd name="connsiteY45" fmla="*/ 120168 h 439851"/>
                <a:gd name="connsiteX46" fmla="*/ 269046 w 403983"/>
                <a:gd name="connsiteY46" fmla="*/ 152712 h 439851"/>
                <a:gd name="connsiteX47" fmla="*/ 269046 w 403983"/>
                <a:gd name="connsiteY47" fmla="*/ 66788 h 439851"/>
                <a:gd name="connsiteX48" fmla="*/ 236938 w 403983"/>
                <a:gd name="connsiteY48" fmla="*/ 98895 h 439851"/>
                <a:gd name="connsiteX49" fmla="*/ 135699 w 403983"/>
                <a:gd name="connsiteY49" fmla="*/ 98895 h 439851"/>
                <a:gd name="connsiteX50" fmla="*/ 135699 w 403983"/>
                <a:gd name="connsiteY50" fmla="*/ 78771 h 439851"/>
                <a:gd name="connsiteX51" fmla="*/ 182850 w 403983"/>
                <a:gd name="connsiteY51" fmla="*/ 31620 h 439851"/>
                <a:gd name="connsiteX52" fmla="*/ 269046 w 403983"/>
                <a:gd name="connsiteY52" fmla="*/ 31620 h 439851"/>
                <a:gd name="connsiteX53" fmla="*/ 269046 w 403983"/>
                <a:gd name="connsiteY53" fmla="*/ 66788 h 439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03983" h="439851">
                  <a:moveTo>
                    <a:pt x="275851" y="219969"/>
                  </a:moveTo>
                  <a:cubicBezTo>
                    <a:pt x="274760" y="219660"/>
                    <a:pt x="273646" y="219484"/>
                    <a:pt x="272519" y="219424"/>
                  </a:cubicBezTo>
                  <a:cubicBezTo>
                    <a:pt x="289058" y="202035"/>
                    <a:pt x="299250" y="178550"/>
                    <a:pt x="299250" y="152712"/>
                  </a:cubicBezTo>
                  <a:lnTo>
                    <a:pt x="299250" y="73255"/>
                  </a:lnTo>
                  <a:cubicBezTo>
                    <a:pt x="299250" y="72532"/>
                    <a:pt x="299177" y="71824"/>
                    <a:pt x="299080" y="71124"/>
                  </a:cubicBezTo>
                  <a:cubicBezTo>
                    <a:pt x="299177" y="69693"/>
                    <a:pt x="299250" y="68247"/>
                    <a:pt x="299250" y="66788"/>
                  </a:cubicBezTo>
                  <a:lnTo>
                    <a:pt x="299250" y="16518"/>
                  </a:lnTo>
                  <a:cubicBezTo>
                    <a:pt x="299250" y="8178"/>
                    <a:pt x="292488" y="1416"/>
                    <a:pt x="284148" y="1416"/>
                  </a:cubicBezTo>
                  <a:lnTo>
                    <a:pt x="182850" y="1416"/>
                  </a:lnTo>
                  <a:cubicBezTo>
                    <a:pt x="140190" y="1416"/>
                    <a:pt x="105495" y="36119"/>
                    <a:pt x="105495" y="78771"/>
                  </a:cubicBezTo>
                  <a:lnTo>
                    <a:pt x="105495" y="152712"/>
                  </a:lnTo>
                  <a:cubicBezTo>
                    <a:pt x="105495" y="178550"/>
                    <a:pt x="115679" y="202035"/>
                    <a:pt x="132218" y="219424"/>
                  </a:cubicBezTo>
                  <a:cubicBezTo>
                    <a:pt x="131098" y="219484"/>
                    <a:pt x="129977" y="219660"/>
                    <a:pt x="128886" y="219969"/>
                  </a:cubicBezTo>
                  <a:cubicBezTo>
                    <a:pt x="57519" y="226437"/>
                    <a:pt x="1416" y="286587"/>
                    <a:pt x="1416" y="359606"/>
                  </a:cubicBezTo>
                  <a:lnTo>
                    <a:pt x="1416" y="424130"/>
                  </a:lnTo>
                  <a:cubicBezTo>
                    <a:pt x="1416" y="432471"/>
                    <a:pt x="8170" y="439233"/>
                    <a:pt x="16518" y="439233"/>
                  </a:cubicBezTo>
                  <a:lnTo>
                    <a:pt x="138029" y="439233"/>
                  </a:lnTo>
                  <a:cubicBezTo>
                    <a:pt x="146369" y="439233"/>
                    <a:pt x="153131" y="432471"/>
                    <a:pt x="153131" y="424130"/>
                  </a:cubicBezTo>
                  <a:cubicBezTo>
                    <a:pt x="153131" y="415790"/>
                    <a:pt x="146369" y="409028"/>
                    <a:pt x="138029" y="409028"/>
                  </a:cubicBezTo>
                  <a:lnTo>
                    <a:pt x="31620" y="409028"/>
                  </a:lnTo>
                  <a:lnTo>
                    <a:pt x="31620" y="359606"/>
                  </a:lnTo>
                  <a:cubicBezTo>
                    <a:pt x="31620" y="303666"/>
                    <a:pt x="73595" y="257379"/>
                    <a:pt x="127699" y="250506"/>
                  </a:cubicBezTo>
                  <a:lnTo>
                    <a:pt x="191690" y="314500"/>
                  </a:lnTo>
                  <a:cubicBezTo>
                    <a:pt x="194641" y="317448"/>
                    <a:pt x="198505" y="318923"/>
                    <a:pt x="202368" y="318923"/>
                  </a:cubicBezTo>
                  <a:cubicBezTo>
                    <a:pt x="206232" y="318923"/>
                    <a:pt x="210096" y="317448"/>
                    <a:pt x="213047" y="314500"/>
                  </a:cubicBezTo>
                  <a:lnTo>
                    <a:pt x="277039" y="250506"/>
                  </a:lnTo>
                  <a:cubicBezTo>
                    <a:pt x="331142" y="257379"/>
                    <a:pt x="373124" y="303666"/>
                    <a:pt x="373124" y="359606"/>
                  </a:cubicBezTo>
                  <a:lnTo>
                    <a:pt x="373124" y="409028"/>
                  </a:lnTo>
                  <a:lnTo>
                    <a:pt x="261870" y="409028"/>
                  </a:lnTo>
                  <a:cubicBezTo>
                    <a:pt x="253523" y="409028"/>
                    <a:pt x="246768" y="415790"/>
                    <a:pt x="246768" y="424130"/>
                  </a:cubicBezTo>
                  <a:cubicBezTo>
                    <a:pt x="246768" y="432471"/>
                    <a:pt x="253523" y="439233"/>
                    <a:pt x="261870" y="439233"/>
                  </a:cubicBezTo>
                  <a:lnTo>
                    <a:pt x="388227" y="439233"/>
                  </a:lnTo>
                  <a:cubicBezTo>
                    <a:pt x="396567" y="439233"/>
                    <a:pt x="403329" y="432471"/>
                    <a:pt x="403329" y="424130"/>
                  </a:cubicBezTo>
                  <a:lnTo>
                    <a:pt x="403329" y="359606"/>
                  </a:lnTo>
                  <a:cubicBezTo>
                    <a:pt x="403329" y="286587"/>
                    <a:pt x="347219" y="226437"/>
                    <a:pt x="275851" y="219969"/>
                  </a:cubicBezTo>
                  <a:lnTo>
                    <a:pt x="275851" y="219969"/>
                  </a:lnTo>
                  <a:close/>
                  <a:moveTo>
                    <a:pt x="202368" y="282458"/>
                  </a:moveTo>
                  <a:lnTo>
                    <a:pt x="169501" y="249592"/>
                  </a:lnTo>
                  <a:lnTo>
                    <a:pt x="235241" y="249592"/>
                  </a:lnTo>
                  <a:lnTo>
                    <a:pt x="202368" y="282458"/>
                  </a:lnTo>
                  <a:close/>
                  <a:moveTo>
                    <a:pt x="269046" y="152712"/>
                  </a:moveTo>
                  <a:cubicBezTo>
                    <a:pt x="269046" y="189478"/>
                    <a:pt x="239136" y="219388"/>
                    <a:pt x="202368" y="219388"/>
                  </a:cubicBezTo>
                  <a:cubicBezTo>
                    <a:pt x="165609" y="219388"/>
                    <a:pt x="135699" y="189478"/>
                    <a:pt x="135699" y="152712"/>
                  </a:cubicBezTo>
                  <a:lnTo>
                    <a:pt x="135699" y="129099"/>
                  </a:lnTo>
                  <a:lnTo>
                    <a:pt x="236938" y="129099"/>
                  </a:lnTo>
                  <a:cubicBezTo>
                    <a:pt x="248671" y="129099"/>
                    <a:pt x="259658" y="125832"/>
                    <a:pt x="269046" y="120168"/>
                  </a:cubicBezTo>
                  <a:lnTo>
                    <a:pt x="269046" y="152712"/>
                  </a:lnTo>
                  <a:close/>
                  <a:moveTo>
                    <a:pt x="269046" y="66788"/>
                  </a:moveTo>
                  <a:cubicBezTo>
                    <a:pt x="269046" y="84493"/>
                    <a:pt x="254644" y="98895"/>
                    <a:pt x="236938" y="98895"/>
                  </a:cubicBezTo>
                  <a:lnTo>
                    <a:pt x="135699" y="98895"/>
                  </a:lnTo>
                  <a:lnTo>
                    <a:pt x="135699" y="78771"/>
                  </a:lnTo>
                  <a:cubicBezTo>
                    <a:pt x="135699" y="52777"/>
                    <a:pt x="156848" y="31620"/>
                    <a:pt x="182850" y="31620"/>
                  </a:cubicBezTo>
                  <a:lnTo>
                    <a:pt x="269046" y="31620"/>
                  </a:lnTo>
                  <a:lnTo>
                    <a:pt x="269046" y="667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" name="Полилиния: фигура 135">
              <a:extLst>
                <a:ext uri="{FF2B5EF4-FFF2-40B4-BE49-F238E27FC236}">
                  <a16:creationId xmlns:a16="http://schemas.microsoft.com/office/drawing/2014/main" id="{65BC22D4-8B38-409C-8B4A-DA5E12DAFB58}"/>
                </a:ext>
              </a:extLst>
            </p:cNvPr>
            <p:cNvSpPr/>
            <p:nvPr/>
          </p:nvSpPr>
          <p:spPr>
            <a:xfrm>
              <a:off x="9063651" y="1819915"/>
              <a:ext cx="32092" cy="32092"/>
            </a:xfrm>
            <a:custGeom>
              <a:avLst/>
              <a:gdLst>
                <a:gd name="connsiteX0" fmla="*/ 27197 w 32092"/>
                <a:gd name="connsiteY0" fmla="*/ 5841 h 32092"/>
                <a:gd name="connsiteX1" fmla="*/ 16518 w 32092"/>
                <a:gd name="connsiteY1" fmla="*/ 1416 h 32092"/>
                <a:gd name="connsiteX2" fmla="*/ 5841 w 32092"/>
                <a:gd name="connsiteY2" fmla="*/ 5841 h 32092"/>
                <a:gd name="connsiteX3" fmla="*/ 1416 w 32092"/>
                <a:gd name="connsiteY3" fmla="*/ 16518 h 32092"/>
                <a:gd name="connsiteX4" fmla="*/ 5841 w 32092"/>
                <a:gd name="connsiteY4" fmla="*/ 27188 h 32092"/>
                <a:gd name="connsiteX5" fmla="*/ 16518 w 32092"/>
                <a:gd name="connsiteY5" fmla="*/ 31620 h 32092"/>
                <a:gd name="connsiteX6" fmla="*/ 27197 w 32092"/>
                <a:gd name="connsiteY6" fmla="*/ 27188 h 32092"/>
                <a:gd name="connsiteX7" fmla="*/ 31620 w 32092"/>
                <a:gd name="connsiteY7" fmla="*/ 16518 h 32092"/>
                <a:gd name="connsiteX8" fmla="*/ 27197 w 32092"/>
                <a:gd name="connsiteY8" fmla="*/ 5841 h 32092"/>
                <a:gd name="connsiteX9" fmla="*/ 27197 w 32092"/>
                <a:gd name="connsiteY9" fmla="*/ 5841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092" h="32092">
                  <a:moveTo>
                    <a:pt x="27197" y="5841"/>
                  </a:moveTo>
                  <a:cubicBezTo>
                    <a:pt x="24386" y="3030"/>
                    <a:pt x="20494" y="1416"/>
                    <a:pt x="16518" y="1416"/>
                  </a:cubicBezTo>
                  <a:cubicBezTo>
                    <a:pt x="12529" y="1416"/>
                    <a:pt x="8650" y="3030"/>
                    <a:pt x="5841" y="5841"/>
                  </a:cubicBezTo>
                  <a:cubicBezTo>
                    <a:pt x="3017" y="8650"/>
                    <a:pt x="1416" y="12542"/>
                    <a:pt x="1416" y="16518"/>
                  </a:cubicBezTo>
                  <a:cubicBezTo>
                    <a:pt x="1416" y="20499"/>
                    <a:pt x="3017" y="24386"/>
                    <a:pt x="5841" y="27188"/>
                  </a:cubicBezTo>
                  <a:cubicBezTo>
                    <a:pt x="8650" y="30012"/>
                    <a:pt x="12529" y="31620"/>
                    <a:pt x="16518" y="31620"/>
                  </a:cubicBezTo>
                  <a:cubicBezTo>
                    <a:pt x="20494" y="31620"/>
                    <a:pt x="24386" y="30012"/>
                    <a:pt x="27197" y="27188"/>
                  </a:cubicBezTo>
                  <a:cubicBezTo>
                    <a:pt x="30006" y="24386"/>
                    <a:pt x="31620" y="20499"/>
                    <a:pt x="31620" y="16518"/>
                  </a:cubicBezTo>
                  <a:cubicBezTo>
                    <a:pt x="31620" y="12542"/>
                    <a:pt x="30006" y="8650"/>
                    <a:pt x="27197" y="5841"/>
                  </a:cubicBezTo>
                  <a:lnTo>
                    <a:pt x="27197" y="58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" name="Полилиния: фигура 136">
              <a:extLst>
                <a:ext uri="{FF2B5EF4-FFF2-40B4-BE49-F238E27FC236}">
                  <a16:creationId xmlns:a16="http://schemas.microsoft.com/office/drawing/2014/main" id="{0002478C-94C6-4D5E-9EBB-0901D641DA8F}"/>
                </a:ext>
              </a:extLst>
            </p:cNvPr>
            <p:cNvSpPr/>
            <p:nvPr/>
          </p:nvSpPr>
          <p:spPr>
            <a:xfrm>
              <a:off x="8506470" y="1412303"/>
              <a:ext cx="409647" cy="285054"/>
            </a:xfrm>
            <a:custGeom>
              <a:avLst/>
              <a:gdLst>
                <a:gd name="connsiteX0" fmla="*/ 405260 w 409647"/>
                <a:gd name="connsiteY0" fmla="*/ 212735 h 285054"/>
                <a:gd name="connsiteX1" fmla="*/ 342101 w 409647"/>
                <a:gd name="connsiteY1" fmla="*/ 149584 h 285054"/>
                <a:gd name="connsiteX2" fmla="*/ 342101 w 409647"/>
                <a:gd name="connsiteY2" fmla="*/ 76927 h 285054"/>
                <a:gd name="connsiteX3" fmla="*/ 266590 w 409647"/>
                <a:gd name="connsiteY3" fmla="*/ 1416 h 285054"/>
                <a:gd name="connsiteX4" fmla="*/ 76927 w 409647"/>
                <a:gd name="connsiteY4" fmla="*/ 1416 h 285054"/>
                <a:gd name="connsiteX5" fmla="*/ 1416 w 409647"/>
                <a:gd name="connsiteY5" fmla="*/ 76927 h 285054"/>
                <a:gd name="connsiteX6" fmla="*/ 1416 w 409647"/>
                <a:gd name="connsiteY6" fmla="*/ 209822 h 285054"/>
                <a:gd name="connsiteX7" fmla="*/ 76927 w 409647"/>
                <a:gd name="connsiteY7" fmla="*/ 285334 h 285054"/>
                <a:gd name="connsiteX8" fmla="*/ 266582 w 409647"/>
                <a:gd name="connsiteY8" fmla="*/ 285334 h 285054"/>
                <a:gd name="connsiteX9" fmla="*/ 336458 w 409647"/>
                <a:gd name="connsiteY9" fmla="*/ 238524 h 285054"/>
                <a:gd name="connsiteX10" fmla="*/ 394575 w 409647"/>
                <a:gd name="connsiteY10" fmla="*/ 238524 h 285054"/>
                <a:gd name="connsiteX11" fmla="*/ 408526 w 409647"/>
                <a:gd name="connsiteY11" fmla="*/ 229195 h 285054"/>
                <a:gd name="connsiteX12" fmla="*/ 405260 w 409647"/>
                <a:gd name="connsiteY12" fmla="*/ 212735 h 285054"/>
                <a:gd name="connsiteX13" fmla="*/ 405260 w 409647"/>
                <a:gd name="connsiteY13" fmla="*/ 212735 h 285054"/>
                <a:gd name="connsiteX14" fmla="*/ 325443 w 409647"/>
                <a:gd name="connsiteY14" fmla="*/ 208320 h 285054"/>
                <a:gd name="connsiteX15" fmla="*/ 310724 w 409647"/>
                <a:gd name="connsiteY15" fmla="*/ 220030 h 285054"/>
                <a:gd name="connsiteX16" fmla="*/ 266582 w 409647"/>
                <a:gd name="connsiteY16" fmla="*/ 255129 h 285054"/>
                <a:gd name="connsiteX17" fmla="*/ 76927 w 409647"/>
                <a:gd name="connsiteY17" fmla="*/ 255129 h 285054"/>
                <a:gd name="connsiteX18" fmla="*/ 31620 w 409647"/>
                <a:gd name="connsiteY18" fmla="*/ 209822 h 285054"/>
                <a:gd name="connsiteX19" fmla="*/ 31620 w 409647"/>
                <a:gd name="connsiteY19" fmla="*/ 76927 h 285054"/>
                <a:gd name="connsiteX20" fmla="*/ 76927 w 409647"/>
                <a:gd name="connsiteY20" fmla="*/ 31620 h 285054"/>
                <a:gd name="connsiteX21" fmla="*/ 266582 w 409647"/>
                <a:gd name="connsiteY21" fmla="*/ 31620 h 285054"/>
                <a:gd name="connsiteX22" fmla="*/ 311889 w 409647"/>
                <a:gd name="connsiteY22" fmla="*/ 76927 h 285054"/>
                <a:gd name="connsiteX23" fmla="*/ 311889 w 409647"/>
                <a:gd name="connsiteY23" fmla="*/ 155838 h 285054"/>
                <a:gd name="connsiteX24" fmla="*/ 316314 w 409647"/>
                <a:gd name="connsiteY24" fmla="*/ 166515 h 285054"/>
                <a:gd name="connsiteX25" fmla="*/ 358117 w 409647"/>
                <a:gd name="connsiteY25" fmla="*/ 208320 h 285054"/>
                <a:gd name="connsiteX26" fmla="*/ 325443 w 409647"/>
                <a:gd name="connsiteY26" fmla="*/ 208320 h 285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09647" h="285054">
                  <a:moveTo>
                    <a:pt x="405260" y="212735"/>
                  </a:moveTo>
                  <a:lnTo>
                    <a:pt x="342101" y="149584"/>
                  </a:lnTo>
                  <a:lnTo>
                    <a:pt x="342101" y="76927"/>
                  </a:lnTo>
                  <a:cubicBezTo>
                    <a:pt x="342101" y="35292"/>
                    <a:pt x="308223" y="1416"/>
                    <a:pt x="266590" y="1416"/>
                  </a:cubicBezTo>
                  <a:lnTo>
                    <a:pt x="76927" y="1416"/>
                  </a:lnTo>
                  <a:cubicBezTo>
                    <a:pt x="35292" y="1416"/>
                    <a:pt x="1416" y="35292"/>
                    <a:pt x="1416" y="76927"/>
                  </a:cubicBezTo>
                  <a:lnTo>
                    <a:pt x="1416" y="209822"/>
                  </a:lnTo>
                  <a:cubicBezTo>
                    <a:pt x="1416" y="251465"/>
                    <a:pt x="35292" y="285334"/>
                    <a:pt x="76927" y="285334"/>
                  </a:cubicBezTo>
                  <a:lnTo>
                    <a:pt x="266582" y="285334"/>
                  </a:lnTo>
                  <a:cubicBezTo>
                    <a:pt x="297804" y="285334"/>
                    <a:pt x="325037" y="266597"/>
                    <a:pt x="336458" y="238524"/>
                  </a:cubicBezTo>
                  <a:lnTo>
                    <a:pt x="394575" y="238524"/>
                  </a:lnTo>
                  <a:cubicBezTo>
                    <a:pt x="400680" y="238524"/>
                    <a:pt x="406189" y="234843"/>
                    <a:pt x="408526" y="229195"/>
                  </a:cubicBezTo>
                  <a:cubicBezTo>
                    <a:pt x="410865" y="223554"/>
                    <a:pt x="409574" y="217056"/>
                    <a:pt x="405260" y="212735"/>
                  </a:cubicBezTo>
                  <a:lnTo>
                    <a:pt x="405260" y="212735"/>
                  </a:lnTo>
                  <a:close/>
                  <a:moveTo>
                    <a:pt x="325443" y="208320"/>
                  </a:moveTo>
                  <a:cubicBezTo>
                    <a:pt x="318400" y="208320"/>
                    <a:pt x="312302" y="213171"/>
                    <a:pt x="310724" y="220030"/>
                  </a:cubicBezTo>
                  <a:cubicBezTo>
                    <a:pt x="305967" y="240699"/>
                    <a:pt x="287820" y="255129"/>
                    <a:pt x="266582" y="255129"/>
                  </a:cubicBezTo>
                  <a:lnTo>
                    <a:pt x="76927" y="255129"/>
                  </a:lnTo>
                  <a:cubicBezTo>
                    <a:pt x="51944" y="255129"/>
                    <a:pt x="31620" y="234807"/>
                    <a:pt x="31620" y="209822"/>
                  </a:cubicBezTo>
                  <a:lnTo>
                    <a:pt x="31620" y="76927"/>
                  </a:lnTo>
                  <a:cubicBezTo>
                    <a:pt x="31620" y="51944"/>
                    <a:pt x="51944" y="31620"/>
                    <a:pt x="76927" y="31620"/>
                  </a:cubicBezTo>
                  <a:lnTo>
                    <a:pt x="266582" y="31620"/>
                  </a:lnTo>
                  <a:cubicBezTo>
                    <a:pt x="291565" y="31620"/>
                    <a:pt x="311889" y="51944"/>
                    <a:pt x="311889" y="76927"/>
                  </a:cubicBezTo>
                  <a:lnTo>
                    <a:pt x="311889" y="155838"/>
                  </a:lnTo>
                  <a:cubicBezTo>
                    <a:pt x="311889" y="159842"/>
                    <a:pt x="313482" y="163683"/>
                    <a:pt x="316314" y="166515"/>
                  </a:cubicBezTo>
                  <a:lnTo>
                    <a:pt x="358117" y="208320"/>
                  </a:lnTo>
                  <a:lnTo>
                    <a:pt x="325443" y="20832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" name="Полилиния: фигура 141">
              <a:extLst>
                <a:ext uri="{FF2B5EF4-FFF2-40B4-BE49-F238E27FC236}">
                  <a16:creationId xmlns:a16="http://schemas.microsoft.com/office/drawing/2014/main" id="{F4562BF6-3BD0-4F0C-A983-413E0EE0302C}"/>
                </a:ext>
              </a:extLst>
            </p:cNvPr>
            <p:cNvSpPr/>
            <p:nvPr/>
          </p:nvSpPr>
          <p:spPr>
            <a:xfrm>
              <a:off x="8871439" y="1901613"/>
              <a:ext cx="409647" cy="285054"/>
            </a:xfrm>
            <a:custGeom>
              <a:avLst/>
              <a:gdLst>
                <a:gd name="connsiteX0" fmla="*/ 334173 w 409647"/>
                <a:gd name="connsiteY0" fmla="*/ 1416 h 285054"/>
                <a:gd name="connsiteX1" fmla="*/ 144510 w 409647"/>
                <a:gd name="connsiteY1" fmla="*/ 1416 h 285054"/>
                <a:gd name="connsiteX2" fmla="*/ 74639 w 409647"/>
                <a:gd name="connsiteY2" fmla="*/ 48235 h 285054"/>
                <a:gd name="connsiteX3" fmla="*/ 16517 w 409647"/>
                <a:gd name="connsiteY3" fmla="*/ 48235 h 285054"/>
                <a:gd name="connsiteX4" fmla="*/ 2564 w 409647"/>
                <a:gd name="connsiteY4" fmla="*/ 57555 h 285054"/>
                <a:gd name="connsiteX5" fmla="*/ 5839 w 409647"/>
                <a:gd name="connsiteY5" fmla="*/ 74014 h 285054"/>
                <a:gd name="connsiteX6" fmla="*/ 68999 w 409647"/>
                <a:gd name="connsiteY6" fmla="*/ 137173 h 285054"/>
                <a:gd name="connsiteX7" fmla="*/ 68999 w 409647"/>
                <a:gd name="connsiteY7" fmla="*/ 209832 h 285054"/>
                <a:gd name="connsiteX8" fmla="*/ 144510 w 409647"/>
                <a:gd name="connsiteY8" fmla="*/ 285343 h 285054"/>
                <a:gd name="connsiteX9" fmla="*/ 334173 w 409647"/>
                <a:gd name="connsiteY9" fmla="*/ 285343 h 285054"/>
                <a:gd name="connsiteX10" fmla="*/ 409684 w 409647"/>
                <a:gd name="connsiteY10" fmla="*/ 209832 h 285054"/>
                <a:gd name="connsiteX11" fmla="*/ 409684 w 409647"/>
                <a:gd name="connsiteY11" fmla="*/ 76927 h 285054"/>
                <a:gd name="connsiteX12" fmla="*/ 334173 w 409647"/>
                <a:gd name="connsiteY12" fmla="*/ 1416 h 285054"/>
                <a:gd name="connsiteX13" fmla="*/ 334173 w 409647"/>
                <a:gd name="connsiteY13" fmla="*/ 1416 h 285054"/>
                <a:gd name="connsiteX14" fmla="*/ 379479 w 409647"/>
                <a:gd name="connsiteY14" fmla="*/ 209832 h 285054"/>
                <a:gd name="connsiteX15" fmla="*/ 334173 w 409647"/>
                <a:gd name="connsiteY15" fmla="*/ 255139 h 285054"/>
                <a:gd name="connsiteX16" fmla="*/ 144510 w 409647"/>
                <a:gd name="connsiteY16" fmla="*/ 255139 h 285054"/>
                <a:gd name="connsiteX17" fmla="*/ 99203 w 409647"/>
                <a:gd name="connsiteY17" fmla="*/ 209832 h 285054"/>
                <a:gd name="connsiteX18" fmla="*/ 99203 w 409647"/>
                <a:gd name="connsiteY18" fmla="*/ 130921 h 285054"/>
                <a:gd name="connsiteX19" fmla="*/ 94778 w 409647"/>
                <a:gd name="connsiteY19" fmla="*/ 120244 h 285054"/>
                <a:gd name="connsiteX20" fmla="*/ 52981 w 409647"/>
                <a:gd name="connsiteY20" fmla="*/ 78439 h 285054"/>
                <a:gd name="connsiteX21" fmla="*/ 85656 w 409647"/>
                <a:gd name="connsiteY21" fmla="*/ 78439 h 285054"/>
                <a:gd name="connsiteX22" fmla="*/ 100375 w 409647"/>
                <a:gd name="connsiteY22" fmla="*/ 66722 h 285054"/>
                <a:gd name="connsiteX23" fmla="*/ 144510 w 409647"/>
                <a:gd name="connsiteY23" fmla="*/ 31620 h 285054"/>
                <a:gd name="connsiteX24" fmla="*/ 334173 w 409647"/>
                <a:gd name="connsiteY24" fmla="*/ 31620 h 285054"/>
                <a:gd name="connsiteX25" fmla="*/ 379479 w 409647"/>
                <a:gd name="connsiteY25" fmla="*/ 76927 h 285054"/>
                <a:gd name="connsiteX26" fmla="*/ 379479 w 409647"/>
                <a:gd name="connsiteY26" fmla="*/ 209832 h 285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09647" h="285054">
                  <a:moveTo>
                    <a:pt x="334173" y="1416"/>
                  </a:moveTo>
                  <a:lnTo>
                    <a:pt x="144510" y="1416"/>
                  </a:lnTo>
                  <a:cubicBezTo>
                    <a:pt x="113288" y="1416"/>
                    <a:pt x="86062" y="20154"/>
                    <a:pt x="74639" y="48235"/>
                  </a:cubicBezTo>
                  <a:lnTo>
                    <a:pt x="16517" y="48235"/>
                  </a:lnTo>
                  <a:cubicBezTo>
                    <a:pt x="10412" y="48235"/>
                    <a:pt x="4903" y="51914"/>
                    <a:pt x="2564" y="57555"/>
                  </a:cubicBezTo>
                  <a:cubicBezTo>
                    <a:pt x="227" y="63197"/>
                    <a:pt x="1526" y="69693"/>
                    <a:pt x="5839" y="74014"/>
                  </a:cubicBezTo>
                  <a:lnTo>
                    <a:pt x="68999" y="137173"/>
                  </a:lnTo>
                  <a:lnTo>
                    <a:pt x="68999" y="209832"/>
                  </a:lnTo>
                  <a:cubicBezTo>
                    <a:pt x="68999" y="251465"/>
                    <a:pt x="102875" y="285343"/>
                    <a:pt x="144510" y="285343"/>
                  </a:cubicBezTo>
                  <a:lnTo>
                    <a:pt x="334173" y="285343"/>
                  </a:lnTo>
                  <a:cubicBezTo>
                    <a:pt x="375806" y="285343"/>
                    <a:pt x="409684" y="251465"/>
                    <a:pt x="409684" y="209832"/>
                  </a:cubicBezTo>
                  <a:lnTo>
                    <a:pt x="409684" y="76927"/>
                  </a:lnTo>
                  <a:cubicBezTo>
                    <a:pt x="409684" y="35294"/>
                    <a:pt x="375806" y="1416"/>
                    <a:pt x="334173" y="1416"/>
                  </a:cubicBezTo>
                  <a:lnTo>
                    <a:pt x="334173" y="1416"/>
                  </a:lnTo>
                  <a:close/>
                  <a:moveTo>
                    <a:pt x="379479" y="209832"/>
                  </a:moveTo>
                  <a:cubicBezTo>
                    <a:pt x="379479" y="234807"/>
                    <a:pt x="359148" y="255139"/>
                    <a:pt x="334173" y="255139"/>
                  </a:cubicBezTo>
                  <a:lnTo>
                    <a:pt x="144510" y="255139"/>
                  </a:lnTo>
                  <a:cubicBezTo>
                    <a:pt x="119525" y="255139"/>
                    <a:pt x="99203" y="234807"/>
                    <a:pt x="99203" y="209832"/>
                  </a:cubicBezTo>
                  <a:lnTo>
                    <a:pt x="99203" y="130921"/>
                  </a:lnTo>
                  <a:cubicBezTo>
                    <a:pt x="99203" y="126917"/>
                    <a:pt x="97610" y="123075"/>
                    <a:pt x="94778" y="120244"/>
                  </a:cubicBezTo>
                  <a:lnTo>
                    <a:pt x="52981" y="78439"/>
                  </a:lnTo>
                  <a:lnTo>
                    <a:pt x="85656" y="78439"/>
                  </a:lnTo>
                  <a:cubicBezTo>
                    <a:pt x="92692" y="78439"/>
                    <a:pt x="98797" y="73580"/>
                    <a:pt x="100375" y="66722"/>
                  </a:cubicBezTo>
                  <a:cubicBezTo>
                    <a:pt x="105131" y="46060"/>
                    <a:pt x="123280" y="31620"/>
                    <a:pt x="144510" y="31620"/>
                  </a:cubicBezTo>
                  <a:lnTo>
                    <a:pt x="334173" y="31620"/>
                  </a:lnTo>
                  <a:cubicBezTo>
                    <a:pt x="359148" y="31620"/>
                    <a:pt x="379479" y="51944"/>
                    <a:pt x="379479" y="76927"/>
                  </a:cubicBezTo>
                  <a:lnTo>
                    <a:pt x="379479" y="2098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" name="Полилиния: фигура 143">
              <a:extLst>
                <a:ext uri="{FF2B5EF4-FFF2-40B4-BE49-F238E27FC236}">
                  <a16:creationId xmlns:a16="http://schemas.microsoft.com/office/drawing/2014/main" id="{F569F06B-543E-452D-AF7C-82FFF261370B}"/>
                </a:ext>
              </a:extLst>
            </p:cNvPr>
            <p:cNvSpPr/>
            <p:nvPr/>
          </p:nvSpPr>
          <p:spPr>
            <a:xfrm>
              <a:off x="9071291" y="1998966"/>
              <a:ext cx="111379" cy="83062"/>
            </a:xfrm>
            <a:custGeom>
              <a:avLst/>
              <a:gdLst>
                <a:gd name="connsiteX0" fmla="*/ 107367 w 111378"/>
                <a:gd name="connsiteY0" fmla="*/ 5840 h 83062"/>
                <a:gd name="connsiteX1" fmla="*/ 86012 w 111378"/>
                <a:gd name="connsiteY1" fmla="*/ 5840 h 83062"/>
                <a:gd name="connsiteX2" fmla="*/ 45867 w 111378"/>
                <a:gd name="connsiteY2" fmla="*/ 45986 h 83062"/>
                <a:gd name="connsiteX3" fmla="*/ 27195 w 111378"/>
                <a:gd name="connsiteY3" fmla="*/ 27321 h 83062"/>
                <a:gd name="connsiteX4" fmla="*/ 5840 w 111378"/>
                <a:gd name="connsiteY4" fmla="*/ 27321 h 83062"/>
                <a:gd name="connsiteX5" fmla="*/ 5840 w 111378"/>
                <a:gd name="connsiteY5" fmla="*/ 48678 h 83062"/>
                <a:gd name="connsiteX6" fmla="*/ 35190 w 111378"/>
                <a:gd name="connsiteY6" fmla="*/ 78027 h 83062"/>
                <a:gd name="connsiteX7" fmla="*/ 45867 w 111378"/>
                <a:gd name="connsiteY7" fmla="*/ 82450 h 83062"/>
                <a:gd name="connsiteX8" fmla="*/ 56544 w 111378"/>
                <a:gd name="connsiteY8" fmla="*/ 78027 h 83062"/>
                <a:gd name="connsiteX9" fmla="*/ 107367 w 111378"/>
                <a:gd name="connsiteY9" fmla="*/ 27204 h 83062"/>
                <a:gd name="connsiteX10" fmla="*/ 107367 w 111378"/>
                <a:gd name="connsiteY10" fmla="*/ 5840 h 83062"/>
                <a:gd name="connsiteX11" fmla="*/ 107367 w 111378"/>
                <a:gd name="connsiteY11" fmla="*/ 5840 h 8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1378" h="83062">
                  <a:moveTo>
                    <a:pt x="107367" y="5840"/>
                  </a:moveTo>
                  <a:cubicBezTo>
                    <a:pt x="101475" y="-59"/>
                    <a:pt x="91912" y="-59"/>
                    <a:pt x="86012" y="5840"/>
                  </a:cubicBezTo>
                  <a:lnTo>
                    <a:pt x="45867" y="45986"/>
                  </a:lnTo>
                  <a:lnTo>
                    <a:pt x="27195" y="27321"/>
                  </a:lnTo>
                  <a:cubicBezTo>
                    <a:pt x="21303" y="21422"/>
                    <a:pt x="11740" y="21422"/>
                    <a:pt x="5840" y="27321"/>
                  </a:cubicBezTo>
                  <a:cubicBezTo>
                    <a:pt x="-59" y="33213"/>
                    <a:pt x="-59" y="42778"/>
                    <a:pt x="5840" y="48678"/>
                  </a:cubicBezTo>
                  <a:lnTo>
                    <a:pt x="35190" y="78027"/>
                  </a:lnTo>
                  <a:cubicBezTo>
                    <a:pt x="38138" y="80976"/>
                    <a:pt x="42003" y="82450"/>
                    <a:pt x="45867" y="82450"/>
                  </a:cubicBezTo>
                  <a:cubicBezTo>
                    <a:pt x="49731" y="82450"/>
                    <a:pt x="53595" y="80976"/>
                    <a:pt x="56544" y="78027"/>
                  </a:cubicBezTo>
                  <a:lnTo>
                    <a:pt x="107367" y="27204"/>
                  </a:lnTo>
                  <a:cubicBezTo>
                    <a:pt x="113266" y="21305"/>
                    <a:pt x="113266" y="11740"/>
                    <a:pt x="107367" y="5840"/>
                  </a:cubicBezTo>
                  <a:lnTo>
                    <a:pt x="107367" y="584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" name="Полилиния: фигура 144">
              <a:extLst>
                <a:ext uri="{FF2B5EF4-FFF2-40B4-BE49-F238E27FC236}">
                  <a16:creationId xmlns:a16="http://schemas.microsoft.com/office/drawing/2014/main" id="{131D88C8-FFCA-4966-BF27-56680B8702CF}"/>
                </a:ext>
              </a:extLst>
            </p:cNvPr>
            <p:cNvSpPr/>
            <p:nvPr/>
          </p:nvSpPr>
          <p:spPr>
            <a:xfrm>
              <a:off x="8640870" y="1463697"/>
              <a:ext cx="105715" cy="124593"/>
            </a:xfrm>
            <a:custGeom>
              <a:avLst/>
              <a:gdLst>
                <a:gd name="connsiteX0" fmla="*/ 106012 w 105715"/>
                <a:gd name="connsiteY0" fmla="*/ 50104 h 124593"/>
                <a:gd name="connsiteX1" fmla="*/ 57460 w 105715"/>
                <a:gd name="connsiteY1" fmla="*/ 1545 h 124593"/>
                <a:gd name="connsiteX2" fmla="*/ 18053 w 105715"/>
                <a:gd name="connsiteY2" fmla="*/ 15497 h 124593"/>
                <a:gd name="connsiteX3" fmla="*/ 1416 w 105715"/>
                <a:gd name="connsiteY3" fmla="*/ 53783 h 124593"/>
                <a:gd name="connsiteX4" fmla="*/ 16518 w 105715"/>
                <a:gd name="connsiteY4" fmla="*/ 68885 h 124593"/>
                <a:gd name="connsiteX5" fmla="*/ 31620 w 105715"/>
                <a:gd name="connsiteY5" fmla="*/ 53783 h 124593"/>
                <a:gd name="connsiteX6" fmla="*/ 38664 w 105715"/>
                <a:gd name="connsiteY6" fmla="*/ 37582 h 124593"/>
                <a:gd name="connsiteX7" fmla="*/ 55380 w 105715"/>
                <a:gd name="connsiteY7" fmla="*/ 31683 h 124593"/>
                <a:gd name="connsiteX8" fmla="*/ 75881 w 105715"/>
                <a:gd name="connsiteY8" fmla="*/ 52175 h 124593"/>
                <a:gd name="connsiteX9" fmla="*/ 58655 w 105715"/>
                <a:gd name="connsiteY9" fmla="*/ 75404 h 124593"/>
                <a:gd name="connsiteX10" fmla="*/ 38679 w 105715"/>
                <a:gd name="connsiteY10" fmla="*/ 100270 h 124593"/>
                <a:gd name="connsiteX11" fmla="*/ 38679 w 105715"/>
                <a:gd name="connsiteY11" fmla="*/ 108329 h 124593"/>
                <a:gd name="connsiteX12" fmla="*/ 53781 w 105715"/>
                <a:gd name="connsiteY12" fmla="*/ 123431 h 124593"/>
                <a:gd name="connsiteX13" fmla="*/ 68883 w 105715"/>
                <a:gd name="connsiteY13" fmla="*/ 108329 h 124593"/>
                <a:gd name="connsiteX14" fmla="*/ 68883 w 105715"/>
                <a:gd name="connsiteY14" fmla="*/ 103934 h 124593"/>
                <a:gd name="connsiteX15" fmla="*/ 106012 w 105715"/>
                <a:gd name="connsiteY15" fmla="*/ 50104 h 124593"/>
                <a:gd name="connsiteX16" fmla="*/ 106012 w 105715"/>
                <a:gd name="connsiteY16" fmla="*/ 50104 h 124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715" h="124593">
                  <a:moveTo>
                    <a:pt x="106012" y="50104"/>
                  </a:moveTo>
                  <a:cubicBezTo>
                    <a:pt x="104226" y="24205"/>
                    <a:pt x="83351" y="3329"/>
                    <a:pt x="57460" y="1545"/>
                  </a:cubicBezTo>
                  <a:cubicBezTo>
                    <a:pt x="42771" y="535"/>
                    <a:pt x="28775" y="5490"/>
                    <a:pt x="18053" y="15497"/>
                  </a:cubicBezTo>
                  <a:cubicBezTo>
                    <a:pt x="7477" y="25370"/>
                    <a:pt x="1416" y="39323"/>
                    <a:pt x="1416" y="53783"/>
                  </a:cubicBezTo>
                  <a:cubicBezTo>
                    <a:pt x="1416" y="62123"/>
                    <a:pt x="8178" y="68885"/>
                    <a:pt x="16518" y="68885"/>
                  </a:cubicBezTo>
                  <a:cubicBezTo>
                    <a:pt x="24858" y="68885"/>
                    <a:pt x="31620" y="62123"/>
                    <a:pt x="31620" y="53783"/>
                  </a:cubicBezTo>
                  <a:cubicBezTo>
                    <a:pt x="31620" y="47574"/>
                    <a:pt x="34122" y="41822"/>
                    <a:pt x="38664" y="37582"/>
                  </a:cubicBezTo>
                  <a:cubicBezTo>
                    <a:pt x="43198" y="33342"/>
                    <a:pt x="49143" y="31239"/>
                    <a:pt x="55380" y="31683"/>
                  </a:cubicBezTo>
                  <a:cubicBezTo>
                    <a:pt x="66316" y="32434"/>
                    <a:pt x="75128" y="41246"/>
                    <a:pt x="75881" y="52175"/>
                  </a:cubicBezTo>
                  <a:cubicBezTo>
                    <a:pt x="76640" y="63230"/>
                    <a:pt x="69398" y="73001"/>
                    <a:pt x="58655" y="75404"/>
                  </a:cubicBezTo>
                  <a:cubicBezTo>
                    <a:pt x="46892" y="78035"/>
                    <a:pt x="38679" y="88263"/>
                    <a:pt x="38679" y="100270"/>
                  </a:cubicBezTo>
                  <a:lnTo>
                    <a:pt x="38679" y="108329"/>
                  </a:lnTo>
                  <a:cubicBezTo>
                    <a:pt x="38679" y="116669"/>
                    <a:pt x="45441" y="123431"/>
                    <a:pt x="53781" y="123431"/>
                  </a:cubicBezTo>
                  <a:cubicBezTo>
                    <a:pt x="62121" y="123431"/>
                    <a:pt x="68883" y="116669"/>
                    <a:pt x="68883" y="108329"/>
                  </a:cubicBezTo>
                  <a:lnTo>
                    <a:pt x="68883" y="103934"/>
                  </a:lnTo>
                  <a:cubicBezTo>
                    <a:pt x="92280" y="96951"/>
                    <a:pt x="107722" y="74894"/>
                    <a:pt x="106012" y="50104"/>
                  </a:cubicBezTo>
                  <a:lnTo>
                    <a:pt x="106012" y="501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" name="Полилиния: фигура 146">
              <a:extLst>
                <a:ext uri="{FF2B5EF4-FFF2-40B4-BE49-F238E27FC236}">
                  <a16:creationId xmlns:a16="http://schemas.microsoft.com/office/drawing/2014/main" id="{1C9431C7-0AD0-488E-BDFC-693DA2C98D63}"/>
                </a:ext>
              </a:extLst>
            </p:cNvPr>
            <p:cNvSpPr/>
            <p:nvPr/>
          </p:nvSpPr>
          <p:spPr>
            <a:xfrm>
              <a:off x="8678141" y="1613300"/>
              <a:ext cx="32092" cy="32092"/>
            </a:xfrm>
            <a:custGeom>
              <a:avLst/>
              <a:gdLst>
                <a:gd name="connsiteX0" fmla="*/ 27195 w 32092"/>
                <a:gd name="connsiteY0" fmla="*/ 5839 h 32092"/>
                <a:gd name="connsiteX1" fmla="*/ 16518 w 32092"/>
                <a:gd name="connsiteY1" fmla="*/ 1416 h 32092"/>
                <a:gd name="connsiteX2" fmla="*/ 5839 w 32092"/>
                <a:gd name="connsiteY2" fmla="*/ 5839 h 32092"/>
                <a:gd name="connsiteX3" fmla="*/ 1416 w 32092"/>
                <a:gd name="connsiteY3" fmla="*/ 16518 h 32092"/>
                <a:gd name="connsiteX4" fmla="*/ 5839 w 32092"/>
                <a:gd name="connsiteY4" fmla="*/ 27195 h 32092"/>
                <a:gd name="connsiteX5" fmla="*/ 16518 w 32092"/>
                <a:gd name="connsiteY5" fmla="*/ 31620 h 32092"/>
                <a:gd name="connsiteX6" fmla="*/ 27195 w 32092"/>
                <a:gd name="connsiteY6" fmla="*/ 27195 h 32092"/>
                <a:gd name="connsiteX7" fmla="*/ 31620 w 32092"/>
                <a:gd name="connsiteY7" fmla="*/ 16518 h 32092"/>
                <a:gd name="connsiteX8" fmla="*/ 27195 w 32092"/>
                <a:gd name="connsiteY8" fmla="*/ 5839 h 32092"/>
                <a:gd name="connsiteX9" fmla="*/ 27195 w 32092"/>
                <a:gd name="connsiteY9" fmla="*/ 5839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092" h="32092">
                  <a:moveTo>
                    <a:pt x="27195" y="5839"/>
                  </a:moveTo>
                  <a:cubicBezTo>
                    <a:pt x="24384" y="3030"/>
                    <a:pt x="20484" y="1416"/>
                    <a:pt x="16518" y="1416"/>
                  </a:cubicBezTo>
                  <a:cubicBezTo>
                    <a:pt x="12527" y="1416"/>
                    <a:pt x="8650" y="3030"/>
                    <a:pt x="5839" y="5839"/>
                  </a:cubicBezTo>
                  <a:cubicBezTo>
                    <a:pt x="3015" y="8650"/>
                    <a:pt x="1416" y="12542"/>
                    <a:pt x="1416" y="16518"/>
                  </a:cubicBezTo>
                  <a:cubicBezTo>
                    <a:pt x="1416" y="20484"/>
                    <a:pt x="3015" y="24386"/>
                    <a:pt x="5839" y="27195"/>
                  </a:cubicBezTo>
                  <a:cubicBezTo>
                    <a:pt x="8650" y="30004"/>
                    <a:pt x="12527" y="31620"/>
                    <a:pt x="16518" y="31620"/>
                  </a:cubicBezTo>
                  <a:cubicBezTo>
                    <a:pt x="20484" y="31620"/>
                    <a:pt x="24384" y="30004"/>
                    <a:pt x="27195" y="27195"/>
                  </a:cubicBezTo>
                  <a:cubicBezTo>
                    <a:pt x="29997" y="24386"/>
                    <a:pt x="31620" y="20484"/>
                    <a:pt x="31620" y="16518"/>
                  </a:cubicBezTo>
                  <a:cubicBezTo>
                    <a:pt x="31620" y="12542"/>
                    <a:pt x="29997" y="8650"/>
                    <a:pt x="27195" y="5839"/>
                  </a:cubicBezTo>
                  <a:lnTo>
                    <a:pt x="27195" y="58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" name="Полилиния: фигура 147">
              <a:extLst>
                <a:ext uri="{FF2B5EF4-FFF2-40B4-BE49-F238E27FC236}">
                  <a16:creationId xmlns:a16="http://schemas.microsoft.com/office/drawing/2014/main" id="{B5D9411F-DAAD-4283-B28E-69E1F496701D}"/>
                </a:ext>
              </a:extLst>
            </p:cNvPr>
            <p:cNvSpPr/>
            <p:nvPr/>
          </p:nvSpPr>
          <p:spPr>
            <a:xfrm>
              <a:off x="8644653" y="2094927"/>
              <a:ext cx="32092" cy="32092"/>
            </a:xfrm>
            <a:custGeom>
              <a:avLst/>
              <a:gdLst>
                <a:gd name="connsiteX0" fmla="*/ 27195 w 32092"/>
                <a:gd name="connsiteY0" fmla="*/ 5839 h 32092"/>
                <a:gd name="connsiteX1" fmla="*/ 16518 w 32092"/>
                <a:gd name="connsiteY1" fmla="*/ 1416 h 32092"/>
                <a:gd name="connsiteX2" fmla="*/ 5841 w 32092"/>
                <a:gd name="connsiteY2" fmla="*/ 5839 h 32092"/>
                <a:gd name="connsiteX3" fmla="*/ 1416 w 32092"/>
                <a:gd name="connsiteY3" fmla="*/ 16518 h 32092"/>
                <a:gd name="connsiteX4" fmla="*/ 5841 w 32092"/>
                <a:gd name="connsiteY4" fmla="*/ 27195 h 32092"/>
                <a:gd name="connsiteX5" fmla="*/ 16518 w 32092"/>
                <a:gd name="connsiteY5" fmla="*/ 31620 h 32092"/>
                <a:gd name="connsiteX6" fmla="*/ 27195 w 32092"/>
                <a:gd name="connsiteY6" fmla="*/ 27195 h 32092"/>
                <a:gd name="connsiteX7" fmla="*/ 31620 w 32092"/>
                <a:gd name="connsiteY7" fmla="*/ 16518 h 32092"/>
                <a:gd name="connsiteX8" fmla="*/ 27195 w 32092"/>
                <a:gd name="connsiteY8" fmla="*/ 5839 h 32092"/>
                <a:gd name="connsiteX9" fmla="*/ 27195 w 32092"/>
                <a:gd name="connsiteY9" fmla="*/ 5839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092" h="32092">
                  <a:moveTo>
                    <a:pt x="27195" y="5839"/>
                  </a:moveTo>
                  <a:cubicBezTo>
                    <a:pt x="24386" y="3030"/>
                    <a:pt x="20494" y="1416"/>
                    <a:pt x="16518" y="1416"/>
                  </a:cubicBezTo>
                  <a:cubicBezTo>
                    <a:pt x="12552" y="1416"/>
                    <a:pt x="8650" y="3030"/>
                    <a:pt x="5841" y="5839"/>
                  </a:cubicBezTo>
                  <a:cubicBezTo>
                    <a:pt x="3032" y="8650"/>
                    <a:pt x="1416" y="12542"/>
                    <a:pt x="1416" y="16518"/>
                  </a:cubicBezTo>
                  <a:cubicBezTo>
                    <a:pt x="1416" y="20484"/>
                    <a:pt x="3032" y="24386"/>
                    <a:pt x="5841" y="27195"/>
                  </a:cubicBezTo>
                  <a:cubicBezTo>
                    <a:pt x="8650" y="29997"/>
                    <a:pt x="12552" y="31620"/>
                    <a:pt x="16518" y="31620"/>
                  </a:cubicBezTo>
                  <a:cubicBezTo>
                    <a:pt x="20494" y="31620"/>
                    <a:pt x="24386" y="29997"/>
                    <a:pt x="27195" y="27195"/>
                  </a:cubicBezTo>
                  <a:cubicBezTo>
                    <a:pt x="30006" y="24386"/>
                    <a:pt x="31620" y="20484"/>
                    <a:pt x="31620" y="16518"/>
                  </a:cubicBezTo>
                  <a:cubicBezTo>
                    <a:pt x="31620" y="12542"/>
                    <a:pt x="30006" y="8650"/>
                    <a:pt x="27195" y="5839"/>
                  </a:cubicBezTo>
                  <a:lnTo>
                    <a:pt x="27195" y="58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9" name="Рисунок 11">
            <a:extLst>
              <a:ext uri="{FF2B5EF4-FFF2-40B4-BE49-F238E27FC236}">
                <a16:creationId xmlns:a16="http://schemas.microsoft.com/office/drawing/2014/main" id="{E139BC23-CB8A-40DA-B459-8BE028444751}"/>
              </a:ext>
            </a:extLst>
          </p:cNvPr>
          <p:cNvGrpSpPr/>
          <p:nvPr/>
        </p:nvGrpSpPr>
        <p:grpSpPr>
          <a:xfrm>
            <a:off x="6836190" y="3161559"/>
            <a:ext cx="338752" cy="400343"/>
            <a:chOff x="5129593" y="1413719"/>
            <a:chExt cx="655059" cy="773988"/>
          </a:xfrm>
          <a:solidFill>
            <a:schemeClr val="bg1"/>
          </a:solidFill>
        </p:grpSpPr>
        <p:sp>
          <p:nvSpPr>
            <p:cNvPr id="150" name="Полилиния: фигура 149">
              <a:extLst>
                <a:ext uri="{FF2B5EF4-FFF2-40B4-BE49-F238E27FC236}">
                  <a16:creationId xmlns:a16="http://schemas.microsoft.com/office/drawing/2014/main" id="{FC842DF2-CFFC-4974-A17A-4BE1D8CEDE08}"/>
                </a:ext>
              </a:extLst>
            </p:cNvPr>
            <p:cNvSpPr/>
            <p:nvPr/>
          </p:nvSpPr>
          <p:spPr>
            <a:xfrm>
              <a:off x="5128177" y="1412303"/>
              <a:ext cx="536129" cy="655058"/>
            </a:xfrm>
            <a:custGeom>
              <a:avLst/>
              <a:gdLst>
                <a:gd name="connsiteX0" fmla="*/ 490728 w 536128"/>
                <a:gd name="connsiteY0" fmla="*/ 1416 h 655058"/>
                <a:gd name="connsiteX1" fmla="*/ 46723 w 536128"/>
                <a:gd name="connsiteY1" fmla="*/ 1416 h 655058"/>
                <a:gd name="connsiteX2" fmla="*/ 1416 w 536128"/>
                <a:gd name="connsiteY2" fmla="*/ 46722 h 655058"/>
                <a:gd name="connsiteX3" fmla="*/ 1416 w 536128"/>
                <a:gd name="connsiteY3" fmla="*/ 200769 h 655058"/>
                <a:gd name="connsiteX4" fmla="*/ 16518 w 536128"/>
                <a:gd name="connsiteY4" fmla="*/ 215871 h 655058"/>
                <a:gd name="connsiteX5" fmla="*/ 31620 w 536128"/>
                <a:gd name="connsiteY5" fmla="*/ 200769 h 655058"/>
                <a:gd name="connsiteX6" fmla="*/ 31620 w 536128"/>
                <a:gd name="connsiteY6" fmla="*/ 46722 h 655058"/>
                <a:gd name="connsiteX7" fmla="*/ 46723 w 536128"/>
                <a:gd name="connsiteY7" fmla="*/ 31620 h 655058"/>
                <a:gd name="connsiteX8" fmla="*/ 490728 w 536128"/>
                <a:gd name="connsiteY8" fmla="*/ 31620 h 655058"/>
                <a:gd name="connsiteX9" fmla="*/ 505830 w 536128"/>
                <a:gd name="connsiteY9" fmla="*/ 46722 h 655058"/>
                <a:gd name="connsiteX10" fmla="*/ 505830 w 536128"/>
                <a:gd name="connsiteY10" fmla="*/ 608528 h 655058"/>
                <a:gd name="connsiteX11" fmla="*/ 490728 w 536128"/>
                <a:gd name="connsiteY11" fmla="*/ 623630 h 655058"/>
                <a:gd name="connsiteX12" fmla="*/ 46723 w 536128"/>
                <a:gd name="connsiteY12" fmla="*/ 623630 h 655058"/>
                <a:gd name="connsiteX13" fmla="*/ 31620 w 536128"/>
                <a:gd name="connsiteY13" fmla="*/ 608528 h 655058"/>
                <a:gd name="connsiteX14" fmla="*/ 31620 w 536128"/>
                <a:gd name="connsiteY14" fmla="*/ 328126 h 655058"/>
                <a:gd name="connsiteX15" fmla="*/ 16518 w 536128"/>
                <a:gd name="connsiteY15" fmla="*/ 313023 h 655058"/>
                <a:gd name="connsiteX16" fmla="*/ 1416 w 536128"/>
                <a:gd name="connsiteY16" fmla="*/ 328126 h 655058"/>
                <a:gd name="connsiteX17" fmla="*/ 1416 w 536128"/>
                <a:gd name="connsiteY17" fmla="*/ 608528 h 655058"/>
                <a:gd name="connsiteX18" fmla="*/ 46723 w 536128"/>
                <a:gd name="connsiteY18" fmla="*/ 653835 h 655058"/>
                <a:gd name="connsiteX19" fmla="*/ 490728 w 536128"/>
                <a:gd name="connsiteY19" fmla="*/ 653835 h 655058"/>
                <a:gd name="connsiteX20" fmla="*/ 536035 w 536128"/>
                <a:gd name="connsiteY20" fmla="*/ 608528 h 655058"/>
                <a:gd name="connsiteX21" fmla="*/ 536035 w 536128"/>
                <a:gd name="connsiteY21" fmla="*/ 46722 h 655058"/>
                <a:gd name="connsiteX22" fmla="*/ 490728 w 536128"/>
                <a:gd name="connsiteY22" fmla="*/ 1416 h 655058"/>
                <a:gd name="connsiteX23" fmla="*/ 490728 w 536128"/>
                <a:gd name="connsiteY23" fmla="*/ 1416 h 655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6128" h="655058">
                  <a:moveTo>
                    <a:pt x="490728" y="1416"/>
                  </a:moveTo>
                  <a:lnTo>
                    <a:pt x="46723" y="1416"/>
                  </a:lnTo>
                  <a:cubicBezTo>
                    <a:pt x="21740" y="1416"/>
                    <a:pt x="1416" y="21740"/>
                    <a:pt x="1416" y="46722"/>
                  </a:cubicBezTo>
                  <a:lnTo>
                    <a:pt x="1416" y="200769"/>
                  </a:lnTo>
                  <a:cubicBezTo>
                    <a:pt x="1416" y="209109"/>
                    <a:pt x="8178" y="215871"/>
                    <a:pt x="16518" y="215871"/>
                  </a:cubicBezTo>
                  <a:cubicBezTo>
                    <a:pt x="24858" y="215871"/>
                    <a:pt x="31620" y="209109"/>
                    <a:pt x="31620" y="200769"/>
                  </a:cubicBezTo>
                  <a:lnTo>
                    <a:pt x="31620" y="46722"/>
                  </a:lnTo>
                  <a:cubicBezTo>
                    <a:pt x="31620" y="38397"/>
                    <a:pt x="38397" y="31620"/>
                    <a:pt x="46723" y="31620"/>
                  </a:cubicBezTo>
                  <a:lnTo>
                    <a:pt x="490728" y="31620"/>
                  </a:lnTo>
                  <a:cubicBezTo>
                    <a:pt x="499061" y="31620"/>
                    <a:pt x="505830" y="38397"/>
                    <a:pt x="505830" y="46722"/>
                  </a:cubicBezTo>
                  <a:lnTo>
                    <a:pt x="505830" y="608528"/>
                  </a:lnTo>
                  <a:cubicBezTo>
                    <a:pt x="505830" y="616853"/>
                    <a:pt x="499061" y="623630"/>
                    <a:pt x="490728" y="623630"/>
                  </a:cubicBezTo>
                  <a:lnTo>
                    <a:pt x="46723" y="623630"/>
                  </a:lnTo>
                  <a:cubicBezTo>
                    <a:pt x="38397" y="623630"/>
                    <a:pt x="31620" y="616853"/>
                    <a:pt x="31620" y="608528"/>
                  </a:cubicBezTo>
                  <a:lnTo>
                    <a:pt x="31620" y="328126"/>
                  </a:lnTo>
                  <a:cubicBezTo>
                    <a:pt x="31620" y="319785"/>
                    <a:pt x="24858" y="313023"/>
                    <a:pt x="16518" y="313023"/>
                  </a:cubicBezTo>
                  <a:cubicBezTo>
                    <a:pt x="8178" y="313023"/>
                    <a:pt x="1416" y="319785"/>
                    <a:pt x="1416" y="328126"/>
                  </a:cubicBezTo>
                  <a:lnTo>
                    <a:pt x="1416" y="608528"/>
                  </a:lnTo>
                  <a:cubicBezTo>
                    <a:pt x="1416" y="633504"/>
                    <a:pt x="21740" y="653835"/>
                    <a:pt x="46723" y="653835"/>
                  </a:cubicBezTo>
                  <a:lnTo>
                    <a:pt x="490728" y="653835"/>
                  </a:lnTo>
                  <a:cubicBezTo>
                    <a:pt x="515711" y="653835"/>
                    <a:pt x="536035" y="633504"/>
                    <a:pt x="536035" y="608528"/>
                  </a:cubicBezTo>
                  <a:lnTo>
                    <a:pt x="536035" y="46722"/>
                  </a:lnTo>
                  <a:cubicBezTo>
                    <a:pt x="536035" y="21740"/>
                    <a:pt x="515711" y="1416"/>
                    <a:pt x="490728" y="1416"/>
                  </a:cubicBezTo>
                  <a:lnTo>
                    <a:pt x="490728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" name="Полилиния: фигура 150">
              <a:extLst>
                <a:ext uri="{FF2B5EF4-FFF2-40B4-BE49-F238E27FC236}">
                  <a16:creationId xmlns:a16="http://schemas.microsoft.com/office/drawing/2014/main" id="{AAD02937-046C-4EE2-9CFB-DF3AC1C6924B}"/>
                </a:ext>
              </a:extLst>
            </p:cNvPr>
            <p:cNvSpPr/>
            <p:nvPr/>
          </p:nvSpPr>
          <p:spPr>
            <a:xfrm>
              <a:off x="5128177" y="1664182"/>
              <a:ext cx="32092" cy="32092"/>
            </a:xfrm>
            <a:custGeom>
              <a:avLst/>
              <a:gdLst>
                <a:gd name="connsiteX0" fmla="*/ 27197 w 32092"/>
                <a:gd name="connsiteY0" fmla="*/ 5826 h 32092"/>
                <a:gd name="connsiteX1" fmla="*/ 16518 w 32092"/>
                <a:gd name="connsiteY1" fmla="*/ 1416 h 32092"/>
                <a:gd name="connsiteX2" fmla="*/ 5841 w 32092"/>
                <a:gd name="connsiteY2" fmla="*/ 5826 h 32092"/>
                <a:gd name="connsiteX3" fmla="*/ 1416 w 32092"/>
                <a:gd name="connsiteY3" fmla="*/ 16495 h 32092"/>
                <a:gd name="connsiteX4" fmla="*/ 5841 w 32092"/>
                <a:gd name="connsiteY4" fmla="*/ 27188 h 32092"/>
                <a:gd name="connsiteX5" fmla="*/ 16518 w 32092"/>
                <a:gd name="connsiteY5" fmla="*/ 31620 h 32092"/>
                <a:gd name="connsiteX6" fmla="*/ 27197 w 32092"/>
                <a:gd name="connsiteY6" fmla="*/ 27188 h 32092"/>
                <a:gd name="connsiteX7" fmla="*/ 31620 w 32092"/>
                <a:gd name="connsiteY7" fmla="*/ 16495 h 32092"/>
                <a:gd name="connsiteX8" fmla="*/ 27197 w 32092"/>
                <a:gd name="connsiteY8" fmla="*/ 5826 h 32092"/>
                <a:gd name="connsiteX9" fmla="*/ 27197 w 32092"/>
                <a:gd name="connsiteY9" fmla="*/ 5826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092" h="32092">
                  <a:moveTo>
                    <a:pt x="27197" y="5826"/>
                  </a:moveTo>
                  <a:cubicBezTo>
                    <a:pt x="24386" y="3015"/>
                    <a:pt x="20494" y="1416"/>
                    <a:pt x="16518" y="1416"/>
                  </a:cubicBezTo>
                  <a:cubicBezTo>
                    <a:pt x="12552" y="1416"/>
                    <a:pt x="8650" y="3015"/>
                    <a:pt x="5841" y="5826"/>
                  </a:cubicBezTo>
                  <a:cubicBezTo>
                    <a:pt x="3032" y="8650"/>
                    <a:pt x="1416" y="12542"/>
                    <a:pt x="1416" y="16495"/>
                  </a:cubicBezTo>
                  <a:cubicBezTo>
                    <a:pt x="1416" y="20484"/>
                    <a:pt x="3032" y="24371"/>
                    <a:pt x="5841" y="27188"/>
                  </a:cubicBezTo>
                  <a:cubicBezTo>
                    <a:pt x="8650" y="29997"/>
                    <a:pt x="12552" y="31620"/>
                    <a:pt x="16518" y="31620"/>
                  </a:cubicBezTo>
                  <a:cubicBezTo>
                    <a:pt x="20494" y="31620"/>
                    <a:pt x="24386" y="29997"/>
                    <a:pt x="27197" y="27188"/>
                  </a:cubicBezTo>
                  <a:cubicBezTo>
                    <a:pt x="30006" y="24386"/>
                    <a:pt x="31620" y="20484"/>
                    <a:pt x="31620" y="16495"/>
                  </a:cubicBezTo>
                  <a:cubicBezTo>
                    <a:pt x="31620" y="12527"/>
                    <a:pt x="30006" y="8650"/>
                    <a:pt x="27197" y="5826"/>
                  </a:cubicBezTo>
                  <a:lnTo>
                    <a:pt x="27197" y="58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" name="Полилиния: фигура 151">
              <a:extLst>
                <a:ext uri="{FF2B5EF4-FFF2-40B4-BE49-F238E27FC236}">
                  <a16:creationId xmlns:a16="http://schemas.microsoft.com/office/drawing/2014/main" id="{C0CB48D8-C4EA-418F-8342-D91CE2D5551D}"/>
                </a:ext>
              </a:extLst>
            </p:cNvPr>
            <p:cNvSpPr/>
            <p:nvPr/>
          </p:nvSpPr>
          <p:spPr>
            <a:xfrm>
              <a:off x="5188675" y="2095013"/>
              <a:ext cx="32092" cy="32092"/>
            </a:xfrm>
            <a:custGeom>
              <a:avLst/>
              <a:gdLst>
                <a:gd name="connsiteX0" fmla="*/ 27197 w 32092"/>
                <a:gd name="connsiteY0" fmla="*/ 5841 h 32092"/>
                <a:gd name="connsiteX1" fmla="*/ 16518 w 32092"/>
                <a:gd name="connsiteY1" fmla="*/ 1416 h 32092"/>
                <a:gd name="connsiteX2" fmla="*/ 5848 w 32092"/>
                <a:gd name="connsiteY2" fmla="*/ 5841 h 32092"/>
                <a:gd name="connsiteX3" fmla="*/ 1416 w 32092"/>
                <a:gd name="connsiteY3" fmla="*/ 16518 h 32092"/>
                <a:gd name="connsiteX4" fmla="*/ 5848 w 32092"/>
                <a:gd name="connsiteY4" fmla="*/ 27197 h 32092"/>
                <a:gd name="connsiteX5" fmla="*/ 16518 w 32092"/>
                <a:gd name="connsiteY5" fmla="*/ 31620 h 32092"/>
                <a:gd name="connsiteX6" fmla="*/ 27197 w 32092"/>
                <a:gd name="connsiteY6" fmla="*/ 27197 h 32092"/>
                <a:gd name="connsiteX7" fmla="*/ 31620 w 32092"/>
                <a:gd name="connsiteY7" fmla="*/ 16518 h 32092"/>
                <a:gd name="connsiteX8" fmla="*/ 27197 w 32092"/>
                <a:gd name="connsiteY8" fmla="*/ 5841 h 32092"/>
                <a:gd name="connsiteX9" fmla="*/ 27197 w 32092"/>
                <a:gd name="connsiteY9" fmla="*/ 5841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092" h="32092">
                  <a:moveTo>
                    <a:pt x="27197" y="5841"/>
                  </a:moveTo>
                  <a:cubicBezTo>
                    <a:pt x="24386" y="3032"/>
                    <a:pt x="20509" y="1416"/>
                    <a:pt x="16518" y="1416"/>
                  </a:cubicBezTo>
                  <a:cubicBezTo>
                    <a:pt x="12552" y="1416"/>
                    <a:pt x="8650" y="3032"/>
                    <a:pt x="5848" y="5841"/>
                  </a:cubicBezTo>
                  <a:cubicBezTo>
                    <a:pt x="3039" y="8650"/>
                    <a:pt x="1416" y="12544"/>
                    <a:pt x="1416" y="16518"/>
                  </a:cubicBezTo>
                  <a:cubicBezTo>
                    <a:pt x="1416" y="20509"/>
                    <a:pt x="3039" y="24386"/>
                    <a:pt x="5848" y="27197"/>
                  </a:cubicBezTo>
                  <a:cubicBezTo>
                    <a:pt x="8650" y="30021"/>
                    <a:pt x="12552" y="31620"/>
                    <a:pt x="16518" y="31620"/>
                  </a:cubicBezTo>
                  <a:cubicBezTo>
                    <a:pt x="20509" y="31620"/>
                    <a:pt x="24386" y="30021"/>
                    <a:pt x="27197" y="27197"/>
                  </a:cubicBezTo>
                  <a:cubicBezTo>
                    <a:pt x="30006" y="24386"/>
                    <a:pt x="31620" y="20509"/>
                    <a:pt x="31620" y="16518"/>
                  </a:cubicBezTo>
                  <a:cubicBezTo>
                    <a:pt x="31620" y="12544"/>
                    <a:pt x="30006" y="8650"/>
                    <a:pt x="27197" y="5841"/>
                  </a:cubicBezTo>
                  <a:lnTo>
                    <a:pt x="27197" y="58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" name="Полилиния: фигура 152">
              <a:extLst>
                <a:ext uri="{FF2B5EF4-FFF2-40B4-BE49-F238E27FC236}">
                  <a16:creationId xmlns:a16="http://schemas.microsoft.com/office/drawing/2014/main" id="{424EC25B-075C-4E26-A5D2-E2B0883F09F0}"/>
                </a:ext>
              </a:extLst>
            </p:cNvPr>
            <p:cNvSpPr/>
            <p:nvPr/>
          </p:nvSpPr>
          <p:spPr>
            <a:xfrm>
              <a:off x="5249091" y="1472808"/>
              <a:ext cx="475720" cy="655058"/>
            </a:xfrm>
            <a:custGeom>
              <a:avLst/>
              <a:gdLst>
                <a:gd name="connsiteX0" fmla="*/ 460522 w 475720"/>
                <a:gd name="connsiteY0" fmla="*/ 1416 h 655058"/>
                <a:gd name="connsiteX1" fmla="*/ 445419 w 475720"/>
                <a:gd name="connsiteY1" fmla="*/ 16518 h 655058"/>
                <a:gd name="connsiteX2" fmla="*/ 445419 w 475720"/>
                <a:gd name="connsiteY2" fmla="*/ 608526 h 655058"/>
                <a:gd name="connsiteX3" fmla="*/ 430317 w 475720"/>
                <a:gd name="connsiteY3" fmla="*/ 623629 h 655058"/>
                <a:gd name="connsiteX4" fmla="*/ 16518 w 475720"/>
                <a:gd name="connsiteY4" fmla="*/ 623629 h 655058"/>
                <a:gd name="connsiteX5" fmla="*/ 1416 w 475720"/>
                <a:gd name="connsiteY5" fmla="*/ 638731 h 655058"/>
                <a:gd name="connsiteX6" fmla="*/ 16518 w 475720"/>
                <a:gd name="connsiteY6" fmla="*/ 653833 h 655058"/>
                <a:gd name="connsiteX7" fmla="*/ 430317 w 475720"/>
                <a:gd name="connsiteY7" fmla="*/ 653833 h 655058"/>
                <a:gd name="connsiteX8" fmla="*/ 475624 w 475720"/>
                <a:gd name="connsiteY8" fmla="*/ 608526 h 655058"/>
                <a:gd name="connsiteX9" fmla="*/ 475624 w 475720"/>
                <a:gd name="connsiteY9" fmla="*/ 16518 h 655058"/>
                <a:gd name="connsiteX10" fmla="*/ 460522 w 475720"/>
                <a:gd name="connsiteY10" fmla="*/ 1416 h 655058"/>
                <a:gd name="connsiteX11" fmla="*/ 460522 w 475720"/>
                <a:gd name="connsiteY11" fmla="*/ 1416 h 655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75720" h="655058">
                  <a:moveTo>
                    <a:pt x="460522" y="1416"/>
                  </a:moveTo>
                  <a:cubicBezTo>
                    <a:pt x="452181" y="1416"/>
                    <a:pt x="445419" y="8178"/>
                    <a:pt x="445419" y="16518"/>
                  </a:cubicBezTo>
                  <a:lnTo>
                    <a:pt x="445419" y="608526"/>
                  </a:lnTo>
                  <a:cubicBezTo>
                    <a:pt x="445419" y="616852"/>
                    <a:pt x="438650" y="623629"/>
                    <a:pt x="430317" y="623629"/>
                  </a:cubicBezTo>
                  <a:lnTo>
                    <a:pt x="16518" y="623629"/>
                  </a:lnTo>
                  <a:cubicBezTo>
                    <a:pt x="8178" y="623629"/>
                    <a:pt x="1416" y="630383"/>
                    <a:pt x="1416" y="638731"/>
                  </a:cubicBezTo>
                  <a:cubicBezTo>
                    <a:pt x="1416" y="647071"/>
                    <a:pt x="8178" y="653833"/>
                    <a:pt x="16518" y="653833"/>
                  </a:cubicBezTo>
                  <a:lnTo>
                    <a:pt x="430317" y="653833"/>
                  </a:lnTo>
                  <a:cubicBezTo>
                    <a:pt x="455302" y="653833"/>
                    <a:pt x="475624" y="633504"/>
                    <a:pt x="475624" y="608526"/>
                  </a:cubicBezTo>
                  <a:lnTo>
                    <a:pt x="475624" y="16518"/>
                  </a:lnTo>
                  <a:cubicBezTo>
                    <a:pt x="475624" y="8178"/>
                    <a:pt x="468862" y="1416"/>
                    <a:pt x="460522" y="1416"/>
                  </a:cubicBezTo>
                  <a:lnTo>
                    <a:pt x="460522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" name="Полилиния: фигура 153">
              <a:extLst>
                <a:ext uri="{FF2B5EF4-FFF2-40B4-BE49-F238E27FC236}">
                  <a16:creationId xmlns:a16="http://schemas.microsoft.com/office/drawing/2014/main" id="{C301FB27-74C6-44FB-8EF7-AD32DB06418E}"/>
                </a:ext>
              </a:extLst>
            </p:cNvPr>
            <p:cNvSpPr/>
            <p:nvPr/>
          </p:nvSpPr>
          <p:spPr>
            <a:xfrm>
              <a:off x="5249188" y="1533121"/>
              <a:ext cx="536129" cy="655058"/>
            </a:xfrm>
            <a:custGeom>
              <a:avLst/>
              <a:gdLst>
                <a:gd name="connsiteX0" fmla="*/ 520930 w 536128"/>
                <a:gd name="connsiteY0" fmla="*/ 1416 h 655058"/>
                <a:gd name="connsiteX1" fmla="*/ 505828 w 536128"/>
                <a:gd name="connsiteY1" fmla="*/ 16518 h 655058"/>
                <a:gd name="connsiteX2" fmla="*/ 505828 w 536128"/>
                <a:gd name="connsiteY2" fmla="*/ 608528 h 655058"/>
                <a:gd name="connsiteX3" fmla="*/ 490726 w 536128"/>
                <a:gd name="connsiteY3" fmla="*/ 623630 h 655058"/>
                <a:gd name="connsiteX4" fmla="*/ 16518 w 536128"/>
                <a:gd name="connsiteY4" fmla="*/ 623630 h 655058"/>
                <a:gd name="connsiteX5" fmla="*/ 1416 w 536128"/>
                <a:gd name="connsiteY5" fmla="*/ 638733 h 655058"/>
                <a:gd name="connsiteX6" fmla="*/ 16518 w 536128"/>
                <a:gd name="connsiteY6" fmla="*/ 653835 h 655058"/>
                <a:gd name="connsiteX7" fmla="*/ 490726 w 536128"/>
                <a:gd name="connsiteY7" fmla="*/ 653835 h 655058"/>
                <a:gd name="connsiteX8" fmla="*/ 536033 w 536128"/>
                <a:gd name="connsiteY8" fmla="*/ 608528 h 655058"/>
                <a:gd name="connsiteX9" fmla="*/ 536033 w 536128"/>
                <a:gd name="connsiteY9" fmla="*/ 16518 h 655058"/>
                <a:gd name="connsiteX10" fmla="*/ 520930 w 536128"/>
                <a:gd name="connsiteY10" fmla="*/ 1416 h 655058"/>
                <a:gd name="connsiteX11" fmla="*/ 520930 w 536128"/>
                <a:gd name="connsiteY11" fmla="*/ 1416 h 655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6128" h="655058">
                  <a:moveTo>
                    <a:pt x="520930" y="1416"/>
                  </a:moveTo>
                  <a:cubicBezTo>
                    <a:pt x="512590" y="1416"/>
                    <a:pt x="505828" y="8178"/>
                    <a:pt x="505828" y="16518"/>
                  </a:cubicBezTo>
                  <a:lnTo>
                    <a:pt x="505828" y="608528"/>
                  </a:lnTo>
                  <a:cubicBezTo>
                    <a:pt x="505828" y="616853"/>
                    <a:pt x="499059" y="623630"/>
                    <a:pt x="490726" y="623630"/>
                  </a:cubicBezTo>
                  <a:lnTo>
                    <a:pt x="16518" y="623630"/>
                  </a:lnTo>
                  <a:cubicBezTo>
                    <a:pt x="8178" y="623630"/>
                    <a:pt x="1416" y="630385"/>
                    <a:pt x="1416" y="638733"/>
                  </a:cubicBezTo>
                  <a:cubicBezTo>
                    <a:pt x="1416" y="647073"/>
                    <a:pt x="8178" y="653835"/>
                    <a:pt x="16518" y="653835"/>
                  </a:cubicBezTo>
                  <a:lnTo>
                    <a:pt x="490726" y="653835"/>
                  </a:lnTo>
                  <a:cubicBezTo>
                    <a:pt x="515711" y="653835"/>
                    <a:pt x="536033" y="633504"/>
                    <a:pt x="536033" y="608528"/>
                  </a:cubicBezTo>
                  <a:lnTo>
                    <a:pt x="536033" y="16518"/>
                  </a:lnTo>
                  <a:cubicBezTo>
                    <a:pt x="536033" y="8178"/>
                    <a:pt x="529271" y="1416"/>
                    <a:pt x="520930" y="1416"/>
                  </a:cubicBezTo>
                  <a:lnTo>
                    <a:pt x="520930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" name="Полилиния: фигура 154">
              <a:extLst>
                <a:ext uri="{FF2B5EF4-FFF2-40B4-BE49-F238E27FC236}">
                  <a16:creationId xmlns:a16="http://schemas.microsoft.com/office/drawing/2014/main" id="{E182CA16-E13B-40DA-96C5-220C3EDD60DA}"/>
                </a:ext>
              </a:extLst>
            </p:cNvPr>
            <p:cNvSpPr/>
            <p:nvPr/>
          </p:nvSpPr>
          <p:spPr>
            <a:xfrm>
              <a:off x="5212752" y="1524058"/>
              <a:ext cx="177451" cy="177451"/>
            </a:xfrm>
            <a:custGeom>
              <a:avLst/>
              <a:gdLst>
                <a:gd name="connsiteX0" fmla="*/ 161501 w 177451"/>
                <a:gd name="connsiteY0" fmla="*/ 1416 h 177450"/>
                <a:gd name="connsiteX1" fmla="*/ 16518 w 177451"/>
                <a:gd name="connsiteY1" fmla="*/ 1416 h 177450"/>
                <a:gd name="connsiteX2" fmla="*/ 1416 w 177451"/>
                <a:gd name="connsiteY2" fmla="*/ 16518 h 177450"/>
                <a:gd name="connsiteX3" fmla="*/ 1416 w 177451"/>
                <a:gd name="connsiteY3" fmla="*/ 161501 h 177450"/>
                <a:gd name="connsiteX4" fmla="*/ 16518 w 177451"/>
                <a:gd name="connsiteY4" fmla="*/ 176603 h 177450"/>
                <a:gd name="connsiteX5" fmla="*/ 161501 w 177451"/>
                <a:gd name="connsiteY5" fmla="*/ 176603 h 177450"/>
                <a:gd name="connsiteX6" fmla="*/ 176604 w 177451"/>
                <a:gd name="connsiteY6" fmla="*/ 161501 h 177450"/>
                <a:gd name="connsiteX7" fmla="*/ 176604 w 177451"/>
                <a:gd name="connsiteY7" fmla="*/ 16518 h 177450"/>
                <a:gd name="connsiteX8" fmla="*/ 161501 w 177451"/>
                <a:gd name="connsiteY8" fmla="*/ 1416 h 177450"/>
                <a:gd name="connsiteX9" fmla="*/ 161501 w 177451"/>
                <a:gd name="connsiteY9" fmla="*/ 1416 h 177450"/>
                <a:gd name="connsiteX10" fmla="*/ 146399 w 177451"/>
                <a:gd name="connsiteY10" fmla="*/ 146399 h 177450"/>
                <a:gd name="connsiteX11" fmla="*/ 31620 w 177451"/>
                <a:gd name="connsiteY11" fmla="*/ 146399 h 177450"/>
                <a:gd name="connsiteX12" fmla="*/ 31620 w 177451"/>
                <a:gd name="connsiteY12" fmla="*/ 31620 h 177450"/>
                <a:gd name="connsiteX13" fmla="*/ 146399 w 177451"/>
                <a:gd name="connsiteY13" fmla="*/ 31620 h 177450"/>
                <a:gd name="connsiteX14" fmla="*/ 146399 w 177451"/>
                <a:gd name="connsiteY14" fmla="*/ 146399 h 177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7451" h="177450">
                  <a:moveTo>
                    <a:pt x="161501" y="1416"/>
                  </a:moveTo>
                  <a:lnTo>
                    <a:pt x="16518" y="1416"/>
                  </a:lnTo>
                  <a:cubicBezTo>
                    <a:pt x="8178" y="1416"/>
                    <a:pt x="1416" y="8178"/>
                    <a:pt x="1416" y="16518"/>
                  </a:cubicBezTo>
                  <a:lnTo>
                    <a:pt x="1416" y="161501"/>
                  </a:lnTo>
                  <a:cubicBezTo>
                    <a:pt x="1416" y="169841"/>
                    <a:pt x="8178" y="176603"/>
                    <a:pt x="16518" y="176603"/>
                  </a:cubicBezTo>
                  <a:lnTo>
                    <a:pt x="161501" y="176603"/>
                  </a:lnTo>
                  <a:cubicBezTo>
                    <a:pt x="169842" y="176603"/>
                    <a:pt x="176604" y="169841"/>
                    <a:pt x="176604" y="161501"/>
                  </a:cubicBezTo>
                  <a:lnTo>
                    <a:pt x="176604" y="16518"/>
                  </a:lnTo>
                  <a:cubicBezTo>
                    <a:pt x="176604" y="8178"/>
                    <a:pt x="169842" y="1416"/>
                    <a:pt x="161501" y="1416"/>
                  </a:cubicBezTo>
                  <a:lnTo>
                    <a:pt x="161501" y="1416"/>
                  </a:lnTo>
                  <a:close/>
                  <a:moveTo>
                    <a:pt x="146399" y="146399"/>
                  </a:moveTo>
                  <a:lnTo>
                    <a:pt x="31620" y="146399"/>
                  </a:lnTo>
                  <a:lnTo>
                    <a:pt x="31620" y="31620"/>
                  </a:lnTo>
                  <a:lnTo>
                    <a:pt x="146399" y="31620"/>
                  </a:lnTo>
                  <a:lnTo>
                    <a:pt x="146399" y="1463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6" name="Полилиния: фигура 155">
              <a:extLst>
                <a:ext uri="{FF2B5EF4-FFF2-40B4-BE49-F238E27FC236}">
                  <a16:creationId xmlns:a16="http://schemas.microsoft.com/office/drawing/2014/main" id="{E6FB1B51-6FBA-4C60-B92C-1491BDA8E2E6}"/>
                </a:ext>
              </a:extLst>
            </p:cNvPr>
            <p:cNvSpPr/>
            <p:nvPr/>
          </p:nvSpPr>
          <p:spPr>
            <a:xfrm>
              <a:off x="5218291" y="1763390"/>
              <a:ext cx="111379" cy="83062"/>
            </a:xfrm>
            <a:custGeom>
              <a:avLst/>
              <a:gdLst>
                <a:gd name="connsiteX0" fmla="*/ 107367 w 111378"/>
                <a:gd name="connsiteY0" fmla="*/ 5835 h 83062"/>
                <a:gd name="connsiteX1" fmla="*/ 86010 w 111378"/>
                <a:gd name="connsiteY1" fmla="*/ 5835 h 83062"/>
                <a:gd name="connsiteX2" fmla="*/ 45867 w 111378"/>
                <a:gd name="connsiteY2" fmla="*/ 45988 h 83062"/>
                <a:gd name="connsiteX3" fmla="*/ 27195 w 111378"/>
                <a:gd name="connsiteY3" fmla="*/ 27316 h 83062"/>
                <a:gd name="connsiteX4" fmla="*/ 5840 w 111378"/>
                <a:gd name="connsiteY4" fmla="*/ 27316 h 83062"/>
                <a:gd name="connsiteX5" fmla="*/ 5840 w 111378"/>
                <a:gd name="connsiteY5" fmla="*/ 48672 h 83062"/>
                <a:gd name="connsiteX6" fmla="*/ 35182 w 111378"/>
                <a:gd name="connsiteY6" fmla="*/ 78021 h 83062"/>
                <a:gd name="connsiteX7" fmla="*/ 45867 w 111378"/>
                <a:gd name="connsiteY7" fmla="*/ 82444 h 83062"/>
                <a:gd name="connsiteX8" fmla="*/ 56544 w 111378"/>
                <a:gd name="connsiteY8" fmla="*/ 78021 h 83062"/>
                <a:gd name="connsiteX9" fmla="*/ 107367 w 111378"/>
                <a:gd name="connsiteY9" fmla="*/ 27199 h 83062"/>
                <a:gd name="connsiteX10" fmla="*/ 107367 w 111378"/>
                <a:gd name="connsiteY10" fmla="*/ 5835 h 83062"/>
                <a:gd name="connsiteX11" fmla="*/ 107367 w 111378"/>
                <a:gd name="connsiteY11" fmla="*/ 5835 h 8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1378" h="83062">
                  <a:moveTo>
                    <a:pt x="107367" y="5835"/>
                  </a:moveTo>
                  <a:cubicBezTo>
                    <a:pt x="101468" y="-57"/>
                    <a:pt x="91910" y="-57"/>
                    <a:pt x="86010" y="5835"/>
                  </a:cubicBezTo>
                  <a:lnTo>
                    <a:pt x="45867" y="45988"/>
                  </a:lnTo>
                  <a:lnTo>
                    <a:pt x="27195" y="27316"/>
                  </a:lnTo>
                  <a:cubicBezTo>
                    <a:pt x="21296" y="21416"/>
                    <a:pt x="11740" y="21416"/>
                    <a:pt x="5840" y="27316"/>
                  </a:cubicBezTo>
                  <a:cubicBezTo>
                    <a:pt x="-59" y="33215"/>
                    <a:pt x="-59" y="42780"/>
                    <a:pt x="5840" y="48672"/>
                  </a:cubicBezTo>
                  <a:lnTo>
                    <a:pt x="35182" y="78021"/>
                  </a:lnTo>
                  <a:cubicBezTo>
                    <a:pt x="38019" y="80853"/>
                    <a:pt x="41855" y="82444"/>
                    <a:pt x="45867" y="82444"/>
                  </a:cubicBezTo>
                  <a:cubicBezTo>
                    <a:pt x="49871" y="82444"/>
                    <a:pt x="53712" y="80853"/>
                    <a:pt x="56544" y="78021"/>
                  </a:cubicBezTo>
                  <a:lnTo>
                    <a:pt x="107367" y="27199"/>
                  </a:lnTo>
                  <a:cubicBezTo>
                    <a:pt x="113266" y="21299"/>
                    <a:pt x="113266" y="11734"/>
                    <a:pt x="107367" y="5835"/>
                  </a:cubicBezTo>
                  <a:lnTo>
                    <a:pt x="107367" y="58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" name="Полилиния: фигура 157">
              <a:extLst>
                <a:ext uri="{FF2B5EF4-FFF2-40B4-BE49-F238E27FC236}">
                  <a16:creationId xmlns:a16="http://schemas.microsoft.com/office/drawing/2014/main" id="{6FAB2A93-0931-4C56-94DA-D17BEFEF05B7}"/>
                </a:ext>
              </a:extLst>
            </p:cNvPr>
            <p:cNvSpPr/>
            <p:nvPr/>
          </p:nvSpPr>
          <p:spPr>
            <a:xfrm>
              <a:off x="5380388" y="1788346"/>
              <a:ext cx="207656" cy="32092"/>
            </a:xfrm>
            <a:custGeom>
              <a:avLst/>
              <a:gdLst>
                <a:gd name="connsiteX0" fmla="*/ 192708 w 207655"/>
                <a:gd name="connsiteY0" fmla="*/ 1416 h 32092"/>
                <a:gd name="connsiteX1" fmla="*/ 16518 w 207655"/>
                <a:gd name="connsiteY1" fmla="*/ 1416 h 32092"/>
                <a:gd name="connsiteX2" fmla="*/ 1416 w 207655"/>
                <a:gd name="connsiteY2" fmla="*/ 16518 h 32092"/>
                <a:gd name="connsiteX3" fmla="*/ 16518 w 207655"/>
                <a:gd name="connsiteY3" fmla="*/ 31620 h 32092"/>
                <a:gd name="connsiteX4" fmla="*/ 192708 w 207655"/>
                <a:gd name="connsiteY4" fmla="*/ 31620 h 32092"/>
                <a:gd name="connsiteX5" fmla="*/ 207810 w 207655"/>
                <a:gd name="connsiteY5" fmla="*/ 16518 h 32092"/>
                <a:gd name="connsiteX6" fmla="*/ 192708 w 207655"/>
                <a:gd name="connsiteY6" fmla="*/ 1416 h 32092"/>
                <a:gd name="connsiteX7" fmla="*/ 192708 w 207655"/>
                <a:gd name="connsiteY7" fmla="*/ 1416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655" h="32092">
                  <a:moveTo>
                    <a:pt x="192708" y="1416"/>
                  </a:moveTo>
                  <a:lnTo>
                    <a:pt x="16518" y="1416"/>
                  </a:lnTo>
                  <a:cubicBezTo>
                    <a:pt x="8178" y="1416"/>
                    <a:pt x="1416" y="8178"/>
                    <a:pt x="1416" y="16518"/>
                  </a:cubicBezTo>
                  <a:cubicBezTo>
                    <a:pt x="1416" y="24858"/>
                    <a:pt x="8178" y="31620"/>
                    <a:pt x="16518" y="31620"/>
                  </a:cubicBezTo>
                  <a:lnTo>
                    <a:pt x="192708" y="31620"/>
                  </a:lnTo>
                  <a:cubicBezTo>
                    <a:pt x="201048" y="31620"/>
                    <a:pt x="207810" y="24858"/>
                    <a:pt x="207810" y="16518"/>
                  </a:cubicBezTo>
                  <a:cubicBezTo>
                    <a:pt x="207810" y="8178"/>
                    <a:pt x="201048" y="1416"/>
                    <a:pt x="192708" y="1416"/>
                  </a:cubicBezTo>
                  <a:lnTo>
                    <a:pt x="192708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" name="Полилиния: фигура 158">
              <a:extLst>
                <a:ext uri="{FF2B5EF4-FFF2-40B4-BE49-F238E27FC236}">
                  <a16:creationId xmlns:a16="http://schemas.microsoft.com/office/drawing/2014/main" id="{E924C317-0C74-4F44-AD00-EEE61F4591E6}"/>
                </a:ext>
              </a:extLst>
            </p:cNvPr>
            <p:cNvSpPr/>
            <p:nvPr/>
          </p:nvSpPr>
          <p:spPr>
            <a:xfrm>
              <a:off x="5442309" y="1524058"/>
              <a:ext cx="137808" cy="32092"/>
            </a:xfrm>
            <a:custGeom>
              <a:avLst/>
              <a:gdLst>
                <a:gd name="connsiteX0" fmla="*/ 122234 w 137807"/>
                <a:gd name="connsiteY0" fmla="*/ 1416 h 32092"/>
                <a:gd name="connsiteX1" fmla="*/ 16518 w 137807"/>
                <a:gd name="connsiteY1" fmla="*/ 1416 h 32092"/>
                <a:gd name="connsiteX2" fmla="*/ 1416 w 137807"/>
                <a:gd name="connsiteY2" fmla="*/ 16518 h 32092"/>
                <a:gd name="connsiteX3" fmla="*/ 16518 w 137807"/>
                <a:gd name="connsiteY3" fmla="*/ 31620 h 32092"/>
                <a:gd name="connsiteX4" fmla="*/ 122234 w 137807"/>
                <a:gd name="connsiteY4" fmla="*/ 31620 h 32092"/>
                <a:gd name="connsiteX5" fmla="*/ 137336 w 137807"/>
                <a:gd name="connsiteY5" fmla="*/ 16518 h 32092"/>
                <a:gd name="connsiteX6" fmla="*/ 122234 w 137807"/>
                <a:gd name="connsiteY6" fmla="*/ 1416 h 32092"/>
                <a:gd name="connsiteX7" fmla="*/ 122234 w 137807"/>
                <a:gd name="connsiteY7" fmla="*/ 1416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807" h="32092">
                  <a:moveTo>
                    <a:pt x="122234" y="1416"/>
                  </a:moveTo>
                  <a:lnTo>
                    <a:pt x="16518" y="1416"/>
                  </a:lnTo>
                  <a:cubicBezTo>
                    <a:pt x="8178" y="1416"/>
                    <a:pt x="1416" y="8178"/>
                    <a:pt x="1416" y="16518"/>
                  </a:cubicBezTo>
                  <a:cubicBezTo>
                    <a:pt x="1416" y="24858"/>
                    <a:pt x="8178" y="31620"/>
                    <a:pt x="16518" y="31620"/>
                  </a:cubicBezTo>
                  <a:lnTo>
                    <a:pt x="122234" y="31620"/>
                  </a:lnTo>
                  <a:cubicBezTo>
                    <a:pt x="130574" y="31620"/>
                    <a:pt x="137336" y="24858"/>
                    <a:pt x="137336" y="16518"/>
                  </a:cubicBezTo>
                  <a:cubicBezTo>
                    <a:pt x="137336" y="8178"/>
                    <a:pt x="130574" y="1416"/>
                    <a:pt x="122234" y="1416"/>
                  </a:cubicBezTo>
                  <a:lnTo>
                    <a:pt x="122234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0" name="Полилиния: фигура 159">
              <a:extLst>
                <a:ext uri="{FF2B5EF4-FFF2-40B4-BE49-F238E27FC236}">
                  <a16:creationId xmlns:a16="http://schemas.microsoft.com/office/drawing/2014/main" id="{6B36487E-5E1F-4967-B1DD-8F04E835E191}"/>
                </a:ext>
              </a:extLst>
            </p:cNvPr>
            <p:cNvSpPr/>
            <p:nvPr/>
          </p:nvSpPr>
          <p:spPr>
            <a:xfrm>
              <a:off x="5442309" y="1596554"/>
              <a:ext cx="137808" cy="32092"/>
            </a:xfrm>
            <a:custGeom>
              <a:avLst/>
              <a:gdLst>
                <a:gd name="connsiteX0" fmla="*/ 122234 w 137807"/>
                <a:gd name="connsiteY0" fmla="*/ 1416 h 32092"/>
                <a:gd name="connsiteX1" fmla="*/ 16518 w 137807"/>
                <a:gd name="connsiteY1" fmla="*/ 1416 h 32092"/>
                <a:gd name="connsiteX2" fmla="*/ 1416 w 137807"/>
                <a:gd name="connsiteY2" fmla="*/ 16518 h 32092"/>
                <a:gd name="connsiteX3" fmla="*/ 16518 w 137807"/>
                <a:gd name="connsiteY3" fmla="*/ 31620 h 32092"/>
                <a:gd name="connsiteX4" fmla="*/ 122234 w 137807"/>
                <a:gd name="connsiteY4" fmla="*/ 31620 h 32092"/>
                <a:gd name="connsiteX5" fmla="*/ 137336 w 137807"/>
                <a:gd name="connsiteY5" fmla="*/ 16518 h 32092"/>
                <a:gd name="connsiteX6" fmla="*/ 122234 w 137807"/>
                <a:gd name="connsiteY6" fmla="*/ 1416 h 32092"/>
                <a:gd name="connsiteX7" fmla="*/ 122234 w 137807"/>
                <a:gd name="connsiteY7" fmla="*/ 1416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807" h="32092">
                  <a:moveTo>
                    <a:pt x="122234" y="1416"/>
                  </a:moveTo>
                  <a:lnTo>
                    <a:pt x="16518" y="1416"/>
                  </a:lnTo>
                  <a:cubicBezTo>
                    <a:pt x="8178" y="1416"/>
                    <a:pt x="1416" y="8170"/>
                    <a:pt x="1416" y="16518"/>
                  </a:cubicBezTo>
                  <a:cubicBezTo>
                    <a:pt x="1416" y="24858"/>
                    <a:pt x="8178" y="31620"/>
                    <a:pt x="16518" y="31620"/>
                  </a:cubicBezTo>
                  <a:lnTo>
                    <a:pt x="122234" y="31620"/>
                  </a:lnTo>
                  <a:cubicBezTo>
                    <a:pt x="130574" y="31620"/>
                    <a:pt x="137336" y="24858"/>
                    <a:pt x="137336" y="16518"/>
                  </a:cubicBezTo>
                  <a:cubicBezTo>
                    <a:pt x="137336" y="8170"/>
                    <a:pt x="130574" y="1416"/>
                    <a:pt x="122234" y="1416"/>
                  </a:cubicBezTo>
                  <a:lnTo>
                    <a:pt x="122234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4" name="Полилиния: фигура 163">
              <a:extLst>
                <a:ext uri="{FF2B5EF4-FFF2-40B4-BE49-F238E27FC236}">
                  <a16:creationId xmlns:a16="http://schemas.microsoft.com/office/drawing/2014/main" id="{67139D5A-EF14-4BEE-8325-CF8F1C88500F}"/>
                </a:ext>
              </a:extLst>
            </p:cNvPr>
            <p:cNvSpPr/>
            <p:nvPr/>
          </p:nvSpPr>
          <p:spPr>
            <a:xfrm>
              <a:off x="5442309" y="1669041"/>
              <a:ext cx="137808" cy="32092"/>
            </a:xfrm>
            <a:custGeom>
              <a:avLst/>
              <a:gdLst>
                <a:gd name="connsiteX0" fmla="*/ 122234 w 137807"/>
                <a:gd name="connsiteY0" fmla="*/ 1416 h 32092"/>
                <a:gd name="connsiteX1" fmla="*/ 16518 w 137807"/>
                <a:gd name="connsiteY1" fmla="*/ 1416 h 32092"/>
                <a:gd name="connsiteX2" fmla="*/ 1416 w 137807"/>
                <a:gd name="connsiteY2" fmla="*/ 16518 h 32092"/>
                <a:gd name="connsiteX3" fmla="*/ 16518 w 137807"/>
                <a:gd name="connsiteY3" fmla="*/ 31620 h 32092"/>
                <a:gd name="connsiteX4" fmla="*/ 122234 w 137807"/>
                <a:gd name="connsiteY4" fmla="*/ 31620 h 32092"/>
                <a:gd name="connsiteX5" fmla="*/ 137336 w 137807"/>
                <a:gd name="connsiteY5" fmla="*/ 16518 h 32092"/>
                <a:gd name="connsiteX6" fmla="*/ 122234 w 137807"/>
                <a:gd name="connsiteY6" fmla="*/ 1416 h 32092"/>
                <a:gd name="connsiteX7" fmla="*/ 122234 w 137807"/>
                <a:gd name="connsiteY7" fmla="*/ 1416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807" h="32092">
                  <a:moveTo>
                    <a:pt x="122234" y="1416"/>
                  </a:moveTo>
                  <a:lnTo>
                    <a:pt x="16518" y="1416"/>
                  </a:lnTo>
                  <a:cubicBezTo>
                    <a:pt x="8178" y="1416"/>
                    <a:pt x="1416" y="8178"/>
                    <a:pt x="1416" y="16518"/>
                  </a:cubicBezTo>
                  <a:cubicBezTo>
                    <a:pt x="1416" y="24858"/>
                    <a:pt x="8178" y="31620"/>
                    <a:pt x="16518" y="31620"/>
                  </a:cubicBezTo>
                  <a:lnTo>
                    <a:pt x="122234" y="31620"/>
                  </a:lnTo>
                  <a:cubicBezTo>
                    <a:pt x="130574" y="31620"/>
                    <a:pt x="137336" y="24858"/>
                    <a:pt x="137336" y="16518"/>
                  </a:cubicBezTo>
                  <a:cubicBezTo>
                    <a:pt x="137336" y="8178"/>
                    <a:pt x="130574" y="1416"/>
                    <a:pt x="122234" y="1416"/>
                  </a:cubicBezTo>
                  <a:lnTo>
                    <a:pt x="122234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" name="Полилиния: фигура 164">
              <a:extLst>
                <a:ext uri="{FF2B5EF4-FFF2-40B4-BE49-F238E27FC236}">
                  <a16:creationId xmlns:a16="http://schemas.microsoft.com/office/drawing/2014/main" id="{FCEDC26D-3CD7-4B42-BC02-B80C2F9CAEBB}"/>
                </a:ext>
              </a:extLst>
            </p:cNvPr>
            <p:cNvSpPr/>
            <p:nvPr/>
          </p:nvSpPr>
          <p:spPr>
            <a:xfrm>
              <a:off x="5218291" y="1878722"/>
              <a:ext cx="111379" cy="83062"/>
            </a:xfrm>
            <a:custGeom>
              <a:avLst/>
              <a:gdLst>
                <a:gd name="connsiteX0" fmla="*/ 107367 w 111378"/>
                <a:gd name="connsiteY0" fmla="*/ 5835 h 83062"/>
                <a:gd name="connsiteX1" fmla="*/ 86010 w 111378"/>
                <a:gd name="connsiteY1" fmla="*/ 5835 h 83062"/>
                <a:gd name="connsiteX2" fmla="*/ 45867 w 111378"/>
                <a:gd name="connsiteY2" fmla="*/ 45980 h 83062"/>
                <a:gd name="connsiteX3" fmla="*/ 27195 w 111378"/>
                <a:gd name="connsiteY3" fmla="*/ 27316 h 83062"/>
                <a:gd name="connsiteX4" fmla="*/ 5840 w 111378"/>
                <a:gd name="connsiteY4" fmla="*/ 27316 h 83062"/>
                <a:gd name="connsiteX5" fmla="*/ 5840 w 111378"/>
                <a:gd name="connsiteY5" fmla="*/ 48670 h 83062"/>
                <a:gd name="connsiteX6" fmla="*/ 35182 w 111378"/>
                <a:gd name="connsiteY6" fmla="*/ 78019 h 83062"/>
                <a:gd name="connsiteX7" fmla="*/ 45867 w 111378"/>
                <a:gd name="connsiteY7" fmla="*/ 82444 h 83062"/>
                <a:gd name="connsiteX8" fmla="*/ 56544 w 111378"/>
                <a:gd name="connsiteY8" fmla="*/ 78019 h 83062"/>
                <a:gd name="connsiteX9" fmla="*/ 107367 w 111378"/>
                <a:gd name="connsiteY9" fmla="*/ 27197 h 83062"/>
                <a:gd name="connsiteX10" fmla="*/ 107367 w 111378"/>
                <a:gd name="connsiteY10" fmla="*/ 5835 h 83062"/>
                <a:gd name="connsiteX11" fmla="*/ 107367 w 111378"/>
                <a:gd name="connsiteY11" fmla="*/ 5835 h 8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1378" h="83062">
                  <a:moveTo>
                    <a:pt x="107367" y="5835"/>
                  </a:moveTo>
                  <a:cubicBezTo>
                    <a:pt x="101468" y="-57"/>
                    <a:pt x="91910" y="-57"/>
                    <a:pt x="86010" y="5835"/>
                  </a:cubicBezTo>
                  <a:lnTo>
                    <a:pt x="45867" y="45980"/>
                  </a:lnTo>
                  <a:lnTo>
                    <a:pt x="27195" y="27316"/>
                  </a:lnTo>
                  <a:cubicBezTo>
                    <a:pt x="21296" y="21416"/>
                    <a:pt x="11740" y="21416"/>
                    <a:pt x="5840" y="27316"/>
                  </a:cubicBezTo>
                  <a:cubicBezTo>
                    <a:pt x="-59" y="33215"/>
                    <a:pt x="-59" y="42771"/>
                    <a:pt x="5840" y="48670"/>
                  </a:cubicBezTo>
                  <a:lnTo>
                    <a:pt x="35182" y="78019"/>
                  </a:lnTo>
                  <a:cubicBezTo>
                    <a:pt x="38019" y="80851"/>
                    <a:pt x="41855" y="82444"/>
                    <a:pt x="45867" y="82444"/>
                  </a:cubicBezTo>
                  <a:cubicBezTo>
                    <a:pt x="49871" y="82444"/>
                    <a:pt x="53712" y="80851"/>
                    <a:pt x="56544" y="78019"/>
                  </a:cubicBezTo>
                  <a:lnTo>
                    <a:pt x="107367" y="27197"/>
                  </a:lnTo>
                  <a:cubicBezTo>
                    <a:pt x="113266" y="21297"/>
                    <a:pt x="113266" y="11734"/>
                    <a:pt x="107367" y="5835"/>
                  </a:cubicBezTo>
                  <a:lnTo>
                    <a:pt x="107367" y="58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" name="Полилиния: фигура 165">
              <a:extLst>
                <a:ext uri="{FF2B5EF4-FFF2-40B4-BE49-F238E27FC236}">
                  <a16:creationId xmlns:a16="http://schemas.microsoft.com/office/drawing/2014/main" id="{31062106-E106-4B04-AC24-0A16EB28DC2B}"/>
                </a:ext>
              </a:extLst>
            </p:cNvPr>
            <p:cNvSpPr/>
            <p:nvPr/>
          </p:nvSpPr>
          <p:spPr>
            <a:xfrm>
              <a:off x="5380388" y="1903125"/>
              <a:ext cx="207656" cy="32092"/>
            </a:xfrm>
            <a:custGeom>
              <a:avLst/>
              <a:gdLst>
                <a:gd name="connsiteX0" fmla="*/ 192708 w 207655"/>
                <a:gd name="connsiteY0" fmla="*/ 1416 h 32092"/>
                <a:gd name="connsiteX1" fmla="*/ 16518 w 207655"/>
                <a:gd name="connsiteY1" fmla="*/ 1416 h 32092"/>
                <a:gd name="connsiteX2" fmla="*/ 1416 w 207655"/>
                <a:gd name="connsiteY2" fmla="*/ 16518 h 32092"/>
                <a:gd name="connsiteX3" fmla="*/ 16518 w 207655"/>
                <a:gd name="connsiteY3" fmla="*/ 31620 h 32092"/>
                <a:gd name="connsiteX4" fmla="*/ 192708 w 207655"/>
                <a:gd name="connsiteY4" fmla="*/ 31620 h 32092"/>
                <a:gd name="connsiteX5" fmla="*/ 207810 w 207655"/>
                <a:gd name="connsiteY5" fmla="*/ 16518 h 32092"/>
                <a:gd name="connsiteX6" fmla="*/ 192708 w 207655"/>
                <a:gd name="connsiteY6" fmla="*/ 1416 h 32092"/>
                <a:gd name="connsiteX7" fmla="*/ 192708 w 207655"/>
                <a:gd name="connsiteY7" fmla="*/ 1416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655" h="32092">
                  <a:moveTo>
                    <a:pt x="192708" y="1416"/>
                  </a:moveTo>
                  <a:lnTo>
                    <a:pt x="16518" y="1416"/>
                  </a:lnTo>
                  <a:cubicBezTo>
                    <a:pt x="8178" y="1416"/>
                    <a:pt x="1416" y="8178"/>
                    <a:pt x="1416" y="16518"/>
                  </a:cubicBezTo>
                  <a:cubicBezTo>
                    <a:pt x="1416" y="24858"/>
                    <a:pt x="8178" y="31620"/>
                    <a:pt x="16518" y="31620"/>
                  </a:cubicBezTo>
                  <a:lnTo>
                    <a:pt x="192708" y="31620"/>
                  </a:lnTo>
                  <a:cubicBezTo>
                    <a:pt x="201048" y="31620"/>
                    <a:pt x="207810" y="24858"/>
                    <a:pt x="207810" y="16518"/>
                  </a:cubicBezTo>
                  <a:cubicBezTo>
                    <a:pt x="207810" y="8178"/>
                    <a:pt x="201048" y="1416"/>
                    <a:pt x="192708" y="1416"/>
                  </a:cubicBezTo>
                  <a:lnTo>
                    <a:pt x="192708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67" name="Рисунок 20">
            <a:extLst>
              <a:ext uri="{FF2B5EF4-FFF2-40B4-BE49-F238E27FC236}">
                <a16:creationId xmlns:a16="http://schemas.microsoft.com/office/drawing/2014/main" id="{B8DA2EE2-ED66-43A3-A0C9-32A862D0A264}"/>
              </a:ext>
            </a:extLst>
          </p:cNvPr>
          <p:cNvGrpSpPr/>
          <p:nvPr/>
        </p:nvGrpSpPr>
        <p:grpSpPr>
          <a:xfrm>
            <a:off x="9030433" y="5232726"/>
            <a:ext cx="452675" cy="452675"/>
            <a:chOff x="5119646" y="4574283"/>
            <a:chExt cx="773988" cy="773988"/>
          </a:xfrm>
          <a:solidFill>
            <a:schemeClr val="bg1"/>
          </a:solidFill>
        </p:grpSpPr>
        <p:sp>
          <p:nvSpPr>
            <p:cNvPr id="168" name="Полилиния: фигура 167">
              <a:extLst>
                <a:ext uri="{FF2B5EF4-FFF2-40B4-BE49-F238E27FC236}">
                  <a16:creationId xmlns:a16="http://schemas.microsoft.com/office/drawing/2014/main" id="{9344DFF9-5C0A-40D4-852F-9481C5D3781C}"/>
                </a:ext>
              </a:extLst>
            </p:cNvPr>
            <p:cNvSpPr/>
            <p:nvPr/>
          </p:nvSpPr>
          <p:spPr>
            <a:xfrm>
              <a:off x="5118230" y="4944383"/>
              <a:ext cx="775876" cy="403984"/>
            </a:xfrm>
            <a:custGeom>
              <a:avLst/>
              <a:gdLst>
                <a:gd name="connsiteX0" fmla="*/ 692106 w 775875"/>
                <a:gd name="connsiteY0" fmla="*/ 246126 h 403983"/>
                <a:gd name="connsiteX1" fmla="*/ 705298 w 775875"/>
                <a:gd name="connsiteY1" fmla="*/ 205428 h 403983"/>
                <a:gd name="connsiteX2" fmla="*/ 705298 w 775875"/>
                <a:gd name="connsiteY2" fmla="*/ 114682 h 403983"/>
                <a:gd name="connsiteX3" fmla="*/ 690195 w 775875"/>
                <a:gd name="connsiteY3" fmla="*/ 99580 h 403983"/>
                <a:gd name="connsiteX4" fmla="*/ 622700 w 775875"/>
                <a:gd name="connsiteY4" fmla="*/ 99580 h 403983"/>
                <a:gd name="connsiteX5" fmla="*/ 566119 w 775875"/>
                <a:gd name="connsiteY5" fmla="*/ 156161 h 403983"/>
                <a:gd name="connsiteX6" fmla="*/ 566119 w 775875"/>
                <a:gd name="connsiteY6" fmla="*/ 205428 h 403983"/>
                <a:gd name="connsiteX7" fmla="*/ 579289 w 775875"/>
                <a:gd name="connsiteY7" fmla="*/ 246104 h 403983"/>
                <a:gd name="connsiteX8" fmla="*/ 549771 w 775875"/>
                <a:gd name="connsiteY8" fmla="*/ 255926 h 403983"/>
                <a:gd name="connsiteX9" fmla="*/ 454911 w 775875"/>
                <a:gd name="connsiteY9" fmla="*/ 199381 h 403983"/>
                <a:gd name="connsiteX10" fmla="*/ 454439 w 775875"/>
                <a:gd name="connsiteY10" fmla="*/ 199262 h 403983"/>
                <a:gd name="connsiteX11" fmla="*/ 477194 w 775875"/>
                <a:gd name="connsiteY11" fmla="*/ 139858 h 403983"/>
                <a:gd name="connsiteX12" fmla="*/ 477194 w 775875"/>
                <a:gd name="connsiteY12" fmla="*/ 16518 h 403983"/>
                <a:gd name="connsiteX13" fmla="*/ 462092 w 775875"/>
                <a:gd name="connsiteY13" fmla="*/ 1416 h 403983"/>
                <a:gd name="connsiteX14" fmla="*/ 370359 w 775875"/>
                <a:gd name="connsiteY14" fmla="*/ 1416 h 403983"/>
                <a:gd name="connsiteX15" fmla="*/ 298873 w 775875"/>
                <a:gd name="connsiteY15" fmla="*/ 72893 h 403983"/>
                <a:gd name="connsiteX16" fmla="*/ 298873 w 775875"/>
                <a:gd name="connsiteY16" fmla="*/ 139858 h 403983"/>
                <a:gd name="connsiteX17" fmla="*/ 321622 w 775875"/>
                <a:gd name="connsiteY17" fmla="*/ 199262 h 403983"/>
                <a:gd name="connsiteX18" fmla="*/ 321158 w 775875"/>
                <a:gd name="connsiteY18" fmla="*/ 199381 h 403983"/>
                <a:gd name="connsiteX19" fmla="*/ 226290 w 775875"/>
                <a:gd name="connsiteY19" fmla="*/ 255933 h 403983"/>
                <a:gd name="connsiteX20" fmla="*/ 196763 w 775875"/>
                <a:gd name="connsiteY20" fmla="*/ 246104 h 403983"/>
                <a:gd name="connsiteX21" fmla="*/ 209949 w 775875"/>
                <a:gd name="connsiteY21" fmla="*/ 205428 h 403983"/>
                <a:gd name="connsiteX22" fmla="*/ 209949 w 775875"/>
                <a:gd name="connsiteY22" fmla="*/ 114682 h 403983"/>
                <a:gd name="connsiteX23" fmla="*/ 194847 w 775875"/>
                <a:gd name="connsiteY23" fmla="*/ 99580 h 403983"/>
                <a:gd name="connsiteX24" fmla="*/ 127351 w 775875"/>
                <a:gd name="connsiteY24" fmla="*/ 99580 h 403983"/>
                <a:gd name="connsiteX25" fmla="*/ 70761 w 775875"/>
                <a:gd name="connsiteY25" fmla="*/ 156161 h 403983"/>
                <a:gd name="connsiteX26" fmla="*/ 70761 w 775875"/>
                <a:gd name="connsiteY26" fmla="*/ 205428 h 403983"/>
                <a:gd name="connsiteX27" fmla="*/ 83955 w 775875"/>
                <a:gd name="connsiteY27" fmla="*/ 246126 h 403983"/>
                <a:gd name="connsiteX28" fmla="*/ 1416 w 775875"/>
                <a:gd name="connsiteY28" fmla="*/ 343286 h 403983"/>
                <a:gd name="connsiteX29" fmla="*/ 1416 w 775875"/>
                <a:gd name="connsiteY29" fmla="*/ 388034 h 403983"/>
                <a:gd name="connsiteX30" fmla="*/ 16518 w 775875"/>
                <a:gd name="connsiteY30" fmla="*/ 403136 h 403983"/>
                <a:gd name="connsiteX31" fmla="*/ 759550 w 775875"/>
                <a:gd name="connsiteY31" fmla="*/ 403136 h 403983"/>
                <a:gd name="connsiteX32" fmla="*/ 774653 w 775875"/>
                <a:gd name="connsiteY32" fmla="*/ 388034 h 403983"/>
                <a:gd name="connsiteX33" fmla="*/ 774653 w 775875"/>
                <a:gd name="connsiteY33" fmla="*/ 343286 h 403983"/>
                <a:gd name="connsiteX34" fmla="*/ 692106 w 775875"/>
                <a:gd name="connsiteY34" fmla="*/ 246126 h 403983"/>
                <a:gd name="connsiteX35" fmla="*/ 692106 w 775875"/>
                <a:gd name="connsiteY35" fmla="*/ 246126 h 403983"/>
                <a:gd name="connsiteX36" fmla="*/ 100966 w 775875"/>
                <a:gd name="connsiteY36" fmla="*/ 156161 h 403983"/>
                <a:gd name="connsiteX37" fmla="*/ 127351 w 775875"/>
                <a:gd name="connsiteY37" fmla="*/ 129785 h 403983"/>
                <a:gd name="connsiteX38" fmla="*/ 179745 w 775875"/>
                <a:gd name="connsiteY38" fmla="*/ 129785 h 403983"/>
                <a:gd name="connsiteX39" fmla="*/ 179745 w 775875"/>
                <a:gd name="connsiteY39" fmla="*/ 148175 h 403983"/>
                <a:gd name="connsiteX40" fmla="*/ 163389 w 775875"/>
                <a:gd name="connsiteY40" fmla="*/ 164531 h 403983"/>
                <a:gd name="connsiteX41" fmla="*/ 100966 w 775875"/>
                <a:gd name="connsiteY41" fmla="*/ 164531 h 403983"/>
                <a:gd name="connsiteX42" fmla="*/ 100966 w 775875"/>
                <a:gd name="connsiteY42" fmla="*/ 156161 h 403983"/>
                <a:gd name="connsiteX43" fmla="*/ 100966 w 775875"/>
                <a:gd name="connsiteY43" fmla="*/ 194735 h 403983"/>
                <a:gd name="connsiteX44" fmla="*/ 163389 w 775875"/>
                <a:gd name="connsiteY44" fmla="*/ 194735 h 403983"/>
                <a:gd name="connsiteX45" fmla="*/ 179745 w 775875"/>
                <a:gd name="connsiteY45" fmla="*/ 191764 h 403983"/>
                <a:gd name="connsiteX46" fmla="*/ 179745 w 775875"/>
                <a:gd name="connsiteY46" fmla="*/ 205428 h 403983"/>
                <a:gd name="connsiteX47" fmla="*/ 140360 w 775875"/>
                <a:gd name="connsiteY47" fmla="*/ 244812 h 403983"/>
                <a:gd name="connsiteX48" fmla="*/ 100966 w 775875"/>
                <a:gd name="connsiteY48" fmla="*/ 205428 h 403983"/>
                <a:gd name="connsiteX49" fmla="*/ 100966 w 775875"/>
                <a:gd name="connsiteY49" fmla="*/ 194735 h 403983"/>
                <a:gd name="connsiteX50" fmla="*/ 150093 w 775875"/>
                <a:gd name="connsiteY50" fmla="*/ 275017 h 403983"/>
                <a:gd name="connsiteX51" fmla="*/ 140360 w 775875"/>
                <a:gd name="connsiteY51" fmla="*/ 284760 h 403983"/>
                <a:gd name="connsiteX52" fmla="*/ 130617 w 775875"/>
                <a:gd name="connsiteY52" fmla="*/ 275017 h 403983"/>
                <a:gd name="connsiteX53" fmla="*/ 150093 w 775875"/>
                <a:gd name="connsiteY53" fmla="*/ 275017 h 403983"/>
                <a:gd name="connsiteX54" fmla="*/ 204618 w 775875"/>
                <a:gd name="connsiteY54" fmla="*/ 327227 h 403983"/>
                <a:gd name="connsiteX55" fmla="*/ 204618 w 775875"/>
                <a:gd name="connsiteY55" fmla="*/ 372932 h 403983"/>
                <a:gd name="connsiteX56" fmla="*/ 31620 w 775875"/>
                <a:gd name="connsiteY56" fmla="*/ 372932 h 403983"/>
                <a:gd name="connsiteX57" fmla="*/ 31620 w 775875"/>
                <a:gd name="connsiteY57" fmla="*/ 343286 h 403983"/>
                <a:gd name="connsiteX58" fmla="*/ 88814 w 775875"/>
                <a:gd name="connsiteY58" fmla="*/ 275932 h 403983"/>
                <a:gd name="connsiteX59" fmla="*/ 129673 w 775875"/>
                <a:gd name="connsiteY59" fmla="*/ 316791 h 403983"/>
                <a:gd name="connsiteX60" fmla="*/ 140360 w 775875"/>
                <a:gd name="connsiteY60" fmla="*/ 321216 h 403983"/>
                <a:gd name="connsiteX61" fmla="*/ 151037 w 775875"/>
                <a:gd name="connsiteY61" fmla="*/ 316791 h 403983"/>
                <a:gd name="connsiteX62" fmla="*/ 191904 w 775875"/>
                <a:gd name="connsiteY62" fmla="*/ 275917 h 403983"/>
                <a:gd name="connsiteX63" fmla="*/ 212537 w 775875"/>
                <a:gd name="connsiteY63" fmla="*/ 282827 h 403983"/>
                <a:gd name="connsiteX64" fmla="*/ 204618 w 775875"/>
                <a:gd name="connsiteY64" fmla="*/ 327227 h 403983"/>
                <a:gd name="connsiteX65" fmla="*/ 204618 w 775875"/>
                <a:gd name="connsiteY65" fmla="*/ 327227 h 403983"/>
                <a:gd name="connsiteX66" fmla="*/ 388034 w 775875"/>
                <a:gd name="connsiteY66" fmla="*/ 198813 h 403983"/>
                <a:gd name="connsiteX67" fmla="*/ 329077 w 775875"/>
                <a:gd name="connsiteY67" fmla="*/ 139858 h 403983"/>
                <a:gd name="connsiteX68" fmla="*/ 329077 w 775875"/>
                <a:gd name="connsiteY68" fmla="*/ 119895 h 403983"/>
                <a:gd name="connsiteX69" fmla="*/ 419337 w 775875"/>
                <a:gd name="connsiteY69" fmla="*/ 119895 h 403983"/>
                <a:gd name="connsiteX70" fmla="*/ 446989 w 775875"/>
                <a:gd name="connsiteY70" fmla="*/ 112846 h 403983"/>
                <a:gd name="connsiteX71" fmla="*/ 446989 w 775875"/>
                <a:gd name="connsiteY71" fmla="*/ 139858 h 403983"/>
                <a:gd name="connsiteX72" fmla="*/ 388034 w 775875"/>
                <a:gd name="connsiteY72" fmla="*/ 198813 h 403983"/>
                <a:gd name="connsiteX73" fmla="*/ 388034 w 775875"/>
                <a:gd name="connsiteY73" fmla="*/ 198813 h 403983"/>
                <a:gd name="connsiteX74" fmla="*/ 414359 w 775875"/>
                <a:gd name="connsiteY74" fmla="*/ 229010 h 403983"/>
                <a:gd name="connsiteX75" fmla="*/ 388034 w 775875"/>
                <a:gd name="connsiteY75" fmla="*/ 255337 h 403983"/>
                <a:gd name="connsiteX76" fmla="*/ 361707 w 775875"/>
                <a:gd name="connsiteY76" fmla="*/ 229010 h 403983"/>
                <a:gd name="connsiteX77" fmla="*/ 414359 w 775875"/>
                <a:gd name="connsiteY77" fmla="*/ 229010 h 403983"/>
                <a:gd name="connsiteX78" fmla="*/ 329077 w 775875"/>
                <a:gd name="connsiteY78" fmla="*/ 72893 h 403983"/>
                <a:gd name="connsiteX79" fmla="*/ 370359 w 775875"/>
                <a:gd name="connsiteY79" fmla="*/ 31620 h 403983"/>
                <a:gd name="connsiteX80" fmla="*/ 446989 w 775875"/>
                <a:gd name="connsiteY80" fmla="*/ 31620 h 403983"/>
                <a:gd name="connsiteX81" fmla="*/ 446989 w 775875"/>
                <a:gd name="connsiteY81" fmla="*/ 62038 h 403983"/>
                <a:gd name="connsiteX82" fmla="*/ 419337 w 775875"/>
                <a:gd name="connsiteY82" fmla="*/ 89690 h 403983"/>
                <a:gd name="connsiteX83" fmla="*/ 329077 w 775875"/>
                <a:gd name="connsiteY83" fmla="*/ 89690 h 403983"/>
                <a:gd name="connsiteX84" fmla="*/ 329077 w 775875"/>
                <a:gd name="connsiteY84" fmla="*/ 72893 h 403983"/>
                <a:gd name="connsiteX85" fmla="*/ 541239 w 775875"/>
                <a:gd name="connsiteY85" fmla="*/ 372932 h 403983"/>
                <a:gd name="connsiteX86" fmla="*/ 234822 w 775875"/>
                <a:gd name="connsiteY86" fmla="*/ 372932 h 403983"/>
                <a:gd name="connsiteX87" fmla="*/ 234822 w 775875"/>
                <a:gd name="connsiteY87" fmla="*/ 342728 h 403983"/>
                <a:gd name="connsiteX88" fmla="*/ 333162 w 775875"/>
                <a:gd name="connsiteY88" fmla="*/ 342728 h 403983"/>
                <a:gd name="connsiteX89" fmla="*/ 348264 w 775875"/>
                <a:gd name="connsiteY89" fmla="*/ 327625 h 403983"/>
                <a:gd name="connsiteX90" fmla="*/ 333162 w 775875"/>
                <a:gd name="connsiteY90" fmla="*/ 312523 h 403983"/>
                <a:gd name="connsiteX91" fmla="*/ 235929 w 775875"/>
                <a:gd name="connsiteY91" fmla="*/ 312523 h 403983"/>
                <a:gd name="connsiteX92" fmla="*/ 319897 w 775875"/>
                <a:gd name="connsiteY92" fmla="*/ 229918 h 403983"/>
                <a:gd name="connsiteX93" fmla="*/ 377357 w 775875"/>
                <a:gd name="connsiteY93" fmla="*/ 287376 h 403983"/>
                <a:gd name="connsiteX94" fmla="*/ 388034 w 775875"/>
                <a:gd name="connsiteY94" fmla="*/ 291801 h 403983"/>
                <a:gd name="connsiteX95" fmla="*/ 398711 w 775875"/>
                <a:gd name="connsiteY95" fmla="*/ 287376 h 403983"/>
                <a:gd name="connsiteX96" fmla="*/ 456172 w 775875"/>
                <a:gd name="connsiteY96" fmla="*/ 229918 h 403983"/>
                <a:gd name="connsiteX97" fmla="*/ 541239 w 775875"/>
                <a:gd name="connsiteY97" fmla="*/ 327227 h 403983"/>
                <a:gd name="connsiteX98" fmla="*/ 541239 w 775875"/>
                <a:gd name="connsiteY98" fmla="*/ 372932 h 403983"/>
                <a:gd name="connsiteX99" fmla="*/ 596324 w 775875"/>
                <a:gd name="connsiteY99" fmla="*/ 156161 h 403983"/>
                <a:gd name="connsiteX100" fmla="*/ 622700 w 775875"/>
                <a:gd name="connsiteY100" fmla="*/ 129785 h 403983"/>
                <a:gd name="connsiteX101" fmla="*/ 675093 w 775875"/>
                <a:gd name="connsiteY101" fmla="*/ 129785 h 403983"/>
                <a:gd name="connsiteX102" fmla="*/ 675093 w 775875"/>
                <a:gd name="connsiteY102" fmla="*/ 148175 h 403983"/>
                <a:gd name="connsiteX103" fmla="*/ 658737 w 775875"/>
                <a:gd name="connsiteY103" fmla="*/ 164531 h 403983"/>
                <a:gd name="connsiteX104" fmla="*/ 596324 w 775875"/>
                <a:gd name="connsiteY104" fmla="*/ 164531 h 403983"/>
                <a:gd name="connsiteX105" fmla="*/ 596324 w 775875"/>
                <a:gd name="connsiteY105" fmla="*/ 156161 h 403983"/>
                <a:gd name="connsiteX106" fmla="*/ 596324 w 775875"/>
                <a:gd name="connsiteY106" fmla="*/ 194735 h 403983"/>
                <a:gd name="connsiteX107" fmla="*/ 658737 w 775875"/>
                <a:gd name="connsiteY107" fmla="*/ 194735 h 403983"/>
                <a:gd name="connsiteX108" fmla="*/ 675093 w 775875"/>
                <a:gd name="connsiteY108" fmla="*/ 191764 h 403983"/>
                <a:gd name="connsiteX109" fmla="*/ 675093 w 775875"/>
                <a:gd name="connsiteY109" fmla="*/ 205428 h 403983"/>
                <a:gd name="connsiteX110" fmla="*/ 635708 w 775875"/>
                <a:gd name="connsiteY110" fmla="*/ 244812 h 403983"/>
                <a:gd name="connsiteX111" fmla="*/ 596324 w 775875"/>
                <a:gd name="connsiteY111" fmla="*/ 205428 h 403983"/>
                <a:gd name="connsiteX112" fmla="*/ 596324 w 775875"/>
                <a:gd name="connsiteY112" fmla="*/ 194735 h 403983"/>
                <a:gd name="connsiteX113" fmla="*/ 645442 w 775875"/>
                <a:gd name="connsiteY113" fmla="*/ 275017 h 403983"/>
                <a:gd name="connsiteX114" fmla="*/ 635708 w 775875"/>
                <a:gd name="connsiteY114" fmla="*/ 284760 h 403983"/>
                <a:gd name="connsiteX115" fmla="*/ 625975 w 775875"/>
                <a:gd name="connsiteY115" fmla="*/ 275017 h 403983"/>
                <a:gd name="connsiteX116" fmla="*/ 645442 w 775875"/>
                <a:gd name="connsiteY116" fmla="*/ 275017 h 403983"/>
                <a:gd name="connsiteX117" fmla="*/ 571443 w 775875"/>
                <a:gd name="connsiteY117" fmla="*/ 372932 h 403983"/>
                <a:gd name="connsiteX118" fmla="*/ 571443 w 775875"/>
                <a:gd name="connsiteY118" fmla="*/ 327227 h 403983"/>
                <a:gd name="connsiteX119" fmla="*/ 563524 w 775875"/>
                <a:gd name="connsiteY119" fmla="*/ 282819 h 403983"/>
                <a:gd name="connsiteX120" fmla="*/ 584150 w 775875"/>
                <a:gd name="connsiteY120" fmla="*/ 275917 h 403983"/>
                <a:gd name="connsiteX121" fmla="*/ 625031 w 775875"/>
                <a:gd name="connsiteY121" fmla="*/ 316791 h 403983"/>
                <a:gd name="connsiteX122" fmla="*/ 635708 w 775875"/>
                <a:gd name="connsiteY122" fmla="*/ 321216 h 403983"/>
                <a:gd name="connsiteX123" fmla="*/ 646386 w 775875"/>
                <a:gd name="connsiteY123" fmla="*/ 316791 h 403983"/>
                <a:gd name="connsiteX124" fmla="*/ 687247 w 775875"/>
                <a:gd name="connsiteY124" fmla="*/ 275932 h 403983"/>
                <a:gd name="connsiteX125" fmla="*/ 744441 w 775875"/>
                <a:gd name="connsiteY125" fmla="*/ 343286 h 403983"/>
                <a:gd name="connsiteX126" fmla="*/ 744441 w 775875"/>
                <a:gd name="connsiteY126" fmla="*/ 372932 h 403983"/>
                <a:gd name="connsiteX127" fmla="*/ 571443 w 775875"/>
                <a:gd name="connsiteY127" fmla="*/ 372932 h 403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</a:cxnLst>
              <a:rect l="l" t="t" r="r" b="b"/>
              <a:pathLst>
                <a:path w="775875" h="403983">
                  <a:moveTo>
                    <a:pt x="692106" y="246126"/>
                  </a:moveTo>
                  <a:cubicBezTo>
                    <a:pt x="700395" y="234673"/>
                    <a:pt x="705298" y="220611"/>
                    <a:pt x="705298" y="205428"/>
                  </a:cubicBezTo>
                  <a:lnTo>
                    <a:pt x="705298" y="114682"/>
                  </a:lnTo>
                  <a:cubicBezTo>
                    <a:pt x="705298" y="106342"/>
                    <a:pt x="698536" y="99580"/>
                    <a:pt x="690195" y="99580"/>
                  </a:cubicBezTo>
                  <a:lnTo>
                    <a:pt x="622700" y="99580"/>
                  </a:lnTo>
                  <a:cubicBezTo>
                    <a:pt x="591501" y="99580"/>
                    <a:pt x="566119" y="124961"/>
                    <a:pt x="566119" y="156161"/>
                  </a:cubicBezTo>
                  <a:lnTo>
                    <a:pt x="566119" y="205428"/>
                  </a:lnTo>
                  <a:cubicBezTo>
                    <a:pt x="566119" y="220604"/>
                    <a:pt x="571014" y="234652"/>
                    <a:pt x="579289" y="246104"/>
                  </a:cubicBezTo>
                  <a:cubicBezTo>
                    <a:pt x="568966" y="247778"/>
                    <a:pt x="559040" y="251082"/>
                    <a:pt x="549771" y="255926"/>
                  </a:cubicBezTo>
                  <a:cubicBezTo>
                    <a:pt x="528791" y="224615"/>
                    <a:pt x="494412" y="203025"/>
                    <a:pt x="454911" y="199381"/>
                  </a:cubicBezTo>
                  <a:cubicBezTo>
                    <a:pt x="454756" y="199338"/>
                    <a:pt x="454599" y="199308"/>
                    <a:pt x="454439" y="199262"/>
                  </a:cubicBezTo>
                  <a:cubicBezTo>
                    <a:pt x="468574" y="183482"/>
                    <a:pt x="477194" y="162658"/>
                    <a:pt x="477194" y="139858"/>
                  </a:cubicBezTo>
                  <a:lnTo>
                    <a:pt x="477194" y="16518"/>
                  </a:lnTo>
                  <a:cubicBezTo>
                    <a:pt x="477194" y="8178"/>
                    <a:pt x="470424" y="1416"/>
                    <a:pt x="462092" y="1416"/>
                  </a:cubicBezTo>
                  <a:lnTo>
                    <a:pt x="370359" y="1416"/>
                  </a:lnTo>
                  <a:cubicBezTo>
                    <a:pt x="330944" y="1416"/>
                    <a:pt x="298873" y="33478"/>
                    <a:pt x="298873" y="72893"/>
                  </a:cubicBezTo>
                  <a:lnTo>
                    <a:pt x="298873" y="139858"/>
                  </a:lnTo>
                  <a:cubicBezTo>
                    <a:pt x="298873" y="162658"/>
                    <a:pt x="307487" y="183482"/>
                    <a:pt x="321622" y="199262"/>
                  </a:cubicBezTo>
                  <a:cubicBezTo>
                    <a:pt x="321467" y="199300"/>
                    <a:pt x="321313" y="199338"/>
                    <a:pt x="321158" y="199381"/>
                  </a:cubicBezTo>
                  <a:cubicBezTo>
                    <a:pt x="281647" y="203025"/>
                    <a:pt x="247268" y="224615"/>
                    <a:pt x="226290" y="255933"/>
                  </a:cubicBezTo>
                  <a:cubicBezTo>
                    <a:pt x="217021" y="251089"/>
                    <a:pt x="207087" y="247778"/>
                    <a:pt x="196763" y="246104"/>
                  </a:cubicBezTo>
                  <a:cubicBezTo>
                    <a:pt x="205045" y="234658"/>
                    <a:pt x="209949" y="220604"/>
                    <a:pt x="209949" y="205428"/>
                  </a:cubicBezTo>
                  <a:lnTo>
                    <a:pt x="209949" y="114682"/>
                  </a:lnTo>
                  <a:cubicBezTo>
                    <a:pt x="209949" y="106342"/>
                    <a:pt x="203187" y="99580"/>
                    <a:pt x="194847" y="99580"/>
                  </a:cubicBezTo>
                  <a:lnTo>
                    <a:pt x="127351" y="99580"/>
                  </a:lnTo>
                  <a:cubicBezTo>
                    <a:pt x="96152" y="99580"/>
                    <a:pt x="70761" y="124961"/>
                    <a:pt x="70761" y="156161"/>
                  </a:cubicBezTo>
                  <a:lnTo>
                    <a:pt x="70761" y="205428"/>
                  </a:lnTo>
                  <a:cubicBezTo>
                    <a:pt x="70761" y="220619"/>
                    <a:pt x="75666" y="234673"/>
                    <a:pt x="83955" y="246126"/>
                  </a:cubicBezTo>
                  <a:cubicBezTo>
                    <a:pt x="37210" y="253766"/>
                    <a:pt x="1416" y="294419"/>
                    <a:pt x="1416" y="343286"/>
                  </a:cubicBezTo>
                  <a:lnTo>
                    <a:pt x="1416" y="388034"/>
                  </a:lnTo>
                  <a:cubicBezTo>
                    <a:pt x="1416" y="396374"/>
                    <a:pt x="8178" y="403136"/>
                    <a:pt x="16518" y="403136"/>
                  </a:cubicBezTo>
                  <a:lnTo>
                    <a:pt x="759550" y="403136"/>
                  </a:lnTo>
                  <a:cubicBezTo>
                    <a:pt x="767890" y="403136"/>
                    <a:pt x="774653" y="396374"/>
                    <a:pt x="774653" y="388034"/>
                  </a:cubicBezTo>
                  <a:lnTo>
                    <a:pt x="774653" y="343286"/>
                  </a:lnTo>
                  <a:cubicBezTo>
                    <a:pt x="774653" y="294419"/>
                    <a:pt x="738851" y="253766"/>
                    <a:pt x="692106" y="246126"/>
                  </a:cubicBezTo>
                  <a:lnTo>
                    <a:pt x="692106" y="246126"/>
                  </a:lnTo>
                  <a:close/>
                  <a:moveTo>
                    <a:pt x="100966" y="156161"/>
                  </a:moveTo>
                  <a:cubicBezTo>
                    <a:pt x="100966" y="141619"/>
                    <a:pt x="112802" y="129785"/>
                    <a:pt x="127351" y="129785"/>
                  </a:cubicBezTo>
                  <a:lnTo>
                    <a:pt x="179745" y="129785"/>
                  </a:lnTo>
                  <a:lnTo>
                    <a:pt x="179745" y="148175"/>
                  </a:lnTo>
                  <a:cubicBezTo>
                    <a:pt x="179745" y="157193"/>
                    <a:pt x="172407" y="164531"/>
                    <a:pt x="163389" y="164531"/>
                  </a:cubicBezTo>
                  <a:lnTo>
                    <a:pt x="100966" y="164531"/>
                  </a:lnTo>
                  <a:lnTo>
                    <a:pt x="100966" y="156161"/>
                  </a:lnTo>
                  <a:close/>
                  <a:moveTo>
                    <a:pt x="100966" y="194735"/>
                  </a:moveTo>
                  <a:lnTo>
                    <a:pt x="163389" y="194735"/>
                  </a:lnTo>
                  <a:cubicBezTo>
                    <a:pt x="169141" y="194735"/>
                    <a:pt x="174649" y="193680"/>
                    <a:pt x="179745" y="191764"/>
                  </a:cubicBezTo>
                  <a:lnTo>
                    <a:pt x="179745" y="205428"/>
                  </a:lnTo>
                  <a:cubicBezTo>
                    <a:pt x="179745" y="227145"/>
                    <a:pt x="162075" y="244812"/>
                    <a:pt x="140360" y="244812"/>
                  </a:cubicBezTo>
                  <a:cubicBezTo>
                    <a:pt x="118635" y="244812"/>
                    <a:pt x="100966" y="227145"/>
                    <a:pt x="100966" y="205428"/>
                  </a:cubicBezTo>
                  <a:lnTo>
                    <a:pt x="100966" y="194735"/>
                  </a:lnTo>
                  <a:close/>
                  <a:moveTo>
                    <a:pt x="150093" y="275017"/>
                  </a:moveTo>
                  <a:lnTo>
                    <a:pt x="140360" y="284760"/>
                  </a:lnTo>
                  <a:lnTo>
                    <a:pt x="130617" y="275017"/>
                  </a:lnTo>
                  <a:lnTo>
                    <a:pt x="150093" y="275017"/>
                  </a:lnTo>
                  <a:close/>
                  <a:moveTo>
                    <a:pt x="204618" y="327227"/>
                  </a:moveTo>
                  <a:lnTo>
                    <a:pt x="204618" y="372932"/>
                  </a:lnTo>
                  <a:lnTo>
                    <a:pt x="31620" y="372932"/>
                  </a:lnTo>
                  <a:lnTo>
                    <a:pt x="31620" y="343286"/>
                  </a:lnTo>
                  <a:cubicBezTo>
                    <a:pt x="31620" y="309418"/>
                    <a:pt x="56420" y="281241"/>
                    <a:pt x="88814" y="275932"/>
                  </a:cubicBezTo>
                  <a:lnTo>
                    <a:pt x="129673" y="316791"/>
                  </a:lnTo>
                  <a:cubicBezTo>
                    <a:pt x="132512" y="319623"/>
                    <a:pt x="136348" y="321216"/>
                    <a:pt x="140360" y="321216"/>
                  </a:cubicBezTo>
                  <a:cubicBezTo>
                    <a:pt x="144364" y="321216"/>
                    <a:pt x="148206" y="319623"/>
                    <a:pt x="151037" y="316791"/>
                  </a:cubicBezTo>
                  <a:lnTo>
                    <a:pt x="191904" y="275917"/>
                  </a:lnTo>
                  <a:cubicBezTo>
                    <a:pt x="199123" y="277097"/>
                    <a:pt x="206070" y="279419"/>
                    <a:pt x="212537" y="282827"/>
                  </a:cubicBezTo>
                  <a:cubicBezTo>
                    <a:pt x="207419" y="296668"/>
                    <a:pt x="204618" y="311623"/>
                    <a:pt x="204618" y="327227"/>
                  </a:cubicBezTo>
                  <a:lnTo>
                    <a:pt x="204618" y="327227"/>
                  </a:lnTo>
                  <a:close/>
                  <a:moveTo>
                    <a:pt x="388034" y="198813"/>
                  </a:moveTo>
                  <a:cubicBezTo>
                    <a:pt x="355529" y="198813"/>
                    <a:pt x="329077" y="172362"/>
                    <a:pt x="329077" y="139858"/>
                  </a:cubicBezTo>
                  <a:lnTo>
                    <a:pt x="329077" y="119895"/>
                  </a:lnTo>
                  <a:lnTo>
                    <a:pt x="419337" y="119895"/>
                  </a:lnTo>
                  <a:cubicBezTo>
                    <a:pt x="429344" y="119895"/>
                    <a:pt x="438768" y="117337"/>
                    <a:pt x="446989" y="112846"/>
                  </a:cubicBezTo>
                  <a:lnTo>
                    <a:pt x="446989" y="139858"/>
                  </a:lnTo>
                  <a:cubicBezTo>
                    <a:pt x="446989" y="172362"/>
                    <a:pt x="420540" y="198813"/>
                    <a:pt x="388034" y="198813"/>
                  </a:cubicBezTo>
                  <a:lnTo>
                    <a:pt x="388034" y="198813"/>
                  </a:lnTo>
                  <a:close/>
                  <a:moveTo>
                    <a:pt x="414359" y="229010"/>
                  </a:moveTo>
                  <a:lnTo>
                    <a:pt x="388034" y="255337"/>
                  </a:lnTo>
                  <a:lnTo>
                    <a:pt x="361707" y="229010"/>
                  </a:lnTo>
                  <a:lnTo>
                    <a:pt x="414359" y="229010"/>
                  </a:lnTo>
                  <a:close/>
                  <a:moveTo>
                    <a:pt x="329077" y="72893"/>
                  </a:moveTo>
                  <a:cubicBezTo>
                    <a:pt x="329077" y="50136"/>
                    <a:pt x="347594" y="31620"/>
                    <a:pt x="370359" y="31620"/>
                  </a:cubicBezTo>
                  <a:lnTo>
                    <a:pt x="446989" y="31620"/>
                  </a:lnTo>
                  <a:lnTo>
                    <a:pt x="446989" y="62038"/>
                  </a:lnTo>
                  <a:cubicBezTo>
                    <a:pt x="446989" y="77287"/>
                    <a:pt x="434579" y="89690"/>
                    <a:pt x="419337" y="89690"/>
                  </a:cubicBezTo>
                  <a:lnTo>
                    <a:pt x="329077" y="89690"/>
                  </a:lnTo>
                  <a:lnTo>
                    <a:pt x="329077" y="72893"/>
                  </a:lnTo>
                  <a:close/>
                  <a:moveTo>
                    <a:pt x="541239" y="372932"/>
                  </a:moveTo>
                  <a:lnTo>
                    <a:pt x="234822" y="372932"/>
                  </a:lnTo>
                  <a:lnTo>
                    <a:pt x="234822" y="342728"/>
                  </a:lnTo>
                  <a:lnTo>
                    <a:pt x="333162" y="342728"/>
                  </a:lnTo>
                  <a:cubicBezTo>
                    <a:pt x="341502" y="342728"/>
                    <a:pt x="348264" y="335966"/>
                    <a:pt x="348264" y="327625"/>
                  </a:cubicBezTo>
                  <a:cubicBezTo>
                    <a:pt x="348264" y="319278"/>
                    <a:pt x="341502" y="312523"/>
                    <a:pt x="333162" y="312523"/>
                  </a:cubicBezTo>
                  <a:lnTo>
                    <a:pt x="235929" y="312523"/>
                  </a:lnTo>
                  <a:cubicBezTo>
                    <a:pt x="242402" y="269597"/>
                    <a:pt x="276757" y="235713"/>
                    <a:pt x="319897" y="229918"/>
                  </a:cubicBezTo>
                  <a:lnTo>
                    <a:pt x="377357" y="287376"/>
                  </a:lnTo>
                  <a:cubicBezTo>
                    <a:pt x="380306" y="290327"/>
                    <a:pt x="384170" y="291801"/>
                    <a:pt x="388034" y="291801"/>
                  </a:cubicBezTo>
                  <a:cubicBezTo>
                    <a:pt x="391898" y="291801"/>
                    <a:pt x="395763" y="290327"/>
                    <a:pt x="398711" y="287376"/>
                  </a:cubicBezTo>
                  <a:lnTo>
                    <a:pt x="456172" y="229918"/>
                  </a:lnTo>
                  <a:cubicBezTo>
                    <a:pt x="504125" y="236363"/>
                    <a:pt x="541239" y="277524"/>
                    <a:pt x="541239" y="327227"/>
                  </a:cubicBezTo>
                  <a:lnTo>
                    <a:pt x="541239" y="372932"/>
                  </a:lnTo>
                  <a:close/>
                  <a:moveTo>
                    <a:pt x="596324" y="156161"/>
                  </a:moveTo>
                  <a:cubicBezTo>
                    <a:pt x="596324" y="141619"/>
                    <a:pt x="608158" y="129785"/>
                    <a:pt x="622700" y="129785"/>
                  </a:cubicBezTo>
                  <a:lnTo>
                    <a:pt x="675093" y="129785"/>
                  </a:lnTo>
                  <a:lnTo>
                    <a:pt x="675093" y="148175"/>
                  </a:lnTo>
                  <a:cubicBezTo>
                    <a:pt x="675093" y="157193"/>
                    <a:pt x="667757" y="164531"/>
                    <a:pt x="658737" y="164531"/>
                  </a:cubicBezTo>
                  <a:lnTo>
                    <a:pt x="596324" y="164531"/>
                  </a:lnTo>
                  <a:lnTo>
                    <a:pt x="596324" y="156161"/>
                  </a:lnTo>
                  <a:close/>
                  <a:moveTo>
                    <a:pt x="596324" y="194735"/>
                  </a:moveTo>
                  <a:lnTo>
                    <a:pt x="658737" y="194735"/>
                  </a:lnTo>
                  <a:cubicBezTo>
                    <a:pt x="664497" y="194735"/>
                    <a:pt x="670006" y="193680"/>
                    <a:pt x="675093" y="191764"/>
                  </a:cubicBezTo>
                  <a:lnTo>
                    <a:pt x="675093" y="205428"/>
                  </a:lnTo>
                  <a:cubicBezTo>
                    <a:pt x="675093" y="227145"/>
                    <a:pt x="657425" y="244812"/>
                    <a:pt x="635708" y="244812"/>
                  </a:cubicBezTo>
                  <a:cubicBezTo>
                    <a:pt x="613992" y="244812"/>
                    <a:pt x="596324" y="227145"/>
                    <a:pt x="596324" y="205428"/>
                  </a:cubicBezTo>
                  <a:lnTo>
                    <a:pt x="596324" y="194735"/>
                  </a:lnTo>
                  <a:close/>
                  <a:moveTo>
                    <a:pt x="645442" y="275017"/>
                  </a:moveTo>
                  <a:lnTo>
                    <a:pt x="635708" y="284760"/>
                  </a:lnTo>
                  <a:lnTo>
                    <a:pt x="625975" y="275017"/>
                  </a:lnTo>
                  <a:lnTo>
                    <a:pt x="645442" y="275017"/>
                  </a:lnTo>
                  <a:close/>
                  <a:moveTo>
                    <a:pt x="571443" y="372932"/>
                  </a:moveTo>
                  <a:lnTo>
                    <a:pt x="571443" y="327227"/>
                  </a:lnTo>
                  <a:cubicBezTo>
                    <a:pt x="571443" y="311623"/>
                    <a:pt x="568641" y="296668"/>
                    <a:pt x="563524" y="282819"/>
                  </a:cubicBezTo>
                  <a:cubicBezTo>
                    <a:pt x="569991" y="279412"/>
                    <a:pt x="576929" y="277090"/>
                    <a:pt x="584150" y="275917"/>
                  </a:cubicBezTo>
                  <a:lnTo>
                    <a:pt x="625031" y="316791"/>
                  </a:lnTo>
                  <a:cubicBezTo>
                    <a:pt x="627863" y="319623"/>
                    <a:pt x="631704" y="321216"/>
                    <a:pt x="635708" y="321216"/>
                  </a:cubicBezTo>
                  <a:cubicBezTo>
                    <a:pt x="639712" y="321216"/>
                    <a:pt x="643554" y="319623"/>
                    <a:pt x="646386" y="316791"/>
                  </a:cubicBezTo>
                  <a:lnTo>
                    <a:pt x="687247" y="275932"/>
                  </a:lnTo>
                  <a:cubicBezTo>
                    <a:pt x="719641" y="281241"/>
                    <a:pt x="744441" y="309418"/>
                    <a:pt x="744441" y="343286"/>
                  </a:cubicBezTo>
                  <a:lnTo>
                    <a:pt x="744441" y="372932"/>
                  </a:lnTo>
                  <a:lnTo>
                    <a:pt x="571443" y="3729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9" name="Полилиния: фигура 168">
              <a:extLst>
                <a:ext uri="{FF2B5EF4-FFF2-40B4-BE49-F238E27FC236}">
                  <a16:creationId xmlns:a16="http://schemas.microsoft.com/office/drawing/2014/main" id="{7E88D551-A079-477A-9172-455EF461FB4A}"/>
                </a:ext>
              </a:extLst>
            </p:cNvPr>
            <p:cNvSpPr/>
            <p:nvPr/>
          </p:nvSpPr>
          <p:spPr>
            <a:xfrm>
              <a:off x="5425995" y="4667117"/>
              <a:ext cx="160461" cy="117042"/>
            </a:xfrm>
            <a:custGeom>
              <a:avLst/>
              <a:gdLst>
                <a:gd name="connsiteX0" fmla="*/ 154697 w 160460"/>
                <a:gd name="connsiteY0" fmla="*/ 5840 h 117042"/>
                <a:gd name="connsiteX1" fmla="*/ 133341 w 160460"/>
                <a:gd name="connsiteY1" fmla="*/ 5840 h 117042"/>
                <a:gd name="connsiteX2" fmla="*/ 59230 w 160460"/>
                <a:gd name="connsiteY2" fmla="*/ 79949 h 117042"/>
                <a:gd name="connsiteX3" fmla="*/ 27199 w 160460"/>
                <a:gd name="connsiteY3" fmla="*/ 47917 h 117042"/>
                <a:gd name="connsiteX4" fmla="*/ 5835 w 160460"/>
                <a:gd name="connsiteY4" fmla="*/ 47909 h 117042"/>
                <a:gd name="connsiteX5" fmla="*/ 5835 w 160460"/>
                <a:gd name="connsiteY5" fmla="*/ 69271 h 117042"/>
                <a:gd name="connsiteX6" fmla="*/ 48553 w 160460"/>
                <a:gd name="connsiteY6" fmla="*/ 111982 h 117042"/>
                <a:gd name="connsiteX7" fmla="*/ 59230 w 160460"/>
                <a:gd name="connsiteY7" fmla="*/ 116407 h 117042"/>
                <a:gd name="connsiteX8" fmla="*/ 69908 w 160460"/>
                <a:gd name="connsiteY8" fmla="*/ 111982 h 117042"/>
                <a:gd name="connsiteX9" fmla="*/ 154697 w 160460"/>
                <a:gd name="connsiteY9" fmla="*/ 27202 h 117042"/>
                <a:gd name="connsiteX10" fmla="*/ 154697 w 160460"/>
                <a:gd name="connsiteY10" fmla="*/ 5840 h 117042"/>
                <a:gd name="connsiteX11" fmla="*/ 154697 w 160460"/>
                <a:gd name="connsiteY11" fmla="*/ 5840 h 117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0460" h="117042">
                  <a:moveTo>
                    <a:pt x="154697" y="5840"/>
                  </a:moveTo>
                  <a:cubicBezTo>
                    <a:pt x="148798" y="-59"/>
                    <a:pt x="139240" y="-59"/>
                    <a:pt x="133341" y="5840"/>
                  </a:cubicBezTo>
                  <a:lnTo>
                    <a:pt x="59230" y="79949"/>
                  </a:lnTo>
                  <a:lnTo>
                    <a:pt x="27199" y="47917"/>
                  </a:lnTo>
                  <a:cubicBezTo>
                    <a:pt x="21297" y="42018"/>
                    <a:pt x="11734" y="42018"/>
                    <a:pt x="5835" y="47909"/>
                  </a:cubicBezTo>
                  <a:cubicBezTo>
                    <a:pt x="-57" y="53808"/>
                    <a:pt x="-57" y="63372"/>
                    <a:pt x="5835" y="69271"/>
                  </a:cubicBezTo>
                  <a:lnTo>
                    <a:pt x="48553" y="111982"/>
                  </a:lnTo>
                  <a:cubicBezTo>
                    <a:pt x="51385" y="114814"/>
                    <a:pt x="55226" y="116407"/>
                    <a:pt x="59230" y="116407"/>
                  </a:cubicBezTo>
                  <a:cubicBezTo>
                    <a:pt x="63234" y="116407"/>
                    <a:pt x="67076" y="114814"/>
                    <a:pt x="69908" y="111982"/>
                  </a:cubicBezTo>
                  <a:lnTo>
                    <a:pt x="154697" y="27202"/>
                  </a:lnTo>
                  <a:cubicBezTo>
                    <a:pt x="160596" y="21303"/>
                    <a:pt x="160596" y="11740"/>
                    <a:pt x="154697" y="5840"/>
                  </a:cubicBezTo>
                  <a:lnTo>
                    <a:pt x="154697" y="584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0" name="Полилиния: фигура 169">
              <a:extLst>
                <a:ext uri="{FF2B5EF4-FFF2-40B4-BE49-F238E27FC236}">
                  <a16:creationId xmlns:a16="http://schemas.microsoft.com/office/drawing/2014/main" id="{EB39F842-2166-4ACC-95B2-BE3C2863CB1D}"/>
                </a:ext>
              </a:extLst>
            </p:cNvPr>
            <p:cNvSpPr/>
            <p:nvPr/>
          </p:nvSpPr>
          <p:spPr>
            <a:xfrm>
              <a:off x="5353103" y="4584649"/>
              <a:ext cx="305820" cy="294493"/>
            </a:xfrm>
            <a:custGeom>
              <a:avLst/>
              <a:gdLst>
                <a:gd name="connsiteX0" fmla="*/ 214912 w 305819"/>
                <a:gd name="connsiteY0" fmla="*/ 2730 h 294492"/>
                <a:gd name="connsiteX1" fmla="*/ 194964 w 305819"/>
                <a:gd name="connsiteY1" fmla="*/ 10369 h 294492"/>
                <a:gd name="connsiteX2" fmla="*/ 202604 w 305819"/>
                <a:gd name="connsiteY2" fmla="*/ 30318 h 294492"/>
                <a:gd name="connsiteX3" fmla="*/ 274702 w 305819"/>
                <a:gd name="connsiteY3" fmla="*/ 141379 h 294492"/>
                <a:gd name="connsiteX4" fmla="*/ 153161 w 305819"/>
                <a:gd name="connsiteY4" fmla="*/ 262920 h 294492"/>
                <a:gd name="connsiteX5" fmla="*/ 31620 w 305819"/>
                <a:gd name="connsiteY5" fmla="*/ 141379 h 294492"/>
                <a:gd name="connsiteX6" fmla="*/ 103193 w 305819"/>
                <a:gd name="connsiteY6" fmla="*/ 30546 h 294492"/>
                <a:gd name="connsiteX7" fmla="*/ 110737 w 305819"/>
                <a:gd name="connsiteY7" fmla="*/ 10570 h 294492"/>
                <a:gd name="connsiteX8" fmla="*/ 90760 w 305819"/>
                <a:gd name="connsiteY8" fmla="*/ 3018 h 294492"/>
                <a:gd name="connsiteX9" fmla="*/ 1416 w 305819"/>
                <a:gd name="connsiteY9" fmla="*/ 141379 h 294492"/>
                <a:gd name="connsiteX10" fmla="*/ 153161 w 305819"/>
                <a:gd name="connsiteY10" fmla="*/ 293124 h 294492"/>
                <a:gd name="connsiteX11" fmla="*/ 304906 w 305819"/>
                <a:gd name="connsiteY11" fmla="*/ 141379 h 294492"/>
                <a:gd name="connsiteX12" fmla="*/ 214912 w 305819"/>
                <a:gd name="connsiteY12" fmla="*/ 2730 h 294492"/>
                <a:gd name="connsiteX13" fmla="*/ 214912 w 305819"/>
                <a:gd name="connsiteY13" fmla="*/ 2730 h 294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19" h="294492">
                  <a:moveTo>
                    <a:pt x="214912" y="2730"/>
                  </a:moveTo>
                  <a:cubicBezTo>
                    <a:pt x="207295" y="-668"/>
                    <a:pt x="198364" y="2752"/>
                    <a:pt x="194964" y="10369"/>
                  </a:cubicBezTo>
                  <a:cubicBezTo>
                    <a:pt x="191566" y="17989"/>
                    <a:pt x="194986" y="26918"/>
                    <a:pt x="202604" y="30318"/>
                  </a:cubicBezTo>
                  <a:cubicBezTo>
                    <a:pt x="246398" y="49850"/>
                    <a:pt x="274702" y="93447"/>
                    <a:pt x="274702" y="141379"/>
                  </a:cubicBezTo>
                  <a:cubicBezTo>
                    <a:pt x="274702" y="208403"/>
                    <a:pt x="220177" y="262920"/>
                    <a:pt x="153161" y="262920"/>
                  </a:cubicBezTo>
                  <a:cubicBezTo>
                    <a:pt x="86145" y="262920"/>
                    <a:pt x="31620" y="208403"/>
                    <a:pt x="31620" y="141379"/>
                  </a:cubicBezTo>
                  <a:cubicBezTo>
                    <a:pt x="31620" y="93690"/>
                    <a:pt x="59716" y="50183"/>
                    <a:pt x="103193" y="30546"/>
                  </a:cubicBezTo>
                  <a:cubicBezTo>
                    <a:pt x="110795" y="27116"/>
                    <a:pt x="114173" y="18172"/>
                    <a:pt x="110737" y="10570"/>
                  </a:cubicBezTo>
                  <a:cubicBezTo>
                    <a:pt x="107309" y="2966"/>
                    <a:pt x="98357" y="-412"/>
                    <a:pt x="90760" y="3018"/>
                  </a:cubicBezTo>
                  <a:cubicBezTo>
                    <a:pt x="36487" y="27537"/>
                    <a:pt x="1416" y="81841"/>
                    <a:pt x="1416" y="141379"/>
                  </a:cubicBezTo>
                  <a:cubicBezTo>
                    <a:pt x="1416" y="225053"/>
                    <a:pt x="69487" y="293124"/>
                    <a:pt x="153161" y="293124"/>
                  </a:cubicBezTo>
                  <a:cubicBezTo>
                    <a:pt x="236835" y="293124"/>
                    <a:pt x="304906" y="225053"/>
                    <a:pt x="304906" y="141379"/>
                  </a:cubicBezTo>
                  <a:cubicBezTo>
                    <a:pt x="304906" y="81539"/>
                    <a:pt x="269576" y="27110"/>
                    <a:pt x="214912" y="2730"/>
                  </a:cubicBezTo>
                  <a:lnTo>
                    <a:pt x="214912" y="27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1" name="Полилиния: фигура 170">
              <a:extLst>
                <a:ext uri="{FF2B5EF4-FFF2-40B4-BE49-F238E27FC236}">
                  <a16:creationId xmlns:a16="http://schemas.microsoft.com/office/drawing/2014/main" id="{F2BE4A27-E98B-423F-B15D-C8B13E0CF2E5}"/>
                </a:ext>
              </a:extLst>
            </p:cNvPr>
            <p:cNvSpPr/>
            <p:nvPr/>
          </p:nvSpPr>
          <p:spPr>
            <a:xfrm>
              <a:off x="5489746" y="4572867"/>
              <a:ext cx="32092" cy="32092"/>
            </a:xfrm>
            <a:custGeom>
              <a:avLst/>
              <a:gdLst>
                <a:gd name="connsiteX0" fmla="*/ 17056 w 32092"/>
                <a:gd name="connsiteY0" fmla="*/ 1416 h 32092"/>
                <a:gd name="connsiteX1" fmla="*/ 16518 w 32092"/>
                <a:gd name="connsiteY1" fmla="*/ 1416 h 32092"/>
                <a:gd name="connsiteX2" fmla="*/ 1416 w 32092"/>
                <a:gd name="connsiteY2" fmla="*/ 16518 h 32092"/>
                <a:gd name="connsiteX3" fmla="*/ 16518 w 32092"/>
                <a:gd name="connsiteY3" fmla="*/ 31620 h 32092"/>
                <a:gd name="connsiteX4" fmla="*/ 16990 w 32092"/>
                <a:gd name="connsiteY4" fmla="*/ 31620 h 32092"/>
                <a:gd name="connsiteX5" fmla="*/ 32085 w 32092"/>
                <a:gd name="connsiteY5" fmla="*/ 16592 h 32092"/>
                <a:gd name="connsiteX6" fmla="*/ 17056 w 32092"/>
                <a:gd name="connsiteY6" fmla="*/ 1416 h 32092"/>
                <a:gd name="connsiteX7" fmla="*/ 17056 w 32092"/>
                <a:gd name="connsiteY7" fmla="*/ 1416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092" h="32092">
                  <a:moveTo>
                    <a:pt x="17056" y="1416"/>
                  </a:moveTo>
                  <a:lnTo>
                    <a:pt x="16518" y="1416"/>
                  </a:lnTo>
                  <a:cubicBezTo>
                    <a:pt x="8178" y="1416"/>
                    <a:pt x="1416" y="8178"/>
                    <a:pt x="1416" y="16518"/>
                  </a:cubicBezTo>
                  <a:cubicBezTo>
                    <a:pt x="1416" y="24858"/>
                    <a:pt x="8178" y="31620"/>
                    <a:pt x="16518" y="31620"/>
                  </a:cubicBezTo>
                  <a:lnTo>
                    <a:pt x="16990" y="31620"/>
                  </a:lnTo>
                  <a:cubicBezTo>
                    <a:pt x="25292" y="31620"/>
                    <a:pt x="32047" y="24902"/>
                    <a:pt x="32085" y="16592"/>
                  </a:cubicBezTo>
                  <a:cubicBezTo>
                    <a:pt x="32128" y="8251"/>
                    <a:pt x="25396" y="1454"/>
                    <a:pt x="17056" y="1416"/>
                  </a:cubicBezTo>
                  <a:lnTo>
                    <a:pt x="17056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2" name="Полилиния: фигура 171">
              <a:extLst>
                <a:ext uri="{FF2B5EF4-FFF2-40B4-BE49-F238E27FC236}">
                  <a16:creationId xmlns:a16="http://schemas.microsoft.com/office/drawing/2014/main" id="{C0DA5646-1741-469C-A0FA-A234B3DB3343}"/>
                </a:ext>
              </a:extLst>
            </p:cNvPr>
            <p:cNvSpPr/>
            <p:nvPr/>
          </p:nvSpPr>
          <p:spPr>
            <a:xfrm>
              <a:off x="5489746" y="5255491"/>
              <a:ext cx="32092" cy="32092"/>
            </a:xfrm>
            <a:custGeom>
              <a:avLst/>
              <a:gdLst>
                <a:gd name="connsiteX0" fmla="*/ 27195 w 32092"/>
                <a:gd name="connsiteY0" fmla="*/ 5839 h 32092"/>
                <a:gd name="connsiteX1" fmla="*/ 16518 w 32092"/>
                <a:gd name="connsiteY1" fmla="*/ 1416 h 32092"/>
                <a:gd name="connsiteX2" fmla="*/ 5841 w 32092"/>
                <a:gd name="connsiteY2" fmla="*/ 5839 h 32092"/>
                <a:gd name="connsiteX3" fmla="*/ 1416 w 32092"/>
                <a:gd name="connsiteY3" fmla="*/ 16518 h 32092"/>
                <a:gd name="connsiteX4" fmla="*/ 5841 w 32092"/>
                <a:gd name="connsiteY4" fmla="*/ 27195 h 32092"/>
                <a:gd name="connsiteX5" fmla="*/ 16518 w 32092"/>
                <a:gd name="connsiteY5" fmla="*/ 31620 h 32092"/>
                <a:gd name="connsiteX6" fmla="*/ 27195 w 32092"/>
                <a:gd name="connsiteY6" fmla="*/ 27195 h 32092"/>
                <a:gd name="connsiteX7" fmla="*/ 31620 w 32092"/>
                <a:gd name="connsiteY7" fmla="*/ 16518 h 32092"/>
                <a:gd name="connsiteX8" fmla="*/ 27195 w 32092"/>
                <a:gd name="connsiteY8" fmla="*/ 5839 h 32092"/>
                <a:gd name="connsiteX9" fmla="*/ 27195 w 32092"/>
                <a:gd name="connsiteY9" fmla="*/ 5839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092" h="32092">
                  <a:moveTo>
                    <a:pt x="27195" y="5839"/>
                  </a:moveTo>
                  <a:cubicBezTo>
                    <a:pt x="24386" y="3030"/>
                    <a:pt x="20484" y="1416"/>
                    <a:pt x="16518" y="1416"/>
                  </a:cubicBezTo>
                  <a:cubicBezTo>
                    <a:pt x="12542" y="1416"/>
                    <a:pt x="8650" y="3030"/>
                    <a:pt x="5841" y="5839"/>
                  </a:cubicBezTo>
                  <a:cubicBezTo>
                    <a:pt x="3030" y="8650"/>
                    <a:pt x="1416" y="12542"/>
                    <a:pt x="1416" y="16518"/>
                  </a:cubicBezTo>
                  <a:cubicBezTo>
                    <a:pt x="1416" y="20484"/>
                    <a:pt x="3030" y="24386"/>
                    <a:pt x="5841" y="27195"/>
                  </a:cubicBezTo>
                  <a:cubicBezTo>
                    <a:pt x="8650" y="29997"/>
                    <a:pt x="12542" y="31620"/>
                    <a:pt x="16518" y="31620"/>
                  </a:cubicBezTo>
                  <a:cubicBezTo>
                    <a:pt x="20484" y="31620"/>
                    <a:pt x="24386" y="29997"/>
                    <a:pt x="27195" y="27195"/>
                  </a:cubicBezTo>
                  <a:cubicBezTo>
                    <a:pt x="29997" y="24386"/>
                    <a:pt x="31620" y="20484"/>
                    <a:pt x="31620" y="16518"/>
                  </a:cubicBezTo>
                  <a:cubicBezTo>
                    <a:pt x="31620" y="12542"/>
                    <a:pt x="30004" y="8650"/>
                    <a:pt x="27195" y="5839"/>
                  </a:cubicBezTo>
                  <a:lnTo>
                    <a:pt x="27195" y="58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2" name="Рисунок 19">
            <a:extLst>
              <a:ext uri="{FF2B5EF4-FFF2-40B4-BE49-F238E27FC236}">
                <a16:creationId xmlns:a16="http://schemas.microsoft.com/office/drawing/2014/main" id="{AA4D62BF-A2B3-4FAF-9D45-A7ACC6A16B78}"/>
              </a:ext>
            </a:extLst>
          </p:cNvPr>
          <p:cNvGrpSpPr/>
          <p:nvPr/>
        </p:nvGrpSpPr>
        <p:grpSpPr>
          <a:xfrm>
            <a:off x="6837788" y="5291210"/>
            <a:ext cx="365110" cy="365110"/>
            <a:chOff x="404739" y="4574283"/>
            <a:chExt cx="773988" cy="773988"/>
          </a:xfrm>
          <a:solidFill>
            <a:schemeClr val="bg1"/>
          </a:solidFill>
        </p:grpSpPr>
        <p:sp>
          <p:nvSpPr>
            <p:cNvPr id="86" name="Полилиния: фигура 85">
              <a:extLst>
                <a:ext uri="{FF2B5EF4-FFF2-40B4-BE49-F238E27FC236}">
                  <a16:creationId xmlns:a16="http://schemas.microsoft.com/office/drawing/2014/main" id="{4B484FCC-2F7F-44BA-A191-820772CD8CE9}"/>
                </a:ext>
              </a:extLst>
            </p:cNvPr>
            <p:cNvSpPr/>
            <p:nvPr/>
          </p:nvSpPr>
          <p:spPr>
            <a:xfrm>
              <a:off x="403323" y="4572867"/>
              <a:ext cx="775876" cy="775876"/>
            </a:xfrm>
            <a:custGeom>
              <a:avLst/>
              <a:gdLst>
                <a:gd name="connsiteX0" fmla="*/ 661414 w 775875"/>
                <a:gd name="connsiteY0" fmla="*/ 114652 h 775875"/>
                <a:gd name="connsiteX1" fmla="*/ 388034 w 775875"/>
                <a:gd name="connsiteY1" fmla="*/ 1416 h 775875"/>
                <a:gd name="connsiteX2" fmla="*/ 114652 w 775875"/>
                <a:gd name="connsiteY2" fmla="*/ 114652 h 775875"/>
                <a:gd name="connsiteX3" fmla="*/ 1416 w 775875"/>
                <a:gd name="connsiteY3" fmla="*/ 388034 h 775875"/>
                <a:gd name="connsiteX4" fmla="*/ 114652 w 775875"/>
                <a:gd name="connsiteY4" fmla="*/ 661407 h 775875"/>
                <a:gd name="connsiteX5" fmla="*/ 388034 w 775875"/>
                <a:gd name="connsiteY5" fmla="*/ 774653 h 775875"/>
                <a:gd name="connsiteX6" fmla="*/ 661414 w 775875"/>
                <a:gd name="connsiteY6" fmla="*/ 661407 h 775875"/>
                <a:gd name="connsiteX7" fmla="*/ 774653 w 775875"/>
                <a:gd name="connsiteY7" fmla="*/ 388034 h 775875"/>
                <a:gd name="connsiteX8" fmla="*/ 661414 w 775875"/>
                <a:gd name="connsiteY8" fmla="*/ 114652 h 775875"/>
                <a:gd name="connsiteX9" fmla="*/ 661414 w 775875"/>
                <a:gd name="connsiteY9" fmla="*/ 114652 h 775875"/>
                <a:gd name="connsiteX10" fmla="*/ 388034 w 775875"/>
                <a:gd name="connsiteY10" fmla="*/ 744448 h 775875"/>
                <a:gd name="connsiteX11" fmla="*/ 31620 w 775875"/>
                <a:gd name="connsiteY11" fmla="*/ 388034 h 775875"/>
                <a:gd name="connsiteX12" fmla="*/ 388034 w 775875"/>
                <a:gd name="connsiteY12" fmla="*/ 31620 h 775875"/>
                <a:gd name="connsiteX13" fmla="*/ 744448 w 775875"/>
                <a:gd name="connsiteY13" fmla="*/ 388034 h 775875"/>
                <a:gd name="connsiteX14" fmla="*/ 388034 w 775875"/>
                <a:gd name="connsiteY14" fmla="*/ 744448 h 775875"/>
                <a:gd name="connsiteX15" fmla="*/ 388034 w 775875"/>
                <a:gd name="connsiteY15" fmla="*/ 744448 h 77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75875" h="775875">
                  <a:moveTo>
                    <a:pt x="661414" y="114652"/>
                  </a:moveTo>
                  <a:cubicBezTo>
                    <a:pt x="588389" y="41627"/>
                    <a:pt x="491301" y="1416"/>
                    <a:pt x="388034" y="1416"/>
                  </a:cubicBezTo>
                  <a:cubicBezTo>
                    <a:pt x="284767" y="1416"/>
                    <a:pt x="187679" y="41627"/>
                    <a:pt x="114652" y="114652"/>
                  </a:cubicBezTo>
                  <a:cubicBezTo>
                    <a:pt x="41635" y="187679"/>
                    <a:pt x="1416" y="284767"/>
                    <a:pt x="1416" y="388034"/>
                  </a:cubicBezTo>
                  <a:cubicBezTo>
                    <a:pt x="1416" y="491301"/>
                    <a:pt x="41635" y="588389"/>
                    <a:pt x="114652" y="661407"/>
                  </a:cubicBezTo>
                  <a:cubicBezTo>
                    <a:pt x="187679" y="734433"/>
                    <a:pt x="284767" y="774653"/>
                    <a:pt x="388034" y="774653"/>
                  </a:cubicBezTo>
                  <a:cubicBezTo>
                    <a:pt x="491301" y="774653"/>
                    <a:pt x="588389" y="734433"/>
                    <a:pt x="661414" y="661407"/>
                  </a:cubicBezTo>
                  <a:cubicBezTo>
                    <a:pt x="734433" y="588389"/>
                    <a:pt x="774653" y="491301"/>
                    <a:pt x="774653" y="388034"/>
                  </a:cubicBezTo>
                  <a:cubicBezTo>
                    <a:pt x="774653" y="284767"/>
                    <a:pt x="734433" y="187679"/>
                    <a:pt x="661414" y="114652"/>
                  </a:cubicBezTo>
                  <a:lnTo>
                    <a:pt x="661414" y="114652"/>
                  </a:lnTo>
                  <a:close/>
                  <a:moveTo>
                    <a:pt x="388034" y="744448"/>
                  </a:moveTo>
                  <a:cubicBezTo>
                    <a:pt x="191505" y="744448"/>
                    <a:pt x="31620" y="584561"/>
                    <a:pt x="31620" y="388034"/>
                  </a:cubicBezTo>
                  <a:cubicBezTo>
                    <a:pt x="31620" y="191505"/>
                    <a:pt x="191505" y="31620"/>
                    <a:pt x="388034" y="31620"/>
                  </a:cubicBezTo>
                  <a:cubicBezTo>
                    <a:pt x="584561" y="31620"/>
                    <a:pt x="744448" y="191505"/>
                    <a:pt x="744448" y="388034"/>
                  </a:cubicBezTo>
                  <a:cubicBezTo>
                    <a:pt x="744448" y="584561"/>
                    <a:pt x="584561" y="744448"/>
                    <a:pt x="388034" y="744448"/>
                  </a:cubicBezTo>
                  <a:lnTo>
                    <a:pt x="388034" y="7444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: фигура 86">
              <a:extLst>
                <a:ext uri="{FF2B5EF4-FFF2-40B4-BE49-F238E27FC236}">
                  <a16:creationId xmlns:a16="http://schemas.microsoft.com/office/drawing/2014/main" id="{94B5DC2B-DCB9-4806-90C8-EA6601632632}"/>
                </a:ext>
              </a:extLst>
            </p:cNvPr>
            <p:cNvSpPr/>
            <p:nvPr/>
          </p:nvSpPr>
          <p:spPr>
            <a:xfrm>
              <a:off x="898357" y="4658762"/>
              <a:ext cx="213319" cy="258625"/>
            </a:xfrm>
            <a:custGeom>
              <a:avLst/>
              <a:gdLst>
                <a:gd name="connsiteX0" fmla="*/ 213317 w 213318"/>
                <a:gd name="connsiteY0" fmla="*/ 240153 h 258625"/>
                <a:gd name="connsiteX1" fmla="*/ 22519 w 213318"/>
                <a:gd name="connsiteY1" fmla="*/ 2661 h 258625"/>
                <a:gd name="connsiteX2" fmla="*/ 2661 w 213318"/>
                <a:gd name="connsiteY2" fmla="*/ 10522 h 258625"/>
                <a:gd name="connsiteX3" fmla="*/ 10522 w 213318"/>
                <a:gd name="connsiteY3" fmla="*/ 30381 h 258625"/>
                <a:gd name="connsiteX4" fmla="*/ 183660 w 213318"/>
                <a:gd name="connsiteY4" fmla="*/ 245860 h 258625"/>
                <a:gd name="connsiteX5" fmla="*/ 198473 w 213318"/>
                <a:gd name="connsiteY5" fmla="*/ 258109 h 258625"/>
                <a:gd name="connsiteX6" fmla="*/ 201342 w 213318"/>
                <a:gd name="connsiteY6" fmla="*/ 257836 h 258625"/>
                <a:gd name="connsiteX7" fmla="*/ 213317 w 213318"/>
                <a:gd name="connsiteY7" fmla="*/ 240153 h 258625"/>
                <a:gd name="connsiteX8" fmla="*/ 213317 w 213318"/>
                <a:gd name="connsiteY8" fmla="*/ 240153 h 25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318" h="258625">
                  <a:moveTo>
                    <a:pt x="213317" y="240153"/>
                  </a:moveTo>
                  <a:cubicBezTo>
                    <a:pt x="192964" y="134364"/>
                    <a:pt x="121635" y="45585"/>
                    <a:pt x="22519" y="2661"/>
                  </a:cubicBezTo>
                  <a:cubicBezTo>
                    <a:pt x="14864" y="-650"/>
                    <a:pt x="5973" y="2869"/>
                    <a:pt x="2661" y="10522"/>
                  </a:cubicBezTo>
                  <a:cubicBezTo>
                    <a:pt x="-650" y="18169"/>
                    <a:pt x="2867" y="27063"/>
                    <a:pt x="10522" y="30381"/>
                  </a:cubicBezTo>
                  <a:cubicBezTo>
                    <a:pt x="100463" y="69332"/>
                    <a:pt x="165193" y="149885"/>
                    <a:pt x="183660" y="245860"/>
                  </a:cubicBezTo>
                  <a:cubicBezTo>
                    <a:pt x="185053" y="253078"/>
                    <a:pt x="191379" y="258109"/>
                    <a:pt x="198473" y="258109"/>
                  </a:cubicBezTo>
                  <a:cubicBezTo>
                    <a:pt x="199417" y="258109"/>
                    <a:pt x="200383" y="258021"/>
                    <a:pt x="201342" y="257836"/>
                  </a:cubicBezTo>
                  <a:cubicBezTo>
                    <a:pt x="209535" y="256257"/>
                    <a:pt x="214895" y="248338"/>
                    <a:pt x="213317" y="240153"/>
                  </a:cubicBezTo>
                  <a:lnTo>
                    <a:pt x="213317" y="24015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: фигура 87">
              <a:extLst>
                <a:ext uri="{FF2B5EF4-FFF2-40B4-BE49-F238E27FC236}">
                  <a16:creationId xmlns:a16="http://schemas.microsoft.com/office/drawing/2014/main" id="{21121B52-ED7A-42F9-AACF-E5199912595F}"/>
                </a:ext>
              </a:extLst>
            </p:cNvPr>
            <p:cNvSpPr/>
            <p:nvPr/>
          </p:nvSpPr>
          <p:spPr>
            <a:xfrm>
              <a:off x="841380" y="4640404"/>
              <a:ext cx="32092" cy="32092"/>
            </a:xfrm>
            <a:custGeom>
              <a:avLst/>
              <a:gdLst>
                <a:gd name="connsiteX0" fmla="*/ 20097 w 32092"/>
                <a:gd name="connsiteY0" fmla="*/ 1846 h 32092"/>
                <a:gd name="connsiteX1" fmla="*/ 19698 w 32092"/>
                <a:gd name="connsiteY1" fmla="*/ 1757 h 32092"/>
                <a:gd name="connsiteX2" fmla="*/ 1757 w 32092"/>
                <a:gd name="connsiteY2" fmla="*/ 13343 h 32092"/>
                <a:gd name="connsiteX3" fmla="*/ 13342 w 32092"/>
                <a:gd name="connsiteY3" fmla="*/ 31284 h 32092"/>
                <a:gd name="connsiteX4" fmla="*/ 13520 w 32092"/>
                <a:gd name="connsiteY4" fmla="*/ 31328 h 32092"/>
                <a:gd name="connsiteX5" fmla="*/ 16823 w 32092"/>
                <a:gd name="connsiteY5" fmla="*/ 31688 h 32092"/>
                <a:gd name="connsiteX6" fmla="*/ 31542 w 32092"/>
                <a:gd name="connsiteY6" fmla="*/ 19876 h 32092"/>
                <a:gd name="connsiteX7" fmla="*/ 20097 w 32092"/>
                <a:gd name="connsiteY7" fmla="*/ 1846 h 32092"/>
                <a:gd name="connsiteX8" fmla="*/ 20097 w 32092"/>
                <a:gd name="connsiteY8" fmla="*/ 1846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092" h="32092">
                  <a:moveTo>
                    <a:pt x="20097" y="1846"/>
                  </a:moveTo>
                  <a:lnTo>
                    <a:pt x="19698" y="1757"/>
                  </a:lnTo>
                  <a:cubicBezTo>
                    <a:pt x="11551" y="2"/>
                    <a:pt x="3512" y="5186"/>
                    <a:pt x="1757" y="13343"/>
                  </a:cubicBezTo>
                  <a:cubicBezTo>
                    <a:pt x="3" y="21498"/>
                    <a:pt x="5187" y="29529"/>
                    <a:pt x="13342" y="31284"/>
                  </a:cubicBezTo>
                  <a:lnTo>
                    <a:pt x="13520" y="31328"/>
                  </a:lnTo>
                  <a:cubicBezTo>
                    <a:pt x="14626" y="31571"/>
                    <a:pt x="15732" y="31688"/>
                    <a:pt x="16823" y="31688"/>
                  </a:cubicBezTo>
                  <a:cubicBezTo>
                    <a:pt x="23740" y="31688"/>
                    <a:pt x="29979" y="26903"/>
                    <a:pt x="31542" y="19876"/>
                  </a:cubicBezTo>
                  <a:cubicBezTo>
                    <a:pt x="33364" y="11734"/>
                    <a:pt x="28239" y="3660"/>
                    <a:pt x="20097" y="1846"/>
                  </a:cubicBezTo>
                  <a:lnTo>
                    <a:pt x="20097" y="18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: фигура 88">
              <a:extLst>
                <a:ext uri="{FF2B5EF4-FFF2-40B4-BE49-F238E27FC236}">
                  <a16:creationId xmlns:a16="http://schemas.microsoft.com/office/drawing/2014/main" id="{D6DF06F5-9521-4270-87D5-6799289F2FA7}"/>
                </a:ext>
              </a:extLst>
            </p:cNvPr>
            <p:cNvSpPr/>
            <p:nvPr/>
          </p:nvSpPr>
          <p:spPr>
            <a:xfrm>
              <a:off x="469341" y="5003512"/>
              <a:ext cx="217094" cy="260513"/>
            </a:xfrm>
            <a:custGeom>
              <a:avLst/>
              <a:gdLst>
                <a:gd name="connsiteX0" fmla="*/ 207908 w 217094"/>
                <a:gd name="connsiteY0" fmla="*/ 230599 h 260513"/>
                <a:gd name="connsiteX1" fmla="*/ 31350 w 217094"/>
                <a:gd name="connsiteY1" fmla="*/ 13667 h 260513"/>
                <a:gd name="connsiteX2" fmla="*/ 13667 w 217094"/>
                <a:gd name="connsiteY2" fmla="*/ 1693 h 260513"/>
                <a:gd name="connsiteX3" fmla="*/ 1691 w 217094"/>
                <a:gd name="connsiteY3" fmla="*/ 19376 h 260513"/>
                <a:gd name="connsiteX4" fmla="*/ 69555 w 217094"/>
                <a:gd name="connsiteY4" fmla="*/ 163982 h 260513"/>
                <a:gd name="connsiteX5" fmla="*/ 196251 w 217094"/>
                <a:gd name="connsiteY5" fmla="*/ 258467 h 260513"/>
                <a:gd name="connsiteX6" fmla="*/ 202077 w 217094"/>
                <a:gd name="connsiteY6" fmla="*/ 259639 h 260513"/>
                <a:gd name="connsiteX7" fmla="*/ 216012 w 217094"/>
                <a:gd name="connsiteY7" fmla="*/ 250362 h 260513"/>
                <a:gd name="connsiteX8" fmla="*/ 207908 w 217094"/>
                <a:gd name="connsiteY8" fmla="*/ 230599 h 260513"/>
                <a:gd name="connsiteX9" fmla="*/ 207908 w 217094"/>
                <a:gd name="connsiteY9" fmla="*/ 230599 h 260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094" h="260513">
                  <a:moveTo>
                    <a:pt x="207908" y="230599"/>
                  </a:moveTo>
                  <a:cubicBezTo>
                    <a:pt x="116109" y="192209"/>
                    <a:pt x="50103" y="111116"/>
                    <a:pt x="31350" y="13667"/>
                  </a:cubicBezTo>
                  <a:cubicBezTo>
                    <a:pt x="29780" y="5482"/>
                    <a:pt x="21868" y="108"/>
                    <a:pt x="13667" y="1693"/>
                  </a:cubicBezTo>
                  <a:cubicBezTo>
                    <a:pt x="5474" y="3270"/>
                    <a:pt x="113" y="11191"/>
                    <a:pt x="1691" y="19376"/>
                  </a:cubicBezTo>
                  <a:cubicBezTo>
                    <a:pt x="11853" y="72188"/>
                    <a:pt x="35318" y="122194"/>
                    <a:pt x="69555" y="163982"/>
                  </a:cubicBezTo>
                  <a:cubicBezTo>
                    <a:pt x="103388" y="205277"/>
                    <a:pt x="147205" y="237952"/>
                    <a:pt x="196251" y="258467"/>
                  </a:cubicBezTo>
                  <a:cubicBezTo>
                    <a:pt x="198160" y="259263"/>
                    <a:pt x="200129" y="259639"/>
                    <a:pt x="202077" y="259639"/>
                  </a:cubicBezTo>
                  <a:cubicBezTo>
                    <a:pt x="207984" y="259639"/>
                    <a:pt x="213594" y="256150"/>
                    <a:pt x="216012" y="250362"/>
                  </a:cubicBezTo>
                  <a:cubicBezTo>
                    <a:pt x="219229" y="242664"/>
                    <a:pt x="215601" y="233814"/>
                    <a:pt x="207908" y="230599"/>
                  </a:cubicBezTo>
                  <a:lnTo>
                    <a:pt x="207908" y="2305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Полилиния: фигура 89">
              <a:extLst>
                <a:ext uri="{FF2B5EF4-FFF2-40B4-BE49-F238E27FC236}">
                  <a16:creationId xmlns:a16="http://schemas.microsoft.com/office/drawing/2014/main" id="{41B95168-D7D8-4162-8BF6-D915084E15AE}"/>
                </a:ext>
              </a:extLst>
            </p:cNvPr>
            <p:cNvSpPr/>
            <p:nvPr/>
          </p:nvSpPr>
          <p:spPr>
            <a:xfrm>
              <a:off x="707291" y="5248134"/>
              <a:ext cx="33980" cy="32092"/>
            </a:xfrm>
            <a:custGeom>
              <a:avLst/>
              <a:gdLst>
                <a:gd name="connsiteX0" fmla="*/ 20737 w 33979"/>
                <a:gd name="connsiteY0" fmla="*/ 1981 h 32092"/>
                <a:gd name="connsiteX1" fmla="*/ 19800 w 33979"/>
                <a:gd name="connsiteY1" fmla="*/ 1780 h 32092"/>
                <a:gd name="connsiteX2" fmla="*/ 1778 w 33979"/>
                <a:gd name="connsiteY2" fmla="*/ 13241 h 32092"/>
                <a:gd name="connsiteX3" fmla="*/ 13252 w 33979"/>
                <a:gd name="connsiteY3" fmla="*/ 31264 h 32092"/>
                <a:gd name="connsiteX4" fmla="*/ 14307 w 33979"/>
                <a:gd name="connsiteY4" fmla="*/ 31492 h 32092"/>
                <a:gd name="connsiteX5" fmla="*/ 17537 w 33979"/>
                <a:gd name="connsiteY5" fmla="*/ 31845 h 32092"/>
                <a:gd name="connsiteX6" fmla="*/ 32277 w 33979"/>
                <a:gd name="connsiteY6" fmla="*/ 19950 h 32092"/>
                <a:gd name="connsiteX7" fmla="*/ 20737 w 33979"/>
                <a:gd name="connsiteY7" fmla="*/ 1981 h 32092"/>
                <a:gd name="connsiteX8" fmla="*/ 20737 w 33979"/>
                <a:gd name="connsiteY8" fmla="*/ 1981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979" h="32092">
                  <a:moveTo>
                    <a:pt x="20737" y="1981"/>
                  </a:moveTo>
                  <a:lnTo>
                    <a:pt x="19800" y="1780"/>
                  </a:lnTo>
                  <a:cubicBezTo>
                    <a:pt x="11666" y="-34"/>
                    <a:pt x="3592" y="5099"/>
                    <a:pt x="1778" y="13241"/>
                  </a:cubicBezTo>
                  <a:cubicBezTo>
                    <a:pt x="-29" y="21381"/>
                    <a:pt x="5104" y="29457"/>
                    <a:pt x="13252" y="31264"/>
                  </a:cubicBezTo>
                  <a:lnTo>
                    <a:pt x="14307" y="31492"/>
                  </a:lnTo>
                  <a:cubicBezTo>
                    <a:pt x="15390" y="31728"/>
                    <a:pt x="16467" y="31845"/>
                    <a:pt x="17537" y="31845"/>
                  </a:cubicBezTo>
                  <a:cubicBezTo>
                    <a:pt x="24482" y="31845"/>
                    <a:pt x="30736" y="27016"/>
                    <a:pt x="32277" y="19950"/>
                  </a:cubicBezTo>
                  <a:cubicBezTo>
                    <a:pt x="34047" y="11803"/>
                    <a:pt x="28884" y="3757"/>
                    <a:pt x="20737" y="1981"/>
                  </a:cubicBezTo>
                  <a:lnTo>
                    <a:pt x="20737" y="19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Полилиния: фигура 90">
              <a:extLst>
                <a:ext uri="{FF2B5EF4-FFF2-40B4-BE49-F238E27FC236}">
                  <a16:creationId xmlns:a16="http://schemas.microsoft.com/office/drawing/2014/main" id="{5F85A4BD-394A-4615-8434-4066847BB71B}"/>
                </a:ext>
              </a:extLst>
            </p:cNvPr>
            <p:cNvSpPr/>
            <p:nvPr/>
          </p:nvSpPr>
          <p:spPr>
            <a:xfrm>
              <a:off x="833970" y="5010923"/>
              <a:ext cx="277503" cy="271840"/>
            </a:xfrm>
            <a:custGeom>
              <a:avLst/>
              <a:gdLst>
                <a:gd name="connsiteX0" fmla="*/ 264570 w 277503"/>
                <a:gd name="connsiteY0" fmla="*/ 1765 h 271839"/>
                <a:gd name="connsiteX1" fmla="*/ 246600 w 277503"/>
                <a:gd name="connsiteY1" fmla="*/ 13307 h 271839"/>
                <a:gd name="connsiteX2" fmla="*/ 13666 w 277503"/>
                <a:gd name="connsiteY2" fmla="*/ 240637 h 271839"/>
                <a:gd name="connsiteX3" fmla="*/ 1691 w 277503"/>
                <a:gd name="connsiteY3" fmla="*/ 258320 h 271839"/>
                <a:gd name="connsiteX4" fmla="*/ 16505 w 277503"/>
                <a:gd name="connsiteY4" fmla="*/ 270575 h 271839"/>
                <a:gd name="connsiteX5" fmla="*/ 19374 w 277503"/>
                <a:gd name="connsiteY5" fmla="*/ 270294 h 271839"/>
                <a:gd name="connsiteX6" fmla="*/ 185336 w 277503"/>
                <a:gd name="connsiteY6" fmla="*/ 183324 h 271839"/>
                <a:gd name="connsiteX7" fmla="*/ 276112 w 277503"/>
                <a:gd name="connsiteY7" fmla="*/ 19737 h 271839"/>
                <a:gd name="connsiteX8" fmla="*/ 264570 w 277503"/>
                <a:gd name="connsiteY8" fmla="*/ 1765 h 271839"/>
                <a:gd name="connsiteX9" fmla="*/ 264570 w 277503"/>
                <a:gd name="connsiteY9" fmla="*/ 1765 h 271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503" h="271839">
                  <a:moveTo>
                    <a:pt x="264570" y="1765"/>
                  </a:moveTo>
                  <a:cubicBezTo>
                    <a:pt x="256430" y="-11"/>
                    <a:pt x="248377" y="5158"/>
                    <a:pt x="246600" y="13307"/>
                  </a:cubicBezTo>
                  <a:cubicBezTo>
                    <a:pt x="221381" y="129028"/>
                    <a:pt x="129949" y="218263"/>
                    <a:pt x="13666" y="240637"/>
                  </a:cubicBezTo>
                  <a:cubicBezTo>
                    <a:pt x="5473" y="242213"/>
                    <a:pt x="113" y="250134"/>
                    <a:pt x="1691" y="258320"/>
                  </a:cubicBezTo>
                  <a:cubicBezTo>
                    <a:pt x="3077" y="265546"/>
                    <a:pt x="9411" y="270575"/>
                    <a:pt x="16505" y="270575"/>
                  </a:cubicBezTo>
                  <a:cubicBezTo>
                    <a:pt x="17449" y="270575"/>
                    <a:pt x="18415" y="270486"/>
                    <a:pt x="19374" y="270294"/>
                  </a:cubicBezTo>
                  <a:cubicBezTo>
                    <a:pt x="82054" y="258239"/>
                    <a:pt x="139439" y="228159"/>
                    <a:pt x="185336" y="183324"/>
                  </a:cubicBezTo>
                  <a:cubicBezTo>
                    <a:pt x="231158" y="138556"/>
                    <a:pt x="262550" y="81988"/>
                    <a:pt x="276112" y="19737"/>
                  </a:cubicBezTo>
                  <a:cubicBezTo>
                    <a:pt x="277888" y="11587"/>
                    <a:pt x="272719" y="3544"/>
                    <a:pt x="264570" y="1765"/>
                  </a:cubicBezTo>
                  <a:lnTo>
                    <a:pt x="264570" y="176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: фигура 91">
              <a:extLst>
                <a:ext uri="{FF2B5EF4-FFF2-40B4-BE49-F238E27FC236}">
                  <a16:creationId xmlns:a16="http://schemas.microsoft.com/office/drawing/2014/main" id="{2EB8448D-A3D4-4BB0-840D-F33FCA91409E}"/>
                </a:ext>
              </a:extLst>
            </p:cNvPr>
            <p:cNvSpPr/>
            <p:nvPr/>
          </p:nvSpPr>
          <p:spPr>
            <a:xfrm>
              <a:off x="470862" y="4638883"/>
              <a:ext cx="277503" cy="271840"/>
            </a:xfrm>
            <a:custGeom>
              <a:avLst/>
              <a:gdLst>
                <a:gd name="connsiteX0" fmla="*/ 276184 w 277503"/>
                <a:gd name="connsiteY0" fmla="*/ 13669 h 271839"/>
                <a:gd name="connsiteX1" fmla="*/ 258501 w 277503"/>
                <a:gd name="connsiteY1" fmla="*/ 1693 h 271839"/>
                <a:gd name="connsiteX2" fmla="*/ 92539 w 277503"/>
                <a:gd name="connsiteY2" fmla="*/ 88671 h 271839"/>
                <a:gd name="connsiteX3" fmla="*/ 1764 w 277503"/>
                <a:gd name="connsiteY3" fmla="*/ 252260 h 271839"/>
                <a:gd name="connsiteX4" fmla="*/ 13304 w 277503"/>
                <a:gd name="connsiteY4" fmla="*/ 270229 h 271839"/>
                <a:gd name="connsiteX5" fmla="*/ 16534 w 277503"/>
                <a:gd name="connsiteY5" fmla="*/ 270577 h 271839"/>
                <a:gd name="connsiteX6" fmla="*/ 31275 w 277503"/>
                <a:gd name="connsiteY6" fmla="*/ 258689 h 271839"/>
                <a:gd name="connsiteX7" fmla="*/ 264208 w 277503"/>
                <a:gd name="connsiteY7" fmla="*/ 31352 h 271839"/>
                <a:gd name="connsiteX8" fmla="*/ 276184 w 277503"/>
                <a:gd name="connsiteY8" fmla="*/ 13669 h 271839"/>
                <a:gd name="connsiteX9" fmla="*/ 276184 w 277503"/>
                <a:gd name="connsiteY9" fmla="*/ 13669 h 271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503" h="271839">
                  <a:moveTo>
                    <a:pt x="276184" y="13669"/>
                  </a:moveTo>
                  <a:cubicBezTo>
                    <a:pt x="274613" y="5484"/>
                    <a:pt x="266694" y="107"/>
                    <a:pt x="258501" y="1693"/>
                  </a:cubicBezTo>
                  <a:cubicBezTo>
                    <a:pt x="195829" y="13758"/>
                    <a:pt x="138435" y="43828"/>
                    <a:pt x="92539" y="88671"/>
                  </a:cubicBezTo>
                  <a:cubicBezTo>
                    <a:pt x="46715" y="133439"/>
                    <a:pt x="15325" y="190006"/>
                    <a:pt x="1764" y="252260"/>
                  </a:cubicBezTo>
                  <a:cubicBezTo>
                    <a:pt x="-7" y="260407"/>
                    <a:pt x="5156" y="268453"/>
                    <a:pt x="13304" y="270229"/>
                  </a:cubicBezTo>
                  <a:cubicBezTo>
                    <a:pt x="14387" y="270465"/>
                    <a:pt x="15473" y="270577"/>
                    <a:pt x="16534" y="270577"/>
                  </a:cubicBezTo>
                  <a:cubicBezTo>
                    <a:pt x="23488" y="270577"/>
                    <a:pt x="29741" y="265753"/>
                    <a:pt x="31275" y="258689"/>
                  </a:cubicBezTo>
                  <a:cubicBezTo>
                    <a:pt x="56494" y="142967"/>
                    <a:pt x="147927" y="53733"/>
                    <a:pt x="264208" y="31352"/>
                  </a:cubicBezTo>
                  <a:cubicBezTo>
                    <a:pt x="272401" y="29781"/>
                    <a:pt x="277762" y="21862"/>
                    <a:pt x="276184" y="13669"/>
                  </a:cubicBezTo>
                  <a:lnTo>
                    <a:pt x="276184" y="136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: фигура 92">
              <a:extLst>
                <a:ext uri="{FF2B5EF4-FFF2-40B4-BE49-F238E27FC236}">
                  <a16:creationId xmlns:a16="http://schemas.microsoft.com/office/drawing/2014/main" id="{2590646A-A21E-4753-893D-F6AD970D1AE7}"/>
                </a:ext>
              </a:extLst>
            </p:cNvPr>
            <p:cNvSpPr/>
            <p:nvPr/>
          </p:nvSpPr>
          <p:spPr>
            <a:xfrm>
              <a:off x="738596" y="4908140"/>
              <a:ext cx="103828" cy="103828"/>
            </a:xfrm>
            <a:custGeom>
              <a:avLst/>
              <a:gdLst>
                <a:gd name="connsiteX0" fmla="*/ 52761 w 103827"/>
                <a:gd name="connsiteY0" fmla="*/ 1416 h 103827"/>
                <a:gd name="connsiteX1" fmla="*/ 1416 w 103827"/>
                <a:gd name="connsiteY1" fmla="*/ 52761 h 103827"/>
                <a:gd name="connsiteX2" fmla="*/ 52761 w 103827"/>
                <a:gd name="connsiteY2" fmla="*/ 104107 h 103827"/>
                <a:gd name="connsiteX3" fmla="*/ 104107 w 103827"/>
                <a:gd name="connsiteY3" fmla="*/ 52761 h 103827"/>
                <a:gd name="connsiteX4" fmla="*/ 52761 w 103827"/>
                <a:gd name="connsiteY4" fmla="*/ 1416 h 103827"/>
                <a:gd name="connsiteX5" fmla="*/ 52761 w 103827"/>
                <a:gd name="connsiteY5" fmla="*/ 1416 h 103827"/>
                <a:gd name="connsiteX6" fmla="*/ 52761 w 103827"/>
                <a:gd name="connsiteY6" fmla="*/ 73903 h 103827"/>
                <a:gd name="connsiteX7" fmla="*/ 31620 w 103827"/>
                <a:gd name="connsiteY7" fmla="*/ 52761 h 103827"/>
                <a:gd name="connsiteX8" fmla="*/ 52761 w 103827"/>
                <a:gd name="connsiteY8" fmla="*/ 31620 h 103827"/>
                <a:gd name="connsiteX9" fmla="*/ 73903 w 103827"/>
                <a:gd name="connsiteY9" fmla="*/ 52761 h 103827"/>
                <a:gd name="connsiteX10" fmla="*/ 52761 w 103827"/>
                <a:gd name="connsiteY10" fmla="*/ 73903 h 103827"/>
                <a:gd name="connsiteX11" fmla="*/ 52761 w 103827"/>
                <a:gd name="connsiteY11" fmla="*/ 73903 h 103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3827" h="103827">
                  <a:moveTo>
                    <a:pt x="52761" y="1416"/>
                  </a:moveTo>
                  <a:cubicBezTo>
                    <a:pt x="24445" y="1416"/>
                    <a:pt x="1416" y="24445"/>
                    <a:pt x="1416" y="52761"/>
                  </a:cubicBezTo>
                  <a:cubicBezTo>
                    <a:pt x="1416" y="81071"/>
                    <a:pt x="24445" y="104107"/>
                    <a:pt x="52761" y="104107"/>
                  </a:cubicBezTo>
                  <a:cubicBezTo>
                    <a:pt x="81071" y="104107"/>
                    <a:pt x="104107" y="81071"/>
                    <a:pt x="104107" y="52761"/>
                  </a:cubicBezTo>
                  <a:cubicBezTo>
                    <a:pt x="104107" y="24445"/>
                    <a:pt x="81071" y="1416"/>
                    <a:pt x="52761" y="1416"/>
                  </a:cubicBezTo>
                  <a:lnTo>
                    <a:pt x="52761" y="1416"/>
                  </a:lnTo>
                  <a:close/>
                  <a:moveTo>
                    <a:pt x="52761" y="73903"/>
                  </a:moveTo>
                  <a:cubicBezTo>
                    <a:pt x="41103" y="73903"/>
                    <a:pt x="31620" y="64420"/>
                    <a:pt x="31620" y="52761"/>
                  </a:cubicBezTo>
                  <a:cubicBezTo>
                    <a:pt x="31620" y="41103"/>
                    <a:pt x="41103" y="31620"/>
                    <a:pt x="52761" y="31620"/>
                  </a:cubicBezTo>
                  <a:cubicBezTo>
                    <a:pt x="64420" y="31620"/>
                    <a:pt x="73903" y="41103"/>
                    <a:pt x="73903" y="52761"/>
                  </a:cubicBezTo>
                  <a:cubicBezTo>
                    <a:pt x="73903" y="64420"/>
                    <a:pt x="64420" y="73903"/>
                    <a:pt x="52761" y="73903"/>
                  </a:cubicBezTo>
                  <a:lnTo>
                    <a:pt x="52761" y="739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Полилиния: фигура 93">
              <a:extLst>
                <a:ext uri="{FF2B5EF4-FFF2-40B4-BE49-F238E27FC236}">
                  <a16:creationId xmlns:a16="http://schemas.microsoft.com/office/drawing/2014/main" id="{4B45B7D7-ABFC-4E98-805F-DA47BFB57627}"/>
                </a:ext>
              </a:extLst>
            </p:cNvPr>
            <p:cNvSpPr/>
            <p:nvPr/>
          </p:nvSpPr>
          <p:spPr>
            <a:xfrm>
              <a:off x="775068" y="4633276"/>
              <a:ext cx="32092" cy="66072"/>
            </a:xfrm>
            <a:custGeom>
              <a:avLst/>
              <a:gdLst>
                <a:gd name="connsiteX0" fmla="*/ 16518 w 32092"/>
                <a:gd name="connsiteY0" fmla="*/ 1416 h 66072"/>
                <a:gd name="connsiteX1" fmla="*/ 1416 w 32092"/>
                <a:gd name="connsiteY1" fmla="*/ 16518 h 66072"/>
                <a:gd name="connsiteX2" fmla="*/ 1416 w 32092"/>
                <a:gd name="connsiteY2" fmla="*/ 50358 h 66072"/>
                <a:gd name="connsiteX3" fmla="*/ 16518 w 32092"/>
                <a:gd name="connsiteY3" fmla="*/ 65461 h 66072"/>
                <a:gd name="connsiteX4" fmla="*/ 31620 w 32092"/>
                <a:gd name="connsiteY4" fmla="*/ 50358 h 66072"/>
                <a:gd name="connsiteX5" fmla="*/ 31620 w 32092"/>
                <a:gd name="connsiteY5" fmla="*/ 16518 h 66072"/>
                <a:gd name="connsiteX6" fmla="*/ 16518 w 32092"/>
                <a:gd name="connsiteY6" fmla="*/ 1416 h 66072"/>
                <a:gd name="connsiteX7" fmla="*/ 16518 w 32092"/>
                <a:gd name="connsiteY7" fmla="*/ 1416 h 66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092" h="66072">
                  <a:moveTo>
                    <a:pt x="16518" y="1416"/>
                  </a:moveTo>
                  <a:cubicBezTo>
                    <a:pt x="8178" y="1416"/>
                    <a:pt x="1416" y="8178"/>
                    <a:pt x="1416" y="16518"/>
                  </a:cubicBezTo>
                  <a:lnTo>
                    <a:pt x="1416" y="50358"/>
                  </a:lnTo>
                  <a:cubicBezTo>
                    <a:pt x="1416" y="58699"/>
                    <a:pt x="8178" y="65461"/>
                    <a:pt x="16518" y="65461"/>
                  </a:cubicBezTo>
                  <a:cubicBezTo>
                    <a:pt x="24858" y="65461"/>
                    <a:pt x="31620" y="58699"/>
                    <a:pt x="31620" y="50358"/>
                  </a:cubicBezTo>
                  <a:lnTo>
                    <a:pt x="31620" y="16518"/>
                  </a:lnTo>
                  <a:cubicBezTo>
                    <a:pt x="31620" y="8178"/>
                    <a:pt x="24858" y="1416"/>
                    <a:pt x="16518" y="1416"/>
                  </a:cubicBezTo>
                  <a:lnTo>
                    <a:pt x="16518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Полилиния: фигура 94">
              <a:extLst>
                <a:ext uri="{FF2B5EF4-FFF2-40B4-BE49-F238E27FC236}">
                  <a16:creationId xmlns:a16="http://schemas.microsoft.com/office/drawing/2014/main" id="{BE5925F4-CB88-4D80-8047-7F84085E395A}"/>
                </a:ext>
              </a:extLst>
            </p:cNvPr>
            <p:cNvSpPr/>
            <p:nvPr/>
          </p:nvSpPr>
          <p:spPr>
            <a:xfrm>
              <a:off x="774611" y="5210884"/>
              <a:ext cx="32092" cy="77399"/>
            </a:xfrm>
            <a:custGeom>
              <a:avLst/>
              <a:gdLst>
                <a:gd name="connsiteX0" fmla="*/ 16518 w 32092"/>
                <a:gd name="connsiteY0" fmla="*/ 1416 h 77398"/>
                <a:gd name="connsiteX1" fmla="*/ 1416 w 32092"/>
                <a:gd name="connsiteY1" fmla="*/ 16518 h 77398"/>
                <a:gd name="connsiteX2" fmla="*/ 1416 w 32092"/>
                <a:gd name="connsiteY2" fmla="*/ 61124 h 77398"/>
                <a:gd name="connsiteX3" fmla="*/ 16518 w 32092"/>
                <a:gd name="connsiteY3" fmla="*/ 76226 h 77398"/>
                <a:gd name="connsiteX4" fmla="*/ 31620 w 32092"/>
                <a:gd name="connsiteY4" fmla="*/ 61124 h 77398"/>
                <a:gd name="connsiteX5" fmla="*/ 31620 w 32092"/>
                <a:gd name="connsiteY5" fmla="*/ 16518 h 77398"/>
                <a:gd name="connsiteX6" fmla="*/ 16518 w 32092"/>
                <a:gd name="connsiteY6" fmla="*/ 1416 h 77398"/>
                <a:gd name="connsiteX7" fmla="*/ 16518 w 32092"/>
                <a:gd name="connsiteY7" fmla="*/ 1416 h 7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092" h="77398">
                  <a:moveTo>
                    <a:pt x="16518" y="1416"/>
                  </a:moveTo>
                  <a:cubicBezTo>
                    <a:pt x="8178" y="1416"/>
                    <a:pt x="1416" y="8178"/>
                    <a:pt x="1416" y="16518"/>
                  </a:cubicBezTo>
                  <a:lnTo>
                    <a:pt x="1416" y="61124"/>
                  </a:lnTo>
                  <a:cubicBezTo>
                    <a:pt x="1416" y="69464"/>
                    <a:pt x="8178" y="76226"/>
                    <a:pt x="16518" y="76226"/>
                  </a:cubicBezTo>
                  <a:cubicBezTo>
                    <a:pt x="24858" y="76226"/>
                    <a:pt x="31620" y="69464"/>
                    <a:pt x="31620" y="61124"/>
                  </a:cubicBezTo>
                  <a:lnTo>
                    <a:pt x="31620" y="16518"/>
                  </a:lnTo>
                  <a:cubicBezTo>
                    <a:pt x="31620" y="8178"/>
                    <a:pt x="24858" y="1416"/>
                    <a:pt x="16518" y="1416"/>
                  </a:cubicBezTo>
                  <a:lnTo>
                    <a:pt x="16518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: фигура 98">
              <a:extLst>
                <a:ext uri="{FF2B5EF4-FFF2-40B4-BE49-F238E27FC236}">
                  <a16:creationId xmlns:a16="http://schemas.microsoft.com/office/drawing/2014/main" id="{C005E230-3859-46E5-8136-5CC1043A70B0}"/>
                </a:ext>
              </a:extLst>
            </p:cNvPr>
            <p:cNvSpPr/>
            <p:nvPr/>
          </p:nvSpPr>
          <p:spPr>
            <a:xfrm>
              <a:off x="1045167" y="4944612"/>
              <a:ext cx="73623" cy="32092"/>
            </a:xfrm>
            <a:custGeom>
              <a:avLst/>
              <a:gdLst>
                <a:gd name="connsiteX0" fmla="*/ 57298 w 73623"/>
                <a:gd name="connsiteY0" fmla="*/ 1416 h 32092"/>
                <a:gd name="connsiteX1" fmla="*/ 16518 w 73623"/>
                <a:gd name="connsiteY1" fmla="*/ 1416 h 32092"/>
                <a:gd name="connsiteX2" fmla="*/ 1416 w 73623"/>
                <a:gd name="connsiteY2" fmla="*/ 16518 h 32092"/>
                <a:gd name="connsiteX3" fmla="*/ 16518 w 73623"/>
                <a:gd name="connsiteY3" fmla="*/ 31620 h 32092"/>
                <a:gd name="connsiteX4" fmla="*/ 57298 w 73623"/>
                <a:gd name="connsiteY4" fmla="*/ 31620 h 32092"/>
                <a:gd name="connsiteX5" fmla="*/ 72400 w 73623"/>
                <a:gd name="connsiteY5" fmla="*/ 16518 h 32092"/>
                <a:gd name="connsiteX6" fmla="*/ 57298 w 73623"/>
                <a:gd name="connsiteY6" fmla="*/ 1416 h 32092"/>
                <a:gd name="connsiteX7" fmla="*/ 57298 w 73623"/>
                <a:gd name="connsiteY7" fmla="*/ 1416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623" h="32092">
                  <a:moveTo>
                    <a:pt x="57298" y="1416"/>
                  </a:moveTo>
                  <a:lnTo>
                    <a:pt x="16518" y="1416"/>
                  </a:lnTo>
                  <a:cubicBezTo>
                    <a:pt x="8178" y="1416"/>
                    <a:pt x="1416" y="8178"/>
                    <a:pt x="1416" y="16518"/>
                  </a:cubicBezTo>
                  <a:cubicBezTo>
                    <a:pt x="1416" y="24858"/>
                    <a:pt x="8178" y="31620"/>
                    <a:pt x="16518" y="31620"/>
                  </a:cubicBezTo>
                  <a:lnTo>
                    <a:pt x="57298" y="31620"/>
                  </a:lnTo>
                  <a:cubicBezTo>
                    <a:pt x="65638" y="31620"/>
                    <a:pt x="72400" y="24858"/>
                    <a:pt x="72400" y="16518"/>
                  </a:cubicBezTo>
                  <a:cubicBezTo>
                    <a:pt x="72400" y="8178"/>
                    <a:pt x="65638" y="1416"/>
                    <a:pt x="57298" y="1416"/>
                  </a:cubicBezTo>
                  <a:lnTo>
                    <a:pt x="57298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: фигура 99">
              <a:extLst>
                <a:ext uri="{FF2B5EF4-FFF2-40B4-BE49-F238E27FC236}">
                  <a16:creationId xmlns:a16="http://schemas.microsoft.com/office/drawing/2014/main" id="{827DFB01-56C2-4763-A74C-E042364435A6}"/>
                </a:ext>
              </a:extLst>
            </p:cNvPr>
            <p:cNvSpPr/>
            <p:nvPr/>
          </p:nvSpPr>
          <p:spPr>
            <a:xfrm>
              <a:off x="463732" y="4944155"/>
              <a:ext cx="75511" cy="32092"/>
            </a:xfrm>
            <a:custGeom>
              <a:avLst/>
              <a:gdLst>
                <a:gd name="connsiteX0" fmla="*/ 60313 w 75511"/>
                <a:gd name="connsiteY0" fmla="*/ 1416 h 32092"/>
                <a:gd name="connsiteX1" fmla="*/ 16518 w 75511"/>
                <a:gd name="connsiteY1" fmla="*/ 1416 h 32092"/>
                <a:gd name="connsiteX2" fmla="*/ 1416 w 75511"/>
                <a:gd name="connsiteY2" fmla="*/ 16518 h 32092"/>
                <a:gd name="connsiteX3" fmla="*/ 16518 w 75511"/>
                <a:gd name="connsiteY3" fmla="*/ 31620 h 32092"/>
                <a:gd name="connsiteX4" fmla="*/ 60313 w 75511"/>
                <a:gd name="connsiteY4" fmla="*/ 31620 h 32092"/>
                <a:gd name="connsiteX5" fmla="*/ 75415 w 75511"/>
                <a:gd name="connsiteY5" fmla="*/ 16518 h 32092"/>
                <a:gd name="connsiteX6" fmla="*/ 60313 w 75511"/>
                <a:gd name="connsiteY6" fmla="*/ 1416 h 32092"/>
                <a:gd name="connsiteX7" fmla="*/ 60313 w 75511"/>
                <a:gd name="connsiteY7" fmla="*/ 1416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11" h="32092">
                  <a:moveTo>
                    <a:pt x="60313" y="1416"/>
                  </a:moveTo>
                  <a:lnTo>
                    <a:pt x="16518" y="1416"/>
                  </a:lnTo>
                  <a:cubicBezTo>
                    <a:pt x="8178" y="1416"/>
                    <a:pt x="1416" y="8178"/>
                    <a:pt x="1416" y="16518"/>
                  </a:cubicBezTo>
                  <a:cubicBezTo>
                    <a:pt x="1416" y="24858"/>
                    <a:pt x="8178" y="31620"/>
                    <a:pt x="16518" y="31620"/>
                  </a:cubicBezTo>
                  <a:lnTo>
                    <a:pt x="60313" y="31620"/>
                  </a:lnTo>
                  <a:cubicBezTo>
                    <a:pt x="68653" y="31620"/>
                    <a:pt x="75415" y="24858"/>
                    <a:pt x="75415" y="16518"/>
                  </a:cubicBezTo>
                  <a:cubicBezTo>
                    <a:pt x="75415" y="8178"/>
                    <a:pt x="68653" y="1416"/>
                    <a:pt x="60313" y="1416"/>
                  </a:cubicBezTo>
                  <a:lnTo>
                    <a:pt x="60313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" name="Полилиния: фигура 100">
              <a:extLst>
                <a:ext uri="{FF2B5EF4-FFF2-40B4-BE49-F238E27FC236}">
                  <a16:creationId xmlns:a16="http://schemas.microsoft.com/office/drawing/2014/main" id="{785C552B-08D5-4B35-848F-434B47BAC8FC}"/>
                </a:ext>
              </a:extLst>
            </p:cNvPr>
            <p:cNvSpPr/>
            <p:nvPr/>
          </p:nvSpPr>
          <p:spPr>
            <a:xfrm>
              <a:off x="669624" y="4944383"/>
              <a:ext cx="101940" cy="32092"/>
            </a:xfrm>
            <a:custGeom>
              <a:avLst/>
              <a:gdLst>
                <a:gd name="connsiteX0" fmla="*/ 85490 w 101939"/>
                <a:gd name="connsiteY0" fmla="*/ 1416 h 32092"/>
                <a:gd name="connsiteX1" fmla="*/ 16518 w 101939"/>
                <a:gd name="connsiteY1" fmla="*/ 1416 h 32092"/>
                <a:gd name="connsiteX2" fmla="*/ 1416 w 101939"/>
                <a:gd name="connsiteY2" fmla="*/ 16518 h 32092"/>
                <a:gd name="connsiteX3" fmla="*/ 16518 w 101939"/>
                <a:gd name="connsiteY3" fmla="*/ 31620 h 32092"/>
                <a:gd name="connsiteX4" fmla="*/ 85490 w 101939"/>
                <a:gd name="connsiteY4" fmla="*/ 31620 h 32092"/>
                <a:gd name="connsiteX5" fmla="*/ 100592 w 101939"/>
                <a:gd name="connsiteY5" fmla="*/ 16518 h 32092"/>
                <a:gd name="connsiteX6" fmla="*/ 85490 w 101939"/>
                <a:gd name="connsiteY6" fmla="*/ 1416 h 32092"/>
                <a:gd name="connsiteX7" fmla="*/ 85490 w 101939"/>
                <a:gd name="connsiteY7" fmla="*/ 1416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939" h="32092">
                  <a:moveTo>
                    <a:pt x="85490" y="1416"/>
                  </a:moveTo>
                  <a:lnTo>
                    <a:pt x="16518" y="1416"/>
                  </a:lnTo>
                  <a:cubicBezTo>
                    <a:pt x="8178" y="1416"/>
                    <a:pt x="1416" y="8178"/>
                    <a:pt x="1416" y="16518"/>
                  </a:cubicBezTo>
                  <a:cubicBezTo>
                    <a:pt x="1416" y="24858"/>
                    <a:pt x="8178" y="31620"/>
                    <a:pt x="16518" y="31620"/>
                  </a:cubicBezTo>
                  <a:lnTo>
                    <a:pt x="85490" y="31620"/>
                  </a:lnTo>
                  <a:cubicBezTo>
                    <a:pt x="93830" y="31620"/>
                    <a:pt x="100592" y="24858"/>
                    <a:pt x="100592" y="16518"/>
                  </a:cubicBezTo>
                  <a:cubicBezTo>
                    <a:pt x="100592" y="8178"/>
                    <a:pt x="93830" y="1416"/>
                    <a:pt x="85490" y="1416"/>
                  </a:cubicBezTo>
                  <a:lnTo>
                    <a:pt x="85490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" name="Полилиния: фигура 101">
              <a:extLst>
                <a:ext uri="{FF2B5EF4-FFF2-40B4-BE49-F238E27FC236}">
                  <a16:creationId xmlns:a16="http://schemas.microsoft.com/office/drawing/2014/main" id="{747BB2CD-E6F6-47E5-B34A-5EE81CAC7882}"/>
                </a:ext>
              </a:extLst>
            </p:cNvPr>
            <p:cNvSpPr/>
            <p:nvPr/>
          </p:nvSpPr>
          <p:spPr>
            <a:xfrm>
              <a:off x="774839" y="4766681"/>
              <a:ext cx="32092" cy="173675"/>
            </a:xfrm>
            <a:custGeom>
              <a:avLst/>
              <a:gdLst>
                <a:gd name="connsiteX0" fmla="*/ 16518 w 32092"/>
                <a:gd name="connsiteY0" fmla="*/ 1416 h 173675"/>
                <a:gd name="connsiteX1" fmla="*/ 1416 w 32092"/>
                <a:gd name="connsiteY1" fmla="*/ 16518 h 173675"/>
                <a:gd name="connsiteX2" fmla="*/ 1416 w 32092"/>
                <a:gd name="connsiteY2" fmla="*/ 157977 h 173675"/>
                <a:gd name="connsiteX3" fmla="*/ 16518 w 32092"/>
                <a:gd name="connsiteY3" fmla="*/ 173079 h 173675"/>
                <a:gd name="connsiteX4" fmla="*/ 31620 w 32092"/>
                <a:gd name="connsiteY4" fmla="*/ 157977 h 173675"/>
                <a:gd name="connsiteX5" fmla="*/ 31620 w 32092"/>
                <a:gd name="connsiteY5" fmla="*/ 16518 h 173675"/>
                <a:gd name="connsiteX6" fmla="*/ 16518 w 32092"/>
                <a:gd name="connsiteY6" fmla="*/ 1416 h 173675"/>
                <a:gd name="connsiteX7" fmla="*/ 16518 w 32092"/>
                <a:gd name="connsiteY7" fmla="*/ 1416 h 173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092" h="173675">
                  <a:moveTo>
                    <a:pt x="16518" y="1416"/>
                  </a:moveTo>
                  <a:cubicBezTo>
                    <a:pt x="8178" y="1416"/>
                    <a:pt x="1416" y="8170"/>
                    <a:pt x="1416" y="16518"/>
                  </a:cubicBezTo>
                  <a:lnTo>
                    <a:pt x="1416" y="157977"/>
                  </a:lnTo>
                  <a:cubicBezTo>
                    <a:pt x="1416" y="166317"/>
                    <a:pt x="8178" y="173079"/>
                    <a:pt x="16518" y="173079"/>
                  </a:cubicBezTo>
                  <a:cubicBezTo>
                    <a:pt x="24858" y="173079"/>
                    <a:pt x="31620" y="166317"/>
                    <a:pt x="31620" y="157977"/>
                  </a:cubicBezTo>
                  <a:lnTo>
                    <a:pt x="31620" y="16518"/>
                  </a:lnTo>
                  <a:cubicBezTo>
                    <a:pt x="31620" y="8170"/>
                    <a:pt x="24858" y="1416"/>
                    <a:pt x="16518" y="1416"/>
                  </a:cubicBezTo>
                  <a:lnTo>
                    <a:pt x="16518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03" name="Прямоугольник 102">
            <a:extLst>
              <a:ext uri="{FF2B5EF4-FFF2-40B4-BE49-F238E27FC236}">
                <a16:creationId xmlns:a16="http://schemas.microsoft.com/office/drawing/2014/main" id="{81492F49-2103-46F1-8BB7-3AA593C125F0}"/>
              </a:ext>
            </a:extLst>
          </p:cNvPr>
          <p:cNvSpPr/>
          <p:nvPr/>
        </p:nvSpPr>
        <p:spPr>
          <a:xfrm>
            <a:off x="7301214" y="5276326"/>
            <a:ext cx="1096019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60000"/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Гибкий график</a:t>
            </a:r>
          </a:p>
        </p:txBody>
      </p:sp>
      <p:sp>
        <p:nvSpPr>
          <p:cNvPr id="104" name="Прямоугольник 103">
            <a:extLst>
              <a:ext uri="{FF2B5EF4-FFF2-40B4-BE49-F238E27FC236}">
                <a16:creationId xmlns:a16="http://schemas.microsoft.com/office/drawing/2014/main" id="{7D853B47-4D83-4AA0-B657-198F1E15F817}"/>
              </a:ext>
            </a:extLst>
          </p:cNvPr>
          <p:cNvSpPr/>
          <p:nvPr/>
        </p:nvSpPr>
        <p:spPr>
          <a:xfrm>
            <a:off x="7330666" y="4194818"/>
            <a:ext cx="1781136" cy="557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60000"/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Стартовая</a:t>
            </a:r>
          </a:p>
          <a:p>
            <a:pPr defTabSz="457200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60000"/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программа</a:t>
            </a:r>
          </a:p>
        </p:txBody>
      </p:sp>
      <p:grpSp>
        <p:nvGrpSpPr>
          <p:cNvPr id="143" name="Рисунок 27">
            <a:extLst>
              <a:ext uri="{FF2B5EF4-FFF2-40B4-BE49-F238E27FC236}">
                <a16:creationId xmlns:a16="http://schemas.microsoft.com/office/drawing/2014/main" id="{8D9E96A5-200A-4B49-8DEA-F992806D4EA3}"/>
              </a:ext>
            </a:extLst>
          </p:cNvPr>
          <p:cNvGrpSpPr/>
          <p:nvPr/>
        </p:nvGrpSpPr>
        <p:grpSpPr>
          <a:xfrm>
            <a:off x="6818574" y="4193547"/>
            <a:ext cx="366001" cy="366001"/>
            <a:chOff x="6298373" y="4574283"/>
            <a:chExt cx="773988" cy="773988"/>
          </a:xfrm>
          <a:solidFill>
            <a:schemeClr val="bg1"/>
          </a:solidFill>
        </p:grpSpPr>
        <p:sp>
          <p:nvSpPr>
            <p:cNvPr id="146" name="Полилиния: фигура 145">
              <a:extLst>
                <a:ext uri="{FF2B5EF4-FFF2-40B4-BE49-F238E27FC236}">
                  <a16:creationId xmlns:a16="http://schemas.microsoft.com/office/drawing/2014/main" id="{00BE5CEB-78BB-4304-BF56-2130EE54C8F0}"/>
                </a:ext>
              </a:extLst>
            </p:cNvPr>
            <p:cNvSpPr/>
            <p:nvPr/>
          </p:nvSpPr>
          <p:spPr>
            <a:xfrm>
              <a:off x="6296957" y="4741919"/>
              <a:ext cx="775876" cy="605976"/>
            </a:xfrm>
            <a:custGeom>
              <a:avLst/>
              <a:gdLst>
                <a:gd name="connsiteX0" fmla="*/ 759550 w 775875"/>
                <a:gd name="connsiteY0" fmla="*/ 493838 h 605975"/>
                <a:gd name="connsiteX1" fmla="*/ 735385 w 775875"/>
                <a:gd name="connsiteY1" fmla="*/ 493838 h 605975"/>
                <a:gd name="connsiteX2" fmla="*/ 735385 w 775875"/>
                <a:gd name="connsiteY2" fmla="*/ 161088 h 605975"/>
                <a:gd name="connsiteX3" fmla="*/ 720283 w 775875"/>
                <a:gd name="connsiteY3" fmla="*/ 145985 h 605975"/>
                <a:gd name="connsiteX4" fmla="*/ 705180 w 775875"/>
                <a:gd name="connsiteY4" fmla="*/ 161088 h 605975"/>
                <a:gd name="connsiteX5" fmla="*/ 705180 w 775875"/>
                <a:gd name="connsiteY5" fmla="*/ 493838 h 605975"/>
                <a:gd name="connsiteX6" fmla="*/ 70888 w 775875"/>
                <a:gd name="connsiteY6" fmla="*/ 493838 h 605975"/>
                <a:gd name="connsiteX7" fmla="*/ 70888 w 775875"/>
                <a:gd name="connsiteY7" fmla="*/ 82966 h 605975"/>
                <a:gd name="connsiteX8" fmla="*/ 122233 w 775875"/>
                <a:gd name="connsiteY8" fmla="*/ 31620 h 605975"/>
                <a:gd name="connsiteX9" fmla="*/ 367393 w 775875"/>
                <a:gd name="connsiteY9" fmla="*/ 31620 h 605975"/>
                <a:gd name="connsiteX10" fmla="*/ 382495 w 775875"/>
                <a:gd name="connsiteY10" fmla="*/ 16518 h 605975"/>
                <a:gd name="connsiteX11" fmla="*/ 367393 w 775875"/>
                <a:gd name="connsiteY11" fmla="*/ 1416 h 605975"/>
                <a:gd name="connsiteX12" fmla="*/ 122233 w 775875"/>
                <a:gd name="connsiteY12" fmla="*/ 1416 h 605975"/>
                <a:gd name="connsiteX13" fmla="*/ 40683 w 775875"/>
                <a:gd name="connsiteY13" fmla="*/ 82966 h 605975"/>
                <a:gd name="connsiteX14" fmla="*/ 40683 w 775875"/>
                <a:gd name="connsiteY14" fmla="*/ 493838 h 605975"/>
                <a:gd name="connsiteX15" fmla="*/ 16518 w 775875"/>
                <a:gd name="connsiteY15" fmla="*/ 493838 h 605975"/>
                <a:gd name="connsiteX16" fmla="*/ 1416 w 775875"/>
                <a:gd name="connsiteY16" fmla="*/ 508941 h 605975"/>
                <a:gd name="connsiteX17" fmla="*/ 1416 w 775875"/>
                <a:gd name="connsiteY17" fmla="*/ 528577 h 605975"/>
                <a:gd name="connsiteX18" fmla="*/ 78439 w 775875"/>
                <a:gd name="connsiteY18" fmla="*/ 605600 h 605975"/>
                <a:gd name="connsiteX19" fmla="*/ 697629 w 775875"/>
                <a:gd name="connsiteY19" fmla="*/ 605600 h 605975"/>
                <a:gd name="connsiteX20" fmla="*/ 774653 w 775875"/>
                <a:gd name="connsiteY20" fmla="*/ 528577 h 605975"/>
                <a:gd name="connsiteX21" fmla="*/ 774653 w 775875"/>
                <a:gd name="connsiteY21" fmla="*/ 508941 h 605975"/>
                <a:gd name="connsiteX22" fmla="*/ 759550 w 775875"/>
                <a:gd name="connsiteY22" fmla="*/ 493838 h 605975"/>
                <a:gd name="connsiteX23" fmla="*/ 759550 w 775875"/>
                <a:gd name="connsiteY23" fmla="*/ 493838 h 605975"/>
                <a:gd name="connsiteX24" fmla="*/ 744448 w 775875"/>
                <a:gd name="connsiteY24" fmla="*/ 528577 h 605975"/>
                <a:gd name="connsiteX25" fmla="*/ 697629 w 775875"/>
                <a:gd name="connsiteY25" fmla="*/ 575396 h 605975"/>
                <a:gd name="connsiteX26" fmla="*/ 78439 w 775875"/>
                <a:gd name="connsiteY26" fmla="*/ 575396 h 605975"/>
                <a:gd name="connsiteX27" fmla="*/ 31620 w 775875"/>
                <a:gd name="connsiteY27" fmla="*/ 528577 h 605975"/>
                <a:gd name="connsiteX28" fmla="*/ 31620 w 775875"/>
                <a:gd name="connsiteY28" fmla="*/ 524043 h 605975"/>
                <a:gd name="connsiteX29" fmla="*/ 744448 w 775875"/>
                <a:gd name="connsiteY29" fmla="*/ 524043 h 605975"/>
                <a:gd name="connsiteX30" fmla="*/ 744448 w 775875"/>
                <a:gd name="connsiteY30" fmla="*/ 528577 h 605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75875" h="605975">
                  <a:moveTo>
                    <a:pt x="759550" y="493838"/>
                  </a:moveTo>
                  <a:lnTo>
                    <a:pt x="735385" y="493838"/>
                  </a:lnTo>
                  <a:lnTo>
                    <a:pt x="735385" y="161088"/>
                  </a:lnTo>
                  <a:cubicBezTo>
                    <a:pt x="735385" y="152747"/>
                    <a:pt x="728623" y="145985"/>
                    <a:pt x="720283" y="145985"/>
                  </a:cubicBezTo>
                  <a:cubicBezTo>
                    <a:pt x="711943" y="145985"/>
                    <a:pt x="705180" y="152747"/>
                    <a:pt x="705180" y="161088"/>
                  </a:cubicBezTo>
                  <a:lnTo>
                    <a:pt x="705180" y="493838"/>
                  </a:lnTo>
                  <a:lnTo>
                    <a:pt x="70888" y="493838"/>
                  </a:lnTo>
                  <a:lnTo>
                    <a:pt x="70888" y="82966"/>
                  </a:lnTo>
                  <a:cubicBezTo>
                    <a:pt x="70888" y="54657"/>
                    <a:pt x="93917" y="31620"/>
                    <a:pt x="122233" y="31620"/>
                  </a:cubicBezTo>
                  <a:lnTo>
                    <a:pt x="367393" y="31620"/>
                  </a:lnTo>
                  <a:cubicBezTo>
                    <a:pt x="375733" y="31620"/>
                    <a:pt x="382495" y="24858"/>
                    <a:pt x="382495" y="16518"/>
                  </a:cubicBezTo>
                  <a:cubicBezTo>
                    <a:pt x="382495" y="8178"/>
                    <a:pt x="375733" y="1416"/>
                    <a:pt x="367393" y="1416"/>
                  </a:cubicBezTo>
                  <a:lnTo>
                    <a:pt x="122233" y="1416"/>
                  </a:lnTo>
                  <a:cubicBezTo>
                    <a:pt x="77267" y="1416"/>
                    <a:pt x="40683" y="37999"/>
                    <a:pt x="40683" y="82966"/>
                  </a:cubicBezTo>
                  <a:lnTo>
                    <a:pt x="40683" y="493838"/>
                  </a:lnTo>
                  <a:lnTo>
                    <a:pt x="16518" y="493838"/>
                  </a:lnTo>
                  <a:cubicBezTo>
                    <a:pt x="8178" y="493838"/>
                    <a:pt x="1416" y="500600"/>
                    <a:pt x="1416" y="508941"/>
                  </a:cubicBezTo>
                  <a:lnTo>
                    <a:pt x="1416" y="528577"/>
                  </a:lnTo>
                  <a:cubicBezTo>
                    <a:pt x="1416" y="571045"/>
                    <a:pt x="35972" y="605600"/>
                    <a:pt x="78439" y="605600"/>
                  </a:cubicBezTo>
                  <a:lnTo>
                    <a:pt x="697629" y="605600"/>
                  </a:lnTo>
                  <a:cubicBezTo>
                    <a:pt x="740097" y="605600"/>
                    <a:pt x="774653" y="571045"/>
                    <a:pt x="774653" y="528577"/>
                  </a:cubicBezTo>
                  <a:lnTo>
                    <a:pt x="774653" y="508941"/>
                  </a:lnTo>
                  <a:cubicBezTo>
                    <a:pt x="774653" y="500600"/>
                    <a:pt x="767890" y="493838"/>
                    <a:pt x="759550" y="493838"/>
                  </a:cubicBezTo>
                  <a:lnTo>
                    <a:pt x="759550" y="493838"/>
                  </a:lnTo>
                  <a:close/>
                  <a:moveTo>
                    <a:pt x="744448" y="528577"/>
                  </a:moveTo>
                  <a:cubicBezTo>
                    <a:pt x="744448" y="554394"/>
                    <a:pt x="723447" y="575396"/>
                    <a:pt x="697629" y="575396"/>
                  </a:cubicBezTo>
                  <a:lnTo>
                    <a:pt x="78439" y="575396"/>
                  </a:lnTo>
                  <a:cubicBezTo>
                    <a:pt x="52622" y="575396"/>
                    <a:pt x="31620" y="554394"/>
                    <a:pt x="31620" y="528577"/>
                  </a:cubicBezTo>
                  <a:lnTo>
                    <a:pt x="31620" y="524043"/>
                  </a:lnTo>
                  <a:lnTo>
                    <a:pt x="744448" y="524043"/>
                  </a:lnTo>
                  <a:lnTo>
                    <a:pt x="744448" y="5285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" name="Полилиния: фигура 156">
              <a:extLst>
                <a:ext uri="{FF2B5EF4-FFF2-40B4-BE49-F238E27FC236}">
                  <a16:creationId xmlns:a16="http://schemas.microsoft.com/office/drawing/2014/main" id="{7D671855-CC42-4B4E-98AE-8966001F0085}"/>
                </a:ext>
              </a:extLst>
            </p:cNvPr>
            <p:cNvSpPr/>
            <p:nvPr/>
          </p:nvSpPr>
          <p:spPr>
            <a:xfrm>
              <a:off x="6719170" y="4572867"/>
              <a:ext cx="353014" cy="300156"/>
            </a:xfrm>
            <a:custGeom>
              <a:avLst/>
              <a:gdLst>
                <a:gd name="connsiteX0" fmla="*/ 220568 w 353014"/>
                <a:gd name="connsiteY0" fmla="*/ 1416 h 300156"/>
                <a:gd name="connsiteX1" fmla="*/ 133281 w 353014"/>
                <a:gd name="connsiteY1" fmla="*/ 1416 h 300156"/>
                <a:gd name="connsiteX2" fmla="*/ 1416 w 353014"/>
                <a:gd name="connsiteY2" fmla="*/ 133281 h 300156"/>
                <a:gd name="connsiteX3" fmla="*/ 1416 w 353014"/>
                <a:gd name="connsiteY3" fmla="*/ 142897 h 300156"/>
                <a:gd name="connsiteX4" fmla="*/ 46288 w 353014"/>
                <a:gd name="connsiteY4" fmla="*/ 246245 h 300156"/>
                <a:gd name="connsiteX5" fmla="*/ 46288 w 353014"/>
                <a:gd name="connsiteY5" fmla="*/ 284582 h 300156"/>
                <a:gd name="connsiteX6" fmla="*/ 53301 w 353014"/>
                <a:gd name="connsiteY6" fmla="*/ 297332 h 300156"/>
                <a:gd name="connsiteX7" fmla="*/ 61398 w 353014"/>
                <a:gd name="connsiteY7" fmla="*/ 299684 h 300156"/>
                <a:gd name="connsiteX8" fmla="*/ 67820 w 353014"/>
                <a:gd name="connsiteY8" fmla="*/ 298246 h 300156"/>
                <a:gd name="connsiteX9" fmla="*/ 107110 w 353014"/>
                <a:gd name="connsiteY9" fmla="*/ 279782 h 300156"/>
                <a:gd name="connsiteX10" fmla="*/ 142897 w 353014"/>
                <a:gd name="connsiteY10" fmla="*/ 284376 h 300156"/>
                <a:gd name="connsiteX11" fmla="*/ 220575 w 353014"/>
                <a:gd name="connsiteY11" fmla="*/ 284376 h 300156"/>
                <a:gd name="connsiteX12" fmla="*/ 352440 w 353014"/>
                <a:gd name="connsiteY12" fmla="*/ 152512 h 300156"/>
                <a:gd name="connsiteX13" fmla="*/ 352440 w 353014"/>
                <a:gd name="connsiteY13" fmla="*/ 133281 h 300156"/>
                <a:gd name="connsiteX14" fmla="*/ 220568 w 353014"/>
                <a:gd name="connsiteY14" fmla="*/ 1416 h 300156"/>
                <a:gd name="connsiteX15" fmla="*/ 220568 w 353014"/>
                <a:gd name="connsiteY15" fmla="*/ 1416 h 300156"/>
                <a:gd name="connsiteX16" fmla="*/ 322236 w 353014"/>
                <a:gd name="connsiteY16" fmla="*/ 152512 h 300156"/>
                <a:gd name="connsiteX17" fmla="*/ 220568 w 353014"/>
                <a:gd name="connsiteY17" fmla="*/ 254172 h 300156"/>
                <a:gd name="connsiteX18" fmla="*/ 142889 w 353014"/>
                <a:gd name="connsiteY18" fmla="*/ 254172 h 300156"/>
                <a:gd name="connsiteX19" fmla="*/ 110222 w 353014"/>
                <a:gd name="connsiteY19" fmla="*/ 249275 h 300156"/>
                <a:gd name="connsiteX20" fmla="*/ 99367 w 353014"/>
                <a:gd name="connsiteY20" fmla="*/ 250042 h 300156"/>
                <a:gd name="connsiteX21" fmla="*/ 76493 w 353014"/>
                <a:gd name="connsiteY21" fmla="*/ 260794 h 300156"/>
                <a:gd name="connsiteX22" fmla="*/ 76493 w 353014"/>
                <a:gd name="connsiteY22" fmla="*/ 239468 h 300156"/>
                <a:gd name="connsiteX23" fmla="*/ 71139 w 353014"/>
                <a:gd name="connsiteY23" fmla="*/ 227934 h 300156"/>
                <a:gd name="connsiteX24" fmla="*/ 31620 w 353014"/>
                <a:gd name="connsiteY24" fmla="*/ 142897 h 300156"/>
                <a:gd name="connsiteX25" fmla="*/ 31620 w 353014"/>
                <a:gd name="connsiteY25" fmla="*/ 133281 h 300156"/>
                <a:gd name="connsiteX26" fmla="*/ 133273 w 353014"/>
                <a:gd name="connsiteY26" fmla="*/ 31620 h 300156"/>
                <a:gd name="connsiteX27" fmla="*/ 220568 w 353014"/>
                <a:gd name="connsiteY27" fmla="*/ 31620 h 300156"/>
                <a:gd name="connsiteX28" fmla="*/ 322236 w 353014"/>
                <a:gd name="connsiteY28" fmla="*/ 133281 h 300156"/>
                <a:gd name="connsiteX29" fmla="*/ 322236 w 353014"/>
                <a:gd name="connsiteY29" fmla="*/ 152512 h 300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53014" h="300156">
                  <a:moveTo>
                    <a:pt x="220568" y="1416"/>
                  </a:moveTo>
                  <a:lnTo>
                    <a:pt x="133281" y="1416"/>
                  </a:lnTo>
                  <a:cubicBezTo>
                    <a:pt x="60564" y="1416"/>
                    <a:pt x="1416" y="60571"/>
                    <a:pt x="1416" y="133281"/>
                  </a:cubicBezTo>
                  <a:lnTo>
                    <a:pt x="1416" y="142897"/>
                  </a:lnTo>
                  <a:cubicBezTo>
                    <a:pt x="1416" y="182244"/>
                    <a:pt x="17683" y="219512"/>
                    <a:pt x="46288" y="246245"/>
                  </a:cubicBezTo>
                  <a:lnTo>
                    <a:pt x="46288" y="284582"/>
                  </a:lnTo>
                  <a:cubicBezTo>
                    <a:pt x="46288" y="289751"/>
                    <a:pt x="48935" y="294559"/>
                    <a:pt x="53301" y="297332"/>
                  </a:cubicBezTo>
                  <a:cubicBezTo>
                    <a:pt x="55755" y="298895"/>
                    <a:pt x="58574" y="299684"/>
                    <a:pt x="61398" y="299684"/>
                  </a:cubicBezTo>
                  <a:cubicBezTo>
                    <a:pt x="63580" y="299684"/>
                    <a:pt x="65778" y="299212"/>
                    <a:pt x="67820" y="298246"/>
                  </a:cubicBezTo>
                  <a:lnTo>
                    <a:pt x="107110" y="279782"/>
                  </a:lnTo>
                  <a:cubicBezTo>
                    <a:pt x="118790" y="282828"/>
                    <a:pt x="130802" y="284376"/>
                    <a:pt x="142897" y="284376"/>
                  </a:cubicBezTo>
                  <a:lnTo>
                    <a:pt x="220575" y="284376"/>
                  </a:lnTo>
                  <a:cubicBezTo>
                    <a:pt x="293285" y="284376"/>
                    <a:pt x="352440" y="225221"/>
                    <a:pt x="352440" y="152512"/>
                  </a:cubicBezTo>
                  <a:lnTo>
                    <a:pt x="352440" y="133281"/>
                  </a:lnTo>
                  <a:cubicBezTo>
                    <a:pt x="352440" y="60571"/>
                    <a:pt x="293285" y="1416"/>
                    <a:pt x="220568" y="1416"/>
                  </a:cubicBezTo>
                  <a:lnTo>
                    <a:pt x="220568" y="1416"/>
                  </a:lnTo>
                  <a:close/>
                  <a:moveTo>
                    <a:pt x="322236" y="152512"/>
                  </a:moveTo>
                  <a:cubicBezTo>
                    <a:pt x="322236" y="208563"/>
                    <a:pt x="276625" y="254172"/>
                    <a:pt x="220568" y="254172"/>
                  </a:cubicBezTo>
                  <a:lnTo>
                    <a:pt x="142889" y="254172"/>
                  </a:lnTo>
                  <a:cubicBezTo>
                    <a:pt x="131806" y="254172"/>
                    <a:pt x="120818" y="252520"/>
                    <a:pt x="110222" y="249275"/>
                  </a:cubicBezTo>
                  <a:cubicBezTo>
                    <a:pt x="106639" y="248169"/>
                    <a:pt x="102767" y="248450"/>
                    <a:pt x="99367" y="250042"/>
                  </a:cubicBezTo>
                  <a:lnTo>
                    <a:pt x="76493" y="260794"/>
                  </a:lnTo>
                  <a:lnTo>
                    <a:pt x="76493" y="239468"/>
                  </a:lnTo>
                  <a:cubicBezTo>
                    <a:pt x="76493" y="235021"/>
                    <a:pt x="74531" y="230803"/>
                    <a:pt x="71139" y="227934"/>
                  </a:cubicBezTo>
                  <a:cubicBezTo>
                    <a:pt x="46022" y="206719"/>
                    <a:pt x="31620" y="175725"/>
                    <a:pt x="31620" y="142897"/>
                  </a:cubicBezTo>
                  <a:lnTo>
                    <a:pt x="31620" y="133281"/>
                  </a:lnTo>
                  <a:cubicBezTo>
                    <a:pt x="31620" y="77221"/>
                    <a:pt x="77221" y="31620"/>
                    <a:pt x="133273" y="31620"/>
                  </a:cubicBezTo>
                  <a:lnTo>
                    <a:pt x="220568" y="31620"/>
                  </a:lnTo>
                  <a:cubicBezTo>
                    <a:pt x="276625" y="31620"/>
                    <a:pt x="322236" y="77229"/>
                    <a:pt x="322236" y="133281"/>
                  </a:cubicBezTo>
                  <a:lnTo>
                    <a:pt x="322236" y="1525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" name="Полилиния: фигура 160">
              <a:extLst>
                <a:ext uri="{FF2B5EF4-FFF2-40B4-BE49-F238E27FC236}">
                  <a16:creationId xmlns:a16="http://schemas.microsoft.com/office/drawing/2014/main" id="{1E8521EE-20AA-4982-9929-D524229DC390}"/>
                </a:ext>
              </a:extLst>
            </p:cNvPr>
            <p:cNvSpPr/>
            <p:nvPr/>
          </p:nvSpPr>
          <p:spPr>
            <a:xfrm>
              <a:off x="6879579" y="4706899"/>
              <a:ext cx="32092" cy="67960"/>
            </a:xfrm>
            <a:custGeom>
              <a:avLst/>
              <a:gdLst>
                <a:gd name="connsiteX0" fmla="*/ 16518 w 32092"/>
                <a:gd name="connsiteY0" fmla="*/ 1416 h 67959"/>
                <a:gd name="connsiteX1" fmla="*/ 1416 w 32092"/>
                <a:gd name="connsiteY1" fmla="*/ 16518 h 67959"/>
                <a:gd name="connsiteX2" fmla="*/ 1416 w 32092"/>
                <a:gd name="connsiteY2" fmla="*/ 51538 h 67959"/>
                <a:gd name="connsiteX3" fmla="*/ 16518 w 32092"/>
                <a:gd name="connsiteY3" fmla="*/ 66640 h 67959"/>
                <a:gd name="connsiteX4" fmla="*/ 31620 w 32092"/>
                <a:gd name="connsiteY4" fmla="*/ 51538 h 67959"/>
                <a:gd name="connsiteX5" fmla="*/ 31620 w 32092"/>
                <a:gd name="connsiteY5" fmla="*/ 16518 h 67959"/>
                <a:gd name="connsiteX6" fmla="*/ 16518 w 32092"/>
                <a:gd name="connsiteY6" fmla="*/ 1416 h 67959"/>
                <a:gd name="connsiteX7" fmla="*/ 16518 w 32092"/>
                <a:gd name="connsiteY7" fmla="*/ 1416 h 67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092" h="67959">
                  <a:moveTo>
                    <a:pt x="16518" y="1416"/>
                  </a:moveTo>
                  <a:cubicBezTo>
                    <a:pt x="8178" y="1416"/>
                    <a:pt x="1416" y="8178"/>
                    <a:pt x="1416" y="16518"/>
                  </a:cubicBezTo>
                  <a:lnTo>
                    <a:pt x="1416" y="51538"/>
                  </a:lnTo>
                  <a:cubicBezTo>
                    <a:pt x="1416" y="59878"/>
                    <a:pt x="8178" y="66640"/>
                    <a:pt x="16518" y="66640"/>
                  </a:cubicBezTo>
                  <a:cubicBezTo>
                    <a:pt x="24851" y="66640"/>
                    <a:pt x="31620" y="59878"/>
                    <a:pt x="31620" y="51538"/>
                  </a:cubicBezTo>
                  <a:lnTo>
                    <a:pt x="31620" y="16518"/>
                  </a:lnTo>
                  <a:cubicBezTo>
                    <a:pt x="31620" y="8178"/>
                    <a:pt x="24858" y="1416"/>
                    <a:pt x="16518" y="1416"/>
                  </a:cubicBezTo>
                  <a:lnTo>
                    <a:pt x="16518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" name="Полилиния: фигура 161">
              <a:extLst>
                <a:ext uri="{FF2B5EF4-FFF2-40B4-BE49-F238E27FC236}">
                  <a16:creationId xmlns:a16="http://schemas.microsoft.com/office/drawing/2014/main" id="{63B1B365-5F6F-45DD-B2AB-E4371FEA73CC}"/>
                </a:ext>
              </a:extLst>
            </p:cNvPr>
            <p:cNvSpPr/>
            <p:nvPr/>
          </p:nvSpPr>
          <p:spPr>
            <a:xfrm>
              <a:off x="6879572" y="4649286"/>
              <a:ext cx="32092" cy="32092"/>
            </a:xfrm>
            <a:custGeom>
              <a:avLst/>
              <a:gdLst>
                <a:gd name="connsiteX0" fmla="*/ 27188 w 32092"/>
                <a:gd name="connsiteY0" fmla="*/ 5839 h 32092"/>
                <a:gd name="connsiteX1" fmla="*/ 16518 w 32092"/>
                <a:gd name="connsiteY1" fmla="*/ 1416 h 32092"/>
                <a:gd name="connsiteX2" fmla="*/ 5841 w 32092"/>
                <a:gd name="connsiteY2" fmla="*/ 5839 h 32092"/>
                <a:gd name="connsiteX3" fmla="*/ 1416 w 32092"/>
                <a:gd name="connsiteY3" fmla="*/ 16518 h 32092"/>
                <a:gd name="connsiteX4" fmla="*/ 5841 w 32092"/>
                <a:gd name="connsiteY4" fmla="*/ 27210 h 32092"/>
                <a:gd name="connsiteX5" fmla="*/ 16518 w 32092"/>
                <a:gd name="connsiteY5" fmla="*/ 31620 h 32092"/>
                <a:gd name="connsiteX6" fmla="*/ 27188 w 32092"/>
                <a:gd name="connsiteY6" fmla="*/ 27210 h 32092"/>
                <a:gd name="connsiteX7" fmla="*/ 31620 w 32092"/>
                <a:gd name="connsiteY7" fmla="*/ 16518 h 32092"/>
                <a:gd name="connsiteX8" fmla="*/ 27188 w 32092"/>
                <a:gd name="connsiteY8" fmla="*/ 5839 h 32092"/>
                <a:gd name="connsiteX9" fmla="*/ 27188 w 32092"/>
                <a:gd name="connsiteY9" fmla="*/ 5839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092" h="32092">
                  <a:moveTo>
                    <a:pt x="27188" y="5839"/>
                  </a:moveTo>
                  <a:cubicBezTo>
                    <a:pt x="24386" y="3030"/>
                    <a:pt x="20499" y="1416"/>
                    <a:pt x="16518" y="1416"/>
                  </a:cubicBezTo>
                  <a:cubicBezTo>
                    <a:pt x="12544" y="1416"/>
                    <a:pt x="8650" y="3030"/>
                    <a:pt x="5841" y="5839"/>
                  </a:cubicBezTo>
                  <a:cubicBezTo>
                    <a:pt x="3030" y="8650"/>
                    <a:pt x="1416" y="12542"/>
                    <a:pt x="1416" y="16518"/>
                  </a:cubicBezTo>
                  <a:cubicBezTo>
                    <a:pt x="1416" y="20507"/>
                    <a:pt x="3030" y="24386"/>
                    <a:pt x="5841" y="27210"/>
                  </a:cubicBezTo>
                  <a:cubicBezTo>
                    <a:pt x="8650" y="30019"/>
                    <a:pt x="12544" y="31620"/>
                    <a:pt x="16518" y="31620"/>
                  </a:cubicBezTo>
                  <a:cubicBezTo>
                    <a:pt x="20499" y="31620"/>
                    <a:pt x="24386" y="30019"/>
                    <a:pt x="27188" y="27210"/>
                  </a:cubicBezTo>
                  <a:cubicBezTo>
                    <a:pt x="30012" y="24386"/>
                    <a:pt x="31620" y="20507"/>
                    <a:pt x="31620" y="16518"/>
                  </a:cubicBezTo>
                  <a:cubicBezTo>
                    <a:pt x="31620" y="12542"/>
                    <a:pt x="30012" y="8650"/>
                    <a:pt x="27188" y="5839"/>
                  </a:cubicBezTo>
                  <a:lnTo>
                    <a:pt x="27188" y="58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" name="Полилиния: фигура 162">
              <a:extLst>
                <a:ext uri="{FF2B5EF4-FFF2-40B4-BE49-F238E27FC236}">
                  <a16:creationId xmlns:a16="http://schemas.microsoft.com/office/drawing/2014/main" id="{CBF1463F-48CD-4005-B914-1E36C522829A}"/>
                </a:ext>
              </a:extLst>
            </p:cNvPr>
            <p:cNvSpPr/>
            <p:nvPr/>
          </p:nvSpPr>
          <p:spPr>
            <a:xfrm>
              <a:off x="6401249" y="4868872"/>
              <a:ext cx="118930" cy="147246"/>
            </a:xfrm>
            <a:custGeom>
              <a:avLst/>
              <a:gdLst>
                <a:gd name="connsiteX0" fmla="*/ 104086 w 118929"/>
                <a:gd name="connsiteY0" fmla="*/ 1416 h 147246"/>
                <a:gd name="connsiteX1" fmla="*/ 45705 w 118929"/>
                <a:gd name="connsiteY1" fmla="*/ 1416 h 147246"/>
                <a:gd name="connsiteX2" fmla="*/ 30603 w 118929"/>
                <a:gd name="connsiteY2" fmla="*/ 16518 h 147246"/>
                <a:gd name="connsiteX3" fmla="*/ 45705 w 118929"/>
                <a:gd name="connsiteY3" fmla="*/ 31620 h 147246"/>
                <a:gd name="connsiteX4" fmla="*/ 59797 w 118929"/>
                <a:gd name="connsiteY4" fmla="*/ 31620 h 147246"/>
                <a:gd name="connsiteX5" fmla="*/ 59797 w 118929"/>
                <a:gd name="connsiteY5" fmla="*/ 103275 h 147246"/>
                <a:gd name="connsiteX6" fmla="*/ 45705 w 118929"/>
                <a:gd name="connsiteY6" fmla="*/ 117367 h 147246"/>
                <a:gd name="connsiteX7" fmla="*/ 31620 w 118929"/>
                <a:gd name="connsiteY7" fmla="*/ 103275 h 147246"/>
                <a:gd name="connsiteX8" fmla="*/ 16518 w 118929"/>
                <a:gd name="connsiteY8" fmla="*/ 88172 h 147246"/>
                <a:gd name="connsiteX9" fmla="*/ 1416 w 118929"/>
                <a:gd name="connsiteY9" fmla="*/ 103275 h 147246"/>
                <a:gd name="connsiteX10" fmla="*/ 45705 w 118929"/>
                <a:gd name="connsiteY10" fmla="*/ 147571 h 147246"/>
                <a:gd name="connsiteX11" fmla="*/ 90002 w 118929"/>
                <a:gd name="connsiteY11" fmla="*/ 103275 h 147246"/>
                <a:gd name="connsiteX12" fmla="*/ 90002 w 118929"/>
                <a:gd name="connsiteY12" fmla="*/ 31620 h 147246"/>
                <a:gd name="connsiteX13" fmla="*/ 104086 w 118929"/>
                <a:gd name="connsiteY13" fmla="*/ 31620 h 147246"/>
                <a:gd name="connsiteX14" fmla="*/ 119189 w 118929"/>
                <a:gd name="connsiteY14" fmla="*/ 16518 h 147246"/>
                <a:gd name="connsiteX15" fmla="*/ 104086 w 118929"/>
                <a:gd name="connsiteY15" fmla="*/ 1416 h 147246"/>
                <a:gd name="connsiteX16" fmla="*/ 104086 w 118929"/>
                <a:gd name="connsiteY16" fmla="*/ 1416 h 147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8929" h="147246">
                  <a:moveTo>
                    <a:pt x="104086" y="1416"/>
                  </a:moveTo>
                  <a:lnTo>
                    <a:pt x="45705" y="1416"/>
                  </a:lnTo>
                  <a:cubicBezTo>
                    <a:pt x="37365" y="1416"/>
                    <a:pt x="30603" y="8178"/>
                    <a:pt x="30603" y="16518"/>
                  </a:cubicBezTo>
                  <a:cubicBezTo>
                    <a:pt x="30603" y="24858"/>
                    <a:pt x="37365" y="31620"/>
                    <a:pt x="45705" y="31620"/>
                  </a:cubicBezTo>
                  <a:lnTo>
                    <a:pt x="59797" y="31620"/>
                  </a:lnTo>
                  <a:lnTo>
                    <a:pt x="59797" y="103275"/>
                  </a:lnTo>
                  <a:cubicBezTo>
                    <a:pt x="59797" y="111047"/>
                    <a:pt x="53477" y="117367"/>
                    <a:pt x="45705" y="117367"/>
                  </a:cubicBezTo>
                  <a:cubicBezTo>
                    <a:pt x="37941" y="117367"/>
                    <a:pt x="31620" y="111047"/>
                    <a:pt x="31620" y="103275"/>
                  </a:cubicBezTo>
                  <a:cubicBezTo>
                    <a:pt x="31620" y="94934"/>
                    <a:pt x="24858" y="88172"/>
                    <a:pt x="16518" y="88172"/>
                  </a:cubicBezTo>
                  <a:cubicBezTo>
                    <a:pt x="8178" y="88172"/>
                    <a:pt x="1416" y="94934"/>
                    <a:pt x="1416" y="103275"/>
                  </a:cubicBezTo>
                  <a:cubicBezTo>
                    <a:pt x="1416" y="127699"/>
                    <a:pt x="21283" y="147571"/>
                    <a:pt x="45705" y="147571"/>
                  </a:cubicBezTo>
                  <a:cubicBezTo>
                    <a:pt x="70129" y="147571"/>
                    <a:pt x="90002" y="127699"/>
                    <a:pt x="90002" y="103275"/>
                  </a:cubicBezTo>
                  <a:lnTo>
                    <a:pt x="90002" y="31620"/>
                  </a:lnTo>
                  <a:lnTo>
                    <a:pt x="104086" y="31620"/>
                  </a:lnTo>
                  <a:cubicBezTo>
                    <a:pt x="112426" y="31620"/>
                    <a:pt x="119189" y="24858"/>
                    <a:pt x="119189" y="16518"/>
                  </a:cubicBezTo>
                  <a:cubicBezTo>
                    <a:pt x="119189" y="8178"/>
                    <a:pt x="112426" y="1416"/>
                    <a:pt x="104086" y="1416"/>
                  </a:cubicBezTo>
                  <a:lnTo>
                    <a:pt x="104086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6" name="Полилиния: фигура 175">
              <a:extLst>
                <a:ext uri="{FF2B5EF4-FFF2-40B4-BE49-F238E27FC236}">
                  <a16:creationId xmlns:a16="http://schemas.microsoft.com/office/drawing/2014/main" id="{F4C4CF5A-48DF-4A8D-9C72-C4C58C8C488B}"/>
                </a:ext>
              </a:extLst>
            </p:cNvPr>
            <p:cNvSpPr/>
            <p:nvPr/>
          </p:nvSpPr>
          <p:spPr>
            <a:xfrm>
              <a:off x="6515888" y="4868872"/>
              <a:ext cx="147246" cy="147246"/>
            </a:xfrm>
            <a:custGeom>
              <a:avLst/>
              <a:gdLst>
                <a:gd name="connsiteX0" fmla="*/ 74494 w 147246"/>
                <a:gd name="connsiteY0" fmla="*/ 1416 h 147246"/>
                <a:gd name="connsiteX1" fmla="*/ 1416 w 147246"/>
                <a:gd name="connsiteY1" fmla="*/ 74494 h 147246"/>
                <a:gd name="connsiteX2" fmla="*/ 74494 w 147246"/>
                <a:gd name="connsiteY2" fmla="*/ 147571 h 147246"/>
                <a:gd name="connsiteX3" fmla="*/ 147571 w 147246"/>
                <a:gd name="connsiteY3" fmla="*/ 74494 h 147246"/>
                <a:gd name="connsiteX4" fmla="*/ 74494 w 147246"/>
                <a:gd name="connsiteY4" fmla="*/ 1416 h 147246"/>
                <a:gd name="connsiteX5" fmla="*/ 74494 w 147246"/>
                <a:gd name="connsiteY5" fmla="*/ 1416 h 147246"/>
                <a:gd name="connsiteX6" fmla="*/ 74494 w 147246"/>
                <a:gd name="connsiteY6" fmla="*/ 117367 h 147246"/>
                <a:gd name="connsiteX7" fmla="*/ 31620 w 147246"/>
                <a:gd name="connsiteY7" fmla="*/ 74494 h 147246"/>
                <a:gd name="connsiteX8" fmla="*/ 74494 w 147246"/>
                <a:gd name="connsiteY8" fmla="*/ 31620 h 147246"/>
                <a:gd name="connsiteX9" fmla="*/ 117367 w 147246"/>
                <a:gd name="connsiteY9" fmla="*/ 74494 h 147246"/>
                <a:gd name="connsiteX10" fmla="*/ 74494 w 147246"/>
                <a:gd name="connsiteY10" fmla="*/ 117367 h 147246"/>
                <a:gd name="connsiteX11" fmla="*/ 74494 w 147246"/>
                <a:gd name="connsiteY11" fmla="*/ 117367 h 147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7246" h="147246">
                  <a:moveTo>
                    <a:pt x="74494" y="1416"/>
                  </a:moveTo>
                  <a:cubicBezTo>
                    <a:pt x="34193" y="1416"/>
                    <a:pt x="1416" y="34201"/>
                    <a:pt x="1416" y="74494"/>
                  </a:cubicBezTo>
                  <a:cubicBezTo>
                    <a:pt x="1416" y="114786"/>
                    <a:pt x="34193" y="147571"/>
                    <a:pt x="74494" y="147571"/>
                  </a:cubicBezTo>
                  <a:cubicBezTo>
                    <a:pt x="114784" y="147571"/>
                    <a:pt x="147571" y="114786"/>
                    <a:pt x="147571" y="74494"/>
                  </a:cubicBezTo>
                  <a:cubicBezTo>
                    <a:pt x="147571" y="34193"/>
                    <a:pt x="114784" y="1416"/>
                    <a:pt x="74494" y="1416"/>
                  </a:cubicBezTo>
                  <a:lnTo>
                    <a:pt x="74494" y="1416"/>
                  </a:lnTo>
                  <a:close/>
                  <a:moveTo>
                    <a:pt x="74494" y="117367"/>
                  </a:moveTo>
                  <a:cubicBezTo>
                    <a:pt x="50851" y="117367"/>
                    <a:pt x="31620" y="98134"/>
                    <a:pt x="31620" y="74494"/>
                  </a:cubicBezTo>
                  <a:cubicBezTo>
                    <a:pt x="31620" y="50851"/>
                    <a:pt x="50851" y="31620"/>
                    <a:pt x="74494" y="31620"/>
                  </a:cubicBezTo>
                  <a:cubicBezTo>
                    <a:pt x="98134" y="31620"/>
                    <a:pt x="117367" y="50851"/>
                    <a:pt x="117367" y="74494"/>
                  </a:cubicBezTo>
                  <a:cubicBezTo>
                    <a:pt x="117367" y="98134"/>
                    <a:pt x="98134" y="117367"/>
                    <a:pt x="74494" y="117367"/>
                  </a:cubicBezTo>
                  <a:lnTo>
                    <a:pt x="74494" y="1173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7" name="Полилиния: фигура 176">
              <a:extLst>
                <a:ext uri="{FF2B5EF4-FFF2-40B4-BE49-F238E27FC236}">
                  <a16:creationId xmlns:a16="http://schemas.microsoft.com/office/drawing/2014/main" id="{2AF0D8C6-A23E-422D-B130-A9B83A16B317}"/>
                </a:ext>
              </a:extLst>
            </p:cNvPr>
            <p:cNvSpPr/>
            <p:nvPr/>
          </p:nvSpPr>
          <p:spPr>
            <a:xfrm>
              <a:off x="6682647" y="4868872"/>
              <a:ext cx="90613" cy="152910"/>
            </a:xfrm>
            <a:custGeom>
              <a:avLst/>
              <a:gdLst>
                <a:gd name="connsiteX0" fmla="*/ 90000 w 90613"/>
                <a:gd name="connsiteY0" fmla="*/ 46722 h 152909"/>
                <a:gd name="connsiteX1" fmla="*/ 44693 w 90613"/>
                <a:gd name="connsiteY1" fmla="*/ 1416 h 152909"/>
                <a:gd name="connsiteX2" fmla="*/ 16518 w 90613"/>
                <a:gd name="connsiteY2" fmla="*/ 1416 h 152909"/>
                <a:gd name="connsiteX3" fmla="*/ 1416 w 90613"/>
                <a:gd name="connsiteY3" fmla="*/ 16518 h 152909"/>
                <a:gd name="connsiteX4" fmla="*/ 1416 w 90613"/>
                <a:gd name="connsiteY4" fmla="*/ 137336 h 152909"/>
                <a:gd name="connsiteX5" fmla="*/ 16518 w 90613"/>
                <a:gd name="connsiteY5" fmla="*/ 152438 h 152909"/>
                <a:gd name="connsiteX6" fmla="*/ 44693 w 90613"/>
                <a:gd name="connsiteY6" fmla="*/ 152438 h 152909"/>
                <a:gd name="connsiteX7" fmla="*/ 90000 w 90613"/>
                <a:gd name="connsiteY7" fmla="*/ 107131 h 152909"/>
                <a:gd name="connsiteX8" fmla="*/ 78424 w 90613"/>
                <a:gd name="connsiteY8" fmla="*/ 76927 h 152909"/>
                <a:gd name="connsiteX9" fmla="*/ 90000 w 90613"/>
                <a:gd name="connsiteY9" fmla="*/ 46722 h 152909"/>
                <a:gd name="connsiteX10" fmla="*/ 90000 w 90613"/>
                <a:gd name="connsiteY10" fmla="*/ 46722 h 152909"/>
                <a:gd name="connsiteX11" fmla="*/ 44693 w 90613"/>
                <a:gd name="connsiteY11" fmla="*/ 122233 h 152909"/>
                <a:gd name="connsiteX12" fmla="*/ 31620 w 90613"/>
                <a:gd name="connsiteY12" fmla="*/ 122233 h 152909"/>
                <a:gd name="connsiteX13" fmla="*/ 31620 w 90613"/>
                <a:gd name="connsiteY13" fmla="*/ 92029 h 152909"/>
                <a:gd name="connsiteX14" fmla="*/ 44693 w 90613"/>
                <a:gd name="connsiteY14" fmla="*/ 92029 h 152909"/>
                <a:gd name="connsiteX15" fmla="*/ 59795 w 90613"/>
                <a:gd name="connsiteY15" fmla="*/ 107131 h 152909"/>
                <a:gd name="connsiteX16" fmla="*/ 44693 w 90613"/>
                <a:gd name="connsiteY16" fmla="*/ 122233 h 152909"/>
                <a:gd name="connsiteX17" fmla="*/ 44693 w 90613"/>
                <a:gd name="connsiteY17" fmla="*/ 122233 h 152909"/>
                <a:gd name="connsiteX18" fmla="*/ 44693 w 90613"/>
                <a:gd name="connsiteY18" fmla="*/ 61825 h 152909"/>
                <a:gd name="connsiteX19" fmla="*/ 31620 w 90613"/>
                <a:gd name="connsiteY19" fmla="*/ 61825 h 152909"/>
                <a:gd name="connsiteX20" fmla="*/ 31620 w 90613"/>
                <a:gd name="connsiteY20" fmla="*/ 31620 h 152909"/>
                <a:gd name="connsiteX21" fmla="*/ 44693 w 90613"/>
                <a:gd name="connsiteY21" fmla="*/ 31620 h 152909"/>
                <a:gd name="connsiteX22" fmla="*/ 59795 w 90613"/>
                <a:gd name="connsiteY22" fmla="*/ 46722 h 152909"/>
                <a:gd name="connsiteX23" fmla="*/ 44693 w 90613"/>
                <a:gd name="connsiteY23" fmla="*/ 61825 h 152909"/>
                <a:gd name="connsiteX24" fmla="*/ 44693 w 90613"/>
                <a:gd name="connsiteY24" fmla="*/ 61825 h 152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0613" h="152909">
                  <a:moveTo>
                    <a:pt x="90000" y="46722"/>
                  </a:moveTo>
                  <a:cubicBezTo>
                    <a:pt x="90000" y="21740"/>
                    <a:pt x="69678" y="1416"/>
                    <a:pt x="44693" y="1416"/>
                  </a:cubicBezTo>
                  <a:lnTo>
                    <a:pt x="16518" y="1416"/>
                  </a:lnTo>
                  <a:cubicBezTo>
                    <a:pt x="8178" y="1416"/>
                    <a:pt x="1416" y="8178"/>
                    <a:pt x="1416" y="16518"/>
                  </a:cubicBezTo>
                  <a:lnTo>
                    <a:pt x="1416" y="137336"/>
                  </a:lnTo>
                  <a:cubicBezTo>
                    <a:pt x="1416" y="145676"/>
                    <a:pt x="8178" y="152438"/>
                    <a:pt x="16518" y="152438"/>
                  </a:cubicBezTo>
                  <a:lnTo>
                    <a:pt x="44693" y="152438"/>
                  </a:lnTo>
                  <a:cubicBezTo>
                    <a:pt x="69678" y="152438"/>
                    <a:pt x="90000" y="132114"/>
                    <a:pt x="90000" y="107131"/>
                  </a:cubicBezTo>
                  <a:cubicBezTo>
                    <a:pt x="90000" y="95531"/>
                    <a:pt x="85620" y="84950"/>
                    <a:pt x="78424" y="76927"/>
                  </a:cubicBezTo>
                  <a:cubicBezTo>
                    <a:pt x="85613" y="68904"/>
                    <a:pt x="90000" y="58315"/>
                    <a:pt x="90000" y="46722"/>
                  </a:cubicBezTo>
                  <a:lnTo>
                    <a:pt x="90000" y="46722"/>
                  </a:lnTo>
                  <a:close/>
                  <a:moveTo>
                    <a:pt x="44693" y="122233"/>
                  </a:moveTo>
                  <a:lnTo>
                    <a:pt x="31620" y="122233"/>
                  </a:lnTo>
                  <a:lnTo>
                    <a:pt x="31620" y="92029"/>
                  </a:lnTo>
                  <a:lnTo>
                    <a:pt x="44693" y="92029"/>
                  </a:lnTo>
                  <a:cubicBezTo>
                    <a:pt x="53020" y="92029"/>
                    <a:pt x="59795" y="98806"/>
                    <a:pt x="59795" y="107131"/>
                  </a:cubicBezTo>
                  <a:cubicBezTo>
                    <a:pt x="59795" y="115456"/>
                    <a:pt x="53020" y="122233"/>
                    <a:pt x="44693" y="122233"/>
                  </a:cubicBezTo>
                  <a:lnTo>
                    <a:pt x="44693" y="122233"/>
                  </a:lnTo>
                  <a:close/>
                  <a:moveTo>
                    <a:pt x="44693" y="61825"/>
                  </a:moveTo>
                  <a:lnTo>
                    <a:pt x="31620" y="61825"/>
                  </a:lnTo>
                  <a:lnTo>
                    <a:pt x="31620" y="31620"/>
                  </a:lnTo>
                  <a:lnTo>
                    <a:pt x="44693" y="31620"/>
                  </a:lnTo>
                  <a:cubicBezTo>
                    <a:pt x="53020" y="31620"/>
                    <a:pt x="59795" y="38397"/>
                    <a:pt x="59795" y="46722"/>
                  </a:cubicBezTo>
                  <a:cubicBezTo>
                    <a:pt x="59795" y="55048"/>
                    <a:pt x="53020" y="61825"/>
                    <a:pt x="44693" y="61825"/>
                  </a:cubicBezTo>
                  <a:lnTo>
                    <a:pt x="44693" y="618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8" name="Полилиния: фигура 177">
              <a:extLst>
                <a:ext uri="{FF2B5EF4-FFF2-40B4-BE49-F238E27FC236}">
                  <a16:creationId xmlns:a16="http://schemas.microsoft.com/office/drawing/2014/main" id="{AF27106A-E833-4596-851D-AEC89E32285E}"/>
                </a:ext>
              </a:extLst>
            </p:cNvPr>
            <p:cNvSpPr/>
            <p:nvPr/>
          </p:nvSpPr>
          <p:spPr>
            <a:xfrm>
              <a:off x="6459631" y="5065076"/>
              <a:ext cx="315259" cy="32092"/>
            </a:xfrm>
            <a:custGeom>
              <a:avLst/>
              <a:gdLst>
                <a:gd name="connsiteX0" fmla="*/ 299271 w 315258"/>
                <a:gd name="connsiteY0" fmla="*/ 1416 h 32092"/>
                <a:gd name="connsiteX1" fmla="*/ 16518 w 315258"/>
                <a:gd name="connsiteY1" fmla="*/ 1416 h 32092"/>
                <a:gd name="connsiteX2" fmla="*/ 1416 w 315258"/>
                <a:gd name="connsiteY2" fmla="*/ 16518 h 32092"/>
                <a:gd name="connsiteX3" fmla="*/ 16518 w 315258"/>
                <a:gd name="connsiteY3" fmla="*/ 31620 h 32092"/>
                <a:gd name="connsiteX4" fmla="*/ 299271 w 315258"/>
                <a:gd name="connsiteY4" fmla="*/ 31620 h 32092"/>
                <a:gd name="connsiteX5" fmla="*/ 314373 w 315258"/>
                <a:gd name="connsiteY5" fmla="*/ 16518 h 32092"/>
                <a:gd name="connsiteX6" fmla="*/ 299271 w 315258"/>
                <a:gd name="connsiteY6" fmla="*/ 1416 h 32092"/>
                <a:gd name="connsiteX7" fmla="*/ 299271 w 315258"/>
                <a:gd name="connsiteY7" fmla="*/ 1416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5258" h="32092">
                  <a:moveTo>
                    <a:pt x="299271" y="1416"/>
                  </a:moveTo>
                  <a:lnTo>
                    <a:pt x="16518" y="1416"/>
                  </a:lnTo>
                  <a:cubicBezTo>
                    <a:pt x="8178" y="1416"/>
                    <a:pt x="1416" y="8178"/>
                    <a:pt x="1416" y="16518"/>
                  </a:cubicBezTo>
                  <a:cubicBezTo>
                    <a:pt x="1416" y="24858"/>
                    <a:pt x="8178" y="31620"/>
                    <a:pt x="16518" y="31620"/>
                  </a:cubicBezTo>
                  <a:lnTo>
                    <a:pt x="299271" y="31620"/>
                  </a:lnTo>
                  <a:cubicBezTo>
                    <a:pt x="307611" y="31620"/>
                    <a:pt x="314373" y="24858"/>
                    <a:pt x="314373" y="16518"/>
                  </a:cubicBezTo>
                  <a:cubicBezTo>
                    <a:pt x="314373" y="8178"/>
                    <a:pt x="307611" y="1416"/>
                    <a:pt x="299271" y="1416"/>
                  </a:cubicBezTo>
                  <a:lnTo>
                    <a:pt x="299271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9" name="Полилиния: фигура 178">
              <a:extLst>
                <a:ext uri="{FF2B5EF4-FFF2-40B4-BE49-F238E27FC236}">
                  <a16:creationId xmlns:a16="http://schemas.microsoft.com/office/drawing/2014/main" id="{2402EE03-E420-483E-B6C8-55D2B1121376}"/>
                </a:ext>
              </a:extLst>
            </p:cNvPr>
            <p:cNvSpPr/>
            <p:nvPr/>
          </p:nvSpPr>
          <p:spPr>
            <a:xfrm>
              <a:off x="6401249" y="5065076"/>
              <a:ext cx="32092" cy="32092"/>
            </a:xfrm>
            <a:custGeom>
              <a:avLst/>
              <a:gdLst>
                <a:gd name="connsiteX0" fmla="*/ 27195 w 32092"/>
                <a:gd name="connsiteY0" fmla="*/ 5839 h 32092"/>
                <a:gd name="connsiteX1" fmla="*/ 16518 w 32092"/>
                <a:gd name="connsiteY1" fmla="*/ 1416 h 32092"/>
                <a:gd name="connsiteX2" fmla="*/ 5826 w 32092"/>
                <a:gd name="connsiteY2" fmla="*/ 5839 h 32092"/>
                <a:gd name="connsiteX3" fmla="*/ 1416 w 32092"/>
                <a:gd name="connsiteY3" fmla="*/ 16518 h 32092"/>
                <a:gd name="connsiteX4" fmla="*/ 5826 w 32092"/>
                <a:gd name="connsiteY4" fmla="*/ 27195 h 32092"/>
                <a:gd name="connsiteX5" fmla="*/ 16518 w 32092"/>
                <a:gd name="connsiteY5" fmla="*/ 31620 h 32092"/>
                <a:gd name="connsiteX6" fmla="*/ 27195 w 32092"/>
                <a:gd name="connsiteY6" fmla="*/ 27195 h 32092"/>
                <a:gd name="connsiteX7" fmla="*/ 31620 w 32092"/>
                <a:gd name="connsiteY7" fmla="*/ 16518 h 32092"/>
                <a:gd name="connsiteX8" fmla="*/ 27195 w 32092"/>
                <a:gd name="connsiteY8" fmla="*/ 5839 h 32092"/>
                <a:gd name="connsiteX9" fmla="*/ 27195 w 32092"/>
                <a:gd name="connsiteY9" fmla="*/ 5839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092" h="32092">
                  <a:moveTo>
                    <a:pt x="27195" y="5839"/>
                  </a:moveTo>
                  <a:cubicBezTo>
                    <a:pt x="24386" y="3022"/>
                    <a:pt x="20494" y="1416"/>
                    <a:pt x="16518" y="1416"/>
                  </a:cubicBezTo>
                  <a:cubicBezTo>
                    <a:pt x="12537" y="1416"/>
                    <a:pt x="8650" y="3015"/>
                    <a:pt x="5826" y="5839"/>
                  </a:cubicBezTo>
                  <a:cubicBezTo>
                    <a:pt x="3024" y="8650"/>
                    <a:pt x="1416" y="12535"/>
                    <a:pt x="1416" y="16518"/>
                  </a:cubicBezTo>
                  <a:cubicBezTo>
                    <a:pt x="1416" y="20492"/>
                    <a:pt x="3024" y="24386"/>
                    <a:pt x="5826" y="27195"/>
                  </a:cubicBezTo>
                  <a:cubicBezTo>
                    <a:pt x="8650" y="30004"/>
                    <a:pt x="12537" y="31620"/>
                    <a:pt x="16518" y="31620"/>
                  </a:cubicBezTo>
                  <a:cubicBezTo>
                    <a:pt x="20494" y="31620"/>
                    <a:pt x="24386" y="30004"/>
                    <a:pt x="27195" y="27195"/>
                  </a:cubicBezTo>
                  <a:cubicBezTo>
                    <a:pt x="30006" y="24371"/>
                    <a:pt x="31620" y="20492"/>
                    <a:pt x="31620" y="16518"/>
                  </a:cubicBezTo>
                  <a:cubicBezTo>
                    <a:pt x="31620" y="12550"/>
                    <a:pt x="30006" y="8657"/>
                    <a:pt x="27195" y="5839"/>
                  </a:cubicBezTo>
                  <a:lnTo>
                    <a:pt x="27195" y="58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0" name="Полилиния: фигура 179">
              <a:extLst>
                <a:ext uri="{FF2B5EF4-FFF2-40B4-BE49-F238E27FC236}">
                  <a16:creationId xmlns:a16="http://schemas.microsoft.com/office/drawing/2014/main" id="{F4F932CB-83A5-4E2E-8C29-B4271C4B7FB7}"/>
                </a:ext>
              </a:extLst>
            </p:cNvPr>
            <p:cNvSpPr/>
            <p:nvPr/>
          </p:nvSpPr>
          <p:spPr>
            <a:xfrm>
              <a:off x="6819325" y="5065076"/>
              <a:ext cx="149134" cy="32092"/>
            </a:xfrm>
            <a:custGeom>
              <a:avLst/>
              <a:gdLst>
                <a:gd name="connsiteX0" fmla="*/ 132888 w 149134"/>
                <a:gd name="connsiteY0" fmla="*/ 1416 h 32092"/>
                <a:gd name="connsiteX1" fmla="*/ 16518 w 149134"/>
                <a:gd name="connsiteY1" fmla="*/ 1416 h 32092"/>
                <a:gd name="connsiteX2" fmla="*/ 1416 w 149134"/>
                <a:gd name="connsiteY2" fmla="*/ 16518 h 32092"/>
                <a:gd name="connsiteX3" fmla="*/ 16518 w 149134"/>
                <a:gd name="connsiteY3" fmla="*/ 31620 h 32092"/>
                <a:gd name="connsiteX4" fmla="*/ 132888 w 149134"/>
                <a:gd name="connsiteY4" fmla="*/ 31620 h 32092"/>
                <a:gd name="connsiteX5" fmla="*/ 147990 w 149134"/>
                <a:gd name="connsiteY5" fmla="*/ 16518 h 32092"/>
                <a:gd name="connsiteX6" fmla="*/ 132888 w 149134"/>
                <a:gd name="connsiteY6" fmla="*/ 1416 h 32092"/>
                <a:gd name="connsiteX7" fmla="*/ 132888 w 149134"/>
                <a:gd name="connsiteY7" fmla="*/ 1416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34" h="32092">
                  <a:moveTo>
                    <a:pt x="132888" y="1416"/>
                  </a:moveTo>
                  <a:lnTo>
                    <a:pt x="16518" y="1416"/>
                  </a:lnTo>
                  <a:cubicBezTo>
                    <a:pt x="8178" y="1416"/>
                    <a:pt x="1416" y="8178"/>
                    <a:pt x="1416" y="16518"/>
                  </a:cubicBezTo>
                  <a:cubicBezTo>
                    <a:pt x="1416" y="24858"/>
                    <a:pt x="8178" y="31620"/>
                    <a:pt x="16518" y="31620"/>
                  </a:cubicBezTo>
                  <a:lnTo>
                    <a:pt x="132888" y="31620"/>
                  </a:lnTo>
                  <a:cubicBezTo>
                    <a:pt x="141228" y="31620"/>
                    <a:pt x="147990" y="24858"/>
                    <a:pt x="147990" y="16518"/>
                  </a:cubicBezTo>
                  <a:cubicBezTo>
                    <a:pt x="147990" y="8178"/>
                    <a:pt x="141228" y="1416"/>
                    <a:pt x="132888" y="1416"/>
                  </a:cubicBezTo>
                  <a:lnTo>
                    <a:pt x="132888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1" name="Полилиния: фигура 180">
              <a:extLst>
                <a:ext uri="{FF2B5EF4-FFF2-40B4-BE49-F238E27FC236}">
                  <a16:creationId xmlns:a16="http://schemas.microsoft.com/office/drawing/2014/main" id="{4CD11C08-DCF8-4310-9887-A5BA2DFDC996}"/>
                </a:ext>
              </a:extLst>
            </p:cNvPr>
            <p:cNvSpPr/>
            <p:nvPr/>
          </p:nvSpPr>
          <p:spPr>
            <a:xfrm>
              <a:off x="6401249" y="5137688"/>
              <a:ext cx="373780" cy="32092"/>
            </a:xfrm>
            <a:custGeom>
              <a:avLst/>
              <a:gdLst>
                <a:gd name="connsiteX0" fmla="*/ 357660 w 373779"/>
                <a:gd name="connsiteY0" fmla="*/ 1416 h 32092"/>
                <a:gd name="connsiteX1" fmla="*/ 16518 w 373779"/>
                <a:gd name="connsiteY1" fmla="*/ 1416 h 32092"/>
                <a:gd name="connsiteX2" fmla="*/ 1416 w 373779"/>
                <a:gd name="connsiteY2" fmla="*/ 16518 h 32092"/>
                <a:gd name="connsiteX3" fmla="*/ 16518 w 373779"/>
                <a:gd name="connsiteY3" fmla="*/ 31620 h 32092"/>
                <a:gd name="connsiteX4" fmla="*/ 357660 w 373779"/>
                <a:gd name="connsiteY4" fmla="*/ 31620 h 32092"/>
                <a:gd name="connsiteX5" fmla="*/ 372762 w 373779"/>
                <a:gd name="connsiteY5" fmla="*/ 16518 h 32092"/>
                <a:gd name="connsiteX6" fmla="*/ 357660 w 373779"/>
                <a:gd name="connsiteY6" fmla="*/ 1416 h 32092"/>
                <a:gd name="connsiteX7" fmla="*/ 357660 w 373779"/>
                <a:gd name="connsiteY7" fmla="*/ 1416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3779" h="32092">
                  <a:moveTo>
                    <a:pt x="357660" y="1416"/>
                  </a:moveTo>
                  <a:lnTo>
                    <a:pt x="16518" y="1416"/>
                  </a:lnTo>
                  <a:cubicBezTo>
                    <a:pt x="8178" y="1416"/>
                    <a:pt x="1416" y="8178"/>
                    <a:pt x="1416" y="16518"/>
                  </a:cubicBezTo>
                  <a:cubicBezTo>
                    <a:pt x="1416" y="24858"/>
                    <a:pt x="8178" y="31620"/>
                    <a:pt x="16518" y="31620"/>
                  </a:cubicBezTo>
                  <a:lnTo>
                    <a:pt x="357660" y="31620"/>
                  </a:lnTo>
                  <a:cubicBezTo>
                    <a:pt x="365993" y="31620"/>
                    <a:pt x="372762" y="24858"/>
                    <a:pt x="372762" y="16518"/>
                  </a:cubicBezTo>
                  <a:cubicBezTo>
                    <a:pt x="372762" y="8178"/>
                    <a:pt x="365993" y="1416"/>
                    <a:pt x="357660" y="1416"/>
                  </a:cubicBezTo>
                  <a:lnTo>
                    <a:pt x="357660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2" name="Полилиния: фигура 181">
              <a:extLst>
                <a:ext uri="{FF2B5EF4-FFF2-40B4-BE49-F238E27FC236}">
                  <a16:creationId xmlns:a16="http://schemas.microsoft.com/office/drawing/2014/main" id="{7CC291D0-2498-4A7A-9ED7-C4D7D05C9793}"/>
                </a:ext>
              </a:extLst>
            </p:cNvPr>
            <p:cNvSpPr/>
            <p:nvPr/>
          </p:nvSpPr>
          <p:spPr>
            <a:xfrm>
              <a:off x="6819325" y="5137688"/>
              <a:ext cx="149134" cy="32092"/>
            </a:xfrm>
            <a:custGeom>
              <a:avLst/>
              <a:gdLst>
                <a:gd name="connsiteX0" fmla="*/ 132888 w 149134"/>
                <a:gd name="connsiteY0" fmla="*/ 1416 h 32092"/>
                <a:gd name="connsiteX1" fmla="*/ 16518 w 149134"/>
                <a:gd name="connsiteY1" fmla="*/ 1416 h 32092"/>
                <a:gd name="connsiteX2" fmla="*/ 1416 w 149134"/>
                <a:gd name="connsiteY2" fmla="*/ 16518 h 32092"/>
                <a:gd name="connsiteX3" fmla="*/ 16518 w 149134"/>
                <a:gd name="connsiteY3" fmla="*/ 31620 h 32092"/>
                <a:gd name="connsiteX4" fmla="*/ 132888 w 149134"/>
                <a:gd name="connsiteY4" fmla="*/ 31620 h 32092"/>
                <a:gd name="connsiteX5" fmla="*/ 147990 w 149134"/>
                <a:gd name="connsiteY5" fmla="*/ 16518 h 32092"/>
                <a:gd name="connsiteX6" fmla="*/ 132888 w 149134"/>
                <a:gd name="connsiteY6" fmla="*/ 1416 h 32092"/>
                <a:gd name="connsiteX7" fmla="*/ 132888 w 149134"/>
                <a:gd name="connsiteY7" fmla="*/ 1416 h 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34" h="32092">
                  <a:moveTo>
                    <a:pt x="132888" y="1416"/>
                  </a:moveTo>
                  <a:lnTo>
                    <a:pt x="16518" y="1416"/>
                  </a:lnTo>
                  <a:cubicBezTo>
                    <a:pt x="8178" y="1416"/>
                    <a:pt x="1416" y="8178"/>
                    <a:pt x="1416" y="16518"/>
                  </a:cubicBezTo>
                  <a:cubicBezTo>
                    <a:pt x="1416" y="24858"/>
                    <a:pt x="8178" y="31620"/>
                    <a:pt x="16518" y="31620"/>
                  </a:cubicBezTo>
                  <a:lnTo>
                    <a:pt x="132888" y="31620"/>
                  </a:lnTo>
                  <a:cubicBezTo>
                    <a:pt x="141228" y="31620"/>
                    <a:pt x="147990" y="24858"/>
                    <a:pt x="147990" y="16518"/>
                  </a:cubicBezTo>
                  <a:cubicBezTo>
                    <a:pt x="147990" y="8178"/>
                    <a:pt x="141228" y="1416"/>
                    <a:pt x="132888" y="1416"/>
                  </a:cubicBezTo>
                  <a:lnTo>
                    <a:pt x="132888" y="14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39" name="TextBox 138">
            <a:extLst>
              <a:ext uri="{FF2B5EF4-FFF2-40B4-BE49-F238E27FC236}">
                <a16:creationId xmlns:a16="http://schemas.microsoft.com/office/drawing/2014/main" id="{1F5077D0-0253-4653-8417-37100A4E77EA}"/>
              </a:ext>
            </a:extLst>
          </p:cNvPr>
          <p:cNvSpPr txBox="1"/>
          <p:nvPr/>
        </p:nvSpPr>
        <p:spPr>
          <a:xfrm>
            <a:off x="672479" y="1867415"/>
            <a:ext cx="5661033" cy="3724096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207450" lvl="1" indent="-207450">
              <a:spcAft>
                <a:spcPts val="1200"/>
              </a:spcAft>
              <a:buClr>
                <a:schemeClr val="bg2"/>
              </a:buClr>
              <a:buFont typeface="Arial"/>
              <a:buChar char="+"/>
            </a:pPr>
            <a:r>
              <a:rPr lang="ru-RU" sz="1600" dirty="0"/>
              <a:t>начало карьеры в группе координации </a:t>
            </a:r>
            <a:br>
              <a:rPr lang="ru-RU" sz="1600" dirty="0"/>
            </a:br>
            <a:r>
              <a:rPr lang="ru-RU" sz="1600" dirty="0"/>
              <a:t>или в составе группы выездных инженеров;</a:t>
            </a:r>
          </a:p>
          <a:p>
            <a:pPr marL="0" lvl="1">
              <a:spcAft>
                <a:spcPts val="1200"/>
              </a:spcAft>
              <a:buClr>
                <a:schemeClr val="bg2"/>
              </a:buClr>
            </a:pPr>
            <a:endParaRPr lang="ru-RU" sz="1600" dirty="0"/>
          </a:p>
          <a:p>
            <a:pPr marL="207450" lvl="1" indent="-207450">
              <a:spcAft>
                <a:spcPts val="1200"/>
              </a:spcAft>
              <a:buClr>
                <a:schemeClr val="bg2"/>
              </a:buClr>
              <a:buFont typeface="Arial"/>
              <a:buChar char="+"/>
            </a:pPr>
            <a:r>
              <a:rPr lang="ru-RU" sz="1600" dirty="0"/>
              <a:t>плавное погружение в технические </a:t>
            </a:r>
            <a:br>
              <a:rPr lang="en-US" sz="1600" dirty="0"/>
            </a:br>
            <a:r>
              <a:rPr lang="ru-RU" sz="1600" dirty="0"/>
              <a:t>особенности проекта;</a:t>
            </a:r>
          </a:p>
          <a:p>
            <a:pPr marL="0" lvl="1">
              <a:spcAft>
                <a:spcPts val="1200"/>
              </a:spcAft>
              <a:buClr>
                <a:schemeClr val="bg2"/>
              </a:buClr>
            </a:pPr>
            <a:endParaRPr lang="ru-RU" sz="1600" dirty="0"/>
          </a:p>
          <a:p>
            <a:pPr marL="207450" lvl="1" indent="-207450">
              <a:spcAft>
                <a:spcPts val="1200"/>
              </a:spcAft>
              <a:buClr>
                <a:schemeClr val="bg2"/>
              </a:buClr>
              <a:buFont typeface="Arial"/>
              <a:buChar char="+"/>
            </a:pPr>
            <a:r>
              <a:rPr lang="ru-RU" sz="1600" dirty="0"/>
              <a:t>постепенно подключение к выездным работам </a:t>
            </a:r>
            <a:br>
              <a:rPr lang="ru-RU" sz="1600" dirty="0"/>
            </a:br>
            <a:r>
              <a:rPr lang="ru-RU" sz="1600" dirty="0"/>
              <a:t>с опытным экспертом;</a:t>
            </a:r>
          </a:p>
          <a:p>
            <a:pPr marL="0" lvl="1">
              <a:spcAft>
                <a:spcPts val="1200"/>
              </a:spcAft>
              <a:buClr>
                <a:schemeClr val="bg2"/>
              </a:buClr>
            </a:pPr>
            <a:endParaRPr lang="ru-RU" sz="1600" dirty="0"/>
          </a:p>
          <a:p>
            <a:pPr marL="207450" lvl="1" indent="-207450">
              <a:spcAft>
                <a:spcPts val="1200"/>
              </a:spcAft>
              <a:buClr>
                <a:schemeClr val="bg2"/>
              </a:buClr>
              <a:buFont typeface="Arial"/>
              <a:buChar char="+"/>
            </a:pPr>
            <a:r>
              <a:rPr lang="ru-RU" sz="1600" dirty="0"/>
              <a:t>отдельное сопровождение и поддержка при самостоятельных выездах выделенным Экспертом</a:t>
            </a:r>
          </a:p>
        </p:txBody>
      </p:sp>
    </p:spTree>
    <p:extLst>
      <p:ext uri="{BB962C8B-B14F-4D97-AF65-F5344CB8AC3E}">
        <p14:creationId xmlns:p14="http://schemas.microsoft.com/office/powerpoint/2010/main" val="22656309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DD3335C7-FE05-4CB6-9679-A405842DBCC6}"/>
              </a:ext>
            </a:extLst>
          </p:cNvPr>
          <p:cNvSpPr/>
          <p:nvPr/>
        </p:nvSpPr>
        <p:spPr>
          <a:xfrm>
            <a:off x="326060" y="299747"/>
            <a:ext cx="292612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15151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и</a:t>
            </a:r>
            <a:endParaRPr lang="en-US" sz="3200" b="1" dirty="0">
              <a:solidFill>
                <a:srgbClr val="15151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7" name="Прямоугольник: скругленные углы 876">
            <a:extLst>
              <a:ext uri="{FF2B5EF4-FFF2-40B4-BE49-F238E27FC236}">
                <a16:creationId xmlns:a16="http://schemas.microsoft.com/office/drawing/2014/main" id="{25382C7F-0A69-4FC2-8434-349C85B35AD3}"/>
              </a:ext>
            </a:extLst>
          </p:cNvPr>
          <p:cNvSpPr/>
          <p:nvPr/>
        </p:nvSpPr>
        <p:spPr>
          <a:xfrm>
            <a:off x="442913" y="1004057"/>
            <a:ext cx="3209244" cy="432792"/>
          </a:xfrm>
          <a:prstGeom prst="roundRect">
            <a:avLst>
              <a:gd name="adj" fmla="val 50000"/>
            </a:avLst>
          </a:prstGeom>
          <a:solidFill>
            <a:srgbClr val="00ADEB"/>
          </a:solidFill>
        </p:spPr>
        <p:txBody>
          <a:bodyPr wrap="square" lIns="180000" tIns="0" rIns="0" bIns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в штате</a:t>
            </a:r>
          </a:p>
        </p:txBody>
      </p:sp>
      <p:sp>
        <p:nvSpPr>
          <p:cNvPr id="878" name="TextBox 877">
            <a:extLst>
              <a:ext uri="{FF2B5EF4-FFF2-40B4-BE49-F238E27FC236}">
                <a16:creationId xmlns:a16="http://schemas.microsoft.com/office/drawing/2014/main" id="{ECB75FC1-1788-419A-81F0-661BDD39C2CF}"/>
              </a:ext>
            </a:extLst>
          </p:cNvPr>
          <p:cNvSpPr txBox="1"/>
          <p:nvPr/>
        </p:nvSpPr>
        <p:spPr>
          <a:xfrm>
            <a:off x="442914" y="1556384"/>
            <a:ext cx="3813930" cy="15799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285750" lvl="1" indent="-285750">
              <a:spcAft>
                <a:spcPts val="1000"/>
              </a:spcAft>
              <a:buClr>
                <a:srgbClr val="00ADEB"/>
              </a:buClr>
              <a:buSzPct val="120000"/>
              <a:buFont typeface="Arial" panose="020B0604020202020204" pitchFamily="34" charset="0"/>
              <a:buChar char="+"/>
            </a:pPr>
            <a:r>
              <a:rPr lang="ru-RU" sz="16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ая корпоративная</a:t>
            </a:r>
            <a:br>
              <a:rPr lang="ru-RU" sz="16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льтура и техновайб</a:t>
            </a:r>
          </a:p>
          <a:p>
            <a:pPr marL="285750" lvl="1" indent="-285750">
              <a:spcAft>
                <a:spcPts val="1000"/>
              </a:spcAft>
              <a:buClr>
                <a:srgbClr val="00ADEB"/>
              </a:buClr>
              <a:buSzPct val="120000"/>
              <a:buFont typeface="Arial" panose="020B0604020202020204" pitchFamily="34" charset="0"/>
              <a:buChar char="+"/>
            </a:pPr>
            <a:r>
              <a:rPr lang="ru-RU" sz="16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ружная команда профессионалов</a:t>
            </a:r>
          </a:p>
          <a:p>
            <a:pPr marL="285750" lvl="1" indent="-285750">
              <a:spcAft>
                <a:spcPts val="1000"/>
              </a:spcAft>
              <a:buClr>
                <a:srgbClr val="00ADEB"/>
              </a:buClr>
              <a:buSzPct val="120000"/>
              <a:buFont typeface="Arial" panose="020B0604020202020204" pitchFamily="34" charset="0"/>
              <a:buChar char="+"/>
            </a:pPr>
            <a:r>
              <a:rPr lang="ru-RU" sz="16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рокопрофильное обучение </a:t>
            </a:r>
            <a:br>
              <a:rPr lang="ru-RU" sz="16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сотрудников</a:t>
            </a:r>
          </a:p>
        </p:txBody>
      </p:sp>
      <p:sp>
        <p:nvSpPr>
          <p:cNvPr id="879" name="TextBox 878">
            <a:extLst>
              <a:ext uri="{FF2B5EF4-FFF2-40B4-BE49-F238E27FC236}">
                <a16:creationId xmlns:a16="http://schemas.microsoft.com/office/drawing/2014/main" id="{5E8E28F9-97D2-4C25-A23B-B20242F3FB4E}"/>
              </a:ext>
            </a:extLst>
          </p:cNvPr>
          <p:cNvSpPr txBox="1"/>
          <p:nvPr/>
        </p:nvSpPr>
        <p:spPr>
          <a:xfrm>
            <a:off x="8425838" y="1530808"/>
            <a:ext cx="3444083" cy="13336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2pPr marL="285750" lvl="1" indent="-285750">
              <a:spcAft>
                <a:spcPts val="1000"/>
              </a:spcAft>
              <a:buClr>
                <a:srgbClr val="00ADEB"/>
              </a:buClr>
              <a:buSzPct val="120000"/>
              <a:buFont typeface="Arial" panose="020B0604020202020204" pitchFamily="34" charset="0"/>
              <a:buChar char="+"/>
              <a:defRPr sz="160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ru-RU" dirty="0"/>
              <a:t>Работа в аккредитованной</a:t>
            </a:r>
            <a:br>
              <a:rPr lang="ru-RU" dirty="0"/>
            </a:br>
            <a:r>
              <a:rPr lang="ru-RU" dirty="0"/>
              <a:t>ИТ-компании</a:t>
            </a:r>
          </a:p>
          <a:p>
            <a:pPr lvl="1"/>
            <a:r>
              <a:rPr lang="ru-RU" dirty="0"/>
              <a:t>Корпоративный мерч</a:t>
            </a:r>
          </a:p>
          <a:p>
            <a:pPr lvl="1"/>
            <a:r>
              <a:rPr lang="ru-RU" dirty="0"/>
              <a:t>Скидки в компаниях-партнёрах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C8A402C-9326-4391-A47D-97EDA98621EF}"/>
              </a:ext>
            </a:extLst>
          </p:cNvPr>
          <p:cNvSpPr/>
          <p:nvPr/>
        </p:nvSpPr>
        <p:spPr>
          <a:xfrm>
            <a:off x="4757987" y="1556383"/>
            <a:ext cx="3166708" cy="13336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spcAft>
                <a:spcPts val="1000"/>
              </a:spcAft>
              <a:buClr>
                <a:srgbClr val="00ADEB"/>
              </a:buClr>
              <a:buSzPct val="120000"/>
              <a:buFont typeface="Arial" panose="020B0604020202020204" pitchFamily="34" charset="0"/>
              <a:buChar char="+"/>
            </a:pPr>
            <a:r>
              <a:rPr lang="ru-RU" sz="16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фетерий льгот </a:t>
            </a:r>
            <a:br>
              <a:rPr lang="en-US" sz="16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рограмма льгот на выбор)</a:t>
            </a:r>
          </a:p>
          <a:p>
            <a:pPr marL="285750" lvl="1" indent="-285750">
              <a:spcAft>
                <a:spcPts val="1000"/>
              </a:spcAft>
              <a:buClr>
                <a:srgbClr val="00ADEB"/>
              </a:buClr>
              <a:buSzPct val="120000"/>
              <a:buFont typeface="Arial" panose="020B0604020202020204" pitchFamily="34" charset="0"/>
              <a:buChar char="+"/>
            </a:pPr>
            <a:r>
              <a:rPr lang="ru-RU" sz="16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поративные библиотеки</a:t>
            </a:r>
          </a:p>
          <a:p>
            <a:pPr marL="285750" lvl="1" indent="-285750">
              <a:spcAft>
                <a:spcPts val="1000"/>
              </a:spcAft>
              <a:buClr>
                <a:srgbClr val="00ADEB"/>
              </a:buClr>
              <a:buSzPct val="120000"/>
              <a:buFont typeface="Arial" panose="020B0604020202020204" pitchFamily="34" charset="0"/>
              <a:buChar char="+"/>
            </a:pPr>
            <a:r>
              <a:rPr lang="ru-RU" sz="16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МС</a:t>
            </a:r>
            <a:endParaRPr lang="ru-RU" dirty="0"/>
          </a:p>
        </p:txBody>
      </p:sp>
      <p:grpSp>
        <p:nvGrpSpPr>
          <p:cNvPr id="2823" name="Группа 2822">
            <a:extLst>
              <a:ext uri="{FF2B5EF4-FFF2-40B4-BE49-F238E27FC236}">
                <a16:creationId xmlns:a16="http://schemas.microsoft.com/office/drawing/2014/main" id="{76F3F036-87CD-43E7-8198-748427164FE4}"/>
              </a:ext>
            </a:extLst>
          </p:cNvPr>
          <p:cNvGrpSpPr/>
          <p:nvPr/>
        </p:nvGrpSpPr>
        <p:grpSpPr>
          <a:xfrm>
            <a:off x="-137987" y="2468880"/>
            <a:ext cx="12218814" cy="4358130"/>
            <a:chOff x="-137987" y="2468880"/>
            <a:chExt cx="12218814" cy="4358130"/>
          </a:xfrm>
        </p:grpSpPr>
        <p:grpSp>
          <p:nvGrpSpPr>
            <p:cNvPr id="6" name="Рисунок 4">
              <a:extLst>
                <a:ext uri="{FF2B5EF4-FFF2-40B4-BE49-F238E27FC236}">
                  <a16:creationId xmlns:a16="http://schemas.microsoft.com/office/drawing/2014/main" id="{A12FFE5A-2774-4BDF-91FB-A9DB7BEF7BF9}"/>
                </a:ext>
              </a:extLst>
            </p:cNvPr>
            <p:cNvGrpSpPr/>
            <p:nvPr/>
          </p:nvGrpSpPr>
          <p:grpSpPr>
            <a:xfrm>
              <a:off x="5367694" y="2468880"/>
              <a:ext cx="6713133" cy="4076868"/>
              <a:chOff x="55449" y="2216727"/>
              <a:chExt cx="6912674" cy="4198049"/>
            </a:xfrm>
          </p:grpSpPr>
          <p:sp>
            <p:nvSpPr>
              <p:cNvPr id="7" name="Полилиния: фигура 6">
                <a:extLst>
                  <a:ext uri="{FF2B5EF4-FFF2-40B4-BE49-F238E27FC236}">
                    <a16:creationId xmlns:a16="http://schemas.microsoft.com/office/drawing/2014/main" id="{9CEB45ED-4D40-49C2-ACF1-1ADAFCC9F7FD}"/>
                  </a:ext>
                </a:extLst>
              </p:cNvPr>
              <p:cNvSpPr/>
              <p:nvPr/>
            </p:nvSpPr>
            <p:spPr>
              <a:xfrm>
                <a:off x="2267916" y="3018256"/>
                <a:ext cx="1771650" cy="1409700"/>
              </a:xfrm>
              <a:custGeom>
                <a:avLst/>
                <a:gdLst>
                  <a:gd name="connsiteX0" fmla="*/ 1764316 w 1771650"/>
                  <a:gd name="connsiteY0" fmla="*/ 1408271 h 1409700"/>
                  <a:gd name="connsiteX1" fmla="*/ 1764316 w 1771650"/>
                  <a:gd name="connsiteY1" fmla="*/ 1382554 h 1409700"/>
                  <a:gd name="connsiteX2" fmla="*/ 1764316 w 1771650"/>
                  <a:gd name="connsiteY2" fmla="*/ 1307973 h 1409700"/>
                  <a:gd name="connsiteX3" fmla="*/ 1763649 w 1771650"/>
                  <a:gd name="connsiteY3" fmla="*/ 1025081 h 1409700"/>
                  <a:gd name="connsiteX4" fmla="*/ 1762315 w 1771650"/>
                  <a:gd name="connsiteY4" fmla="*/ 11525 h 1409700"/>
                  <a:gd name="connsiteX5" fmla="*/ 1764887 w 1771650"/>
                  <a:gd name="connsiteY5" fmla="*/ 14097 h 1409700"/>
                  <a:gd name="connsiteX6" fmla="*/ 9525 w 1771650"/>
                  <a:gd name="connsiteY6" fmla="*/ 14573 h 1409700"/>
                  <a:gd name="connsiteX7" fmla="*/ 9525 w 1771650"/>
                  <a:gd name="connsiteY7" fmla="*/ 14573 h 1409700"/>
                  <a:gd name="connsiteX8" fmla="*/ 12573 w 1771650"/>
                  <a:gd name="connsiteY8" fmla="*/ 11525 h 1409700"/>
                  <a:gd name="connsiteX9" fmla="*/ 12573 w 1771650"/>
                  <a:gd name="connsiteY9" fmla="*/ 1408271 h 1409700"/>
                  <a:gd name="connsiteX10" fmla="*/ 9811 w 1771650"/>
                  <a:gd name="connsiteY10" fmla="*/ 1405604 h 1409700"/>
                  <a:gd name="connsiteX11" fmla="*/ 1277969 w 1771650"/>
                  <a:gd name="connsiteY11" fmla="*/ 1406938 h 1409700"/>
                  <a:gd name="connsiteX12" fmla="*/ 1637157 w 1771650"/>
                  <a:gd name="connsiteY12" fmla="*/ 1407604 h 1409700"/>
                  <a:gd name="connsiteX13" fmla="*/ 1732407 w 1771650"/>
                  <a:gd name="connsiteY13" fmla="*/ 1407604 h 1409700"/>
                  <a:gd name="connsiteX14" fmla="*/ 1756886 w 1771650"/>
                  <a:gd name="connsiteY14" fmla="*/ 1407604 h 1409700"/>
                  <a:gd name="connsiteX15" fmla="*/ 1765364 w 1771650"/>
                  <a:gd name="connsiteY15" fmla="*/ 1407604 h 1409700"/>
                  <a:gd name="connsiteX16" fmla="*/ 1757267 w 1771650"/>
                  <a:gd name="connsiteY16" fmla="*/ 1407604 h 1409700"/>
                  <a:gd name="connsiteX17" fmla="*/ 1732979 w 1771650"/>
                  <a:gd name="connsiteY17" fmla="*/ 1407604 h 1409700"/>
                  <a:gd name="connsiteX18" fmla="*/ 1638300 w 1771650"/>
                  <a:gd name="connsiteY18" fmla="*/ 1407604 h 1409700"/>
                  <a:gd name="connsiteX19" fmla="*/ 1279779 w 1771650"/>
                  <a:gd name="connsiteY19" fmla="*/ 1408271 h 1409700"/>
                  <a:gd name="connsiteX20" fmla="*/ 9811 w 1771650"/>
                  <a:gd name="connsiteY20" fmla="*/ 1409700 h 1409700"/>
                  <a:gd name="connsiteX21" fmla="*/ 7144 w 1771650"/>
                  <a:gd name="connsiteY21" fmla="*/ 1409700 h 1409700"/>
                  <a:gd name="connsiteX22" fmla="*/ 7144 w 1771650"/>
                  <a:gd name="connsiteY22" fmla="*/ 1406938 h 1409700"/>
                  <a:gd name="connsiteX23" fmla="*/ 7144 w 1771650"/>
                  <a:gd name="connsiteY23" fmla="*/ 10192 h 1409700"/>
                  <a:gd name="connsiteX24" fmla="*/ 7144 w 1771650"/>
                  <a:gd name="connsiteY24" fmla="*/ 7144 h 1409700"/>
                  <a:gd name="connsiteX25" fmla="*/ 10287 w 1771650"/>
                  <a:gd name="connsiteY25" fmla="*/ 7144 h 1409700"/>
                  <a:gd name="connsiteX26" fmla="*/ 1765649 w 1771650"/>
                  <a:gd name="connsiteY26" fmla="*/ 7715 h 1409700"/>
                  <a:gd name="connsiteX27" fmla="*/ 1766602 w 1771650"/>
                  <a:gd name="connsiteY27" fmla="*/ 7715 h 1409700"/>
                  <a:gd name="connsiteX28" fmla="*/ 1766602 w 1771650"/>
                  <a:gd name="connsiteY28" fmla="*/ 10192 h 1409700"/>
                  <a:gd name="connsiteX29" fmla="*/ 1765268 w 1771650"/>
                  <a:gd name="connsiteY29" fmla="*/ 1025366 h 1409700"/>
                  <a:gd name="connsiteX30" fmla="*/ 1764697 w 1771650"/>
                  <a:gd name="connsiteY30" fmla="*/ 1307687 h 1409700"/>
                  <a:gd name="connsiteX31" fmla="*/ 1764697 w 1771650"/>
                  <a:gd name="connsiteY31" fmla="*/ 1381792 h 1409700"/>
                  <a:gd name="connsiteX32" fmla="*/ 1764316 w 1771650"/>
                  <a:gd name="connsiteY32" fmla="*/ 1408271 h 1409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771650" h="1409700">
                    <a:moveTo>
                      <a:pt x="1764316" y="1408271"/>
                    </a:moveTo>
                    <a:cubicBezTo>
                      <a:pt x="1764316" y="1408271"/>
                      <a:pt x="1764316" y="1399413"/>
                      <a:pt x="1764316" y="1382554"/>
                    </a:cubicBezTo>
                    <a:cubicBezTo>
                      <a:pt x="1764316" y="1365695"/>
                      <a:pt x="1764316" y="1340644"/>
                      <a:pt x="1764316" y="1307973"/>
                    </a:cubicBezTo>
                    <a:cubicBezTo>
                      <a:pt x="1764316" y="1242727"/>
                      <a:pt x="1764316" y="1147096"/>
                      <a:pt x="1763649" y="1025081"/>
                    </a:cubicBezTo>
                    <a:cubicBezTo>
                      <a:pt x="1763649" y="781336"/>
                      <a:pt x="1762887" y="432435"/>
                      <a:pt x="1762315" y="11525"/>
                    </a:cubicBezTo>
                    <a:lnTo>
                      <a:pt x="1764887" y="14097"/>
                    </a:lnTo>
                    <a:lnTo>
                      <a:pt x="9525" y="14573"/>
                    </a:lnTo>
                    <a:lnTo>
                      <a:pt x="9525" y="14573"/>
                    </a:lnTo>
                    <a:lnTo>
                      <a:pt x="12573" y="11525"/>
                    </a:lnTo>
                    <a:cubicBezTo>
                      <a:pt x="12573" y="515779"/>
                      <a:pt x="12573" y="992600"/>
                      <a:pt x="12573" y="1408271"/>
                    </a:cubicBezTo>
                    <a:lnTo>
                      <a:pt x="9811" y="1405604"/>
                    </a:lnTo>
                    <a:lnTo>
                      <a:pt x="1277969" y="1406938"/>
                    </a:lnTo>
                    <a:lnTo>
                      <a:pt x="1637157" y="1407604"/>
                    </a:lnTo>
                    <a:lnTo>
                      <a:pt x="1732407" y="1407604"/>
                    </a:lnTo>
                    <a:lnTo>
                      <a:pt x="1756886" y="1407604"/>
                    </a:lnTo>
                    <a:lnTo>
                      <a:pt x="1765364" y="1407604"/>
                    </a:lnTo>
                    <a:lnTo>
                      <a:pt x="1757267" y="1407604"/>
                    </a:lnTo>
                    <a:lnTo>
                      <a:pt x="1732979" y="1407604"/>
                    </a:lnTo>
                    <a:lnTo>
                      <a:pt x="1638300" y="1407604"/>
                    </a:lnTo>
                    <a:lnTo>
                      <a:pt x="1279779" y="1408271"/>
                    </a:lnTo>
                    <a:lnTo>
                      <a:pt x="9811" y="1409700"/>
                    </a:lnTo>
                    <a:lnTo>
                      <a:pt x="7144" y="1409700"/>
                    </a:lnTo>
                    <a:lnTo>
                      <a:pt x="7144" y="1406938"/>
                    </a:lnTo>
                    <a:cubicBezTo>
                      <a:pt x="7144" y="990981"/>
                      <a:pt x="7144" y="514445"/>
                      <a:pt x="7144" y="10192"/>
                    </a:cubicBezTo>
                    <a:lnTo>
                      <a:pt x="7144" y="7144"/>
                    </a:lnTo>
                    <a:lnTo>
                      <a:pt x="10287" y="7144"/>
                    </a:lnTo>
                    <a:lnTo>
                      <a:pt x="1765649" y="7715"/>
                    </a:lnTo>
                    <a:lnTo>
                      <a:pt x="1766602" y="7715"/>
                    </a:lnTo>
                    <a:lnTo>
                      <a:pt x="1766602" y="10192"/>
                    </a:lnTo>
                    <a:cubicBezTo>
                      <a:pt x="1766030" y="431768"/>
                      <a:pt x="1765649" y="781145"/>
                      <a:pt x="1765268" y="1025366"/>
                    </a:cubicBezTo>
                    <a:cubicBezTo>
                      <a:pt x="1765268" y="1147096"/>
                      <a:pt x="1764792" y="1242536"/>
                      <a:pt x="1764697" y="1307687"/>
                    </a:cubicBezTo>
                    <a:cubicBezTo>
                      <a:pt x="1764697" y="1340072"/>
                      <a:pt x="1764697" y="1364837"/>
                      <a:pt x="1764697" y="1381792"/>
                    </a:cubicBezTo>
                    <a:cubicBezTo>
                      <a:pt x="1764697" y="1398746"/>
                      <a:pt x="1764316" y="1408271"/>
                      <a:pt x="1764316" y="1408271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" name="Полилиния: фигура 7">
                <a:extLst>
                  <a:ext uri="{FF2B5EF4-FFF2-40B4-BE49-F238E27FC236}">
                    <a16:creationId xmlns:a16="http://schemas.microsoft.com/office/drawing/2014/main" id="{3B001C9E-0ADF-4D02-A485-11F4562367C3}"/>
                  </a:ext>
                </a:extLst>
              </p:cNvPr>
              <p:cNvSpPr/>
              <p:nvPr/>
            </p:nvSpPr>
            <p:spPr>
              <a:xfrm>
                <a:off x="2496516" y="3281527"/>
                <a:ext cx="76200" cy="714375"/>
              </a:xfrm>
              <a:custGeom>
                <a:avLst/>
                <a:gdLst>
                  <a:gd name="connsiteX0" fmla="*/ 7144 w 76200"/>
                  <a:gd name="connsiteY0" fmla="*/ 7144 h 714375"/>
                  <a:gd name="connsiteX1" fmla="*/ 70580 w 76200"/>
                  <a:gd name="connsiteY1" fmla="*/ 7144 h 714375"/>
                  <a:gd name="connsiteX2" fmla="*/ 70580 w 76200"/>
                  <a:gd name="connsiteY2" fmla="*/ 716090 h 714375"/>
                  <a:gd name="connsiteX3" fmla="*/ 7144 w 76200"/>
                  <a:gd name="connsiteY3" fmla="*/ 716090 h 714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714375">
                    <a:moveTo>
                      <a:pt x="7144" y="7144"/>
                    </a:moveTo>
                    <a:lnTo>
                      <a:pt x="70580" y="7144"/>
                    </a:lnTo>
                    <a:lnTo>
                      <a:pt x="70580" y="716090"/>
                    </a:lnTo>
                    <a:lnTo>
                      <a:pt x="7144" y="716090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" name="Полилиния: фигура 8">
                <a:extLst>
                  <a:ext uri="{FF2B5EF4-FFF2-40B4-BE49-F238E27FC236}">
                    <a16:creationId xmlns:a16="http://schemas.microsoft.com/office/drawing/2014/main" id="{697605C9-ABAB-4D62-9766-85647938ECE5}"/>
                  </a:ext>
                </a:extLst>
              </p:cNvPr>
              <p:cNvSpPr/>
              <p:nvPr/>
            </p:nvSpPr>
            <p:spPr>
              <a:xfrm>
                <a:off x="2619008" y="3522319"/>
                <a:ext cx="76200" cy="476250"/>
              </a:xfrm>
              <a:custGeom>
                <a:avLst/>
                <a:gdLst>
                  <a:gd name="connsiteX0" fmla="*/ 7144 w 76200"/>
                  <a:gd name="connsiteY0" fmla="*/ 7144 h 476250"/>
                  <a:gd name="connsiteX1" fmla="*/ 70580 w 76200"/>
                  <a:gd name="connsiteY1" fmla="*/ 7144 h 476250"/>
                  <a:gd name="connsiteX2" fmla="*/ 70580 w 76200"/>
                  <a:gd name="connsiteY2" fmla="*/ 475298 h 476250"/>
                  <a:gd name="connsiteX3" fmla="*/ 7144 w 76200"/>
                  <a:gd name="connsiteY3" fmla="*/ 475298 h 47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476250">
                    <a:moveTo>
                      <a:pt x="7144" y="7144"/>
                    </a:moveTo>
                    <a:lnTo>
                      <a:pt x="70580" y="7144"/>
                    </a:lnTo>
                    <a:lnTo>
                      <a:pt x="70580" y="475298"/>
                    </a:lnTo>
                    <a:lnTo>
                      <a:pt x="7144" y="475298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" name="Полилиния: фигура 9">
                <a:extLst>
                  <a:ext uri="{FF2B5EF4-FFF2-40B4-BE49-F238E27FC236}">
                    <a16:creationId xmlns:a16="http://schemas.microsoft.com/office/drawing/2014/main" id="{BB0587C5-0650-4765-9AC8-EC7AF05BD612}"/>
                  </a:ext>
                </a:extLst>
              </p:cNvPr>
              <p:cNvSpPr/>
              <p:nvPr/>
            </p:nvSpPr>
            <p:spPr>
              <a:xfrm>
                <a:off x="2741595" y="3369633"/>
                <a:ext cx="76200" cy="638175"/>
              </a:xfrm>
              <a:custGeom>
                <a:avLst/>
                <a:gdLst>
                  <a:gd name="connsiteX0" fmla="*/ 7144 w 76200"/>
                  <a:gd name="connsiteY0" fmla="*/ 7144 h 638175"/>
                  <a:gd name="connsiteX1" fmla="*/ 70580 w 76200"/>
                  <a:gd name="connsiteY1" fmla="*/ 7144 h 638175"/>
                  <a:gd name="connsiteX2" fmla="*/ 70580 w 76200"/>
                  <a:gd name="connsiteY2" fmla="*/ 631507 h 638175"/>
                  <a:gd name="connsiteX3" fmla="*/ 7144 w 76200"/>
                  <a:gd name="connsiteY3" fmla="*/ 631507 h 638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638175">
                    <a:moveTo>
                      <a:pt x="7144" y="7144"/>
                    </a:moveTo>
                    <a:lnTo>
                      <a:pt x="70580" y="7144"/>
                    </a:lnTo>
                    <a:lnTo>
                      <a:pt x="70580" y="631507"/>
                    </a:lnTo>
                    <a:lnTo>
                      <a:pt x="7144" y="631507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" name="Полилиния: фигура 18">
                <a:extLst>
                  <a:ext uri="{FF2B5EF4-FFF2-40B4-BE49-F238E27FC236}">
                    <a16:creationId xmlns:a16="http://schemas.microsoft.com/office/drawing/2014/main" id="{C57139B7-AD93-491F-8C55-B532A525D7DC}"/>
                  </a:ext>
                </a:extLst>
              </p:cNvPr>
              <p:cNvSpPr/>
              <p:nvPr/>
            </p:nvSpPr>
            <p:spPr>
              <a:xfrm>
                <a:off x="2864181" y="3308864"/>
                <a:ext cx="76200" cy="695325"/>
              </a:xfrm>
              <a:custGeom>
                <a:avLst/>
                <a:gdLst>
                  <a:gd name="connsiteX0" fmla="*/ 7144 w 76200"/>
                  <a:gd name="connsiteY0" fmla="*/ 7144 h 695325"/>
                  <a:gd name="connsiteX1" fmla="*/ 70580 w 76200"/>
                  <a:gd name="connsiteY1" fmla="*/ 7144 h 695325"/>
                  <a:gd name="connsiteX2" fmla="*/ 70580 w 76200"/>
                  <a:gd name="connsiteY2" fmla="*/ 688658 h 695325"/>
                  <a:gd name="connsiteX3" fmla="*/ 7144 w 76200"/>
                  <a:gd name="connsiteY3" fmla="*/ 688658 h 695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695325">
                    <a:moveTo>
                      <a:pt x="7144" y="7144"/>
                    </a:moveTo>
                    <a:lnTo>
                      <a:pt x="70580" y="7144"/>
                    </a:lnTo>
                    <a:lnTo>
                      <a:pt x="70580" y="688658"/>
                    </a:lnTo>
                    <a:lnTo>
                      <a:pt x="7144" y="688658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" name="Полилиния: фигура 19">
                <a:extLst>
                  <a:ext uri="{FF2B5EF4-FFF2-40B4-BE49-F238E27FC236}">
                    <a16:creationId xmlns:a16="http://schemas.microsoft.com/office/drawing/2014/main" id="{A3BEF47B-0CCA-4AFF-8C1E-CBB9B0D823FD}"/>
                  </a:ext>
                </a:extLst>
              </p:cNvPr>
              <p:cNvSpPr/>
              <p:nvPr/>
            </p:nvSpPr>
            <p:spPr>
              <a:xfrm>
                <a:off x="2986673" y="3536702"/>
                <a:ext cx="76200" cy="466725"/>
              </a:xfrm>
              <a:custGeom>
                <a:avLst/>
                <a:gdLst>
                  <a:gd name="connsiteX0" fmla="*/ 7144 w 76200"/>
                  <a:gd name="connsiteY0" fmla="*/ 7144 h 466725"/>
                  <a:gd name="connsiteX1" fmla="*/ 70580 w 76200"/>
                  <a:gd name="connsiteY1" fmla="*/ 7144 h 466725"/>
                  <a:gd name="connsiteX2" fmla="*/ 70580 w 76200"/>
                  <a:gd name="connsiteY2" fmla="*/ 460915 h 466725"/>
                  <a:gd name="connsiteX3" fmla="*/ 7144 w 76200"/>
                  <a:gd name="connsiteY3" fmla="*/ 46091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466725">
                    <a:moveTo>
                      <a:pt x="7144" y="7144"/>
                    </a:moveTo>
                    <a:lnTo>
                      <a:pt x="70580" y="7144"/>
                    </a:lnTo>
                    <a:lnTo>
                      <a:pt x="70580" y="460915"/>
                    </a:lnTo>
                    <a:lnTo>
                      <a:pt x="7144" y="460915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" name="Полилиния: фигура 20">
                <a:extLst>
                  <a:ext uri="{FF2B5EF4-FFF2-40B4-BE49-F238E27FC236}">
                    <a16:creationId xmlns:a16="http://schemas.microsoft.com/office/drawing/2014/main" id="{38496453-989E-4025-9E42-4D2E5F1745E5}"/>
                  </a:ext>
                </a:extLst>
              </p:cNvPr>
              <p:cNvSpPr/>
              <p:nvPr/>
            </p:nvSpPr>
            <p:spPr>
              <a:xfrm>
                <a:off x="3109260" y="3625665"/>
                <a:ext cx="76200" cy="371475"/>
              </a:xfrm>
              <a:custGeom>
                <a:avLst/>
                <a:gdLst>
                  <a:gd name="connsiteX0" fmla="*/ 7144 w 76200"/>
                  <a:gd name="connsiteY0" fmla="*/ 7144 h 371475"/>
                  <a:gd name="connsiteX1" fmla="*/ 70580 w 76200"/>
                  <a:gd name="connsiteY1" fmla="*/ 7144 h 371475"/>
                  <a:gd name="connsiteX2" fmla="*/ 70580 w 76200"/>
                  <a:gd name="connsiteY2" fmla="*/ 371856 h 371475"/>
                  <a:gd name="connsiteX3" fmla="*/ 7144 w 76200"/>
                  <a:gd name="connsiteY3" fmla="*/ 371856 h 371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371475">
                    <a:moveTo>
                      <a:pt x="7144" y="7144"/>
                    </a:moveTo>
                    <a:lnTo>
                      <a:pt x="70580" y="7144"/>
                    </a:lnTo>
                    <a:lnTo>
                      <a:pt x="70580" y="371856"/>
                    </a:lnTo>
                    <a:lnTo>
                      <a:pt x="7144" y="371856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" name="Полилиния: фигура 21">
                <a:extLst>
                  <a:ext uri="{FF2B5EF4-FFF2-40B4-BE49-F238E27FC236}">
                    <a16:creationId xmlns:a16="http://schemas.microsoft.com/office/drawing/2014/main" id="{78973052-BB85-48FB-8AE7-9702A65D23B3}"/>
                  </a:ext>
                </a:extLst>
              </p:cNvPr>
              <p:cNvSpPr/>
              <p:nvPr/>
            </p:nvSpPr>
            <p:spPr>
              <a:xfrm>
                <a:off x="3231751" y="3354298"/>
                <a:ext cx="76200" cy="647700"/>
              </a:xfrm>
              <a:custGeom>
                <a:avLst/>
                <a:gdLst>
                  <a:gd name="connsiteX0" fmla="*/ 7144 w 76200"/>
                  <a:gd name="connsiteY0" fmla="*/ 7144 h 647700"/>
                  <a:gd name="connsiteX1" fmla="*/ 70580 w 76200"/>
                  <a:gd name="connsiteY1" fmla="*/ 7144 h 647700"/>
                  <a:gd name="connsiteX2" fmla="*/ 70580 w 76200"/>
                  <a:gd name="connsiteY2" fmla="*/ 643319 h 647700"/>
                  <a:gd name="connsiteX3" fmla="*/ 7144 w 76200"/>
                  <a:gd name="connsiteY3" fmla="*/ 643319 h 647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647700">
                    <a:moveTo>
                      <a:pt x="7144" y="7144"/>
                    </a:moveTo>
                    <a:lnTo>
                      <a:pt x="70580" y="7144"/>
                    </a:lnTo>
                    <a:lnTo>
                      <a:pt x="70580" y="643319"/>
                    </a:lnTo>
                    <a:lnTo>
                      <a:pt x="7144" y="643319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" name="Полилиния: фигура 22">
                <a:extLst>
                  <a:ext uri="{FF2B5EF4-FFF2-40B4-BE49-F238E27FC236}">
                    <a16:creationId xmlns:a16="http://schemas.microsoft.com/office/drawing/2014/main" id="{320B8466-2FCB-480D-950A-A6FB88494D56}"/>
                  </a:ext>
                </a:extLst>
              </p:cNvPr>
              <p:cNvSpPr/>
              <p:nvPr/>
            </p:nvSpPr>
            <p:spPr>
              <a:xfrm>
                <a:off x="3354338" y="3468979"/>
                <a:ext cx="76200" cy="533400"/>
              </a:xfrm>
              <a:custGeom>
                <a:avLst/>
                <a:gdLst>
                  <a:gd name="connsiteX0" fmla="*/ 7144 w 76200"/>
                  <a:gd name="connsiteY0" fmla="*/ 7144 h 533400"/>
                  <a:gd name="connsiteX1" fmla="*/ 70580 w 76200"/>
                  <a:gd name="connsiteY1" fmla="*/ 7144 h 533400"/>
                  <a:gd name="connsiteX2" fmla="*/ 70580 w 76200"/>
                  <a:gd name="connsiteY2" fmla="*/ 528638 h 533400"/>
                  <a:gd name="connsiteX3" fmla="*/ 7144 w 76200"/>
                  <a:gd name="connsiteY3" fmla="*/ 528638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533400">
                    <a:moveTo>
                      <a:pt x="7144" y="7144"/>
                    </a:moveTo>
                    <a:lnTo>
                      <a:pt x="70580" y="7144"/>
                    </a:lnTo>
                    <a:lnTo>
                      <a:pt x="70580" y="528638"/>
                    </a:lnTo>
                    <a:lnTo>
                      <a:pt x="7144" y="528638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" name="Полилиния: фигура 23">
                <a:extLst>
                  <a:ext uri="{FF2B5EF4-FFF2-40B4-BE49-F238E27FC236}">
                    <a16:creationId xmlns:a16="http://schemas.microsoft.com/office/drawing/2014/main" id="{8B20BC54-19C3-45BC-9C66-F9546B1A7F74}"/>
                  </a:ext>
                </a:extLst>
              </p:cNvPr>
              <p:cNvSpPr/>
              <p:nvPr/>
            </p:nvSpPr>
            <p:spPr>
              <a:xfrm>
                <a:off x="3476925" y="3377349"/>
                <a:ext cx="76200" cy="619125"/>
              </a:xfrm>
              <a:custGeom>
                <a:avLst/>
                <a:gdLst>
                  <a:gd name="connsiteX0" fmla="*/ 7144 w 76200"/>
                  <a:gd name="connsiteY0" fmla="*/ 7144 h 619125"/>
                  <a:gd name="connsiteX1" fmla="*/ 70580 w 76200"/>
                  <a:gd name="connsiteY1" fmla="*/ 7144 h 619125"/>
                  <a:gd name="connsiteX2" fmla="*/ 70580 w 76200"/>
                  <a:gd name="connsiteY2" fmla="*/ 620268 h 619125"/>
                  <a:gd name="connsiteX3" fmla="*/ 7144 w 76200"/>
                  <a:gd name="connsiteY3" fmla="*/ 620268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619125">
                    <a:moveTo>
                      <a:pt x="7144" y="7144"/>
                    </a:moveTo>
                    <a:lnTo>
                      <a:pt x="70580" y="7144"/>
                    </a:lnTo>
                    <a:lnTo>
                      <a:pt x="70580" y="620268"/>
                    </a:lnTo>
                    <a:lnTo>
                      <a:pt x="7144" y="62026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" name="Полилиния: фигура 24">
                <a:extLst>
                  <a:ext uri="{FF2B5EF4-FFF2-40B4-BE49-F238E27FC236}">
                    <a16:creationId xmlns:a16="http://schemas.microsoft.com/office/drawing/2014/main" id="{5643608C-83BF-476C-BBB6-8ECFDCA840AA}"/>
                  </a:ext>
                </a:extLst>
              </p:cNvPr>
              <p:cNvSpPr/>
              <p:nvPr/>
            </p:nvSpPr>
            <p:spPr>
              <a:xfrm>
                <a:off x="3599416" y="3572706"/>
                <a:ext cx="76200" cy="428625"/>
              </a:xfrm>
              <a:custGeom>
                <a:avLst/>
                <a:gdLst>
                  <a:gd name="connsiteX0" fmla="*/ 7144 w 76200"/>
                  <a:gd name="connsiteY0" fmla="*/ 7144 h 428625"/>
                  <a:gd name="connsiteX1" fmla="*/ 70580 w 76200"/>
                  <a:gd name="connsiteY1" fmla="*/ 7144 h 428625"/>
                  <a:gd name="connsiteX2" fmla="*/ 70580 w 76200"/>
                  <a:gd name="connsiteY2" fmla="*/ 424815 h 428625"/>
                  <a:gd name="connsiteX3" fmla="*/ 7144 w 76200"/>
                  <a:gd name="connsiteY3" fmla="*/ 424815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428625">
                    <a:moveTo>
                      <a:pt x="7144" y="7144"/>
                    </a:moveTo>
                    <a:lnTo>
                      <a:pt x="70580" y="7144"/>
                    </a:lnTo>
                    <a:lnTo>
                      <a:pt x="70580" y="424815"/>
                    </a:lnTo>
                    <a:lnTo>
                      <a:pt x="7144" y="424815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" name="Полилиния: фигура 25">
                <a:extLst>
                  <a:ext uri="{FF2B5EF4-FFF2-40B4-BE49-F238E27FC236}">
                    <a16:creationId xmlns:a16="http://schemas.microsoft.com/office/drawing/2014/main" id="{3C2A73F2-363D-4592-BA1D-E6C06DF920C3}"/>
                  </a:ext>
                </a:extLst>
              </p:cNvPr>
              <p:cNvSpPr/>
              <p:nvPr/>
            </p:nvSpPr>
            <p:spPr>
              <a:xfrm>
                <a:off x="3722003" y="3493268"/>
                <a:ext cx="76200" cy="504825"/>
              </a:xfrm>
              <a:custGeom>
                <a:avLst/>
                <a:gdLst>
                  <a:gd name="connsiteX0" fmla="*/ 7144 w 76200"/>
                  <a:gd name="connsiteY0" fmla="*/ 7144 h 504825"/>
                  <a:gd name="connsiteX1" fmla="*/ 70580 w 76200"/>
                  <a:gd name="connsiteY1" fmla="*/ 7144 h 504825"/>
                  <a:gd name="connsiteX2" fmla="*/ 70580 w 76200"/>
                  <a:gd name="connsiteY2" fmla="*/ 504349 h 504825"/>
                  <a:gd name="connsiteX3" fmla="*/ 7144 w 76200"/>
                  <a:gd name="connsiteY3" fmla="*/ 504349 h 504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504825">
                    <a:moveTo>
                      <a:pt x="7144" y="7144"/>
                    </a:moveTo>
                    <a:lnTo>
                      <a:pt x="70580" y="7144"/>
                    </a:lnTo>
                    <a:lnTo>
                      <a:pt x="70580" y="504349"/>
                    </a:lnTo>
                    <a:lnTo>
                      <a:pt x="7144" y="504349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" name="Полилиния: фигура 26">
                <a:extLst>
                  <a:ext uri="{FF2B5EF4-FFF2-40B4-BE49-F238E27FC236}">
                    <a16:creationId xmlns:a16="http://schemas.microsoft.com/office/drawing/2014/main" id="{1657F3A6-8187-4EBB-A785-78395C9AB96F}"/>
                  </a:ext>
                </a:extLst>
              </p:cNvPr>
              <p:cNvSpPr/>
              <p:nvPr/>
            </p:nvSpPr>
            <p:spPr>
              <a:xfrm>
                <a:off x="2466417" y="4037241"/>
                <a:ext cx="1352550" cy="19050"/>
              </a:xfrm>
              <a:custGeom>
                <a:avLst/>
                <a:gdLst>
                  <a:gd name="connsiteX0" fmla="*/ 1352074 w 1352550"/>
                  <a:gd name="connsiteY0" fmla="*/ 9715 h 19050"/>
                  <a:gd name="connsiteX1" fmla="*/ 679704 w 1352550"/>
                  <a:gd name="connsiteY1" fmla="*/ 12287 h 19050"/>
                  <a:gd name="connsiteX2" fmla="*/ 7144 w 1352550"/>
                  <a:gd name="connsiteY2" fmla="*/ 9715 h 19050"/>
                  <a:gd name="connsiteX3" fmla="*/ 679704 w 1352550"/>
                  <a:gd name="connsiteY3" fmla="*/ 7144 h 19050"/>
                  <a:gd name="connsiteX4" fmla="*/ 1352074 w 1352550"/>
                  <a:gd name="connsiteY4" fmla="*/ 9715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2550" h="19050">
                    <a:moveTo>
                      <a:pt x="1352074" y="9715"/>
                    </a:moveTo>
                    <a:cubicBezTo>
                      <a:pt x="1352074" y="11144"/>
                      <a:pt x="1050989" y="12287"/>
                      <a:pt x="679704" y="12287"/>
                    </a:cubicBezTo>
                    <a:cubicBezTo>
                      <a:pt x="308420" y="12287"/>
                      <a:pt x="7144" y="11144"/>
                      <a:pt x="7144" y="9715"/>
                    </a:cubicBezTo>
                    <a:cubicBezTo>
                      <a:pt x="7144" y="8287"/>
                      <a:pt x="308229" y="7144"/>
                      <a:pt x="679704" y="7144"/>
                    </a:cubicBezTo>
                    <a:cubicBezTo>
                      <a:pt x="1051179" y="7144"/>
                      <a:pt x="1352074" y="8287"/>
                      <a:pt x="1352074" y="9715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" name="Полилиния: фигура 27">
                <a:extLst>
                  <a:ext uri="{FF2B5EF4-FFF2-40B4-BE49-F238E27FC236}">
                    <a16:creationId xmlns:a16="http://schemas.microsoft.com/office/drawing/2014/main" id="{05273E2A-3FE3-4779-A944-44471747A249}"/>
                  </a:ext>
                </a:extLst>
              </p:cNvPr>
              <p:cNvSpPr/>
              <p:nvPr/>
            </p:nvSpPr>
            <p:spPr>
              <a:xfrm>
                <a:off x="2492801" y="4092962"/>
                <a:ext cx="104775" cy="19050"/>
              </a:xfrm>
              <a:custGeom>
                <a:avLst/>
                <a:gdLst>
                  <a:gd name="connsiteX0" fmla="*/ 101346 w 104775"/>
                  <a:gd name="connsiteY0" fmla="*/ 9811 h 19050"/>
                  <a:gd name="connsiteX1" fmla="*/ 7144 w 104775"/>
                  <a:gd name="connsiteY1" fmla="*/ 9811 h 19050"/>
                  <a:gd name="connsiteX2" fmla="*/ 101346 w 104775"/>
                  <a:gd name="connsiteY2" fmla="*/ 981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19050">
                    <a:moveTo>
                      <a:pt x="101346" y="9811"/>
                    </a:moveTo>
                    <a:cubicBezTo>
                      <a:pt x="70039" y="13239"/>
                      <a:pt x="38451" y="13239"/>
                      <a:pt x="7144" y="9811"/>
                    </a:cubicBezTo>
                    <a:cubicBezTo>
                      <a:pt x="38444" y="6255"/>
                      <a:pt x="70046" y="6255"/>
                      <a:pt x="101346" y="9811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" name="Полилиния: фигура 28">
                <a:extLst>
                  <a:ext uri="{FF2B5EF4-FFF2-40B4-BE49-F238E27FC236}">
                    <a16:creationId xmlns:a16="http://schemas.microsoft.com/office/drawing/2014/main" id="{51255A30-299C-4816-965C-662F9059B8D0}"/>
                  </a:ext>
                </a:extLst>
              </p:cNvPr>
              <p:cNvSpPr/>
              <p:nvPr/>
            </p:nvSpPr>
            <p:spPr>
              <a:xfrm>
                <a:off x="2630723" y="4095503"/>
                <a:ext cx="123825" cy="19050"/>
              </a:xfrm>
              <a:custGeom>
                <a:avLst/>
                <a:gdLst>
                  <a:gd name="connsiteX0" fmla="*/ 119729 w 123825"/>
                  <a:gd name="connsiteY0" fmla="*/ 10127 h 19050"/>
                  <a:gd name="connsiteX1" fmla="*/ 63437 w 123825"/>
                  <a:gd name="connsiteY1" fmla="*/ 12699 h 19050"/>
                  <a:gd name="connsiteX2" fmla="*/ 7144 w 123825"/>
                  <a:gd name="connsiteY2" fmla="*/ 10127 h 19050"/>
                  <a:gd name="connsiteX3" fmla="*/ 63437 w 123825"/>
                  <a:gd name="connsiteY3" fmla="*/ 7460 h 19050"/>
                  <a:gd name="connsiteX4" fmla="*/ 119729 w 123825"/>
                  <a:gd name="connsiteY4" fmla="*/ 10127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825" h="19050">
                    <a:moveTo>
                      <a:pt x="119729" y="10127"/>
                    </a:moveTo>
                    <a:cubicBezTo>
                      <a:pt x="101082" y="12693"/>
                      <a:pt x="82240" y="13554"/>
                      <a:pt x="63437" y="12699"/>
                    </a:cubicBezTo>
                    <a:cubicBezTo>
                      <a:pt x="44633" y="13559"/>
                      <a:pt x="25791" y="12698"/>
                      <a:pt x="7144" y="10127"/>
                    </a:cubicBezTo>
                    <a:cubicBezTo>
                      <a:pt x="25784" y="7493"/>
                      <a:pt x="44630" y="6601"/>
                      <a:pt x="63437" y="7460"/>
                    </a:cubicBezTo>
                    <a:cubicBezTo>
                      <a:pt x="82243" y="6606"/>
                      <a:pt x="101088" y="7498"/>
                      <a:pt x="119729" y="10127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" name="Полилиния: фигура 29">
                <a:extLst>
                  <a:ext uri="{FF2B5EF4-FFF2-40B4-BE49-F238E27FC236}">
                    <a16:creationId xmlns:a16="http://schemas.microsoft.com/office/drawing/2014/main" id="{FBC81A89-F851-4767-B18F-A03BB814EA17}"/>
                  </a:ext>
                </a:extLst>
              </p:cNvPr>
              <p:cNvSpPr/>
              <p:nvPr/>
            </p:nvSpPr>
            <p:spPr>
              <a:xfrm>
                <a:off x="2763978" y="4095503"/>
                <a:ext cx="123825" cy="19050"/>
              </a:xfrm>
              <a:custGeom>
                <a:avLst/>
                <a:gdLst>
                  <a:gd name="connsiteX0" fmla="*/ 119729 w 123825"/>
                  <a:gd name="connsiteY0" fmla="*/ 10127 h 19050"/>
                  <a:gd name="connsiteX1" fmla="*/ 63437 w 123825"/>
                  <a:gd name="connsiteY1" fmla="*/ 12699 h 19050"/>
                  <a:gd name="connsiteX2" fmla="*/ 7144 w 123825"/>
                  <a:gd name="connsiteY2" fmla="*/ 10127 h 19050"/>
                  <a:gd name="connsiteX3" fmla="*/ 63437 w 123825"/>
                  <a:gd name="connsiteY3" fmla="*/ 7460 h 19050"/>
                  <a:gd name="connsiteX4" fmla="*/ 119729 w 123825"/>
                  <a:gd name="connsiteY4" fmla="*/ 10127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825" h="19050">
                    <a:moveTo>
                      <a:pt x="119729" y="10127"/>
                    </a:moveTo>
                    <a:cubicBezTo>
                      <a:pt x="101082" y="12698"/>
                      <a:pt x="82240" y="13559"/>
                      <a:pt x="63437" y="12699"/>
                    </a:cubicBezTo>
                    <a:cubicBezTo>
                      <a:pt x="44633" y="13554"/>
                      <a:pt x="25791" y="12693"/>
                      <a:pt x="7144" y="10127"/>
                    </a:cubicBezTo>
                    <a:cubicBezTo>
                      <a:pt x="25785" y="7498"/>
                      <a:pt x="44630" y="6606"/>
                      <a:pt x="63437" y="7460"/>
                    </a:cubicBezTo>
                    <a:cubicBezTo>
                      <a:pt x="82243" y="6601"/>
                      <a:pt x="101088" y="7493"/>
                      <a:pt x="119729" y="10127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" name="Полилиния: фигура 30">
                <a:extLst>
                  <a:ext uri="{FF2B5EF4-FFF2-40B4-BE49-F238E27FC236}">
                    <a16:creationId xmlns:a16="http://schemas.microsoft.com/office/drawing/2014/main" id="{79F7EF06-9F86-49FB-A0DD-2D3527045FF5}"/>
                  </a:ext>
                </a:extLst>
              </p:cNvPr>
              <p:cNvSpPr/>
              <p:nvPr/>
            </p:nvSpPr>
            <p:spPr>
              <a:xfrm>
                <a:off x="2897233" y="4095819"/>
                <a:ext cx="123825" cy="19050"/>
              </a:xfrm>
              <a:custGeom>
                <a:avLst/>
                <a:gdLst>
                  <a:gd name="connsiteX0" fmla="*/ 119729 w 123825"/>
                  <a:gd name="connsiteY0" fmla="*/ 9811 h 19050"/>
                  <a:gd name="connsiteX1" fmla="*/ 7144 w 123825"/>
                  <a:gd name="connsiteY1" fmla="*/ 9811 h 19050"/>
                  <a:gd name="connsiteX2" fmla="*/ 119729 w 123825"/>
                  <a:gd name="connsiteY2" fmla="*/ 981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825" h="19050">
                    <a:moveTo>
                      <a:pt x="119729" y="9811"/>
                    </a:moveTo>
                    <a:cubicBezTo>
                      <a:pt x="82279" y="13240"/>
                      <a:pt x="44594" y="13240"/>
                      <a:pt x="7144" y="9811"/>
                    </a:cubicBezTo>
                    <a:cubicBezTo>
                      <a:pt x="44588" y="6255"/>
                      <a:pt x="82285" y="6255"/>
                      <a:pt x="119729" y="9811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" name="Полилиния: фигура 31">
                <a:extLst>
                  <a:ext uri="{FF2B5EF4-FFF2-40B4-BE49-F238E27FC236}">
                    <a16:creationId xmlns:a16="http://schemas.microsoft.com/office/drawing/2014/main" id="{E9B5D504-7F9B-47B7-9870-E8FF65603730}"/>
                  </a:ext>
                </a:extLst>
              </p:cNvPr>
              <p:cNvSpPr/>
              <p:nvPr/>
            </p:nvSpPr>
            <p:spPr>
              <a:xfrm>
                <a:off x="3030583" y="4095819"/>
                <a:ext cx="123825" cy="19050"/>
              </a:xfrm>
              <a:custGeom>
                <a:avLst/>
                <a:gdLst>
                  <a:gd name="connsiteX0" fmla="*/ 119729 w 123825"/>
                  <a:gd name="connsiteY0" fmla="*/ 9811 h 19050"/>
                  <a:gd name="connsiteX1" fmla="*/ 7144 w 123825"/>
                  <a:gd name="connsiteY1" fmla="*/ 9811 h 19050"/>
                  <a:gd name="connsiteX2" fmla="*/ 119729 w 123825"/>
                  <a:gd name="connsiteY2" fmla="*/ 981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825" h="19050">
                    <a:moveTo>
                      <a:pt x="119729" y="9811"/>
                    </a:moveTo>
                    <a:cubicBezTo>
                      <a:pt x="82279" y="13240"/>
                      <a:pt x="44594" y="13240"/>
                      <a:pt x="7144" y="9811"/>
                    </a:cubicBezTo>
                    <a:cubicBezTo>
                      <a:pt x="44588" y="6255"/>
                      <a:pt x="82285" y="6255"/>
                      <a:pt x="119729" y="9811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" name="Полилиния: фигура 33">
                <a:extLst>
                  <a:ext uri="{FF2B5EF4-FFF2-40B4-BE49-F238E27FC236}">
                    <a16:creationId xmlns:a16="http://schemas.microsoft.com/office/drawing/2014/main" id="{51A3281B-D6A3-4268-9516-0B3D3270CB39}"/>
                  </a:ext>
                </a:extLst>
              </p:cNvPr>
              <p:cNvSpPr/>
              <p:nvPr/>
            </p:nvSpPr>
            <p:spPr>
              <a:xfrm>
                <a:off x="3163838" y="4095819"/>
                <a:ext cx="123825" cy="19050"/>
              </a:xfrm>
              <a:custGeom>
                <a:avLst/>
                <a:gdLst>
                  <a:gd name="connsiteX0" fmla="*/ 119729 w 123825"/>
                  <a:gd name="connsiteY0" fmla="*/ 9811 h 19050"/>
                  <a:gd name="connsiteX1" fmla="*/ 7144 w 123825"/>
                  <a:gd name="connsiteY1" fmla="*/ 9811 h 19050"/>
                  <a:gd name="connsiteX2" fmla="*/ 119729 w 123825"/>
                  <a:gd name="connsiteY2" fmla="*/ 981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825" h="19050">
                    <a:moveTo>
                      <a:pt x="119729" y="9811"/>
                    </a:moveTo>
                    <a:cubicBezTo>
                      <a:pt x="82279" y="13240"/>
                      <a:pt x="44594" y="13240"/>
                      <a:pt x="7144" y="9811"/>
                    </a:cubicBezTo>
                    <a:cubicBezTo>
                      <a:pt x="44588" y="6255"/>
                      <a:pt x="82285" y="6255"/>
                      <a:pt x="119729" y="9811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" name="Полилиния: фигура 34">
                <a:extLst>
                  <a:ext uri="{FF2B5EF4-FFF2-40B4-BE49-F238E27FC236}">
                    <a16:creationId xmlns:a16="http://schemas.microsoft.com/office/drawing/2014/main" id="{8EFB8C60-EC09-47C3-B99E-873DE5CD4B4E}"/>
                  </a:ext>
                </a:extLst>
              </p:cNvPr>
              <p:cNvSpPr/>
              <p:nvPr/>
            </p:nvSpPr>
            <p:spPr>
              <a:xfrm>
                <a:off x="3297092" y="4095819"/>
                <a:ext cx="123825" cy="19050"/>
              </a:xfrm>
              <a:custGeom>
                <a:avLst/>
                <a:gdLst>
                  <a:gd name="connsiteX0" fmla="*/ 119729 w 123825"/>
                  <a:gd name="connsiteY0" fmla="*/ 9811 h 19050"/>
                  <a:gd name="connsiteX1" fmla="*/ 7144 w 123825"/>
                  <a:gd name="connsiteY1" fmla="*/ 9811 h 19050"/>
                  <a:gd name="connsiteX2" fmla="*/ 119729 w 123825"/>
                  <a:gd name="connsiteY2" fmla="*/ 981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825" h="19050">
                    <a:moveTo>
                      <a:pt x="119729" y="9811"/>
                    </a:moveTo>
                    <a:cubicBezTo>
                      <a:pt x="82279" y="13240"/>
                      <a:pt x="44594" y="13240"/>
                      <a:pt x="7144" y="9811"/>
                    </a:cubicBezTo>
                    <a:cubicBezTo>
                      <a:pt x="44588" y="6255"/>
                      <a:pt x="82285" y="6255"/>
                      <a:pt x="119729" y="9811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" name="Полилиния: фигура 35">
                <a:extLst>
                  <a:ext uri="{FF2B5EF4-FFF2-40B4-BE49-F238E27FC236}">
                    <a16:creationId xmlns:a16="http://schemas.microsoft.com/office/drawing/2014/main" id="{4A612BDB-A1B1-4E5B-AA49-D99A0A858ADA}"/>
                  </a:ext>
                </a:extLst>
              </p:cNvPr>
              <p:cNvSpPr/>
              <p:nvPr/>
            </p:nvSpPr>
            <p:spPr>
              <a:xfrm>
                <a:off x="3430347" y="4095819"/>
                <a:ext cx="123825" cy="19050"/>
              </a:xfrm>
              <a:custGeom>
                <a:avLst/>
                <a:gdLst>
                  <a:gd name="connsiteX0" fmla="*/ 119729 w 123825"/>
                  <a:gd name="connsiteY0" fmla="*/ 9811 h 19050"/>
                  <a:gd name="connsiteX1" fmla="*/ 7144 w 123825"/>
                  <a:gd name="connsiteY1" fmla="*/ 9811 h 19050"/>
                  <a:gd name="connsiteX2" fmla="*/ 119729 w 123825"/>
                  <a:gd name="connsiteY2" fmla="*/ 981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825" h="19050">
                    <a:moveTo>
                      <a:pt x="119729" y="9811"/>
                    </a:moveTo>
                    <a:cubicBezTo>
                      <a:pt x="82279" y="13240"/>
                      <a:pt x="44594" y="13240"/>
                      <a:pt x="7144" y="9811"/>
                    </a:cubicBezTo>
                    <a:cubicBezTo>
                      <a:pt x="44588" y="6255"/>
                      <a:pt x="82285" y="6255"/>
                      <a:pt x="119729" y="9811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" name="Полилиния: фигура 36">
                <a:extLst>
                  <a:ext uri="{FF2B5EF4-FFF2-40B4-BE49-F238E27FC236}">
                    <a16:creationId xmlns:a16="http://schemas.microsoft.com/office/drawing/2014/main" id="{EA942A37-215F-482C-AD4B-A9B36BD15D10}"/>
                  </a:ext>
                </a:extLst>
              </p:cNvPr>
              <p:cNvSpPr/>
              <p:nvPr/>
            </p:nvSpPr>
            <p:spPr>
              <a:xfrm>
                <a:off x="3563602" y="4095819"/>
                <a:ext cx="123825" cy="19050"/>
              </a:xfrm>
              <a:custGeom>
                <a:avLst/>
                <a:gdLst>
                  <a:gd name="connsiteX0" fmla="*/ 119824 w 123825"/>
                  <a:gd name="connsiteY0" fmla="*/ 9811 h 19050"/>
                  <a:gd name="connsiteX1" fmla="*/ 7144 w 123825"/>
                  <a:gd name="connsiteY1" fmla="*/ 9811 h 19050"/>
                  <a:gd name="connsiteX2" fmla="*/ 119824 w 123825"/>
                  <a:gd name="connsiteY2" fmla="*/ 981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825" h="19050">
                    <a:moveTo>
                      <a:pt x="119824" y="9811"/>
                    </a:moveTo>
                    <a:cubicBezTo>
                      <a:pt x="82342" y="13240"/>
                      <a:pt x="44626" y="13240"/>
                      <a:pt x="7144" y="9811"/>
                    </a:cubicBezTo>
                    <a:cubicBezTo>
                      <a:pt x="44620" y="6255"/>
                      <a:pt x="82348" y="6255"/>
                      <a:pt x="119824" y="9811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" name="Полилиния: фигура 37">
                <a:extLst>
                  <a:ext uri="{FF2B5EF4-FFF2-40B4-BE49-F238E27FC236}">
                    <a16:creationId xmlns:a16="http://schemas.microsoft.com/office/drawing/2014/main" id="{252E098A-8607-48BD-BDC9-F2C5C24B287A}"/>
                  </a:ext>
                </a:extLst>
              </p:cNvPr>
              <p:cNvSpPr/>
              <p:nvPr/>
            </p:nvSpPr>
            <p:spPr>
              <a:xfrm>
                <a:off x="3696952" y="4095819"/>
                <a:ext cx="123825" cy="19050"/>
              </a:xfrm>
              <a:custGeom>
                <a:avLst/>
                <a:gdLst>
                  <a:gd name="connsiteX0" fmla="*/ 119729 w 123825"/>
                  <a:gd name="connsiteY0" fmla="*/ 9811 h 19050"/>
                  <a:gd name="connsiteX1" fmla="*/ 7144 w 123825"/>
                  <a:gd name="connsiteY1" fmla="*/ 9811 h 19050"/>
                  <a:gd name="connsiteX2" fmla="*/ 119729 w 123825"/>
                  <a:gd name="connsiteY2" fmla="*/ 981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825" h="19050">
                    <a:moveTo>
                      <a:pt x="119729" y="9811"/>
                    </a:moveTo>
                    <a:cubicBezTo>
                      <a:pt x="82279" y="13240"/>
                      <a:pt x="44594" y="13240"/>
                      <a:pt x="7144" y="9811"/>
                    </a:cubicBezTo>
                    <a:cubicBezTo>
                      <a:pt x="44588" y="6255"/>
                      <a:pt x="82285" y="6255"/>
                      <a:pt x="119729" y="9811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" name="Полилиния: фигура 38">
                <a:extLst>
                  <a:ext uri="{FF2B5EF4-FFF2-40B4-BE49-F238E27FC236}">
                    <a16:creationId xmlns:a16="http://schemas.microsoft.com/office/drawing/2014/main" id="{C3E67133-5324-44AB-B694-C0EEF9141591}"/>
                  </a:ext>
                </a:extLst>
              </p:cNvPr>
              <p:cNvSpPr/>
              <p:nvPr/>
            </p:nvSpPr>
            <p:spPr>
              <a:xfrm>
                <a:off x="2213338" y="3014351"/>
                <a:ext cx="1866900" cy="66675"/>
              </a:xfrm>
              <a:custGeom>
                <a:avLst/>
                <a:gdLst>
                  <a:gd name="connsiteX0" fmla="*/ 7144 w 1866900"/>
                  <a:gd name="connsiteY0" fmla="*/ 7144 h 66675"/>
                  <a:gd name="connsiteX1" fmla="*/ 1868615 w 1866900"/>
                  <a:gd name="connsiteY1" fmla="*/ 7144 h 66675"/>
                  <a:gd name="connsiteX2" fmla="*/ 1868615 w 1866900"/>
                  <a:gd name="connsiteY2" fmla="*/ 59627 h 66675"/>
                  <a:gd name="connsiteX3" fmla="*/ 7144 w 1866900"/>
                  <a:gd name="connsiteY3" fmla="*/ 59627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6900" h="66675">
                    <a:moveTo>
                      <a:pt x="7144" y="7144"/>
                    </a:moveTo>
                    <a:lnTo>
                      <a:pt x="1868615" y="7144"/>
                    </a:lnTo>
                    <a:lnTo>
                      <a:pt x="1868615" y="59627"/>
                    </a:lnTo>
                    <a:lnTo>
                      <a:pt x="7144" y="59627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" name="Полилиния: фигура 39">
                <a:extLst>
                  <a:ext uri="{FF2B5EF4-FFF2-40B4-BE49-F238E27FC236}">
                    <a16:creationId xmlns:a16="http://schemas.microsoft.com/office/drawing/2014/main" id="{9AF70367-6DB5-405B-8AE3-E8D45314AA41}"/>
                  </a:ext>
                </a:extLst>
              </p:cNvPr>
              <p:cNvSpPr/>
              <p:nvPr/>
            </p:nvSpPr>
            <p:spPr>
              <a:xfrm>
                <a:off x="5562516" y="5687544"/>
                <a:ext cx="171450" cy="57150"/>
              </a:xfrm>
              <a:custGeom>
                <a:avLst/>
                <a:gdLst>
                  <a:gd name="connsiteX0" fmla="*/ 164499 w 171450"/>
                  <a:gd name="connsiteY0" fmla="*/ 43527 h 57150"/>
                  <a:gd name="connsiteX1" fmla="*/ 61153 w 171450"/>
                  <a:gd name="connsiteY1" fmla="*/ 7903 h 57150"/>
                  <a:gd name="connsiteX2" fmla="*/ 12290 w 171450"/>
                  <a:gd name="connsiteY2" fmla="*/ 16952 h 57150"/>
                  <a:gd name="connsiteX3" fmla="*/ 7242 w 171450"/>
                  <a:gd name="connsiteY3" fmla="*/ 25811 h 57150"/>
                  <a:gd name="connsiteX4" fmla="*/ 12004 w 171450"/>
                  <a:gd name="connsiteY4" fmla="*/ 32002 h 57150"/>
                  <a:gd name="connsiteX5" fmla="*/ 164404 w 171450"/>
                  <a:gd name="connsiteY5" fmla="*/ 43527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1450" h="57150">
                    <a:moveTo>
                      <a:pt x="164499" y="43527"/>
                    </a:moveTo>
                    <a:cubicBezTo>
                      <a:pt x="133208" y="23948"/>
                      <a:pt x="97863" y="11764"/>
                      <a:pt x="61153" y="7903"/>
                    </a:cubicBezTo>
                    <a:cubicBezTo>
                      <a:pt x="44294" y="6189"/>
                      <a:pt x="25815" y="6665"/>
                      <a:pt x="12290" y="16952"/>
                    </a:cubicBezTo>
                    <a:cubicBezTo>
                      <a:pt x="9432" y="19143"/>
                      <a:pt x="6575" y="22286"/>
                      <a:pt x="7242" y="25811"/>
                    </a:cubicBezTo>
                    <a:cubicBezTo>
                      <a:pt x="8014" y="28389"/>
                      <a:pt x="9709" y="30593"/>
                      <a:pt x="12004" y="32002"/>
                    </a:cubicBezTo>
                    <a:cubicBezTo>
                      <a:pt x="56731" y="63822"/>
                      <a:pt x="115401" y="68259"/>
                      <a:pt x="164404" y="43527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" name="Полилиния: фигура 40">
                <a:extLst>
                  <a:ext uri="{FF2B5EF4-FFF2-40B4-BE49-F238E27FC236}">
                    <a16:creationId xmlns:a16="http://schemas.microsoft.com/office/drawing/2014/main" id="{FAC5EF48-BB73-441C-A23B-4237E7F2BD43}"/>
                  </a:ext>
                </a:extLst>
              </p:cNvPr>
              <p:cNvSpPr/>
              <p:nvPr/>
            </p:nvSpPr>
            <p:spPr>
              <a:xfrm>
                <a:off x="5607270" y="5558954"/>
                <a:ext cx="123825" cy="171450"/>
              </a:xfrm>
              <a:custGeom>
                <a:avLst/>
                <a:gdLst>
                  <a:gd name="connsiteX0" fmla="*/ 117078 w 123825"/>
                  <a:gd name="connsiteY0" fmla="*/ 169164 h 171450"/>
                  <a:gd name="connsiteX1" fmla="*/ 50403 w 123825"/>
                  <a:gd name="connsiteY1" fmla="*/ 110490 h 171450"/>
                  <a:gd name="connsiteX2" fmla="*/ 8588 w 123825"/>
                  <a:gd name="connsiteY2" fmla="*/ 33052 h 171450"/>
                  <a:gd name="connsiteX3" fmla="*/ 11921 w 123825"/>
                  <a:gd name="connsiteY3" fmla="*/ 7144 h 171450"/>
                  <a:gd name="connsiteX4" fmla="*/ 116697 w 123825"/>
                  <a:gd name="connsiteY4" fmla="*/ 169069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825" h="171450">
                    <a:moveTo>
                      <a:pt x="117078" y="169164"/>
                    </a:moveTo>
                    <a:cubicBezTo>
                      <a:pt x="93187" y="151585"/>
                      <a:pt x="70877" y="131952"/>
                      <a:pt x="50403" y="110490"/>
                    </a:cubicBezTo>
                    <a:cubicBezTo>
                      <a:pt x="29873" y="88821"/>
                      <a:pt x="15446" y="62103"/>
                      <a:pt x="8588" y="33052"/>
                    </a:cubicBezTo>
                    <a:cubicBezTo>
                      <a:pt x="5836" y="24346"/>
                      <a:pt x="7055" y="14870"/>
                      <a:pt x="11921" y="7144"/>
                    </a:cubicBezTo>
                    <a:cubicBezTo>
                      <a:pt x="65072" y="48768"/>
                      <a:pt x="107172" y="102394"/>
                      <a:pt x="116697" y="169069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" name="Полилиния: фигура 41">
                <a:extLst>
                  <a:ext uri="{FF2B5EF4-FFF2-40B4-BE49-F238E27FC236}">
                    <a16:creationId xmlns:a16="http://schemas.microsoft.com/office/drawing/2014/main" id="{5DBE9A96-1457-4C9A-93A9-E62DD77DF80F}"/>
                  </a:ext>
                </a:extLst>
              </p:cNvPr>
              <p:cNvSpPr/>
              <p:nvPr/>
            </p:nvSpPr>
            <p:spPr>
              <a:xfrm>
                <a:off x="5715892" y="5563526"/>
                <a:ext cx="66675" cy="171450"/>
              </a:xfrm>
              <a:custGeom>
                <a:avLst/>
                <a:gdLst>
                  <a:gd name="connsiteX0" fmla="*/ 10551 w 66675"/>
                  <a:gd name="connsiteY0" fmla="*/ 167164 h 171450"/>
                  <a:gd name="connsiteX1" fmla="*/ 11790 w 66675"/>
                  <a:gd name="connsiteY1" fmla="*/ 79534 h 171450"/>
                  <a:gd name="connsiteX2" fmla="*/ 58462 w 66675"/>
                  <a:gd name="connsiteY2" fmla="*/ 7144 h 171450"/>
                  <a:gd name="connsiteX3" fmla="*/ 57224 w 66675"/>
                  <a:gd name="connsiteY3" fmla="*/ 75914 h 171450"/>
                  <a:gd name="connsiteX4" fmla="*/ 10933 w 66675"/>
                  <a:gd name="connsiteY4" fmla="*/ 173355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171450">
                    <a:moveTo>
                      <a:pt x="10551" y="167164"/>
                    </a:moveTo>
                    <a:cubicBezTo>
                      <a:pt x="5624" y="138122"/>
                      <a:pt x="6044" y="108425"/>
                      <a:pt x="11790" y="79534"/>
                    </a:cubicBezTo>
                    <a:cubicBezTo>
                      <a:pt x="17707" y="50400"/>
                      <a:pt x="34368" y="24558"/>
                      <a:pt x="58462" y="7144"/>
                    </a:cubicBezTo>
                    <a:cubicBezTo>
                      <a:pt x="67987" y="28670"/>
                      <a:pt x="63701" y="53435"/>
                      <a:pt x="57224" y="75914"/>
                    </a:cubicBezTo>
                    <a:cubicBezTo>
                      <a:pt x="47168" y="110686"/>
                      <a:pt x="31534" y="143594"/>
                      <a:pt x="10933" y="173355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" name="Полилиния: фигура 42">
                <a:extLst>
                  <a:ext uri="{FF2B5EF4-FFF2-40B4-BE49-F238E27FC236}">
                    <a16:creationId xmlns:a16="http://schemas.microsoft.com/office/drawing/2014/main" id="{49BC2E12-734D-427D-8F34-E82F311EE403}"/>
                  </a:ext>
                </a:extLst>
              </p:cNvPr>
              <p:cNvSpPr/>
              <p:nvPr/>
            </p:nvSpPr>
            <p:spPr>
              <a:xfrm>
                <a:off x="5640909" y="5817177"/>
                <a:ext cx="142875" cy="133350"/>
              </a:xfrm>
              <a:custGeom>
                <a:avLst/>
                <a:gdLst>
                  <a:gd name="connsiteX0" fmla="*/ 137636 w 142875"/>
                  <a:gd name="connsiteY0" fmla="*/ 7144 h 133350"/>
                  <a:gd name="connsiteX1" fmla="*/ 54769 w 142875"/>
                  <a:gd name="connsiteY1" fmla="*/ 49054 h 133350"/>
                  <a:gd name="connsiteX2" fmla="*/ 7144 w 142875"/>
                  <a:gd name="connsiteY2" fmla="*/ 130397 h 133350"/>
                  <a:gd name="connsiteX3" fmla="*/ 83344 w 142875"/>
                  <a:gd name="connsiteY3" fmla="*/ 82010 h 133350"/>
                  <a:gd name="connsiteX4" fmla="*/ 136684 w 142875"/>
                  <a:gd name="connsiteY4" fmla="*/ 762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75" h="133350">
                    <a:moveTo>
                      <a:pt x="137636" y="7144"/>
                    </a:moveTo>
                    <a:cubicBezTo>
                      <a:pt x="106327" y="12153"/>
                      <a:pt x="77359" y="26803"/>
                      <a:pt x="54769" y="49054"/>
                    </a:cubicBezTo>
                    <a:cubicBezTo>
                      <a:pt x="30940" y="70653"/>
                      <a:pt x="14317" y="99046"/>
                      <a:pt x="7144" y="130397"/>
                    </a:cubicBezTo>
                    <a:cubicBezTo>
                      <a:pt x="38195" y="128492"/>
                      <a:pt x="64294" y="106585"/>
                      <a:pt x="83344" y="82010"/>
                    </a:cubicBezTo>
                    <a:cubicBezTo>
                      <a:pt x="102394" y="57436"/>
                      <a:pt x="115729" y="30575"/>
                      <a:pt x="136684" y="7620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" name="Полилиния: фигура 43">
                <a:extLst>
                  <a:ext uri="{FF2B5EF4-FFF2-40B4-BE49-F238E27FC236}">
                    <a16:creationId xmlns:a16="http://schemas.microsoft.com/office/drawing/2014/main" id="{705C94D5-5727-47F3-B0B3-8ADCF5AF3D56}"/>
                  </a:ext>
                </a:extLst>
              </p:cNvPr>
              <p:cNvSpPr/>
              <p:nvPr/>
            </p:nvSpPr>
            <p:spPr>
              <a:xfrm>
                <a:off x="5768572" y="5638584"/>
                <a:ext cx="57150" cy="200025"/>
              </a:xfrm>
              <a:custGeom>
                <a:avLst/>
                <a:gdLst>
                  <a:gd name="connsiteX0" fmla="*/ 21308 w 57150"/>
                  <a:gd name="connsiteY0" fmla="*/ 200501 h 200025"/>
                  <a:gd name="connsiteX1" fmla="*/ 44930 w 57150"/>
                  <a:gd name="connsiteY1" fmla="*/ 7144 h 200025"/>
                  <a:gd name="connsiteX2" fmla="*/ 21308 w 57150"/>
                  <a:gd name="connsiteY2" fmla="*/ 200501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150" h="200025">
                    <a:moveTo>
                      <a:pt x="21308" y="200501"/>
                    </a:moveTo>
                    <a:cubicBezTo>
                      <a:pt x="-3939" y="136190"/>
                      <a:pt x="4944" y="63485"/>
                      <a:pt x="44930" y="7144"/>
                    </a:cubicBezTo>
                    <a:cubicBezTo>
                      <a:pt x="64016" y="72099"/>
                      <a:pt x="55470" y="142051"/>
                      <a:pt x="21308" y="200501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5" name="Полилиния: фигура 44">
                <a:extLst>
                  <a:ext uri="{FF2B5EF4-FFF2-40B4-BE49-F238E27FC236}">
                    <a16:creationId xmlns:a16="http://schemas.microsoft.com/office/drawing/2014/main" id="{0E75B467-4BEE-4720-A8F1-4635FA5C456B}"/>
                  </a:ext>
                </a:extLst>
              </p:cNvPr>
              <p:cNvSpPr/>
              <p:nvPr/>
            </p:nvSpPr>
            <p:spPr>
              <a:xfrm>
                <a:off x="5708343" y="5913672"/>
                <a:ext cx="152400" cy="104775"/>
              </a:xfrm>
              <a:custGeom>
                <a:avLst/>
                <a:gdLst>
                  <a:gd name="connsiteX0" fmla="*/ 150499 w 152400"/>
                  <a:gd name="connsiteY0" fmla="*/ 7423 h 104775"/>
                  <a:gd name="connsiteX1" fmla="*/ 9147 w 152400"/>
                  <a:gd name="connsiteY1" fmla="*/ 88766 h 104775"/>
                  <a:gd name="connsiteX2" fmla="*/ 8195 w 152400"/>
                  <a:gd name="connsiteY2" fmla="*/ 99815 h 104775"/>
                  <a:gd name="connsiteX3" fmla="*/ 17720 w 152400"/>
                  <a:gd name="connsiteY3" fmla="*/ 102578 h 104775"/>
                  <a:gd name="connsiteX4" fmla="*/ 90586 w 152400"/>
                  <a:gd name="connsiteY4" fmla="*/ 64954 h 104775"/>
                  <a:gd name="connsiteX5" fmla="*/ 151165 w 152400"/>
                  <a:gd name="connsiteY5" fmla="*/ 7327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2400" h="104775">
                    <a:moveTo>
                      <a:pt x="150499" y="7423"/>
                    </a:moveTo>
                    <a:cubicBezTo>
                      <a:pt x="91346" y="3795"/>
                      <a:pt x="35732" y="35799"/>
                      <a:pt x="9147" y="88766"/>
                    </a:cubicBezTo>
                    <a:cubicBezTo>
                      <a:pt x="6871" y="92012"/>
                      <a:pt x="6507" y="96228"/>
                      <a:pt x="8195" y="99815"/>
                    </a:cubicBezTo>
                    <a:cubicBezTo>
                      <a:pt x="10697" y="102291"/>
                      <a:pt x="14282" y="103331"/>
                      <a:pt x="17720" y="102578"/>
                    </a:cubicBezTo>
                    <a:cubicBezTo>
                      <a:pt x="45533" y="100768"/>
                      <a:pt x="70202" y="84004"/>
                      <a:pt x="90586" y="64954"/>
                    </a:cubicBezTo>
                    <a:cubicBezTo>
                      <a:pt x="110970" y="45904"/>
                      <a:pt x="128686" y="23806"/>
                      <a:pt x="151165" y="7327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" name="Полилиния: фигура 45">
                <a:extLst>
                  <a:ext uri="{FF2B5EF4-FFF2-40B4-BE49-F238E27FC236}">
                    <a16:creationId xmlns:a16="http://schemas.microsoft.com/office/drawing/2014/main" id="{4B986C6C-2041-43B4-992D-21C7F9975615}"/>
                  </a:ext>
                </a:extLst>
              </p:cNvPr>
              <p:cNvSpPr/>
              <p:nvPr/>
            </p:nvSpPr>
            <p:spPr>
              <a:xfrm>
                <a:off x="5837629" y="5713861"/>
                <a:ext cx="66675" cy="209550"/>
              </a:xfrm>
              <a:custGeom>
                <a:avLst/>
                <a:gdLst>
                  <a:gd name="connsiteX0" fmla="*/ 19022 w 66675"/>
                  <a:gd name="connsiteY0" fmla="*/ 202757 h 209550"/>
                  <a:gd name="connsiteX1" fmla="*/ 16354 w 66675"/>
                  <a:gd name="connsiteY1" fmla="*/ 55787 h 209550"/>
                  <a:gd name="connsiteX2" fmla="*/ 47787 w 66675"/>
                  <a:gd name="connsiteY2" fmla="*/ 8162 h 209550"/>
                  <a:gd name="connsiteX3" fmla="*/ 52550 w 66675"/>
                  <a:gd name="connsiteY3" fmla="*/ 7304 h 209550"/>
                  <a:gd name="connsiteX4" fmla="*/ 55598 w 66675"/>
                  <a:gd name="connsiteY4" fmla="*/ 10829 h 209550"/>
                  <a:gd name="connsiteX5" fmla="*/ 62932 w 66675"/>
                  <a:gd name="connsiteY5" fmla="*/ 52929 h 209550"/>
                  <a:gd name="connsiteX6" fmla="*/ 56360 w 66675"/>
                  <a:gd name="connsiteY6" fmla="*/ 95696 h 209550"/>
                  <a:gd name="connsiteX7" fmla="*/ 33595 w 66675"/>
                  <a:gd name="connsiteY7" fmla="*/ 171896 h 209550"/>
                  <a:gd name="connsiteX8" fmla="*/ 24070 w 66675"/>
                  <a:gd name="connsiteY8" fmla="*/ 188756 h 209550"/>
                  <a:gd name="connsiteX9" fmla="*/ 18832 w 66675"/>
                  <a:gd name="connsiteY9" fmla="*/ 201043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6675" h="209550">
                    <a:moveTo>
                      <a:pt x="19022" y="202757"/>
                    </a:moveTo>
                    <a:cubicBezTo>
                      <a:pt x="4149" y="155022"/>
                      <a:pt x="3224" y="104030"/>
                      <a:pt x="16354" y="55787"/>
                    </a:cubicBezTo>
                    <a:cubicBezTo>
                      <a:pt x="21594" y="36737"/>
                      <a:pt x="30261" y="16924"/>
                      <a:pt x="47787" y="8162"/>
                    </a:cubicBezTo>
                    <a:cubicBezTo>
                      <a:pt x="49188" y="7231"/>
                      <a:pt x="50912" y="6921"/>
                      <a:pt x="52550" y="7304"/>
                    </a:cubicBezTo>
                    <a:cubicBezTo>
                      <a:pt x="53986" y="8038"/>
                      <a:pt x="55079" y="9302"/>
                      <a:pt x="55598" y="10829"/>
                    </a:cubicBezTo>
                    <a:cubicBezTo>
                      <a:pt x="61453" y="24050"/>
                      <a:pt x="63972" y="38507"/>
                      <a:pt x="62932" y="52929"/>
                    </a:cubicBezTo>
                    <a:cubicBezTo>
                      <a:pt x="61937" y="67343"/>
                      <a:pt x="59739" y="81649"/>
                      <a:pt x="56360" y="95696"/>
                    </a:cubicBezTo>
                    <a:cubicBezTo>
                      <a:pt x="50835" y="121795"/>
                      <a:pt x="47883" y="149798"/>
                      <a:pt x="33595" y="171896"/>
                    </a:cubicBezTo>
                    <a:cubicBezTo>
                      <a:pt x="30101" y="177330"/>
                      <a:pt x="26921" y="182959"/>
                      <a:pt x="24070" y="188756"/>
                    </a:cubicBezTo>
                    <a:cubicBezTo>
                      <a:pt x="21308" y="194471"/>
                      <a:pt x="21308" y="196471"/>
                      <a:pt x="18832" y="201043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" name="Полилиния: фигура 46">
                <a:extLst>
                  <a:ext uri="{FF2B5EF4-FFF2-40B4-BE49-F238E27FC236}">
                    <a16:creationId xmlns:a16="http://schemas.microsoft.com/office/drawing/2014/main" id="{0C30A136-EC14-4A8A-AE96-C2515F820C1F}"/>
                  </a:ext>
                </a:extLst>
              </p:cNvPr>
              <p:cNvSpPr/>
              <p:nvPr/>
            </p:nvSpPr>
            <p:spPr>
              <a:xfrm>
                <a:off x="6027160" y="5774696"/>
                <a:ext cx="66675" cy="171450"/>
              </a:xfrm>
              <a:custGeom>
                <a:avLst/>
                <a:gdLst>
                  <a:gd name="connsiteX0" fmla="*/ 11894 w 66675"/>
                  <a:gd name="connsiteY0" fmla="*/ 169069 h 171450"/>
                  <a:gd name="connsiteX1" fmla="*/ 45136 w 66675"/>
                  <a:gd name="connsiteY1" fmla="*/ 13240 h 171450"/>
                  <a:gd name="connsiteX2" fmla="*/ 54661 w 66675"/>
                  <a:gd name="connsiteY2" fmla="*/ 7144 h 171450"/>
                  <a:gd name="connsiteX3" fmla="*/ 61900 w 66675"/>
                  <a:gd name="connsiteY3" fmla="*/ 21622 h 171450"/>
                  <a:gd name="connsiteX4" fmla="*/ 11989 w 66675"/>
                  <a:gd name="connsiteY4" fmla="*/ 169069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171450">
                    <a:moveTo>
                      <a:pt x="11894" y="169069"/>
                    </a:moveTo>
                    <a:cubicBezTo>
                      <a:pt x="-509" y="114765"/>
                      <a:pt x="11653" y="57755"/>
                      <a:pt x="45136" y="13240"/>
                    </a:cubicBezTo>
                    <a:cubicBezTo>
                      <a:pt x="47095" y="9746"/>
                      <a:pt x="50668" y="7459"/>
                      <a:pt x="54661" y="7144"/>
                    </a:cubicBezTo>
                    <a:cubicBezTo>
                      <a:pt x="60566" y="7715"/>
                      <a:pt x="62186" y="15716"/>
                      <a:pt x="61900" y="21622"/>
                    </a:cubicBezTo>
                    <a:cubicBezTo>
                      <a:pt x="59414" y="74478"/>
                      <a:pt x="42119" y="125570"/>
                      <a:pt x="11989" y="169069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" name="Полилиния: фигура 47">
                <a:extLst>
                  <a:ext uri="{FF2B5EF4-FFF2-40B4-BE49-F238E27FC236}">
                    <a16:creationId xmlns:a16="http://schemas.microsoft.com/office/drawing/2014/main" id="{01271C57-EDB3-4FBB-8229-19A0E8FDD87E}"/>
                  </a:ext>
                </a:extLst>
              </p:cNvPr>
              <p:cNvSpPr/>
              <p:nvPr/>
            </p:nvSpPr>
            <p:spPr>
              <a:xfrm>
                <a:off x="6047912" y="5893732"/>
                <a:ext cx="200025" cy="66675"/>
              </a:xfrm>
              <a:custGeom>
                <a:avLst/>
                <a:gdLst>
                  <a:gd name="connsiteX0" fmla="*/ 7525 w 200025"/>
                  <a:gd name="connsiteY0" fmla="*/ 61272 h 66675"/>
                  <a:gd name="connsiteX1" fmla="*/ 193643 w 200025"/>
                  <a:gd name="connsiteY1" fmla="*/ 23172 h 66675"/>
                  <a:gd name="connsiteX2" fmla="*/ 92869 w 200025"/>
                  <a:gd name="connsiteY2" fmla="*/ 10790 h 66675"/>
                  <a:gd name="connsiteX3" fmla="*/ 7144 w 200025"/>
                  <a:gd name="connsiteY3" fmla="*/ 60987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0025" h="66675">
                    <a:moveTo>
                      <a:pt x="7525" y="61272"/>
                    </a:moveTo>
                    <a:cubicBezTo>
                      <a:pt x="72151" y="76421"/>
                      <a:pt x="140169" y="62497"/>
                      <a:pt x="193643" y="23172"/>
                    </a:cubicBezTo>
                    <a:cubicBezTo>
                      <a:pt x="162482" y="7557"/>
                      <a:pt x="126884" y="3183"/>
                      <a:pt x="92869" y="10790"/>
                    </a:cubicBezTo>
                    <a:cubicBezTo>
                      <a:pt x="59242" y="16818"/>
                      <a:pt x="28855" y="34611"/>
                      <a:pt x="7144" y="60987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" name="Полилиния: фигура 48">
                <a:extLst>
                  <a:ext uri="{FF2B5EF4-FFF2-40B4-BE49-F238E27FC236}">
                    <a16:creationId xmlns:a16="http://schemas.microsoft.com/office/drawing/2014/main" id="{19F024AC-67A9-4025-9241-7CDCBF99408F}"/>
                  </a:ext>
                </a:extLst>
              </p:cNvPr>
              <p:cNvSpPr/>
              <p:nvPr/>
            </p:nvSpPr>
            <p:spPr>
              <a:xfrm>
                <a:off x="6062200" y="5816034"/>
                <a:ext cx="180975" cy="104775"/>
              </a:xfrm>
              <a:custGeom>
                <a:avLst/>
                <a:gdLst>
                  <a:gd name="connsiteX0" fmla="*/ 7144 w 180975"/>
                  <a:gd name="connsiteY0" fmla="*/ 104775 h 104775"/>
                  <a:gd name="connsiteX1" fmla="*/ 176022 w 180975"/>
                  <a:gd name="connsiteY1" fmla="*/ 7144 h 104775"/>
                  <a:gd name="connsiteX2" fmla="*/ 120777 w 180975"/>
                  <a:gd name="connsiteY2" fmla="*/ 68199 h 104775"/>
                  <a:gd name="connsiteX3" fmla="*/ 39719 w 180975"/>
                  <a:gd name="connsiteY3" fmla="*/ 91916 h 104775"/>
                  <a:gd name="connsiteX4" fmla="*/ 7144 w 180975"/>
                  <a:gd name="connsiteY4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975" h="104775">
                    <a:moveTo>
                      <a:pt x="7144" y="104775"/>
                    </a:moveTo>
                    <a:cubicBezTo>
                      <a:pt x="44582" y="47095"/>
                      <a:pt x="107354" y="10805"/>
                      <a:pt x="176022" y="7144"/>
                    </a:cubicBezTo>
                    <a:cubicBezTo>
                      <a:pt x="166710" y="34182"/>
                      <a:pt x="146752" y="56239"/>
                      <a:pt x="120777" y="68199"/>
                    </a:cubicBezTo>
                    <a:cubicBezTo>
                      <a:pt x="94971" y="79779"/>
                      <a:pt x="67697" y="87759"/>
                      <a:pt x="39719" y="91916"/>
                    </a:cubicBezTo>
                    <a:cubicBezTo>
                      <a:pt x="28956" y="94012"/>
                      <a:pt x="14097" y="96298"/>
                      <a:pt x="7144" y="104775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" name="Полилиния: фигура 49">
                <a:extLst>
                  <a:ext uri="{FF2B5EF4-FFF2-40B4-BE49-F238E27FC236}">
                    <a16:creationId xmlns:a16="http://schemas.microsoft.com/office/drawing/2014/main" id="{A281CE73-8409-42F3-89E8-2B326D16DB9B}"/>
                  </a:ext>
                </a:extLst>
              </p:cNvPr>
              <p:cNvSpPr/>
              <p:nvPr/>
            </p:nvSpPr>
            <p:spPr>
              <a:xfrm>
                <a:off x="6011052" y="5550477"/>
                <a:ext cx="57150" cy="209550"/>
              </a:xfrm>
              <a:custGeom>
                <a:avLst/>
                <a:gdLst>
                  <a:gd name="connsiteX0" fmla="*/ 31431 w 57150"/>
                  <a:gd name="connsiteY0" fmla="*/ 204216 h 209550"/>
                  <a:gd name="connsiteX1" fmla="*/ 53053 w 57150"/>
                  <a:gd name="connsiteY1" fmla="*/ 105346 h 209550"/>
                  <a:gd name="connsiteX2" fmla="*/ 33241 w 57150"/>
                  <a:gd name="connsiteY2" fmla="*/ 7144 h 209550"/>
                  <a:gd name="connsiteX3" fmla="*/ 30383 w 57150"/>
                  <a:gd name="connsiteY3" fmla="*/ 207169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50" h="209550">
                    <a:moveTo>
                      <a:pt x="31431" y="204216"/>
                    </a:moveTo>
                    <a:cubicBezTo>
                      <a:pt x="42076" y="172106"/>
                      <a:pt x="49323" y="138969"/>
                      <a:pt x="53053" y="105346"/>
                    </a:cubicBezTo>
                    <a:cubicBezTo>
                      <a:pt x="56807" y="71349"/>
                      <a:pt x="49883" y="37026"/>
                      <a:pt x="33241" y="7144"/>
                    </a:cubicBezTo>
                    <a:cubicBezTo>
                      <a:pt x="-516" y="69300"/>
                      <a:pt x="-1584" y="144073"/>
                      <a:pt x="30383" y="207169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" name="Полилиния: фигура 50">
                <a:extLst>
                  <a:ext uri="{FF2B5EF4-FFF2-40B4-BE49-F238E27FC236}">
                    <a16:creationId xmlns:a16="http://schemas.microsoft.com/office/drawing/2014/main" id="{C4A6557F-7B66-44D3-A330-238EBF7D2263}"/>
                  </a:ext>
                </a:extLst>
              </p:cNvPr>
              <p:cNvSpPr/>
              <p:nvPr/>
            </p:nvSpPr>
            <p:spPr>
              <a:xfrm>
                <a:off x="6145353" y="5559335"/>
                <a:ext cx="200025" cy="142875"/>
              </a:xfrm>
              <a:custGeom>
                <a:avLst/>
                <a:gdLst>
                  <a:gd name="connsiteX0" fmla="*/ 7144 w 200025"/>
                  <a:gd name="connsiteY0" fmla="*/ 139827 h 142875"/>
                  <a:gd name="connsiteX1" fmla="*/ 202216 w 200025"/>
                  <a:gd name="connsiteY1" fmla="*/ 7144 h 142875"/>
                  <a:gd name="connsiteX2" fmla="*/ 7144 w 200025"/>
                  <a:gd name="connsiteY2" fmla="*/ 139827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0025" h="142875">
                    <a:moveTo>
                      <a:pt x="7144" y="139827"/>
                    </a:moveTo>
                    <a:cubicBezTo>
                      <a:pt x="45244" y="70390"/>
                      <a:pt x="123349" y="14859"/>
                      <a:pt x="202216" y="7144"/>
                    </a:cubicBezTo>
                    <a:cubicBezTo>
                      <a:pt x="171736" y="82868"/>
                      <a:pt x="88773" y="141446"/>
                      <a:pt x="7144" y="139827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" name="Полилиния: фигура 51">
                <a:extLst>
                  <a:ext uri="{FF2B5EF4-FFF2-40B4-BE49-F238E27FC236}">
                    <a16:creationId xmlns:a16="http://schemas.microsoft.com/office/drawing/2014/main" id="{D0E8DEE9-583D-4461-A715-581A1DA283FA}"/>
                  </a:ext>
                </a:extLst>
              </p:cNvPr>
              <p:cNvSpPr/>
              <p:nvPr/>
            </p:nvSpPr>
            <p:spPr>
              <a:xfrm>
                <a:off x="6121351" y="5693837"/>
                <a:ext cx="228600" cy="95250"/>
              </a:xfrm>
              <a:custGeom>
                <a:avLst/>
                <a:gdLst>
                  <a:gd name="connsiteX0" fmla="*/ 7144 w 228600"/>
                  <a:gd name="connsiteY0" fmla="*/ 18946 h 95250"/>
                  <a:gd name="connsiteX1" fmla="*/ 165925 w 228600"/>
                  <a:gd name="connsiteY1" fmla="*/ 85621 h 95250"/>
                  <a:gd name="connsiteX2" fmla="*/ 201835 w 228600"/>
                  <a:gd name="connsiteY2" fmla="*/ 92575 h 95250"/>
                  <a:gd name="connsiteX3" fmla="*/ 228721 w 228600"/>
                  <a:gd name="connsiteY3" fmla="*/ 62405 h 95250"/>
                  <a:gd name="connsiteX4" fmla="*/ 219361 w 228600"/>
                  <a:gd name="connsiteY4" fmla="*/ 42854 h 95250"/>
                  <a:gd name="connsiteX5" fmla="*/ 193358 w 228600"/>
                  <a:gd name="connsiteY5" fmla="*/ 27043 h 95250"/>
                  <a:gd name="connsiteX6" fmla="*/ 12382 w 228600"/>
                  <a:gd name="connsiteY6" fmla="*/ 16946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8600" h="95250">
                    <a:moveTo>
                      <a:pt x="7144" y="18946"/>
                    </a:moveTo>
                    <a:cubicBezTo>
                      <a:pt x="64294" y="27614"/>
                      <a:pt x="112680" y="63999"/>
                      <a:pt x="165925" y="85621"/>
                    </a:cubicBezTo>
                    <a:cubicBezTo>
                      <a:pt x="177087" y="91020"/>
                      <a:pt x="189464" y="93417"/>
                      <a:pt x="201835" y="92575"/>
                    </a:cubicBezTo>
                    <a:cubicBezTo>
                      <a:pt x="217590" y="91668"/>
                      <a:pt x="229628" y="78161"/>
                      <a:pt x="228721" y="62405"/>
                    </a:cubicBezTo>
                    <a:cubicBezTo>
                      <a:pt x="228290" y="54912"/>
                      <a:pt x="224928" y="47889"/>
                      <a:pt x="219361" y="42854"/>
                    </a:cubicBezTo>
                    <a:cubicBezTo>
                      <a:pt x="211845" y="35889"/>
                      <a:pt x="203000" y="30511"/>
                      <a:pt x="193358" y="27043"/>
                    </a:cubicBezTo>
                    <a:cubicBezTo>
                      <a:pt x="135350" y="2849"/>
                      <a:pt x="73152" y="2278"/>
                      <a:pt x="12382" y="16946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" name="Полилиния: фигура 52">
                <a:extLst>
                  <a:ext uri="{FF2B5EF4-FFF2-40B4-BE49-F238E27FC236}">
                    <a16:creationId xmlns:a16="http://schemas.microsoft.com/office/drawing/2014/main" id="{A0B57E71-030C-4CD2-A2F5-DA6B4696038A}"/>
                  </a:ext>
                </a:extLst>
              </p:cNvPr>
              <p:cNvSpPr/>
              <p:nvPr/>
            </p:nvSpPr>
            <p:spPr>
              <a:xfrm>
                <a:off x="6088394" y="5742803"/>
                <a:ext cx="171450" cy="95250"/>
              </a:xfrm>
              <a:custGeom>
                <a:avLst/>
                <a:gdLst>
                  <a:gd name="connsiteX0" fmla="*/ 7144 w 171450"/>
                  <a:gd name="connsiteY0" fmla="*/ 9890 h 95250"/>
                  <a:gd name="connsiteX1" fmla="*/ 34671 w 171450"/>
                  <a:gd name="connsiteY1" fmla="*/ 28940 h 95250"/>
                  <a:gd name="connsiteX2" fmla="*/ 155067 w 171450"/>
                  <a:gd name="connsiteY2" fmla="*/ 90853 h 95250"/>
                  <a:gd name="connsiteX3" fmla="*/ 167926 w 171450"/>
                  <a:gd name="connsiteY3" fmla="*/ 88281 h 95250"/>
                  <a:gd name="connsiteX4" fmla="*/ 164782 w 171450"/>
                  <a:gd name="connsiteY4" fmla="*/ 77041 h 95250"/>
                  <a:gd name="connsiteX5" fmla="*/ 92107 w 171450"/>
                  <a:gd name="connsiteY5" fmla="*/ 27702 h 95250"/>
                  <a:gd name="connsiteX6" fmla="*/ 7144 w 171450"/>
                  <a:gd name="connsiteY6" fmla="*/ 7509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1450" h="95250">
                    <a:moveTo>
                      <a:pt x="7144" y="9890"/>
                    </a:moveTo>
                    <a:cubicBezTo>
                      <a:pt x="20002" y="13605"/>
                      <a:pt x="24384" y="20272"/>
                      <a:pt x="34671" y="28940"/>
                    </a:cubicBezTo>
                    <a:cubicBezTo>
                      <a:pt x="69482" y="58600"/>
                      <a:pt x="110692" y="79792"/>
                      <a:pt x="155067" y="90853"/>
                    </a:cubicBezTo>
                    <a:cubicBezTo>
                      <a:pt x="159639" y="91995"/>
                      <a:pt x="165640" y="92472"/>
                      <a:pt x="167926" y="88281"/>
                    </a:cubicBezTo>
                    <a:cubicBezTo>
                      <a:pt x="170212" y="84090"/>
                      <a:pt x="167926" y="80280"/>
                      <a:pt x="164782" y="77041"/>
                    </a:cubicBezTo>
                    <a:cubicBezTo>
                      <a:pt x="145464" y="54325"/>
                      <a:pt x="120348" y="37274"/>
                      <a:pt x="92107" y="27702"/>
                    </a:cubicBezTo>
                    <a:cubicBezTo>
                      <a:pt x="64294" y="17319"/>
                      <a:pt x="40291" y="4842"/>
                      <a:pt x="7144" y="7509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" name="Полилиния: фигура 53">
                <a:extLst>
                  <a:ext uri="{FF2B5EF4-FFF2-40B4-BE49-F238E27FC236}">
                    <a16:creationId xmlns:a16="http://schemas.microsoft.com/office/drawing/2014/main" id="{C17F0CC6-878D-4C7F-989E-5DB8C7DD73B7}"/>
                  </a:ext>
                </a:extLst>
              </p:cNvPr>
              <p:cNvSpPr/>
              <p:nvPr/>
            </p:nvSpPr>
            <p:spPr>
              <a:xfrm>
                <a:off x="6051151" y="5498035"/>
                <a:ext cx="190500" cy="76200"/>
              </a:xfrm>
              <a:custGeom>
                <a:avLst/>
                <a:gdLst>
                  <a:gd name="connsiteX0" fmla="*/ 7144 w 190500"/>
                  <a:gd name="connsiteY0" fmla="*/ 13294 h 76200"/>
                  <a:gd name="connsiteX1" fmla="*/ 181833 w 190500"/>
                  <a:gd name="connsiteY1" fmla="*/ 72730 h 76200"/>
                  <a:gd name="connsiteX2" fmla="*/ 189738 w 190500"/>
                  <a:gd name="connsiteY2" fmla="*/ 69873 h 76200"/>
                  <a:gd name="connsiteX3" fmla="*/ 183738 w 190500"/>
                  <a:gd name="connsiteY3" fmla="*/ 53680 h 76200"/>
                  <a:gd name="connsiteX4" fmla="*/ 7144 w 190500"/>
                  <a:gd name="connsiteY4" fmla="*/ 13294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0" h="76200">
                    <a:moveTo>
                      <a:pt x="7144" y="13294"/>
                    </a:moveTo>
                    <a:cubicBezTo>
                      <a:pt x="54392" y="56844"/>
                      <a:pt x="117828" y="78427"/>
                      <a:pt x="181833" y="72730"/>
                    </a:cubicBezTo>
                    <a:cubicBezTo>
                      <a:pt x="184726" y="72762"/>
                      <a:pt x="187534" y="71747"/>
                      <a:pt x="189738" y="69873"/>
                    </a:cubicBezTo>
                    <a:cubicBezTo>
                      <a:pt x="194215" y="65110"/>
                      <a:pt x="188881" y="57680"/>
                      <a:pt x="183738" y="53680"/>
                    </a:cubicBezTo>
                    <a:cubicBezTo>
                      <a:pt x="132398" y="13675"/>
                      <a:pt x="70200" y="-2898"/>
                      <a:pt x="7144" y="13294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" name="Полилиния: фигура 54">
                <a:extLst>
                  <a:ext uri="{FF2B5EF4-FFF2-40B4-BE49-F238E27FC236}">
                    <a16:creationId xmlns:a16="http://schemas.microsoft.com/office/drawing/2014/main" id="{21613153-5079-4538-873B-B4FAA3B91053}"/>
                  </a:ext>
                </a:extLst>
              </p:cNvPr>
              <p:cNvSpPr/>
              <p:nvPr/>
            </p:nvSpPr>
            <p:spPr>
              <a:xfrm>
                <a:off x="6095157" y="5440628"/>
                <a:ext cx="228600" cy="66675"/>
              </a:xfrm>
              <a:custGeom>
                <a:avLst/>
                <a:gdLst>
                  <a:gd name="connsiteX0" fmla="*/ 7239 w 228600"/>
                  <a:gd name="connsiteY0" fmla="*/ 54605 h 66675"/>
                  <a:gd name="connsiteX1" fmla="*/ 225361 w 228600"/>
                  <a:gd name="connsiteY1" fmla="*/ 18600 h 66675"/>
                  <a:gd name="connsiteX2" fmla="*/ 121444 w 228600"/>
                  <a:gd name="connsiteY2" fmla="*/ 64225 h 66675"/>
                  <a:gd name="connsiteX3" fmla="*/ 7144 w 228600"/>
                  <a:gd name="connsiteY3" fmla="*/ 5470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600" h="66675">
                    <a:moveTo>
                      <a:pt x="7239" y="54605"/>
                    </a:moveTo>
                    <a:cubicBezTo>
                      <a:pt x="69979" y="8351"/>
                      <a:pt x="151084" y="-5037"/>
                      <a:pt x="225361" y="18600"/>
                    </a:cubicBezTo>
                    <a:cubicBezTo>
                      <a:pt x="196822" y="45037"/>
                      <a:pt x="160221" y="61107"/>
                      <a:pt x="121444" y="64225"/>
                    </a:cubicBezTo>
                    <a:cubicBezTo>
                      <a:pt x="83080" y="67753"/>
                      <a:pt x="44394" y="64529"/>
                      <a:pt x="7144" y="54700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" name="Полилиния: фигура 55">
                <a:extLst>
                  <a:ext uri="{FF2B5EF4-FFF2-40B4-BE49-F238E27FC236}">
                    <a16:creationId xmlns:a16="http://schemas.microsoft.com/office/drawing/2014/main" id="{03B06C1C-90A6-4D71-9FFB-F730965DCCD3}"/>
                  </a:ext>
                </a:extLst>
              </p:cNvPr>
              <p:cNvSpPr/>
              <p:nvPr/>
            </p:nvSpPr>
            <p:spPr>
              <a:xfrm>
                <a:off x="6048259" y="5223437"/>
                <a:ext cx="38100" cy="161925"/>
              </a:xfrm>
              <a:custGeom>
                <a:avLst/>
                <a:gdLst>
                  <a:gd name="connsiteX0" fmla="*/ 36610 w 38100"/>
                  <a:gd name="connsiteY0" fmla="*/ 160829 h 161925"/>
                  <a:gd name="connsiteX1" fmla="*/ 31276 w 38100"/>
                  <a:gd name="connsiteY1" fmla="*/ 17954 h 161925"/>
                  <a:gd name="connsiteX2" fmla="*/ 26228 w 38100"/>
                  <a:gd name="connsiteY2" fmla="*/ 7381 h 161925"/>
                  <a:gd name="connsiteX3" fmla="*/ 14703 w 38100"/>
                  <a:gd name="connsiteY3" fmla="*/ 17383 h 161925"/>
                  <a:gd name="connsiteX4" fmla="*/ 36515 w 38100"/>
                  <a:gd name="connsiteY4" fmla="*/ 160258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61925">
                    <a:moveTo>
                      <a:pt x="36610" y="160829"/>
                    </a:moveTo>
                    <a:cubicBezTo>
                      <a:pt x="31562" y="109585"/>
                      <a:pt x="34800" y="69104"/>
                      <a:pt x="31276" y="17954"/>
                    </a:cubicBezTo>
                    <a:cubicBezTo>
                      <a:pt x="31276" y="13858"/>
                      <a:pt x="30133" y="8905"/>
                      <a:pt x="26228" y="7381"/>
                    </a:cubicBezTo>
                    <a:cubicBezTo>
                      <a:pt x="22323" y="5857"/>
                      <a:pt x="16703" y="11954"/>
                      <a:pt x="14703" y="17383"/>
                    </a:cubicBezTo>
                    <a:cubicBezTo>
                      <a:pt x="-532" y="65817"/>
                      <a:pt x="7522" y="118576"/>
                      <a:pt x="36515" y="160258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" name="Полилиния: фигура 56">
                <a:extLst>
                  <a:ext uri="{FF2B5EF4-FFF2-40B4-BE49-F238E27FC236}">
                    <a16:creationId xmlns:a16="http://schemas.microsoft.com/office/drawing/2014/main" id="{9E2B479C-7EA3-488D-AFED-5952A795255D}"/>
                  </a:ext>
                </a:extLst>
              </p:cNvPr>
              <p:cNvSpPr/>
              <p:nvPr/>
            </p:nvSpPr>
            <p:spPr>
              <a:xfrm>
                <a:off x="6074011" y="5221674"/>
                <a:ext cx="123825" cy="171450"/>
              </a:xfrm>
              <a:custGeom>
                <a:avLst/>
                <a:gdLst>
                  <a:gd name="connsiteX0" fmla="*/ 7144 w 123825"/>
                  <a:gd name="connsiteY0" fmla="*/ 168307 h 171450"/>
                  <a:gd name="connsiteX1" fmla="*/ 92107 w 123825"/>
                  <a:gd name="connsiteY1" fmla="*/ 85725 h 171450"/>
                  <a:gd name="connsiteX2" fmla="*/ 119158 w 123825"/>
                  <a:gd name="connsiteY2" fmla="*/ 7144 h 171450"/>
                  <a:gd name="connsiteX3" fmla="*/ 57912 w 123825"/>
                  <a:gd name="connsiteY3" fmla="*/ 37529 h 171450"/>
                  <a:gd name="connsiteX4" fmla="*/ 26670 w 123825"/>
                  <a:gd name="connsiteY4" fmla="*/ 100394 h 171450"/>
                  <a:gd name="connsiteX5" fmla="*/ 7620 w 123825"/>
                  <a:gd name="connsiteY5" fmla="*/ 168307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3825" h="171450">
                    <a:moveTo>
                      <a:pt x="7144" y="168307"/>
                    </a:moveTo>
                    <a:cubicBezTo>
                      <a:pt x="40635" y="146653"/>
                      <a:pt x="69510" y="118587"/>
                      <a:pt x="92107" y="85725"/>
                    </a:cubicBezTo>
                    <a:cubicBezTo>
                      <a:pt x="108871" y="62770"/>
                      <a:pt x="122968" y="35242"/>
                      <a:pt x="119158" y="7144"/>
                    </a:cubicBezTo>
                    <a:cubicBezTo>
                      <a:pt x="95267" y="7772"/>
                      <a:pt x="72865" y="18886"/>
                      <a:pt x="57912" y="37529"/>
                    </a:cubicBezTo>
                    <a:cubicBezTo>
                      <a:pt x="43274" y="56104"/>
                      <a:pt x="32637" y="77508"/>
                      <a:pt x="26670" y="100394"/>
                    </a:cubicBezTo>
                    <a:cubicBezTo>
                      <a:pt x="19908" y="122872"/>
                      <a:pt x="15145" y="146113"/>
                      <a:pt x="7620" y="168307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" name="Полилиния: фигура 57">
                <a:extLst>
                  <a:ext uri="{FF2B5EF4-FFF2-40B4-BE49-F238E27FC236}">
                    <a16:creationId xmlns:a16="http://schemas.microsoft.com/office/drawing/2014/main" id="{797396CD-D7D1-4863-9F48-CEA4BEC20131}"/>
                  </a:ext>
                </a:extLst>
              </p:cNvPr>
              <p:cNvSpPr/>
              <p:nvPr/>
            </p:nvSpPr>
            <p:spPr>
              <a:xfrm>
                <a:off x="6156402" y="5231227"/>
                <a:ext cx="219075" cy="142875"/>
              </a:xfrm>
              <a:custGeom>
                <a:avLst/>
                <a:gdLst>
                  <a:gd name="connsiteX0" fmla="*/ 8191 w 219075"/>
                  <a:gd name="connsiteY0" fmla="*/ 135894 h 142875"/>
                  <a:gd name="connsiteX1" fmla="*/ 217170 w 219075"/>
                  <a:gd name="connsiteY1" fmla="*/ 12069 h 142875"/>
                  <a:gd name="connsiteX2" fmla="*/ 138684 w 219075"/>
                  <a:gd name="connsiteY2" fmla="*/ 18165 h 142875"/>
                  <a:gd name="connsiteX3" fmla="*/ 7144 w 219075"/>
                  <a:gd name="connsiteY3" fmla="*/ 134751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9075" h="142875">
                    <a:moveTo>
                      <a:pt x="8191" y="135894"/>
                    </a:moveTo>
                    <a:cubicBezTo>
                      <a:pt x="84698" y="107455"/>
                      <a:pt x="155480" y="65515"/>
                      <a:pt x="217170" y="12069"/>
                    </a:cubicBezTo>
                    <a:cubicBezTo>
                      <a:pt x="192214" y="2544"/>
                      <a:pt x="163639" y="8068"/>
                      <a:pt x="138684" y="18165"/>
                    </a:cubicBezTo>
                    <a:cubicBezTo>
                      <a:pt x="82015" y="39566"/>
                      <a:pt x="35197" y="81062"/>
                      <a:pt x="7144" y="134751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" name="Полилиния: фигура 58">
                <a:extLst>
                  <a:ext uri="{FF2B5EF4-FFF2-40B4-BE49-F238E27FC236}">
                    <a16:creationId xmlns:a16="http://schemas.microsoft.com/office/drawing/2014/main" id="{9D67BE68-1518-4E9F-BA2D-78E05F305050}"/>
                  </a:ext>
                </a:extLst>
              </p:cNvPr>
              <p:cNvSpPr/>
              <p:nvPr/>
            </p:nvSpPr>
            <p:spPr>
              <a:xfrm>
                <a:off x="6097253" y="5350330"/>
                <a:ext cx="238125" cy="76200"/>
              </a:xfrm>
              <a:custGeom>
                <a:avLst/>
                <a:gdLst>
                  <a:gd name="connsiteX0" fmla="*/ 7429 w 238125"/>
                  <a:gd name="connsiteY0" fmla="*/ 67655 h 76200"/>
                  <a:gd name="connsiteX1" fmla="*/ 123444 w 238125"/>
                  <a:gd name="connsiteY1" fmla="*/ 68226 h 76200"/>
                  <a:gd name="connsiteX2" fmla="*/ 231743 w 238125"/>
                  <a:gd name="connsiteY2" fmla="*/ 32222 h 76200"/>
                  <a:gd name="connsiteX3" fmla="*/ 239173 w 238125"/>
                  <a:gd name="connsiteY3" fmla="*/ 26602 h 76200"/>
                  <a:gd name="connsiteX4" fmla="*/ 236505 w 238125"/>
                  <a:gd name="connsiteY4" fmla="*/ 17077 h 76200"/>
                  <a:gd name="connsiteX5" fmla="*/ 226980 w 238125"/>
                  <a:gd name="connsiteY5" fmla="*/ 12791 h 76200"/>
                  <a:gd name="connsiteX6" fmla="*/ 109918 w 238125"/>
                  <a:gd name="connsiteY6" fmla="*/ 19744 h 76200"/>
                  <a:gd name="connsiteX7" fmla="*/ 7144 w 238125"/>
                  <a:gd name="connsiteY7" fmla="*/ 67369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8125" h="76200">
                    <a:moveTo>
                      <a:pt x="7429" y="67655"/>
                    </a:moveTo>
                    <a:cubicBezTo>
                      <a:pt x="45894" y="73129"/>
                      <a:pt x="84927" y="73321"/>
                      <a:pt x="123444" y="68226"/>
                    </a:cubicBezTo>
                    <a:cubicBezTo>
                      <a:pt x="160814" y="60452"/>
                      <a:pt x="197157" y="48370"/>
                      <a:pt x="231743" y="32222"/>
                    </a:cubicBezTo>
                    <a:cubicBezTo>
                      <a:pt x="234839" y="31351"/>
                      <a:pt x="237492" y="29344"/>
                      <a:pt x="239173" y="26602"/>
                    </a:cubicBezTo>
                    <a:cubicBezTo>
                      <a:pt x="240420" y="23184"/>
                      <a:pt x="239347" y="19350"/>
                      <a:pt x="236505" y="17077"/>
                    </a:cubicBezTo>
                    <a:cubicBezTo>
                      <a:pt x="233726" y="14895"/>
                      <a:pt x="230457" y="13423"/>
                      <a:pt x="226980" y="12791"/>
                    </a:cubicBezTo>
                    <a:cubicBezTo>
                      <a:pt x="188141" y="3361"/>
                      <a:pt x="147368" y="5783"/>
                      <a:pt x="109918" y="19744"/>
                    </a:cubicBezTo>
                    <a:cubicBezTo>
                      <a:pt x="74080" y="31959"/>
                      <a:pt x="39631" y="47923"/>
                      <a:pt x="7144" y="67369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" name="Полилиния: фигура 59">
                <a:extLst>
                  <a:ext uri="{FF2B5EF4-FFF2-40B4-BE49-F238E27FC236}">
                    <a16:creationId xmlns:a16="http://schemas.microsoft.com/office/drawing/2014/main" id="{E866D0FF-AF77-498F-85DB-1C1E49703282}"/>
                  </a:ext>
                </a:extLst>
              </p:cNvPr>
              <p:cNvSpPr/>
              <p:nvPr/>
            </p:nvSpPr>
            <p:spPr>
              <a:xfrm>
                <a:off x="5857823" y="5336070"/>
                <a:ext cx="47625" cy="180975"/>
              </a:xfrm>
              <a:custGeom>
                <a:avLst/>
                <a:gdLst>
                  <a:gd name="connsiteX0" fmla="*/ 26545 w 47625"/>
                  <a:gd name="connsiteY0" fmla="*/ 176974 h 180975"/>
                  <a:gd name="connsiteX1" fmla="*/ 24640 w 47625"/>
                  <a:gd name="connsiteY1" fmla="*/ 7144 h 180975"/>
                  <a:gd name="connsiteX2" fmla="*/ 39690 w 47625"/>
                  <a:gd name="connsiteY2" fmla="*/ 91630 h 180975"/>
                  <a:gd name="connsiteX3" fmla="*/ 27307 w 47625"/>
                  <a:gd name="connsiteY3" fmla="*/ 179641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80975">
                    <a:moveTo>
                      <a:pt x="26545" y="176974"/>
                    </a:moveTo>
                    <a:cubicBezTo>
                      <a:pt x="1359" y="123308"/>
                      <a:pt x="664" y="61361"/>
                      <a:pt x="24640" y="7144"/>
                    </a:cubicBezTo>
                    <a:cubicBezTo>
                      <a:pt x="40642" y="31527"/>
                      <a:pt x="42643" y="62579"/>
                      <a:pt x="39690" y="91630"/>
                    </a:cubicBezTo>
                    <a:cubicBezTo>
                      <a:pt x="36737" y="120682"/>
                      <a:pt x="27878" y="150495"/>
                      <a:pt x="27307" y="179641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" name="Полилиния: фигура 60">
                <a:extLst>
                  <a:ext uri="{FF2B5EF4-FFF2-40B4-BE49-F238E27FC236}">
                    <a16:creationId xmlns:a16="http://schemas.microsoft.com/office/drawing/2014/main" id="{D2B8F766-6787-4891-B7FD-F042EDD48D5A}"/>
                  </a:ext>
                </a:extLst>
              </p:cNvPr>
              <p:cNvSpPr/>
              <p:nvPr/>
            </p:nvSpPr>
            <p:spPr>
              <a:xfrm>
                <a:off x="5595951" y="5452919"/>
                <a:ext cx="190500" cy="85725"/>
              </a:xfrm>
              <a:custGeom>
                <a:avLst/>
                <a:gdLst>
                  <a:gd name="connsiteX0" fmla="*/ 183261 w 190500"/>
                  <a:gd name="connsiteY0" fmla="*/ 7166 h 85725"/>
                  <a:gd name="connsiteX1" fmla="*/ 7144 w 190500"/>
                  <a:gd name="connsiteY1" fmla="*/ 82128 h 85725"/>
                  <a:gd name="connsiteX2" fmla="*/ 103537 w 190500"/>
                  <a:gd name="connsiteY2" fmla="*/ 64221 h 85725"/>
                  <a:gd name="connsiteX3" fmla="*/ 186214 w 190500"/>
                  <a:gd name="connsiteY3" fmla="*/ 8976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0" h="85725">
                    <a:moveTo>
                      <a:pt x="183261" y="7166"/>
                    </a:moveTo>
                    <a:cubicBezTo>
                      <a:pt x="116620" y="6244"/>
                      <a:pt x="52678" y="33460"/>
                      <a:pt x="7144" y="82128"/>
                    </a:cubicBezTo>
                    <a:cubicBezTo>
                      <a:pt x="40348" y="86102"/>
                      <a:pt x="73975" y="79855"/>
                      <a:pt x="103537" y="64221"/>
                    </a:cubicBezTo>
                    <a:cubicBezTo>
                      <a:pt x="132923" y="48699"/>
                      <a:pt x="160629" y="30186"/>
                      <a:pt x="186214" y="8976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" name="Полилиния: фигура 61">
                <a:extLst>
                  <a:ext uri="{FF2B5EF4-FFF2-40B4-BE49-F238E27FC236}">
                    <a16:creationId xmlns:a16="http://schemas.microsoft.com/office/drawing/2014/main" id="{DE52240A-0501-405C-A35D-981D84383A2A}"/>
                  </a:ext>
                </a:extLst>
              </p:cNvPr>
              <p:cNvSpPr/>
              <p:nvPr/>
            </p:nvSpPr>
            <p:spPr>
              <a:xfrm>
                <a:off x="5535753" y="5426156"/>
                <a:ext cx="171450" cy="76200"/>
              </a:xfrm>
              <a:custGeom>
                <a:avLst/>
                <a:gdLst>
                  <a:gd name="connsiteX0" fmla="*/ 172784 w 171450"/>
                  <a:gd name="connsiteY0" fmla="*/ 10212 h 76200"/>
                  <a:gd name="connsiteX1" fmla="*/ 78772 w 171450"/>
                  <a:gd name="connsiteY1" fmla="*/ 13165 h 76200"/>
                  <a:gd name="connsiteX2" fmla="*/ 7144 w 171450"/>
                  <a:gd name="connsiteY2" fmla="*/ 73839 h 76200"/>
                  <a:gd name="connsiteX3" fmla="*/ 95250 w 171450"/>
                  <a:gd name="connsiteY3" fmla="*/ 57266 h 76200"/>
                  <a:gd name="connsiteX4" fmla="*/ 172784 w 171450"/>
                  <a:gd name="connsiteY4" fmla="*/ 10212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50" h="76200">
                    <a:moveTo>
                      <a:pt x="172784" y="10212"/>
                    </a:moveTo>
                    <a:cubicBezTo>
                      <a:pt x="140589" y="7640"/>
                      <a:pt x="109633" y="3640"/>
                      <a:pt x="78772" y="13165"/>
                    </a:cubicBezTo>
                    <a:cubicBezTo>
                      <a:pt x="47195" y="21985"/>
                      <a:pt x="21037" y="44142"/>
                      <a:pt x="7144" y="73839"/>
                    </a:cubicBezTo>
                    <a:cubicBezTo>
                      <a:pt x="37467" y="76311"/>
                      <a:pt x="67898" y="70586"/>
                      <a:pt x="95250" y="57266"/>
                    </a:cubicBezTo>
                    <a:cubicBezTo>
                      <a:pt x="122445" y="43923"/>
                      <a:pt x="148393" y="28176"/>
                      <a:pt x="172784" y="10212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" name="Полилиния: фигура 62">
                <a:extLst>
                  <a:ext uri="{FF2B5EF4-FFF2-40B4-BE49-F238E27FC236}">
                    <a16:creationId xmlns:a16="http://schemas.microsoft.com/office/drawing/2014/main" id="{8B5AE42D-E810-4728-9702-0F47E0923A91}"/>
                  </a:ext>
                </a:extLst>
              </p:cNvPr>
              <p:cNvSpPr/>
              <p:nvPr/>
            </p:nvSpPr>
            <p:spPr>
              <a:xfrm>
                <a:off x="5617573" y="5380937"/>
                <a:ext cx="200025" cy="66675"/>
              </a:xfrm>
              <a:custGeom>
                <a:avLst/>
                <a:gdLst>
                  <a:gd name="connsiteX0" fmla="*/ 195643 w 200025"/>
                  <a:gd name="connsiteY0" fmla="*/ 56574 h 66675"/>
                  <a:gd name="connsiteX1" fmla="*/ 103346 w 200025"/>
                  <a:gd name="connsiteY1" fmla="*/ 10473 h 66675"/>
                  <a:gd name="connsiteX2" fmla="*/ 7144 w 200025"/>
                  <a:gd name="connsiteY2" fmla="*/ 33809 h 66675"/>
                  <a:gd name="connsiteX3" fmla="*/ 99060 w 200025"/>
                  <a:gd name="connsiteY3" fmla="*/ 51621 h 66675"/>
                  <a:gd name="connsiteX4" fmla="*/ 199168 w 200025"/>
                  <a:gd name="connsiteY4" fmla="*/ 61813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0025" h="66675">
                    <a:moveTo>
                      <a:pt x="195643" y="56574"/>
                    </a:moveTo>
                    <a:cubicBezTo>
                      <a:pt x="167068" y="37524"/>
                      <a:pt x="136970" y="18474"/>
                      <a:pt x="103346" y="10473"/>
                    </a:cubicBezTo>
                    <a:cubicBezTo>
                      <a:pt x="69723" y="2472"/>
                      <a:pt x="30575" y="8377"/>
                      <a:pt x="7144" y="33809"/>
                    </a:cubicBezTo>
                    <a:cubicBezTo>
                      <a:pt x="34385" y="49811"/>
                      <a:pt x="67437" y="51716"/>
                      <a:pt x="99060" y="51621"/>
                    </a:cubicBezTo>
                    <a:cubicBezTo>
                      <a:pt x="130683" y="51526"/>
                      <a:pt x="169450" y="51621"/>
                      <a:pt x="199168" y="61813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8" name="Полилиния: фигура 127">
                <a:extLst>
                  <a:ext uri="{FF2B5EF4-FFF2-40B4-BE49-F238E27FC236}">
                    <a16:creationId xmlns:a16="http://schemas.microsoft.com/office/drawing/2014/main" id="{6F59E53E-E143-4E40-89D2-A0421DB20BC4}"/>
                  </a:ext>
                </a:extLst>
              </p:cNvPr>
              <p:cNvSpPr/>
              <p:nvPr/>
            </p:nvSpPr>
            <p:spPr>
              <a:xfrm>
                <a:off x="5750048" y="5229770"/>
                <a:ext cx="66675" cy="209550"/>
              </a:xfrm>
              <a:custGeom>
                <a:avLst/>
                <a:gdLst>
                  <a:gd name="connsiteX0" fmla="*/ 63263 w 66675"/>
                  <a:gd name="connsiteY0" fmla="*/ 209264 h 209550"/>
                  <a:gd name="connsiteX1" fmla="*/ 14972 w 66675"/>
                  <a:gd name="connsiteY1" fmla="*/ 7144 h 209550"/>
                  <a:gd name="connsiteX2" fmla="*/ 63263 w 66675"/>
                  <a:gd name="connsiteY2" fmla="*/ 209264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6675" h="209550">
                    <a:moveTo>
                      <a:pt x="63263" y="209264"/>
                    </a:moveTo>
                    <a:cubicBezTo>
                      <a:pt x="13829" y="160687"/>
                      <a:pt x="-4935" y="73438"/>
                      <a:pt x="14972" y="7144"/>
                    </a:cubicBezTo>
                    <a:cubicBezTo>
                      <a:pt x="54031" y="66874"/>
                      <a:pt x="71104" y="138328"/>
                      <a:pt x="63263" y="209264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9" name="Полилиния: фигура 128">
                <a:extLst>
                  <a:ext uri="{FF2B5EF4-FFF2-40B4-BE49-F238E27FC236}">
                    <a16:creationId xmlns:a16="http://schemas.microsoft.com/office/drawing/2014/main" id="{14618447-AAC1-45C1-B54B-468A631149F9}"/>
                  </a:ext>
                </a:extLst>
              </p:cNvPr>
              <p:cNvSpPr/>
              <p:nvPr/>
            </p:nvSpPr>
            <p:spPr>
              <a:xfrm>
                <a:off x="5941899" y="5134711"/>
                <a:ext cx="133350" cy="171450"/>
              </a:xfrm>
              <a:custGeom>
                <a:avLst/>
                <a:gdLst>
                  <a:gd name="connsiteX0" fmla="*/ 7144 w 133350"/>
                  <a:gd name="connsiteY0" fmla="*/ 166783 h 171450"/>
                  <a:gd name="connsiteX1" fmla="*/ 31337 w 133350"/>
                  <a:gd name="connsiteY1" fmla="*/ 100108 h 171450"/>
                  <a:gd name="connsiteX2" fmla="*/ 65913 w 133350"/>
                  <a:gd name="connsiteY2" fmla="*/ 38862 h 171450"/>
                  <a:gd name="connsiteX3" fmla="*/ 127159 w 133350"/>
                  <a:gd name="connsiteY3" fmla="*/ 7144 h 171450"/>
                  <a:gd name="connsiteX4" fmla="*/ 8287 w 133350"/>
                  <a:gd name="connsiteY4" fmla="*/ 166973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50" h="171450">
                    <a:moveTo>
                      <a:pt x="7144" y="166783"/>
                    </a:moveTo>
                    <a:cubicBezTo>
                      <a:pt x="16669" y="145066"/>
                      <a:pt x="22955" y="122301"/>
                      <a:pt x="31337" y="100108"/>
                    </a:cubicBezTo>
                    <a:cubicBezTo>
                      <a:pt x="38989" y="77736"/>
                      <a:pt x="50711" y="56972"/>
                      <a:pt x="65913" y="38862"/>
                    </a:cubicBezTo>
                    <a:cubicBezTo>
                      <a:pt x="81379" y="20667"/>
                      <a:pt x="103374" y="9276"/>
                      <a:pt x="127159" y="7144"/>
                    </a:cubicBezTo>
                    <a:cubicBezTo>
                      <a:pt x="111771" y="74765"/>
                      <a:pt x="68621" y="132781"/>
                      <a:pt x="8287" y="166973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0" name="Полилиния: фигура 129">
                <a:extLst>
                  <a:ext uri="{FF2B5EF4-FFF2-40B4-BE49-F238E27FC236}">
                    <a16:creationId xmlns:a16="http://schemas.microsoft.com/office/drawing/2014/main" id="{EE216A14-2AE9-42A5-BAD9-C3C681284531}"/>
                  </a:ext>
                </a:extLst>
              </p:cNvPr>
              <p:cNvSpPr/>
              <p:nvPr/>
            </p:nvSpPr>
            <p:spPr>
              <a:xfrm>
                <a:off x="5789690" y="5236496"/>
                <a:ext cx="133350" cy="95250"/>
              </a:xfrm>
              <a:custGeom>
                <a:avLst/>
                <a:gdLst>
                  <a:gd name="connsiteX0" fmla="*/ 134969 w 133350"/>
                  <a:gd name="connsiteY0" fmla="*/ 93668 h 95250"/>
                  <a:gd name="connsiteX1" fmla="*/ 80867 w 133350"/>
                  <a:gd name="connsiteY1" fmla="*/ 27660 h 95250"/>
                  <a:gd name="connsiteX2" fmla="*/ 7144 w 133350"/>
                  <a:gd name="connsiteY2" fmla="*/ 8610 h 95250"/>
                  <a:gd name="connsiteX3" fmla="*/ 134969 w 133350"/>
                  <a:gd name="connsiteY3" fmla="*/ 94335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50" h="95250">
                    <a:moveTo>
                      <a:pt x="134969" y="93668"/>
                    </a:moveTo>
                    <a:cubicBezTo>
                      <a:pt x="119539" y="72428"/>
                      <a:pt x="101727" y="43567"/>
                      <a:pt x="80867" y="27660"/>
                    </a:cubicBezTo>
                    <a:cubicBezTo>
                      <a:pt x="60272" y="10812"/>
                      <a:pt x="33322" y="3848"/>
                      <a:pt x="7144" y="8610"/>
                    </a:cubicBezTo>
                    <a:cubicBezTo>
                      <a:pt x="33812" y="55779"/>
                      <a:pt x="81208" y="87565"/>
                      <a:pt x="134969" y="94335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1" name="Полилиния: фигура 130">
                <a:extLst>
                  <a:ext uri="{FF2B5EF4-FFF2-40B4-BE49-F238E27FC236}">
                    <a16:creationId xmlns:a16="http://schemas.microsoft.com/office/drawing/2014/main" id="{1CFA9722-41EC-4EDC-95FE-B32AABD05F9D}"/>
                  </a:ext>
                </a:extLst>
              </p:cNvPr>
              <p:cNvSpPr/>
              <p:nvPr/>
            </p:nvSpPr>
            <p:spPr>
              <a:xfrm>
                <a:off x="5896011" y="5136807"/>
                <a:ext cx="47625" cy="171450"/>
              </a:xfrm>
              <a:custGeom>
                <a:avLst/>
                <a:gdLst>
                  <a:gd name="connsiteX0" fmla="*/ 33982 w 47625"/>
                  <a:gd name="connsiteY0" fmla="*/ 166402 h 171450"/>
                  <a:gd name="connsiteX1" fmla="*/ 9217 w 47625"/>
                  <a:gd name="connsiteY1" fmla="*/ 87439 h 171450"/>
                  <a:gd name="connsiteX2" fmla="*/ 21599 w 47625"/>
                  <a:gd name="connsiteY2" fmla="*/ 7144 h 171450"/>
                  <a:gd name="connsiteX3" fmla="*/ 35029 w 47625"/>
                  <a:gd name="connsiteY3" fmla="*/ 166973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71450">
                    <a:moveTo>
                      <a:pt x="33982" y="166402"/>
                    </a:moveTo>
                    <a:cubicBezTo>
                      <a:pt x="22781" y="141097"/>
                      <a:pt x="14473" y="114608"/>
                      <a:pt x="9217" y="87439"/>
                    </a:cubicBezTo>
                    <a:cubicBezTo>
                      <a:pt x="4120" y="60044"/>
                      <a:pt x="8487" y="31731"/>
                      <a:pt x="21599" y="7144"/>
                    </a:cubicBezTo>
                    <a:cubicBezTo>
                      <a:pt x="48745" y="58388"/>
                      <a:pt x="57508" y="113443"/>
                      <a:pt x="35029" y="166973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2" name="Полилиния: фигура 131">
                <a:extLst>
                  <a:ext uri="{FF2B5EF4-FFF2-40B4-BE49-F238E27FC236}">
                    <a16:creationId xmlns:a16="http://schemas.microsoft.com/office/drawing/2014/main" id="{9A920103-4A75-41FE-8ABF-E2F180CB4641}"/>
                  </a:ext>
                </a:extLst>
              </p:cNvPr>
              <p:cNvSpPr/>
              <p:nvPr/>
            </p:nvSpPr>
            <p:spPr>
              <a:xfrm>
                <a:off x="5942375" y="5028133"/>
                <a:ext cx="152400" cy="114300"/>
              </a:xfrm>
              <a:custGeom>
                <a:avLst/>
                <a:gdLst>
                  <a:gd name="connsiteX0" fmla="*/ 7144 w 152400"/>
                  <a:gd name="connsiteY0" fmla="*/ 115818 h 114300"/>
                  <a:gd name="connsiteX1" fmla="*/ 119444 w 152400"/>
                  <a:gd name="connsiteY1" fmla="*/ 10281 h 114300"/>
                  <a:gd name="connsiteX2" fmla="*/ 139065 w 152400"/>
                  <a:gd name="connsiteY2" fmla="*/ 7328 h 114300"/>
                  <a:gd name="connsiteX3" fmla="*/ 153544 w 152400"/>
                  <a:gd name="connsiteY3" fmla="*/ 19425 h 114300"/>
                  <a:gd name="connsiteX4" fmla="*/ 141541 w 152400"/>
                  <a:gd name="connsiteY4" fmla="*/ 41618 h 114300"/>
                  <a:gd name="connsiteX5" fmla="*/ 7144 w 152400"/>
                  <a:gd name="connsiteY5" fmla="*/ 115818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2400" h="114300">
                    <a:moveTo>
                      <a:pt x="7144" y="115818"/>
                    </a:moveTo>
                    <a:cubicBezTo>
                      <a:pt x="22574" y="64954"/>
                      <a:pt x="69152" y="27426"/>
                      <a:pt x="119444" y="10281"/>
                    </a:cubicBezTo>
                    <a:cubicBezTo>
                      <a:pt x="125645" y="7707"/>
                      <a:pt x="132382" y="6693"/>
                      <a:pt x="139065" y="7328"/>
                    </a:cubicBezTo>
                    <a:cubicBezTo>
                      <a:pt x="145896" y="8055"/>
                      <a:pt x="151613" y="12832"/>
                      <a:pt x="153544" y="19425"/>
                    </a:cubicBezTo>
                    <a:cubicBezTo>
                      <a:pt x="155448" y="28092"/>
                      <a:pt x="148304" y="35808"/>
                      <a:pt x="141541" y="41618"/>
                    </a:cubicBezTo>
                    <a:cubicBezTo>
                      <a:pt x="102209" y="75168"/>
                      <a:pt x="56491" y="100409"/>
                      <a:pt x="7144" y="115818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3" name="Полилиния: фигура 132">
                <a:extLst>
                  <a:ext uri="{FF2B5EF4-FFF2-40B4-BE49-F238E27FC236}">
                    <a16:creationId xmlns:a16="http://schemas.microsoft.com/office/drawing/2014/main" id="{F9375C19-4DA4-4BC3-8F9A-F0291787FF43}"/>
                  </a:ext>
                </a:extLst>
              </p:cNvPr>
              <p:cNvSpPr/>
              <p:nvPr/>
            </p:nvSpPr>
            <p:spPr>
              <a:xfrm>
                <a:off x="5942185" y="4924209"/>
                <a:ext cx="85725" cy="190500"/>
              </a:xfrm>
              <a:custGeom>
                <a:avLst/>
                <a:gdLst>
                  <a:gd name="connsiteX0" fmla="*/ 7905 w 85725"/>
                  <a:gd name="connsiteY0" fmla="*/ 178118 h 190500"/>
                  <a:gd name="connsiteX1" fmla="*/ 22574 w 85725"/>
                  <a:gd name="connsiteY1" fmla="*/ 80963 h 190500"/>
                  <a:gd name="connsiteX2" fmla="*/ 83725 w 85725"/>
                  <a:gd name="connsiteY2" fmla="*/ 7144 h 190500"/>
                  <a:gd name="connsiteX3" fmla="*/ 56578 w 85725"/>
                  <a:gd name="connsiteY3" fmla="*/ 101727 h 190500"/>
                  <a:gd name="connsiteX4" fmla="*/ 7144 w 85725"/>
                  <a:gd name="connsiteY4" fmla="*/ 188881 h 19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725" h="190500">
                    <a:moveTo>
                      <a:pt x="7905" y="178118"/>
                    </a:moveTo>
                    <a:cubicBezTo>
                      <a:pt x="8409" y="145221"/>
                      <a:pt x="13343" y="112542"/>
                      <a:pt x="22574" y="80963"/>
                    </a:cubicBezTo>
                    <a:cubicBezTo>
                      <a:pt x="33242" y="49911"/>
                      <a:pt x="53816" y="20764"/>
                      <a:pt x="83725" y="7144"/>
                    </a:cubicBezTo>
                    <a:cubicBezTo>
                      <a:pt x="88772" y="40291"/>
                      <a:pt x="74200" y="73247"/>
                      <a:pt x="56578" y="101727"/>
                    </a:cubicBezTo>
                    <a:cubicBezTo>
                      <a:pt x="38957" y="130207"/>
                      <a:pt x="17716" y="157163"/>
                      <a:pt x="7144" y="188881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4" name="Полилиния: фигура 133">
                <a:extLst>
                  <a:ext uri="{FF2B5EF4-FFF2-40B4-BE49-F238E27FC236}">
                    <a16:creationId xmlns:a16="http://schemas.microsoft.com/office/drawing/2014/main" id="{08270E14-AB0A-4126-9341-AA1F97FAB5DD}"/>
                  </a:ext>
                </a:extLst>
              </p:cNvPr>
              <p:cNvSpPr/>
              <p:nvPr/>
            </p:nvSpPr>
            <p:spPr>
              <a:xfrm>
                <a:off x="5846589" y="4939449"/>
                <a:ext cx="104775" cy="190500"/>
              </a:xfrm>
              <a:custGeom>
                <a:avLst/>
                <a:gdLst>
                  <a:gd name="connsiteX0" fmla="*/ 102454 w 104775"/>
                  <a:gd name="connsiteY0" fmla="*/ 185452 h 190500"/>
                  <a:gd name="connsiteX1" fmla="*/ 66259 w 104775"/>
                  <a:gd name="connsiteY1" fmla="*/ 68961 h 190500"/>
                  <a:gd name="connsiteX2" fmla="*/ 12443 w 104775"/>
                  <a:gd name="connsiteY2" fmla="*/ 7144 h 190500"/>
                  <a:gd name="connsiteX3" fmla="*/ 15586 w 104775"/>
                  <a:gd name="connsiteY3" fmla="*/ 77343 h 190500"/>
                  <a:gd name="connsiteX4" fmla="*/ 56639 w 104775"/>
                  <a:gd name="connsiteY4" fmla="*/ 136112 h 190500"/>
                  <a:gd name="connsiteX5" fmla="*/ 102454 w 104775"/>
                  <a:gd name="connsiteY5" fmla="*/ 185452 h 19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775" h="190500">
                    <a:moveTo>
                      <a:pt x="102454" y="185452"/>
                    </a:moveTo>
                    <a:cubicBezTo>
                      <a:pt x="89690" y="148399"/>
                      <a:pt x="88452" y="101251"/>
                      <a:pt x="66259" y="68961"/>
                    </a:cubicBezTo>
                    <a:cubicBezTo>
                      <a:pt x="50733" y="46387"/>
                      <a:pt x="25873" y="30861"/>
                      <a:pt x="12443" y="7144"/>
                    </a:cubicBezTo>
                    <a:cubicBezTo>
                      <a:pt x="4417" y="30076"/>
                      <a:pt x="5542" y="55220"/>
                      <a:pt x="15586" y="77343"/>
                    </a:cubicBezTo>
                    <a:cubicBezTo>
                      <a:pt x="25700" y="99199"/>
                      <a:pt x="39598" y="119095"/>
                      <a:pt x="56639" y="136112"/>
                    </a:cubicBezTo>
                    <a:cubicBezTo>
                      <a:pt x="73117" y="153733"/>
                      <a:pt x="87119" y="166878"/>
                      <a:pt x="102454" y="185452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5" name="Полилиния: фигура 134">
                <a:extLst>
                  <a:ext uri="{FF2B5EF4-FFF2-40B4-BE49-F238E27FC236}">
                    <a16:creationId xmlns:a16="http://schemas.microsoft.com/office/drawing/2014/main" id="{E58F67C8-7EC4-4D2D-9C94-376BB84C81FD}"/>
                  </a:ext>
                </a:extLst>
              </p:cNvPr>
              <p:cNvSpPr/>
              <p:nvPr/>
            </p:nvSpPr>
            <p:spPr>
              <a:xfrm>
                <a:off x="5940462" y="5104422"/>
                <a:ext cx="9525" cy="1114425"/>
              </a:xfrm>
              <a:custGeom>
                <a:avLst/>
                <a:gdLst>
                  <a:gd name="connsiteX0" fmla="*/ 9057 w 9525"/>
                  <a:gd name="connsiteY0" fmla="*/ 1112044 h 1114425"/>
                  <a:gd name="connsiteX1" fmla="*/ 7152 w 9525"/>
                  <a:gd name="connsiteY1" fmla="*/ 559594 h 1114425"/>
                  <a:gd name="connsiteX2" fmla="*/ 8867 w 9525"/>
                  <a:gd name="connsiteY2" fmla="*/ 7144 h 1114425"/>
                  <a:gd name="connsiteX3" fmla="*/ 10771 w 9525"/>
                  <a:gd name="connsiteY3" fmla="*/ 559594 h 1114425"/>
                  <a:gd name="connsiteX4" fmla="*/ 9057 w 9525"/>
                  <a:gd name="connsiteY4" fmla="*/ 1112044 h 1114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25" h="1114425">
                    <a:moveTo>
                      <a:pt x="9057" y="1112044"/>
                    </a:moveTo>
                    <a:cubicBezTo>
                      <a:pt x="8105" y="1112044"/>
                      <a:pt x="7247" y="864394"/>
                      <a:pt x="7152" y="559594"/>
                    </a:cubicBezTo>
                    <a:cubicBezTo>
                      <a:pt x="7057" y="254794"/>
                      <a:pt x="7819" y="7144"/>
                      <a:pt x="8867" y="7144"/>
                    </a:cubicBezTo>
                    <a:cubicBezTo>
                      <a:pt x="9914" y="7144"/>
                      <a:pt x="10676" y="254794"/>
                      <a:pt x="10771" y="559594"/>
                    </a:cubicBezTo>
                    <a:cubicBezTo>
                      <a:pt x="10867" y="864394"/>
                      <a:pt x="10104" y="1112044"/>
                      <a:pt x="9057" y="1112044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6" name="Полилиния: фигура 135">
                <a:extLst>
                  <a:ext uri="{FF2B5EF4-FFF2-40B4-BE49-F238E27FC236}">
                    <a16:creationId xmlns:a16="http://schemas.microsoft.com/office/drawing/2014/main" id="{B6C8BAA4-96FD-46D3-80D7-FEF71E33A491}"/>
                  </a:ext>
                </a:extLst>
              </p:cNvPr>
              <p:cNvSpPr/>
              <p:nvPr/>
            </p:nvSpPr>
            <p:spPr>
              <a:xfrm>
                <a:off x="5941867" y="5468658"/>
                <a:ext cx="228600" cy="123825"/>
              </a:xfrm>
              <a:custGeom>
                <a:avLst/>
                <a:gdLst>
                  <a:gd name="connsiteX0" fmla="*/ 223774 w 228600"/>
                  <a:gd name="connsiteY0" fmla="*/ 7144 h 123825"/>
                  <a:gd name="connsiteX1" fmla="*/ 214249 w 228600"/>
                  <a:gd name="connsiteY1" fmla="*/ 10573 h 123825"/>
                  <a:gd name="connsiteX2" fmla="*/ 188722 w 228600"/>
                  <a:gd name="connsiteY2" fmla="*/ 19240 h 123825"/>
                  <a:gd name="connsiteX3" fmla="*/ 105283 w 228600"/>
                  <a:gd name="connsiteY3" fmla="*/ 50387 h 123825"/>
                  <a:gd name="connsiteX4" fmla="*/ 26321 w 228600"/>
                  <a:gd name="connsiteY4" fmla="*/ 90011 h 123825"/>
                  <a:gd name="connsiteX5" fmla="*/ 10510 w 228600"/>
                  <a:gd name="connsiteY5" fmla="*/ 110966 h 123825"/>
                  <a:gd name="connsiteX6" fmla="*/ 7271 w 228600"/>
                  <a:gd name="connsiteY6" fmla="*/ 120491 h 123825"/>
                  <a:gd name="connsiteX7" fmla="*/ 7271 w 228600"/>
                  <a:gd name="connsiteY7" fmla="*/ 117920 h 123825"/>
                  <a:gd name="connsiteX8" fmla="*/ 9081 w 228600"/>
                  <a:gd name="connsiteY8" fmla="*/ 110680 h 123825"/>
                  <a:gd name="connsiteX9" fmla="*/ 24606 w 228600"/>
                  <a:gd name="connsiteY9" fmla="*/ 88297 h 123825"/>
                  <a:gd name="connsiteX10" fmla="*/ 58801 w 228600"/>
                  <a:gd name="connsiteY10" fmla="*/ 66961 h 123825"/>
                  <a:gd name="connsiteX11" fmla="*/ 103855 w 228600"/>
                  <a:gd name="connsiteY11" fmla="*/ 47339 h 123825"/>
                  <a:gd name="connsiteX12" fmla="*/ 187770 w 228600"/>
                  <a:gd name="connsiteY12" fmla="*/ 17050 h 123825"/>
                  <a:gd name="connsiteX13" fmla="*/ 213773 w 228600"/>
                  <a:gd name="connsiteY13" fmla="*/ 9430 h 123825"/>
                  <a:gd name="connsiteX14" fmla="*/ 223774 w 228600"/>
                  <a:gd name="connsiteY14" fmla="*/ 7144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8600" h="123825">
                    <a:moveTo>
                      <a:pt x="223774" y="7144"/>
                    </a:moveTo>
                    <a:cubicBezTo>
                      <a:pt x="220705" y="8563"/>
                      <a:pt x="217518" y="9710"/>
                      <a:pt x="214249" y="10573"/>
                    </a:cubicBezTo>
                    <a:lnTo>
                      <a:pt x="188722" y="19240"/>
                    </a:lnTo>
                    <a:cubicBezTo>
                      <a:pt x="167100" y="26575"/>
                      <a:pt x="137477" y="37243"/>
                      <a:pt x="105283" y="50387"/>
                    </a:cubicBezTo>
                    <a:cubicBezTo>
                      <a:pt x="73088" y="63532"/>
                      <a:pt x="43466" y="75152"/>
                      <a:pt x="26321" y="90011"/>
                    </a:cubicBezTo>
                    <a:cubicBezTo>
                      <a:pt x="19496" y="95675"/>
                      <a:pt x="14083" y="102849"/>
                      <a:pt x="10510" y="110966"/>
                    </a:cubicBezTo>
                    <a:cubicBezTo>
                      <a:pt x="8033" y="116777"/>
                      <a:pt x="7556" y="120491"/>
                      <a:pt x="7271" y="120491"/>
                    </a:cubicBezTo>
                    <a:cubicBezTo>
                      <a:pt x="6985" y="120491"/>
                      <a:pt x="7271" y="119539"/>
                      <a:pt x="7271" y="117920"/>
                    </a:cubicBezTo>
                    <a:cubicBezTo>
                      <a:pt x="7620" y="115450"/>
                      <a:pt x="8227" y="113024"/>
                      <a:pt x="9081" y="110680"/>
                    </a:cubicBezTo>
                    <a:cubicBezTo>
                      <a:pt x="12321" y="102048"/>
                      <a:pt x="17656" y="94356"/>
                      <a:pt x="24606" y="88297"/>
                    </a:cubicBezTo>
                    <a:cubicBezTo>
                      <a:pt x="34921" y="79579"/>
                      <a:pt x="46437" y="72393"/>
                      <a:pt x="58801" y="66961"/>
                    </a:cubicBezTo>
                    <a:cubicBezTo>
                      <a:pt x="72517" y="60579"/>
                      <a:pt x="87376" y="53912"/>
                      <a:pt x="103855" y="47339"/>
                    </a:cubicBezTo>
                    <a:cubicBezTo>
                      <a:pt x="136144" y="34099"/>
                      <a:pt x="165957" y="23813"/>
                      <a:pt x="187770" y="17050"/>
                    </a:cubicBezTo>
                    <a:cubicBezTo>
                      <a:pt x="198723" y="13621"/>
                      <a:pt x="207581" y="11144"/>
                      <a:pt x="213773" y="9430"/>
                    </a:cubicBezTo>
                    <a:cubicBezTo>
                      <a:pt x="217006" y="8281"/>
                      <a:pt x="220363" y="7514"/>
                      <a:pt x="223774" y="7144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7" name="Полилиния: фигура 136">
                <a:extLst>
                  <a:ext uri="{FF2B5EF4-FFF2-40B4-BE49-F238E27FC236}">
                    <a16:creationId xmlns:a16="http://schemas.microsoft.com/office/drawing/2014/main" id="{3EEAF949-2E52-46CF-97AA-BABA837ED01D}"/>
                  </a:ext>
                </a:extLst>
              </p:cNvPr>
              <p:cNvSpPr/>
              <p:nvPr/>
            </p:nvSpPr>
            <p:spPr>
              <a:xfrm>
                <a:off x="5959044" y="5294636"/>
                <a:ext cx="276225" cy="266700"/>
              </a:xfrm>
              <a:custGeom>
                <a:avLst/>
                <a:gdLst>
                  <a:gd name="connsiteX0" fmla="*/ 277463 w 276225"/>
                  <a:gd name="connsiteY0" fmla="*/ 7144 h 266700"/>
                  <a:gd name="connsiteX1" fmla="*/ 274796 w 276225"/>
                  <a:gd name="connsiteY1" fmla="*/ 9906 h 266700"/>
                  <a:gd name="connsiteX2" fmla="*/ 266891 w 276225"/>
                  <a:gd name="connsiteY2" fmla="*/ 17431 h 266700"/>
                  <a:gd name="connsiteX3" fmla="*/ 237649 w 276225"/>
                  <a:gd name="connsiteY3" fmla="*/ 43910 h 266700"/>
                  <a:gd name="connsiteX4" fmla="*/ 139065 w 276225"/>
                  <a:gd name="connsiteY4" fmla="*/ 131731 h 266700"/>
                  <a:gd name="connsiteX5" fmla="*/ 43815 w 276225"/>
                  <a:gd name="connsiteY5" fmla="*/ 223361 h 266700"/>
                  <a:gd name="connsiteX6" fmla="*/ 16955 w 276225"/>
                  <a:gd name="connsiteY6" fmla="*/ 252984 h 266700"/>
                  <a:gd name="connsiteX7" fmla="*/ 9811 w 276225"/>
                  <a:gd name="connsiteY7" fmla="*/ 261176 h 266700"/>
                  <a:gd name="connsiteX8" fmla="*/ 7144 w 276225"/>
                  <a:gd name="connsiteY8" fmla="*/ 263843 h 266700"/>
                  <a:gd name="connsiteX9" fmla="*/ 9239 w 276225"/>
                  <a:gd name="connsiteY9" fmla="*/ 260700 h 266700"/>
                  <a:gd name="connsiteX10" fmla="*/ 15907 w 276225"/>
                  <a:gd name="connsiteY10" fmla="*/ 252032 h 266700"/>
                  <a:gd name="connsiteX11" fmla="*/ 41910 w 276225"/>
                  <a:gd name="connsiteY11" fmla="*/ 221647 h 266700"/>
                  <a:gd name="connsiteX12" fmla="*/ 136208 w 276225"/>
                  <a:gd name="connsiteY12" fmla="*/ 129064 h 266700"/>
                  <a:gd name="connsiteX13" fmla="*/ 235458 w 276225"/>
                  <a:gd name="connsiteY13" fmla="*/ 42005 h 266700"/>
                  <a:gd name="connsiteX14" fmla="*/ 265843 w 276225"/>
                  <a:gd name="connsiteY14" fmla="*/ 16002 h 266700"/>
                  <a:gd name="connsiteX15" fmla="*/ 274225 w 276225"/>
                  <a:gd name="connsiteY15" fmla="*/ 9049 h 266700"/>
                  <a:gd name="connsiteX16" fmla="*/ 277464 w 276225"/>
                  <a:gd name="connsiteY16" fmla="*/ 7144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76225" h="266700">
                    <a:moveTo>
                      <a:pt x="277463" y="7144"/>
                    </a:moveTo>
                    <a:cubicBezTo>
                      <a:pt x="276658" y="8142"/>
                      <a:pt x="275766" y="9067"/>
                      <a:pt x="274796" y="9906"/>
                    </a:cubicBezTo>
                    <a:lnTo>
                      <a:pt x="266891" y="17431"/>
                    </a:lnTo>
                    <a:lnTo>
                      <a:pt x="237649" y="43910"/>
                    </a:lnTo>
                    <a:lnTo>
                      <a:pt x="139065" y="131731"/>
                    </a:lnTo>
                    <a:cubicBezTo>
                      <a:pt x="100965" y="165926"/>
                      <a:pt x="67342" y="198406"/>
                      <a:pt x="43815" y="223361"/>
                    </a:cubicBezTo>
                    <a:cubicBezTo>
                      <a:pt x="32195" y="235649"/>
                      <a:pt x="23146" y="245841"/>
                      <a:pt x="16955" y="252984"/>
                    </a:cubicBezTo>
                    <a:lnTo>
                      <a:pt x="9811" y="261176"/>
                    </a:lnTo>
                    <a:cubicBezTo>
                      <a:pt x="8097" y="262985"/>
                      <a:pt x="7239" y="263938"/>
                      <a:pt x="7144" y="263843"/>
                    </a:cubicBezTo>
                    <a:cubicBezTo>
                      <a:pt x="7679" y="262695"/>
                      <a:pt x="8386" y="261635"/>
                      <a:pt x="9239" y="260700"/>
                    </a:cubicBezTo>
                    <a:cubicBezTo>
                      <a:pt x="10763" y="258699"/>
                      <a:pt x="12859" y="255746"/>
                      <a:pt x="15907" y="252032"/>
                    </a:cubicBezTo>
                    <a:cubicBezTo>
                      <a:pt x="21813" y="244697"/>
                      <a:pt x="30575" y="234220"/>
                      <a:pt x="41910" y="221647"/>
                    </a:cubicBezTo>
                    <a:cubicBezTo>
                      <a:pt x="71686" y="189143"/>
                      <a:pt x="103162" y="158238"/>
                      <a:pt x="136208" y="129064"/>
                    </a:cubicBezTo>
                    <a:cubicBezTo>
                      <a:pt x="174307" y="94869"/>
                      <a:pt x="209931" y="64199"/>
                      <a:pt x="235458" y="42005"/>
                    </a:cubicBezTo>
                    <a:lnTo>
                      <a:pt x="265843" y="16002"/>
                    </a:lnTo>
                    <a:lnTo>
                      <a:pt x="274225" y="9049"/>
                    </a:lnTo>
                    <a:cubicBezTo>
                      <a:pt x="275217" y="8275"/>
                      <a:pt x="276305" y="7634"/>
                      <a:pt x="277464" y="7144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8" name="Полилиния: фигура 137">
                <a:extLst>
                  <a:ext uri="{FF2B5EF4-FFF2-40B4-BE49-F238E27FC236}">
                    <a16:creationId xmlns:a16="http://schemas.microsoft.com/office/drawing/2014/main" id="{C69C0186-CAB5-419B-87CD-CB881060D851}"/>
                  </a:ext>
                </a:extLst>
              </p:cNvPr>
              <p:cNvSpPr/>
              <p:nvPr/>
            </p:nvSpPr>
            <p:spPr>
              <a:xfrm>
                <a:off x="6048963" y="5368834"/>
                <a:ext cx="38100" cy="95250"/>
              </a:xfrm>
              <a:custGeom>
                <a:avLst/>
                <a:gdLst>
                  <a:gd name="connsiteX0" fmla="*/ 7237 w 38100"/>
                  <a:gd name="connsiteY0" fmla="*/ 92680 h 95250"/>
                  <a:gd name="connsiteX1" fmla="*/ 22286 w 38100"/>
                  <a:gd name="connsiteY1" fmla="*/ 50198 h 95250"/>
                  <a:gd name="connsiteX2" fmla="*/ 35145 w 38100"/>
                  <a:gd name="connsiteY2" fmla="*/ 7145 h 95250"/>
                  <a:gd name="connsiteX3" fmla="*/ 25620 w 38100"/>
                  <a:gd name="connsiteY3" fmla="*/ 51341 h 95250"/>
                  <a:gd name="connsiteX4" fmla="*/ 13618 w 38100"/>
                  <a:gd name="connsiteY4" fmla="*/ 81059 h 95250"/>
                  <a:gd name="connsiteX5" fmla="*/ 7237 w 38100"/>
                  <a:gd name="connsiteY5" fmla="*/ 9268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100" h="95250">
                    <a:moveTo>
                      <a:pt x="7237" y="92680"/>
                    </a:moveTo>
                    <a:cubicBezTo>
                      <a:pt x="6189" y="92680"/>
                      <a:pt x="14190" y="73630"/>
                      <a:pt x="22286" y="50198"/>
                    </a:cubicBezTo>
                    <a:cubicBezTo>
                      <a:pt x="30382" y="26767"/>
                      <a:pt x="34097" y="6955"/>
                      <a:pt x="35145" y="7145"/>
                    </a:cubicBezTo>
                    <a:cubicBezTo>
                      <a:pt x="34327" y="22288"/>
                      <a:pt x="31112" y="37206"/>
                      <a:pt x="25620" y="51341"/>
                    </a:cubicBezTo>
                    <a:cubicBezTo>
                      <a:pt x="22219" y="61479"/>
                      <a:pt x="18211" y="71403"/>
                      <a:pt x="13618" y="81059"/>
                    </a:cubicBezTo>
                    <a:cubicBezTo>
                      <a:pt x="12086" y="85231"/>
                      <a:pt x="9935" y="89148"/>
                      <a:pt x="7237" y="92680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9" name="Полилиния: фигура 138">
                <a:extLst>
                  <a:ext uri="{FF2B5EF4-FFF2-40B4-BE49-F238E27FC236}">
                    <a16:creationId xmlns:a16="http://schemas.microsoft.com/office/drawing/2014/main" id="{E6C97431-B194-4B31-B908-B42ADCB0B9B5}"/>
                  </a:ext>
                </a:extLst>
              </p:cNvPr>
              <p:cNvSpPr/>
              <p:nvPr/>
            </p:nvSpPr>
            <p:spPr>
              <a:xfrm>
                <a:off x="5799310" y="5424081"/>
                <a:ext cx="152400" cy="190500"/>
              </a:xfrm>
              <a:custGeom>
                <a:avLst/>
                <a:gdLst>
                  <a:gd name="connsiteX0" fmla="*/ 150495 w 152400"/>
                  <a:gd name="connsiteY0" fmla="*/ 187166 h 190500"/>
                  <a:gd name="connsiteX1" fmla="*/ 144494 w 152400"/>
                  <a:gd name="connsiteY1" fmla="*/ 180213 h 190500"/>
                  <a:gd name="connsiteX2" fmla="*/ 129349 w 152400"/>
                  <a:gd name="connsiteY2" fmla="*/ 161163 h 190500"/>
                  <a:gd name="connsiteX3" fmla="*/ 79153 w 152400"/>
                  <a:gd name="connsiteY3" fmla="*/ 96964 h 190500"/>
                  <a:gd name="connsiteX4" fmla="*/ 28003 w 152400"/>
                  <a:gd name="connsiteY4" fmla="*/ 33528 h 190500"/>
                  <a:gd name="connsiteX5" fmla="*/ 12478 w 152400"/>
                  <a:gd name="connsiteY5" fmla="*/ 14478 h 190500"/>
                  <a:gd name="connsiteX6" fmla="*/ 7144 w 152400"/>
                  <a:gd name="connsiteY6" fmla="*/ 7144 h 190500"/>
                  <a:gd name="connsiteX7" fmla="*/ 13525 w 152400"/>
                  <a:gd name="connsiteY7" fmla="*/ 13621 h 190500"/>
                  <a:gd name="connsiteX8" fmla="*/ 30003 w 152400"/>
                  <a:gd name="connsiteY8" fmla="*/ 32099 h 190500"/>
                  <a:gd name="connsiteX9" fmla="*/ 82010 w 152400"/>
                  <a:gd name="connsiteY9" fmla="*/ 94964 h 190500"/>
                  <a:gd name="connsiteX10" fmla="*/ 131350 w 152400"/>
                  <a:gd name="connsiteY10" fmla="*/ 159829 h 190500"/>
                  <a:gd name="connsiteX11" fmla="*/ 145637 w 152400"/>
                  <a:gd name="connsiteY11" fmla="*/ 180022 h 190500"/>
                  <a:gd name="connsiteX12" fmla="*/ 150495 w 152400"/>
                  <a:gd name="connsiteY12" fmla="*/ 187166 h 19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400" h="190500">
                    <a:moveTo>
                      <a:pt x="150495" y="187166"/>
                    </a:moveTo>
                    <a:cubicBezTo>
                      <a:pt x="148311" y="185013"/>
                      <a:pt x="146304" y="182688"/>
                      <a:pt x="144494" y="180213"/>
                    </a:cubicBezTo>
                    <a:lnTo>
                      <a:pt x="129349" y="161163"/>
                    </a:lnTo>
                    <a:cubicBezTo>
                      <a:pt x="116586" y="144685"/>
                      <a:pt x="98964" y="121920"/>
                      <a:pt x="79153" y="96964"/>
                    </a:cubicBezTo>
                    <a:cubicBezTo>
                      <a:pt x="59341" y="72009"/>
                      <a:pt x="41053" y="49339"/>
                      <a:pt x="28003" y="33528"/>
                    </a:cubicBezTo>
                    <a:lnTo>
                      <a:pt x="12478" y="14478"/>
                    </a:lnTo>
                    <a:cubicBezTo>
                      <a:pt x="10441" y="12232"/>
                      <a:pt x="8652" y="9773"/>
                      <a:pt x="7144" y="7144"/>
                    </a:cubicBezTo>
                    <a:cubicBezTo>
                      <a:pt x="9463" y="9104"/>
                      <a:pt x="11599" y="11273"/>
                      <a:pt x="13525" y="13621"/>
                    </a:cubicBezTo>
                    <a:cubicBezTo>
                      <a:pt x="17526" y="17907"/>
                      <a:pt x="23050" y="24193"/>
                      <a:pt x="30003" y="32099"/>
                    </a:cubicBezTo>
                    <a:cubicBezTo>
                      <a:pt x="43624" y="47815"/>
                      <a:pt x="62198" y="70199"/>
                      <a:pt x="82010" y="94964"/>
                    </a:cubicBezTo>
                    <a:cubicBezTo>
                      <a:pt x="101822" y="119729"/>
                      <a:pt x="119063" y="142589"/>
                      <a:pt x="131350" y="159829"/>
                    </a:cubicBezTo>
                    <a:cubicBezTo>
                      <a:pt x="137540" y="168307"/>
                      <a:pt x="142398" y="175165"/>
                      <a:pt x="145637" y="180022"/>
                    </a:cubicBezTo>
                    <a:cubicBezTo>
                      <a:pt x="147513" y="182219"/>
                      <a:pt x="149141" y="184615"/>
                      <a:pt x="150495" y="187166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0" name="Полилиния: фигура 139">
                <a:extLst>
                  <a:ext uri="{FF2B5EF4-FFF2-40B4-BE49-F238E27FC236}">
                    <a16:creationId xmlns:a16="http://schemas.microsoft.com/office/drawing/2014/main" id="{DD3489D5-28BE-4E88-8F46-9F9C88EE19D4}"/>
                  </a:ext>
                </a:extLst>
              </p:cNvPr>
              <p:cNvSpPr/>
              <p:nvPr/>
            </p:nvSpPr>
            <p:spPr>
              <a:xfrm>
                <a:off x="5870737" y="5468372"/>
                <a:ext cx="38100" cy="85725"/>
              </a:xfrm>
              <a:custGeom>
                <a:avLst/>
                <a:gdLst>
                  <a:gd name="connsiteX0" fmla="*/ 31633 w 38100"/>
                  <a:gd name="connsiteY0" fmla="*/ 82010 h 85725"/>
                  <a:gd name="connsiteX1" fmla="*/ 11821 w 38100"/>
                  <a:gd name="connsiteY1" fmla="*/ 44863 h 85725"/>
                  <a:gd name="connsiteX2" fmla="*/ 7344 w 38100"/>
                  <a:gd name="connsiteY2" fmla="*/ 7429 h 85725"/>
                  <a:gd name="connsiteX3" fmla="*/ 8869 w 38100"/>
                  <a:gd name="connsiteY3" fmla="*/ 7429 h 85725"/>
                  <a:gd name="connsiteX4" fmla="*/ 7344 w 38100"/>
                  <a:gd name="connsiteY4" fmla="*/ 11811 h 85725"/>
                  <a:gd name="connsiteX5" fmla="*/ 7344 w 38100"/>
                  <a:gd name="connsiteY5" fmla="*/ 7144 h 85725"/>
                  <a:gd name="connsiteX6" fmla="*/ 8869 w 38100"/>
                  <a:gd name="connsiteY6" fmla="*/ 7144 h 85725"/>
                  <a:gd name="connsiteX7" fmla="*/ 15250 w 38100"/>
                  <a:gd name="connsiteY7" fmla="*/ 43529 h 85725"/>
                  <a:gd name="connsiteX8" fmla="*/ 31633 w 38100"/>
                  <a:gd name="connsiteY8" fmla="*/ 82010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100" h="85725">
                    <a:moveTo>
                      <a:pt x="31633" y="82010"/>
                    </a:moveTo>
                    <a:cubicBezTo>
                      <a:pt x="22073" y="71446"/>
                      <a:pt x="15268" y="58687"/>
                      <a:pt x="11821" y="44863"/>
                    </a:cubicBezTo>
                    <a:cubicBezTo>
                      <a:pt x="8077" y="32758"/>
                      <a:pt x="6561" y="20075"/>
                      <a:pt x="7344" y="7429"/>
                    </a:cubicBezTo>
                    <a:lnTo>
                      <a:pt x="8869" y="7429"/>
                    </a:lnTo>
                    <a:cubicBezTo>
                      <a:pt x="8202" y="10287"/>
                      <a:pt x="7630" y="11811"/>
                      <a:pt x="7344" y="11811"/>
                    </a:cubicBezTo>
                    <a:cubicBezTo>
                      <a:pt x="7059" y="11811"/>
                      <a:pt x="7344" y="10096"/>
                      <a:pt x="7344" y="7144"/>
                    </a:cubicBezTo>
                    <a:lnTo>
                      <a:pt x="8869" y="7144"/>
                    </a:lnTo>
                    <a:cubicBezTo>
                      <a:pt x="9661" y="19469"/>
                      <a:pt x="11801" y="31670"/>
                      <a:pt x="15250" y="43529"/>
                    </a:cubicBezTo>
                    <a:cubicBezTo>
                      <a:pt x="19727" y="56754"/>
                      <a:pt x="25204" y="69618"/>
                      <a:pt x="31633" y="82010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1" name="Полилиния: фигура 140">
                <a:extLst>
                  <a:ext uri="{FF2B5EF4-FFF2-40B4-BE49-F238E27FC236}">
                    <a16:creationId xmlns:a16="http://schemas.microsoft.com/office/drawing/2014/main" id="{D8CF8252-4962-409F-B6D6-3D40F771CFF2}"/>
                  </a:ext>
                </a:extLst>
              </p:cNvPr>
              <p:cNvSpPr/>
              <p:nvPr/>
            </p:nvSpPr>
            <p:spPr>
              <a:xfrm>
                <a:off x="5727491" y="5450888"/>
                <a:ext cx="114300" cy="28575"/>
              </a:xfrm>
              <a:custGeom>
                <a:avLst/>
                <a:gdLst>
                  <a:gd name="connsiteX0" fmla="*/ 113729 w 114300"/>
                  <a:gd name="connsiteY0" fmla="*/ 22532 h 28575"/>
                  <a:gd name="connsiteX1" fmla="*/ 99917 w 114300"/>
                  <a:gd name="connsiteY1" fmla="*/ 14531 h 28575"/>
                  <a:gd name="connsiteX2" fmla="*/ 61817 w 114300"/>
                  <a:gd name="connsiteY2" fmla="*/ 11483 h 28575"/>
                  <a:gd name="connsiteX3" fmla="*/ 23050 w 114300"/>
                  <a:gd name="connsiteY3" fmla="*/ 17674 h 28575"/>
                  <a:gd name="connsiteX4" fmla="*/ 7144 w 114300"/>
                  <a:gd name="connsiteY4" fmla="*/ 21579 h 28575"/>
                  <a:gd name="connsiteX5" fmla="*/ 22384 w 114300"/>
                  <a:gd name="connsiteY5" fmla="*/ 15293 h 28575"/>
                  <a:gd name="connsiteX6" fmla="*/ 61531 w 114300"/>
                  <a:gd name="connsiteY6" fmla="*/ 7863 h 28575"/>
                  <a:gd name="connsiteX7" fmla="*/ 101250 w 114300"/>
                  <a:gd name="connsiteY7" fmla="*/ 12150 h 28575"/>
                  <a:gd name="connsiteX8" fmla="*/ 113728 w 114300"/>
                  <a:gd name="connsiteY8" fmla="*/ 2253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4300" h="28575">
                    <a:moveTo>
                      <a:pt x="113729" y="22532"/>
                    </a:moveTo>
                    <a:cubicBezTo>
                      <a:pt x="109449" y="19341"/>
                      <a:pt x="104815" y="16656"/>
                      <a:pt x="99917" y="14531"/>
                    </a:cubicBezTo>
                    <a:cubicBezTo>
                      <a:pt x="87571" y="10856"/>
                      <a:pt x="74590" y="9818"/>
                      <a:pt x="61817" y="11483"/>
                    </a:cubicBezTo>
                    <a:cubicBezTo>
                      <a:pt x="48749" y="12499"/>
                      <a:pt x="35785" y="14569"/>
                      <a:pt x="23050" y="17674"/>
                    </a:cubicBezTo>
                    <a:cubicBezTo>
                      <a:pt x="17837" y="19315"/>
                      <a:pt x="12524" y="20620"/>
                      <a:pt x="7144" y="21579"/>
                    </a:cubicBezTo>
                    <a:cubicBezTo>
                      <a:pt x="11852" y="18676"/>
                      <a:pt x="16998" y="16554"/>
                      <a:pt x="22384" y="15293"/>
                    </a:cubicBezTo>
                    <a:cubicBezTo>
                      <a:pt x="35111" y="11348"/>
                      <a:pt x="48244" y="8856"/>
                      <a:pt x="61531" y="7863"/>
                    </a:cubicBezTo>
                    <a:cubicBezTo>
                      <a:pt x="74923" y="6107"/>
                      <a:pt x="88541" y="7577"/>
                      <a:pt x="101250" y="12150"/>
                    </a:cubicBezTo>
                    <a:cubicBezTo>
                      <a:pt x="106454" y="14117"/>
                      <a:pt x="110847" y="17772"/>
                      <a:pt x="113728" y="22532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2" name="Полилиния: фигура 141">
                <a:extLst>
                  <a:ext uri="{FF2B5EF4-FFF2-40B4-BE49-F238E27FC236}">
                    <a16:creationId xmlns:a16="http://schemas.microsoft.com/office/drawing/2014/main" id="{7580F4BF-8923-4EE9-A41A-40F8137BA6A4}"/>
                  </a:ext>
                </a:extLst>
              </p:cNvPr>
              <p:cNvSpPr/>
              <p:nvPr/>
            </p:nvSpPr>
            <p:spPr>
              <a:xfrm>
                <a:off x="5669198" y="5424956"/>
                <a:ext cx="161925" cy="28575"/>
              </a:xfrm>
              <a:custGeom>
                <a:avLst/>
                <a:gdLst>
                  <a:gd name="connsiteX0" fmla="*/ 157543 w 161925"/>
                  <a:gd name="connsiteY0" fmla="*/ 29890 h 28575"/>
                  <a:gd name="connsiteX1" fmla="*/ 136303 w 161925"/>
                  <a:gd name="connsiteY1" fmla="*/ 22080 h 28575"/>
                  <a:gd name="connsiteX2" fmla="*/ 83344 w 161925"/>
                  <a:gd name="connsiteY2" fmla="*/ 11221 h 28575"/>
                  <a:gd name="connsiteX3" fmla="*/ 29337 w 161925"/>
                  <a:gd name="connsiteY3" fmla="*/ 13984 h 28575"/>
                  <a:gd name="connsiteX4" fmla="*/ 7144 w 161925"/>
                  <a:gd name="connsiteY4" fmla="*/ 18365 h 28575"/>
                  <a:gd name="connsiteX5" fmla="*/ 12764 w 161925"/>
                  <a:gd name="connsiteY5" fmla="*/ 15984 h 28575"/>
                  <a:gd name="connsiteX6" fmla="*/ 28861 w 161925"/>
                  <a:gd name="connsiteY6" fmla="*/ 11507 h 28575"/>
                  <a:gd name="connsiteX7" fmla="*/ 83630 w 161925"/>
                  <a:gd name="connsiteY7" fmla="*/ 7697 h 28575"/>
                  <a:gd name="connsiteX8" fmla="*/ 137160 w 161925"/>
                  <a:gd name="connsiteY8" fmla="*/ 19794 h 28575"/>
                  <a:gd name="connsiteX9" fmla="*/ 152305 w 161925"/>
                  <a:gd name="connsiteY9" fmla="*/ 26652 h 28575"/>
                  <a:gd name="connsiteX10" fmla="*/ 157543 w 161925"/>
                  <a:gd name="connsiteY10" fmla="*/ 2989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1925" h="28575">
                    <a:moveTo>
                      <a:pt x="157543" y="29890"/>
                    </a:moveTo>
                    <a:cubicBezTo>
                      <a:pt x="157543" y="30367"/>
                      <a:pt x="149447" y="26652"/>
                      <a:pt x="136303" y="22080"/>
                    </a:cubicBezTo>
                    <a:cubicBezTo>
                      <a:pt x="119164" y="16294"/>
                      <a:pt x="101376" y="12646"/>
                      <a:pt x="83344" y="11221"/>
                    </a:cubicBezTo>
                    <a:cubicBezTo>
                      <a:pt x="65297" y="9881"/>
                      <a:pt x="47153" y="10809"/>
                      <a:pt x="29337" y="13984"/>
                    </a:cubicBezTo>
                    <a:cubicBezTo>
                      <a:pt x="15621" y="16460"/>
                      <a:pt x="7334" y="18937"/>
                      <a:pt x="7144" y="18365"/>
                    </a:cubicBezTo>
                    <a:cubicBezTo>
                      <a:pt x="8897" y="17314"/>
                      <a:pt x="10789" y="16513"/>
                      <a:pt x="12764" y="15984"/>
                    </a:cubicBezTo>
                    <a:cubicBezTo>
                      <a:pt x="18031" y="14157"/>
                      <a:pt x="23407" y="12661"/>
                      <a:pt x="28861" y="11507"/>
                    </a:cubicBezTo>
                    <a:cubicBezTo>
                      <a:pt x="46834" y="7572"/>
                      <a:pt x="65286" y="6289"/>
                      <a:pt x="83630" y="7697"/>
                    </a:cubicBezTo>
                    <a:cubicBezTo>
                      <a:pt x="101975" y="9047"/>
                      <a:pt x="120017" y="13124"/>
                      <a:pt x="137160" y="19794"/>
                    </a:cubicBezTo>
                    <a:cubicBezTo>
                      <a:pt x="142348" y="21757"/>
                      <a:pt x="147407" y="24048"/>
                      <a:pt x="152305" y="26652"/>
                    </a:cubicBezTo>
                    <a:cubicBezTo>
                      <a:pt x="156020" y="28462"/>
                      <a:pt x="157639" y="29604"/>
                      <a:pt x="157543" y="29890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3" name="Полилиния: фигура 142">
                <a:extLst>
                  <a:ext uri="{FF2B5EF4-FFF2-40B4-BE49-F238E27FC236}">
                    <a16:creationId xmlns:a16="http://schemas.microsoft.com/office/drawing/2014/main" id="{A4C0E3C4-4D2B-48F5-853C-2306361C9DF8}"/>
                  </a:ext>
                </a:extLst>
              </p:cNvPr>
              <p:cNvSpPr/>
              <p:nvPr/>
            </p:nvSpPr>
            <p:spPr>
              <a:xfrm>
                <a:off x="5914372" y="5260346"/>
                <a:ext cx="38100" cy="114300"/>
              </a:xfrm>
              <a:custGeom>
                <a:avLst/>
                <a:gdLst>
                  <a:gd name="connsiteX0" fmla="*/ 34671 w 38100"/>
                  <a:gd name="connsiteY0" fmla="*/ 115633 h 114300"/>
                  <a:gd name="connsiteX1" fmla="*/ 19145 w 38100"/>
                  <a:gd name="connsiteY1" fmla="*/ 61817 h 114300"/>
                  <a:gd name="connsiteX2" fmla="*/ 7144 w 38100"/>
                  <a:gd name="connsiteY2" fmla="*/ 7144 h 114300"/>
                  <a:gd name="connsiteX3" fmla="*/ 22670 w 38100"/>
                  <a:gd name="connsiteY3" fmla="*/ 60960 h 114300"/>
                  <a:gd name="connsiteX4" fmla="*/ 34671 w 38100"/>
                  <a:gd name="connsiteY4" fmla="*/ 115633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14300">
                    <a:moveTo>
                      <a:pt x="34671" y="115633"/>
                    </a:moveTo>
                    <a:cubicBezTo>
                      <a:pt x="28380" y="98035"/>
                      <a:pt x="23195" y="80062"/>
                      <a:pt x="19145" y="61817"/>
                    </a:cubicBezTo>
                    <a:cubicBezTo>
                      <a:pt x="13960" y="43873"/>
                      <a:pt x="9951" y="25610"/>
                      <a:pt x="7144" y="7144"/>
                    </a:cubicBezTo>
                    <a:cubicBezTo>
                      <a:pt x="13451" y="24736"/>
                      <a:pt x="18637" y="42711"/>
                      <a:pt x="22670" y="60960"/>
                    </a:cubicBezTo>
                    <a:cubicBezTo>
                      <a:pt x="27801" y="78918"/>
                      <a:pt x="31809" y="97178"/>
                      <a:pt x="34671" y="115633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4" name="Полилиния: фигура 143">
                <a:extLst>
                  <a:ext uri="{FF2B5EF4-FFF2-40B4-BE49-F238E27FC236}">
                    <a16:creationId xmlns:a16="http://schemas.microsoft.com/office/drawing/2014/main" id="{3900A61E-AE21-460E-B5BD-F749E43BED37}"/>
                  </a:ext>
                </a:extLst>
              </p:cNvPr>
              <p:cNvSpPr/>
              <p:nvPr/>
            </p:nvSpPr>
            <p:spPr>
              <a:xfrm>
                <a:off x="5900751" y="5310542"/>
                <a:ext cx="47625" cy="66675"/>
              </a:xfrm>
              <a:custGeom>
                <a:avLst/>
                <a:gdLst>
                  <a:gd name="connsiteX0" fmla="*/ 49530 w 47625"/>
                  <a:gd name="connsiteY0" fmla="*/ 65437 h 66675"/>
                  <a:gd name="connsiteX1" fmla="*/ 32385 w 47625"/>
                  <a:gd name="connsiteY1" fmla="*/ 33242 h 66675"/>
                  <a:gd name="connsiteX2" fmla="*/ 7144 w 47625"/>
                  <a:gd name="connsiteY2" fmla="*/ 7144 h 66675"/>
                  <a:gd name="connsiteX3" fmla="*/ 16669 w 47625"/>
                  <a:gd name="connsiteY3" fmla="*/ 12192 h 66675"/>
                  <a:gd name="connsiteX4" fmla="*/ 35147 w 47625"/>
                  <a:gd name="connsiteY4" fmla="*/ 31242 h 66675"/>
                  <a:gd name="connsiteX5" fmla="*/ 49530 w 47625"/>
                  <a:gd name="connsiteY5" fmla="*/ 65437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625" h="66675">
                    <a:moveTo>
                      <a:pt x="49530" y="65437"/>
                    </a:moveTo>
                    <a:cubicBezTo>
                      <a:pt x="44613" y="54299"/>
                      <a:pt x="38883" y="43539"/>
                      <a:pt x="32385" y="33242"/>
                    </a:cubicBezTo>
                    <a:cubicBezTo>
                      <a:pt x="25115" y="23505"/>
                      <a:pt x="16633" y="14734"/>
                      <a:pt x="7144" y="7144"/>
                    </a:cubicBezTo>
                    <a:cubicBezTo>
                      <a:pt x="10682" y="8025"/>
                      <a:pt x="13953" y="9758"/>
                      <a:pt x="16669" y="12192"/>
                    </a:cubicBezTo>
                    <a:cubicBezTo>
                      <a:pt x="23848" y="17466"/>
                      <a:pt x="30094" y="23905"/>
                      <a:pt x="35147" y="31242"/>
                    </a:cubicBezTo>
                    <a:cubicBezTo>
                      <a:pt x="42842" y="41191"/>
                      <a:pt x="47800" y="52979"/>
                      <a:pt x="49530" y="65437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5" name="Полилиния: фигура 144">
                <a:extLst>
                  <a:ext uri="{FF2B5EF4-FFF2-40B4-BE49-F238E27FC236}">
                    <a16:creationId xmlns:a16="http://schemas.microsoft.com/office/drawing/2014/main" id="{59617D86-A4B3-40DF-8132-2925355EDD4A}"/>
                  </a:ext>
                </a:extLst>
              </p:cNvPr>
              <p:cNvSpPr/>
              <p:nvPr/>
            </p:nvSpPr>
            <p:spPr>
              <a:xfrm>
                <a:off x="5715871" y="5716307"/>
                <a:ext cx="238125" cy="371475"/>
              </a:xfrm>
              <a:custGeom>
                <a:avLst/>
                <a:gdLst>
                  <a:gd name="connsiteX0" fmla="*/ 233648 w 238125"/>
                  <a:gd name="connsiteY0" fmla="*/ 368332 h 371475"/>
                  <a:gd name="connsiteX1" fmla="*/ 229743 w 238125"/>
                  <a:gd name="connsiteY1" fmla="*/ 351854 h 371475"/>
                  <a:gd name="connsiteX2" fmla="*/ 213265 w 238125"/>
                  <a:gd name="connsiteY2" fmla="*/ 309087 h 371475"/>
                  <a:gd name="connsiteX3" fmla="*/ 125635 w 238125"/>
                  <a:gd name="connsiteY3" fmla="*/ 185262 h 371475"/>
                  <a:gd name="connsiteX4" fmla="*/ 70866 w 238125"/>
                  <a:gd name="connsiteY4" fmla="*/ 121634 h 371475"/>
                  <a:gd name="connsiteX5" fmla="*/ 31814 w 238125"/>
                  <a:gd name="connsiteY5" fmla="*/ 65246 h 371475"/>
                  <a:gd name="connsiteX6" fmla="*/ 12097 w 238125"/>
                  <a:gd name="connsiteY6" fmla="*/ 23431 h 371475"/>
                  <a:gd name="connsiteX7" fmla="*/ 8191 w 238125"/>
                  <a:gd name="connsiteY7" fmla="*/ 11430 h 371475"/>
                  <a:gd name="connsiteX8" fmla="*/ 7144 w 238125"/>
                  <a:gd name="connsiteY8" fmla="*/ 7144 h 371475"/>
                  <a:gd name="connsiteX9" fmla="*/ 13335 w 238125"/>
                  <a:gd name="connsiteY9" fmla="*/ 22860 h 371475"/>
                  <a:gd name="connsiteX10" fmla="*/ 34004 w 238125"/>
                  <a:gd name="connsiteY10" fmla="*/ 64008 h 371475"/>
                  <a:gd name="connsiteX11" fmla="*/ 73437 w 238125"/>
                  <a:gd name="connsiteY11" fmla="*/ 119539 h 371475"/>
                  <a:gd name="connsiteX12" fmla="*/ 128301 w 238125"/>
                  <a:gd name="connsiteY12" fmla="*/ 182975 h 371475"/>
                  <a:gd name="connsiteX13" fmla="*/ 215550 w 238125"/>
                  <a:gd name="connsiteY13" fmla="*/ 308039 h 371475"/>
                  <a:gd name="connsiteX14" fmla="*/ 231171 w 238125"/>
                  <a:gd name="connsiteY14" fmla="*/ 351663 h 371475"/>
                  <a:gd name="connsiteX15" fmla="*/ 233362 w 238125"/>
                  <a:gd name="connsiteY15" fmla="*/ 364046 h 371475"/>
                  <a:gd name="connsiteX16" fmla="*/ 233648 w 238125"/>
                  <a:gd name="connsiteY16" fmla="*/ 368332 h 371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38125" h="371475">
                    <a:moveTo>
                      <a:pt x="233648" y="368332"/>
                    </a:moveTo>
                    <a:cubicBezTo>
                      <a:pt x="233648" y="368332"/>
                      <a:pt x="232600" y="362426"/>
                      <a:pt x="229743" y="351854"/>
                    </a:cubicBezTo>
                    <a:cubicBezTo>
                      <a:pt x="225654" y="337096"/>
                      <a:pt x="220135" y="322772"/>
                      <a:pt x="213265" y="309087"/>
                    </a:cubicBezTo>
                    <a:cubicBezTo>
                      <a:pt x="189471" y="264234"/>
                      <a:pt x="160020" y="222619"/>
                      <a:pt x="125635" y="185262"/>
                    </a:cubicBezTo>
                    <a:cubicBezTo>
                      <a:pt x="106013" y="162878"/>
                      <a:pt x="87058" y="141827"/>
                      <a:pt x="70866" y="121634"/>
                    </a:cubicBezTo>
                    <a:cubicBezTo>
                      <a:pt x="56462" y="103838"/>
                      <a:pt x="43408" y="84989"/>
                      <a:pt x="31814" y="65246"/>
                    </a:cubicBezTo>
                    <a:cubicBezTo>
                      <a:pt x="24023" y="51916"/>
                      <a:pt x="17425" y="37923"/>
                      <a:pt x="12097" y="23431"/>
                    </a:cubicBezTo>
                    <a:cubicBezTo>
                      <a:pt x="10287" y="18193"/>
                      <a:pt x="8954" y="13907"/>
                      <a:pt x="8191" y="11430"/>
                    </a:cubicBezTo>
                    <a:cubicBezTo>
                      <a:pt x="7730" y="10031"/>
                      <a:pt x="7379" y="8598"/>
                      <a:pt x="7144" y="7144"/>
                    </a:cubicBezTo>
                    <a:cubicBezTo>
                      <a:pt x="7144" y="7144"/>
                      <a:pt x="9334" y="12764"/>
                      <a:pt x="13335" y="22860"/>
                    </a:cubicBezTo>
                    <a:cubicBezTo>
                      <a:pt x="19213" y="37061"/>
                      <a:pt x="26121" y="50814"/>
                      <a:pt x="34004" y="64008"/>
                    </a:cubicBezTo>
                    <a:cubicBezTo>
                      <a:pt x="45800" y="83440"/>
                      <a:pt x="58978" y="101998"/>
                      <a:pt x="73437" y="119539"/>
                    </a:cubicBezTo>
                    <a:cubicBezTo>
                      <a:pt x="89630" y="139541"/>
                      <a:pt x="108680" y="160497"/>
                      <a:pt x="128301" y="182975"/>
                    </a:cubicBezTo>
                    <a:cubicBezTo>
                      <a:pt x="162937" y="220501"/>
                      <a:pt x="192291" y="262577"/>
                      <a:pt x="215550" y="308039"/>
                    </a:cubicBezTo>
                    <a:cubicBezTo>
                      <a:pt x="222314" y="321975"/>
                      <a:pt x="227551" y="336602"/>
                      <a:pt x="231171" y="351663"/>
                    </a:cubicBezTo>
                    <a:cubicBezTo>
                      <a:pt x="232109" y="355751"/>
                      <a:pt x="232840" y="359884"/>
                      <a:pt x="233362" y="364046"/>
                    </a:cubicBezTo>
                    <a:cubicBezTo>
                      <a:pt x="233639" y="365456"/>
                      <a:pt x="233735" y="366897"/>
                      <a:pt x="233648" y="368332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6" name="Полилиния: фигура 145">
                <a:extLst>
                  <a:ext uri="{FF2B5EF4-FFF2-40B4-BE49-F238E27FC236}">
                    <a16:creationId xmlns:a16="http://schemas.microsoft.com/office/drawing/2014/main" id="{41DE0878-DB54-4D08-8214-CDF613FCD7D5}"/>
                  </a:ext>
                </a:extLst>
              </p:cNvPr>
              <p:cNvSpPr/>
              <p:nvPr/>
            </p:nvSpPr>
            <p:spPr>
              <a:xfrm>
                <a:off x="5941709" y="5856943"/>
                <a:ext cx="209550" cy="228600"/>
              </a:xfrm>
              <a:custGeom>
                <a:avLst/>
                <a:gdLst>
                  <a:gd name="connsiteX0" fmla="*/ 203073 w 209550"/>
                  <a:gd name="connsiteY0" fmla="*/ 7192 h 228600"/>
                  <a:gd name="connsiteX1" fmla="*/ 192881 w 209550"/>
                  <a:gd name="connsiteY1" fmla="*/ 12907 h 228600"/>
                  <a:gd name="connsiteX2" fmla="*/ 166307 w 209550"/>
                  <a:gd name="connsiteY2" fmla="*/ 30433 h 228600"/>
                  <a:gd name="connsiteX3" fmla="*/ 131159 w 209550"/>
                  <a:gd name="connsiteY3" fmla="*/ 62628 h 228600"/>
                  <a:gd name="connsiteX4" fmla="*/ 93059 w 209550"/>
                  <a:gd name="connsiteY4" fmla="*/ 106633 h 228600"/>
                  <a:gd name="connsiteX5" fmla="*/ 28956 w 209550"/>
                  <a:gd name="connsiteY5" fmla="*/ 190263 h 228600"/>
                  <a:gd name="connsiteX6" fmla="*/ 12764 w 209550"/>
                  <a:gd name="connsiteY6" fmla="*/ 217790 h 228600"/>
                  <a:gd name="connsiteX7" fmla="*/ 7144 w 209550"/>
                  <a:gd name="connsiteY7" fmla="*/ 228077 h 228600"/>
                  <a:gd name="connsiteX8" fmla="*/ 8096 w 209550"/>
                  <a:gd name="connsiteY8" fmla="*/ 225220 h 228600"/>
                  <a:gd name="connsiteX9" fmla="*/ 11525 w 209550"/>
                  <a:gd name="connsiteY9" fmla="*/ 217123 h 228600"/>
                  <a:gd name="connsiteX10" fmla="*/ 26765 w 209550"/>
                  <a:gd name="connsiteY10" fmla="*/ 188548 h 228600"/>
                  <a:gd name="connsiteX11" fmla="*/ 90297 w 209550"/>
                  <a:gd name="connsiteY11" fmla="*/ 104062 h 228600"/>
                  <a:gd name="connsiteX12" fmla="*/ 128397 w 209550"/>
                  <a:gd name="connsiteY12" fmla="*/ 59961 h 228600"/>
                  <a:gd name="connsiteX13" fmla="*/ 164116 w 209550"/>
                  <a:gd name="connsiteY13" fmla="*/ 28433 h 228600"/>
                  <a:gd name="connsiteX14" fmla="*/ 191548 w 209550"/>
                  <a:gd name="connsiteY14" fmla="*/ 11669 h 228600"/>
                  <a:gd name="connsiteX15" fmla="*/ 199549 w 209550"/>
                  <a:gd name="connsiteY15" fmla="*/ 8145 h 228600"/>
                  <a:gd name="connsiteX16" fmla="*/ 203073 w 209550"/>
                  <a:gd name="connsiteY16" fmla="*/ 7192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09550" h="228600">
                    <a:moveTo>
                      <a:pt x="203073" y="7192"/>
                    </a:moveTo>
                    <a:cubicBezTo>
                      <a:pt x="199780" y="9277"/>
                      <a:pt x="196378" y="11184"/>
                      <a:pt x="192881" y="12907"/>
                    </a:cubicBezTo>
                    <a:cubicBezTo>
                      <a:pt x="183618" y="18111"/>
                      <a:pt x="174738" y="23968"/>
                      <a:pt x="166307" y="30433"/>
                    </a:cubicBezTo>
                    <a:cubicBezTo>
                      <a:pt x="153793" y="40260"/>
                      <a:pt x="142044" y="51022"/>
                      <a:pt x="131159" y="62628"/>
                    </a:cubicBezTo>
                    <a:cubicBezTo>
                      <a:pt x="118967" y="75582"/>
                      <a:pt x="106299" y="90536"/>
                      <a:pt x="93059" y="106633"/>
                    </a:cubicBezTo>
                    <a:cubicBezTo>
                      <a:pt x="67342" y="138923"/>
                      <a:pt x="43339" y="167498"/>
                      <a:pt x="28956" y="190263"/>
                    </a:cubicBezTo>
                    <a:cubicBezTo>
                      <a:pt x="21622" y="201598"/>
                      <a:pt x="16288" y="211123"/>
                      <a:pt x="12764" y="217790"/>
                    </a:cubicBezTo>
                    <a:cubicBezTo>
                      <a:pt x="11168" y="221363"/>
                      <a:pt x="9289" y="224804"/>
                      <a:pt x="7144" y="228077"/>
                    </a:cubicBezTo>
                    <a:cubicBezTo>
                      <a:pt x="7367" y="227096"/>
                      <a:pt x="7686" y="226138"/>
                      <a:pt x="8096" y="225220"/>
                    </a:cubicBezTo>
                    <a:cubicBezTo>
                      <a:pt x="8858" y="223315"/>
                      <a:pt x="9906" y="220552"/>
                      <a:pt x="11525" y="217123"/>
                    </a:cubicBezTo>
                    <a:cubicBezTo>
                      <a:pt x="16042" y="207309"/>
                      <a:pt x="21131" y="197767"/>
                      <a:pt x="26765" y="188548"/>
                    </a:cubicBezTo>
                    <a:cubicBezTo>
                      <a:pt x="46326" y="159206"/>
                      <a:pt x="67537" y="130998"/>
                      <a:pt x="90297" y="104062"/>
                    </a:cubicBezTo>
                    <a:cubicBezTo>
                      <a:pt x="103156" y="87869"/>
                      <a:pt x="115920" y="72915"/>
                      <a:pt x="128397" y="59961"/>
                    </a:cubicBezTo>
                    <a:cubicBezTo>
                      <a:pt x="139407" y="48478"/>
                      <a:pt x="151355" y="37932"/>
                      <a:pt x="164116" y="28433"/>
                    </a:cubicBezTo>
                    <a:cubicBezTo>
                      <a:pt x="172780" y="22094"/>
                      <a:pt x="181955" y="16487"/>
                      <a:pt x="191548" y="11669"/>
                    </a:cubicBezTo>
                    <a:cubicBezTo>
                      <a:pt x="194977" y="9955"/>
                      <a:pt x="197739" y="8907"/>
                      <a:pt x="199549" y="8145"/>
                    </a:cubicBezTo>
                    <a:cubicBezTo>
                      <a:pt x="201359" y="7383"/>
                      <a:pt x="203073" y="7002"/>
                      <a:pt x="203073" y="7192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7" name="Полилиния: фигура 146">
                <a:extLst>
                  <a:ext uri="{FF2B5EF4-FFF2-40B4-BE49-F238E27FC236}">
                    <a16:creationId xmlns:a16="http://schemas.microsoft.com/office/drawing/2014/main" id="{B0385E29-2CB1-4E63-8E9D-D6D66081A43C}"/>
                  </a:ext>
                </a:extLst>
              </p:cNvPr>
              <p:cNvSpPr/>
              <p:nvPr/>
            </p:nvSpPr>
            <p:spPr>
              <a:xfrm>
                <a:off x="6006954" y="5928144"/>
                <a:ext cx="142875" cy="57150"/>
              </a:xfrm>
              <a:custGeom>
                <a:avLst/>
                <a:gdLst>
                  <a:gd name="connsiteX0" fmla="*/ 142114 w 142875"/>
                  <a:gd name="connsiteY0" fmla="*/ 7524 h 57150"/>
                  <a:gd name="connsiteX1" fmla="*/ 120492 w 142875"/>
                  <a:gd name="connsiteY1" fmla="*/ 10667 h 57150"/>
                  <a:gd name="connsiteX2" fmla="*/ 69247 w 142875"/>
                  <a:gd name="connsiteY2" fmla="*/ 20763 h 57150"/>
                  <a:gd name="connsiteX3" fmla="*/ 23337 w 142875"/>
                  <a:gd name="connsiteY3" fmla="*/ 44862 h 57150"/>
                  <a:gd name="connsiteX4" fmla="*/ 7240 w 142875"/>
                  <a:gd name="connsiteY4" fmla="*/ 59435 h 57150"/>
                  <a:gd name="connsiteX5" fmla="*/ 10383 w 142875"/>
                  <a:gd name="connsiteY5" fmla="*/ 54387 h 57150"/>
                  <a:gd name="connsiteX6" fmla="*/ 21718 w 142875"/>
                  <a:gd name="connsiteY6" fmla="*/ 42861 h 57150"/>
                  <a:gd name="connsiteX7" fmla="*/ 68104 w 142875"/>
                  <a:gd name="connsiteY7" fmla="*/ 17335 h 57150"/>
                  <a:gd name="connsiteX8" fmla="*/ 120301 w 142875"/>
                  <a:gd name="connsiteY8" fmla="*/ 7810 h 57150"/>
                  <a:gd name="connsiteX9" fmla="*/ 142113 w 142875"/>
                  <a:gd name="connsiteY9" fmla="*/ 7524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2875" h="57150">
                    <a:moveTo>
                      <a:pt x="142114" y="7524"/>
                    </a:moveTo>
                    <a:cubicBezTo>
                      <a:pt x="134990" y="9084"/>
                      <a:pt x="127765" y="10135"/>
                      <a:pt x="120492" y="10667"/>
                    </a:cubicBezTo>
                    <a:cubicBezTo>
                      <a:pt x="103134" y="12433"/>
                      <a:pt x="85978" y="15813"/>
                      <a:pt x="69247" y="20763"/>
                    </a:cubicBezTo>
                    <a:cubicBezTo>
                      <a:pt x="52691" y="26142"/>
                      <a:pt x="37167" y="34291"/>
                      <a:pt x="23337" y="44862"/>
                    </a:cubicBezTo>
                    <a:cubicBezTo>
                      <a:pt x="12669" y="53053"/>
                      <a:pt x="7716" y="59816"/>
                      <a:pt x="7240" y="59435"/>
                    </a:cubicBezTo>
                    <a:cubicBezTo>
                      <a:pt x="6763" y="59054"/>
                      <a:pt x="8097" y="57435"/>
                      <a:pt x="10383" y="54387"/>
                    </a:cubicBezTo>
                    <a:cubicBezTo>
                      <a:pt x="13827" y="50231"/>
                      <a:pt x="17620" y="46375"/>
                      <a:pt x="21718" y="42861"/>
                    </a:cubicBezTo>
                    <a:cubicBezTo>
                      <a:pt x="35411" y="31474"/>
                      <a:pt x="51156" y="22810"/>
                      <a:pt x="68104" y="17335"/>
                    </a:cubicBezTo>
                    <a:cubicBezTo>
                      <a:pt x="85090" y="12209"/>
                      <a:pt x="102600" y="9014"/>
                      <a:pt x="120301" y="7810"/>
                    </a:cubicBezTo>
                    <a:cubicBezTo>
                      <a:pt x="127547" y="7031"/>
                      <a:pt x="134850" y="6935"/>
                      <a:pt x="142113" y="7524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8" name="Полилиния: фигура 147">
                <a:extLst>
                  <a:ext uri="{FF2B5EF4-FFF2-40B4-BE49-F238E27FC236}">
                    <a16:creationId xmlns:a16="http://schemas.microsoft.com/office/drawing/2014/main" id="{65D2273C-BE67-457D-B2AE-526C0F180FD4}"/>
                  </a:ext>
                </a:extLst>
              </p:cNvPr>
              <p:cNvSpPr/>
              <p:nvPr/>
            </p:nvSpPr>
            <p:spPr>
              <a:xfrm>
                <a:off x="6012769" y="5898902"/>
                <a:ext cx="38100" cy="85725"/>
              </a:xfrm>
              <a:custGeom>
                <a:avLst/>
                <a:gdLst>
                  <a:gd name="connsiteX0" fmla="*/ 7235 w 38100"/>
                  <a:gd name="connsiteY0" fmla="*/ 80772 h 85725"/>
                  <a:gd name="connsiteX1" fmla="*/ 23428 w 38100"/>
                  <a:gd name="connsiteY1" fmla="*/ 45244 h 85725"/>
                  <a:gd name="connsiteX2" fmla="*/ 33429 w 38100"/>
                  <a:gd name="connsiteY2" fmla="*/ 7144 h 85725"/>
                  <a:gd name="connsiteX3" fmla="*/ 33429 w 38100"/>
                  <a:gd name="connsiteY3" fmla="*/ 18764 h 85725"/>
                  <a:gd name="connsiteX4" fmla="*/ 27143 w 38100"/>
                  <a:gd name="connsiteY4" fmla="*/ 46101 h 85725"/>
                  <a:gd name="connsiteX5" fmla="*/ 14665 w 38100"/>
                  <a:gd name="connsiteY5" fmla="*/ 71152 h 85725"/>
                  <a:gd name="connsiteX6" fmla="*/ 7235 w 38100"/>
                  <a:gd name="connsiteY6" fmla="*/ 80772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100" h="85725">
                    <a:moveTo>
                      <a:pt x="7235" y="80772"/>
                    </a:moveTo>
                    <a:cubicBezTo>
                      <a:pt x="6092" y="80105"/>
                      <a:pt x="15903" y="65246"/>
                      <a:pt x="23428" y="45244"/>
                    </a:cubicBezTo>
                    <a:cubicBezTo>
                      <a:pt x="30952" y="25241"/>
                      <a:pt x="32191" y="7144"/>
                      <a:pt x="33429" y="7144"/>
                    </a:cubicBezTo>
                    <a:cubicBezTo>
                      <a:pt x="34128" y="10986"/>
                      <a:pt x="34128" y="14922"/>
                      <a:pt x="33429" y="18764"/>
                    </a:cubicBezTo>
                    <a:cubicBezTo>
                      <a:pt x="32437" y="28096"/>
                      <a:pt x="30326" y="37274"/>
                      <a:pt x="27143" y="46101"/>
                    </a:cubicBezTo>
                    <a:cubicBezTo>
                      <a:pt x="23918" y="54885"/>
                      <a:pt x="19734" y="63286"/>
                      <a:pt x="14665" y="71152"/>
                    </a:cubicBezTo>
                    <a:cubicBezTo>
                      <a:pt x="12763" y="74763"/>
                      <a:pt x="10249" y="78018"/>
                      <a:pt x="7235" y="80772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9" name="Полилиния: фигура 148">
                <a:extLst>
                  <a:ext uri="{FF2B5EF4-FFF2-40B4-BE49-F238E27FC236}">
                    <a16:creationId xmlns:a16="http://schemas.microsoft.com/office/drawing/2014/main" id="{123E20EF-2F0A-4040-86F4-3DD3F516226E}"/>
                  </a:ext>
                </a:extLst>
              </p:cNvPr>
              <p:cNvSpPr/>
              <p:nvPr/>
            </p:nvSpPr>
            <p:spPr>
              <a:xfrm>
                <a:off x="5942471" y="5664777"/>
                <a:ext cx="266700" cy="276225"/>
              </a:xfrm>
              <a:custGeom>
                <a:avLst/>
                <a:gdLst>
                  <a:gd name="connsiteX0" fmla="*/ 265557 w 266700"/>
                  <a:gd name="connsiteY0" fmla="*/ 7144 h 276225"/>
                  <a:gd name="connsiteX1" fmla="*/ 262128 w 266700"/>
                  <a:gd name="connsiteY1" fmla="*/ 8954 h 276225"/>
                  <a:gd name="connsiteX2" fmla="*/ 251936 w 266700"/>
                  <a:gd name="connsiteY2" fmla="*/ 13621 h 276225"/>
                  <a:gd name="connsiteX3" fmla="*/ 236030 w 266700"/>
                  <a:gd name="connsiteY3" fmla="*/ 21146 h 276225"/>
                  <a:gd name="connsiteX4" fmla="*/ 215360 w 266700"/>
                  <a:gd name="connsiteY4" fmla="*/ 32004 h 276225"/>
                  <a:gd name="connsiteX5" fmla="*/ 203549 w 266700"/>
                  <a:gd name="connsiteY5" fmla="*/ 38671 h 276225"/>
                  <a:gd name="connsiteX6" fmla="*/ 191071 w 266700"/>
                  <a:gd name="connsiteY6" fmla="*/ 46577 h 276225"/>
                  <a:gd name="connsiteX7" fmla="*/ 164402 w 266700"/>
                  <a:gd name="connsiteY7" fmla="*/ 64961 h 276225"/>
                  <a:gd name="connsiteX8" fmla="*/ 108585 w 266700"/>
                  <a:gd name="connsiteY8" fmla="*/ 114014 h 276225"/>
                  <a:gd name="connsiteX9" fmla="*/ 61532 w 266700"/>
                  <a:gd name="connsiteY9" fmla="*/ 171164 h 276225"/>
                  <a:gd name="connsiteX10" fmla="*/ 44005 w 266700"/>
                  <a:gd name="connsiteY10" fmla="*/ 198501 h 276225"/>
                  <a:gd name="connsiteX11" fmla="*/ 36576 w 266700"/>
                  <a:gd name="connsiteY11" fmla="*/ 211169 h 276225"/>
                  <a:gd name="connsiteX12" fmla="*/ 30289 w 266700"/>
                  <a:gd name="connsiteY12" fmla="*/ 223171 h 276225"/>
                  <a:gd name="connsiteX13" fmla="*/ 20098 w 266700"/>
                  <a:gd name="connsiteY13" fmla="*/ 244221 h 276225"/>
                  <a:gd name="connsiteX14" fmla="*/ 13145 w 266700"/>
                  <a:gd name="connsiteY14" fmla="*/ 260413 h 276225"/>
                  <a:gd name="connsiteX15" fmla="*/ 8858 w 266700"/>
                  <a:gd name="connsiteY15" fmla="*/ 270701 h 276225"/>
                  <a:gd name="connsiteX16" fmla="*/ 7144 w 266700"/>
                  <a:gd name="connsiteY16" fmla="*/ 274225 h 276225"/>
                  <a:gd name="connsiteX17" fmla="*/ 8191 w 266700"/>
                  <a:gd name="connsiteY17" fmla="*/ 270510 h 276225"/>
                  <a:gd name="connsiteX18" fmla="*/ 11811 w 266700"/>
                  <a:gd name="connsiteY18" fmla="*/ 259937 h 276225"/>
                  <a:gd name="connsiteX19" fmla="*/ 18288 w 266700"/>
                  <a:gd name="connsiteY19" fmla="*/ 243459 h 276225"/>
                  <a:gd name="connsiteX20" fmla="*/ 27813 w 266700"/>
                  <a:gd name="connsiteY20" fmla="*/ 222028 h 276225"/>
                  <a:gd name="connsiteX21" fmla="*/ 34004 w 266700"/>
                  <a:gd name="connsiteY21" fmla="*/ 209836 h 276225"/>
                  <a:gd name="connsiteX22" fmla="*/ 41243 w 266700"/>
                  <a:gd name="connsiteY22" fmla="*/ 196977 h 276225"/>
                  <a:gd name="connsiteX23" fmla="*/ 58579 w 266700"/>
                  <a:gd name="connsiteY23" fmla="*/ 169259 h 276225"/>
                  <a:gd name="connsiteX24" fmla="*/ 162211 w 266700"/>
                  <a:gd name="connsiteY24" fmla="*/ 62008 h 276225"/>
                  <a:gd name="connsiteX25" fmla="*/ 189357 w 266700"/>
                  <a:gd name="connsiteY25" fmla="*/ 43815 h 276225"/>
                  <a:gd name="connsiteX26" fmla="*/ 201930 w 266700"/>
                  <a:gd name="connsiteY26" fmla="*/ 36004 h 276225"/>
                  <a:gd name="connsiteX27" fmla="*/ 213932 w 266700"/>
                  <a:gd name="connsiteY27" fmla="*/ 29528 h 276225"/>
                  <a:gd name="connsiteX28" fmla="*/ 234982 w 266700"/>
                  <a:gd name="connsiteY28" fmla="*/ 19050 h 276225"/>
                  <a:gd name="connsiteX29" fmla="*/ 251174 w 266700"/>
                  <a:gd name="connsiteY29" fmla="*/ 12002 h 276225"/>
                  <a:gd name="connsiteX30" fmla="*/ 261652 w 266700"/>
                  <a:gd name="connsiteY30" fmla="*/ 8001 h 276225"/>
                  <a:gd name="connsiteX31" fmla="*/ 265557 w 266700"/>
                  <a:gd name="connsiteY31" fmla="*/ 7144 h 27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66700" h="276225">
                    <a:moveTo>
                      <a:pt x="265557" y="7144"/>
                    </a:moveTo>
                    <a:cubicBezTo>
                      <a:pt x="264502" y="7901"/>
                      <a:pt x="263348" y="8510"/>
                      <a:pt x="262128" y="8954"/>
                    </a:cubicBezTo>
                    <a:lnTo>
                      <a:pt x="251936" y="13621"/>
                    </a:lnTo>
                    <a:cubicBezTo>
                      <a:pt x="247459" y="15526"/>
                      <a:pt x="242411" y="17907"/>
                      <a:pt x="236030" y="21146"/>
                    </a:cubicBezTo>
                    <a:cubicBezTo>
                      <a:pt x="229648" y="24384"/>
                      <a:pt x="222790" y="27527"/>
                      <a:pt x="215360" y="32004"/>
                    </a:cubicBezTo>
                    <a:lnTo>
                      <a:pt x="203549" y="38671"/>
                    </a:lnTo>
                    <a:cubicBezTo>
                      <a:pt x="199454" y="41053"/>
                      <a:pt x="195358" y="43815"/>
                      <a:pt x="191071" y="46577"/>
                    </a:cubicBezTo>
                    <a:cubicBezTo>
                      <a:pt x="182404" y="51816"/>
                      <a:pt x="173641" y="58293"/>
                      <a:pt x="164402" y="64961"/>
                    </a:cubicBezTo>
                    <a:cubicBezTo>
                      <a:pt x="144630" y="79935"/>
                      <a:pt x="125975" y="96330"/>
                      <a:pt x="108585" y="114014"/>
                    </a:cubicBezTo>
                    <a:cubicBezTo>
                      <a:pt x="91515" y="131879"/>
                      <a:pt x="75787" y="150981"/>
                      <a:pt x="61532" y="171164"/>
                    </a:cubicBezTo>
                    <a:cubicBezTo>
                      <a:pt x="55150" y="180689"/>
                      <a:pt x="48959" y="189643"/>
                      <a:pt x="44005" y="198501"/>
                    </a:cubicBezTo>
                    <a:cubicBezTo>
                      <a:pt x="41434" y="202882"/>
                      <a:pt x="38767" y="206978"/>
                      <a:pt x="36576" y="211169"/>
                    </a:cubicBezTo>
                    <a:lnTo>
                      <a:pt x="30289" y="223171"/>
                    </a:lnTo>
                    <a:cubicBezTo>
                      <a:pt x="26098" y="230791"/>
                      <a:pt x="23050" y="238030"/>
                      <a:pt x="20098" y="244221"/>
                    </a:cubicBezTo>
                    <a:cubicBezTo>
                      <a:pt x="17145" y="250412"/>
                      <a:pt x="14859" y="255937"/>
                      <a:pt x="13145" y="260413"/>
                    </a:cubicBezTo>
                    <a:lnTo>
                      <a:pt x="8858" y="270701"/>
                    </a:lnTo>
                    <a:cubicBezTo>
                      <a:pt x="8477" y="271959"/>
                      <a:pt x="7898" y="273149"/>
                      <a:pt x="7144" y="274225"/>
                    </a:cubicBezTo>
                    <a:cubicBezTo>
                      <a:pt x="7379" y="272957"/>
                      <a:pt x="7730" y="271714"/>
                      <a:pt x="8191" y="270510"/>
                    </a:cubicBezTo>
                    <a:cubicBezTo>
                      <a:pt x="9144" y="267748"/>
                      <a:pt x="10383" y="264223"/>
                      <a:pt x="11811" y="259937"/>
                    </a:cubicBezTo>
                    <a:cubicBezTo>
                      <a:pt x="13240" y="255651"/>
                      <a:pt x="15430" y="249746"/>
                      <a:pt x="18288" y="243459"/>
                    </a:cubicBezTo>
                    <a:cubicBezTo>
                      <a:pt x="21146" y="237172"/>
                      <a:pt x="23908" y="229743"/>
                      <a:pt x="27813" y="222028"/>
                    </a:cubicBezTo>
                    <a:cubicBezTo>
                      <a:pt x="29813" y="218218"/>
                      <a:pt x="31814" y="214122"/>
                      <a:pt x="34004" y="209836"/>
                    </a:cubicBezTo>
                    <a:cubicBezTo>
                      <a:pt x="36195" y="205549"/>
                      <a:pt x="38767" y="201454"/>
                      <a:pt x="41243" y="196977"/>
                    </a:cubicBezTo>
                    <a:cubicBezTo>
                      <a:pt x="46196" y="188023"/>
                      <a:pt x="52292" y="178879"/>
                      <a:pt x="58579" y="169259"/>
                    </a:cubicBezTo>
                    <a:cubicBezTo>
                      <a:pt x="86802" y="127900"/>
                      <a:pt x="121844" y="91634"/>
                      <a:pt x="162211" y="62008"/>
                    </a:cubicBezTo>
                    <a:cubicBezTo>
                      <a:pt x="171736" y="55436"/>
                      <a:pt x="180499" y="48959"/>
                      <a:pt x="189357" y="43815"/>
                    </a:cubicBezTo>
                    <a:cubicBezTo>
                      <a:pt x="193643" y="41148"/>
                      <a:pt x="197834" y="38386"/>
                      <a:pt x="201930" y="36004"/>
                    </a:cubicBezTo>
                    <a:lnTo>
                      <a:pt x="213932" y="29528"/>
                    </a:lnTo>
                    <a:cubicBezTo>
                      <a:pt x="221456" y="25146"/>
                      <a:pt x="228695" y="22003"/>
                      <a:pt x="234982" y="19050"/>
                    </a:cubicBezTo>
                    <a:cubicBezTo>
                      <a:pt x="241268" y="16097"/>
                      <a:pt x="246698" y="13716"/>
                      <a:pt x="251174" y="12002"/>
                    </a:cubicBezTo>
                    <a:lnTo>
                      <a:pt x="261652" y="8001"/>
                    </a:lnTo>
                    <a:cubicBezTo>
                      <a:pt x="262918" y="7573"/>
                      <a:pt x="264228" y="7285"/>
                      <a:pt x="265557" y="7144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0" name="Полилиния: фигура 149">
                <a:extLst>
                  <a:ext uri="{FF2B5EF4-FFF2-40B4-BE49-F238E27FC236}">
                    <a16:creationId xmlns:a16="http://schemas.microsoft.com/office/drawing/2014/main" id="{725E21F9-68CA-4455-B78B-E50AF331F5AD}"/>
                  </a:ext>
                </a:extLst>
              </p:cNvPr>
              <p:cNvSpPr/>
              <p:nvPr/>
            </p:nvSpPr>
            <p:spPr>
              <a:xfrm>
                <a:off x="6046674" y="5742596"/>
                <a:ext cx="104775" cy="38100"/>
              </a:xfrm>
              <a:custGeom>
                <a:avLst/>
                <a:gdLst>
                  <a:gd name="connsiteX0" fmla="*/ 7144 w 104775"/>
                  <a:gd name="connsiteY0" fmla="*/ 32957 h 38100"/>
                  <a:gd name="connsiteX1" fmla="*/ 15621 w 104775"/>
                  <a:gd name="connsiteY1" fmla="*/ 20289 h 38100"/>
                  <a:gd name="connsiteX2" fmla="*/ 49816 w 104775"/>
                  <a:gd name="connsiteY2" fmla="*/ 7145 h 38100"/>
                  <a:gd name="connsiteX3" fmla="*/ 85916 w 104775"/>
                  <a:gd name="connsiteY3" fmla="*/ 14193 h 38100"/>
                  <a:gd name="connsiteX4" fmla="*/ 99536 w 104775"/>
                  <a:gd name="connsiteY4" fmla="*/ 20861 h 38100"/>
                  <a:gd name="connsiteX5" fmla="*/ 85058 w 104775"/>
                  <a:gd name="connsiteY5" fmla="*/ 16574 h 38100"/>
                  <a:gd name="connsiteX6" fmla="*/ 50006 w 104775"/>
                  <a:gd name="connsiteY6" fmla="*/ 10764 h 38100"/>
                  <a:gd name="connsiteX7" fmla="*/ 17240 w 104775"/>
                  <a:gd name="connsiteY7" fmla="*/ 22194 h 38100"/>
                  <a:gd name="connsiteX8" fmla="*/ 7144 w 104775"/>
                  <a:gd name="connsiteY8" fmla="*/ 3295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4775" h="38100">
                    <a:moveTo>
                      <a:pt x="7144" y="32957"/>
                    </a:moveTo>
                    <a:cubicBezTo>
                      <a:pt x="8585" y="27956"/>
                      <a:pt x="11548" y="23529"/>
                      <a:pt x="15621" y="20289"/>
                    </a:cubicBezTo>
                    <a:cubicBezTo>
                      <a:pt x="25136" y="12051"/>
                      <a:pt x="37233" y="7400"/>
                      <a:pt x="49816" y="7145"/>
                    </a:cubicBezTo>
                    <a:cubicBezTo>
                      <a:pt x="62196" y="7092"/>
                      <a:pt x="74465" y="9487"/>
                      <a:pt x="85916" y="14193"/>
                    </a:cubicBezTo>
                    <a:cubicBezTo>
                      <a:pt x="90774" y="15698"/>
                      <a:pt x="95369" y="17947"/>
                      <a:pt x="99536" y="20861"/>
                    </a:cubicBezTo>
                    <a:cubicBezTo>
                      <a:pt x="94602" y="19826"/>
                      <a:pt x="89761" y="18392"/>
                      <a:pt x="85058" y="16574"/>
                    </a:cubicBezTo>
                    <a:cubicBezTo>
                      <a:pt x="73768" y="12743"/>
                      <a:pt x="61929" y="10780"/>
                      <a:pt x="50006" y="10764"/>
                    </a:cubicBezTo>
                    <a:cubicBezTo>
                      <a:pt x="38145" y="10983"/>
                      <a:pt x="26664" y="14988"/>
                      <a:pt x="17240" y="22194"/>
                    </a:cubicBezTo>
                    <a:cubicBezTo>
                      <a:pt x="13626" y="25540"/>
                      <a:pt x="10252" y="29137"/>
                      <a:pt x="7144" y="32958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1" name="Полилиния: фигура 150">
                <a:extLst>
                  <a:ext uri="{FF2B5EF4-FFF2-40B4-BE49-F238E27FC236}">
                    <a16:creationId xmlns:a16="http://schemas.microsoft.com/office/drawing/2014/main" id="{73952623-12EB-4147-B62A-040A1C21583E}"/>
                  </a:ext>
                </a:extLst>
              </p:cNvPr>
              <p:cNvSpPr/>
              <p:nvPr/>
            </p:nvSpPr>
            <p:spPr>
              <a:xfrm>
                <a:off x="6023243" y="5727642"/>
                <a:ext cx="19050" cy="76200"/>
              </a:xfrm>
              <a:custGeom>
                <a:avLst/>
                <a:gdLst>
                  <a:gd name="connsiteX0" fmla="*/ 7144 w 19050"/>
                  <a:gd name="connsiteY0" fmla="*/ 71723 h 76200"/>
                  <a:gd name="connsiteX1" fmla="*/ 16669 w 19050"/>
                  <a:gd name="connsiteY1" fmla="*/ 40100 h 76200"/>
                  <a:gd name="connsiteX2" fmla="*/ 14478 w 19050"/>
                  <a:gd name="connsiteY2" fmla="*/ 7144 h 76200"/>
                  <a:gd name="connsiteX3" fmla="*/ 18574 w 19050"/>
                  <a:gd name="connsiteY3" fmla="*/ 16669 h 76200"/>
                  <a:gd name="connsiteX4" fmla="*/ 20288 w 19050"/>
                  <a:gd name="connsiteY4" fmla="*/ 40957 h 76200"/>
                  <a:gd name="connsiteX5" fmla="*/ 13049 w 19050"/>
                  <a:gd name="connsiteY5" fmla="*/ 64103 h 76200"/>
                  <a:gd name="connsiteX6" fmla="*/ 7144 w 19050"/>
                  <a:gd name="connsiteY6" fmla="*/ 71723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50" h="76200">
                    <a:moveTo>
                      <a:pt x="7144" y="71723"/>
                    </a:moveTo>
                    <a:cubicBezTo>
                      <a:pt x="11730" y="61660"/>
                      <a:pt x="14933" y="51022"/>
                      <a:pt x="16669" y="40100"/>
                    </a:cubicBezTo>
                    <a:cubicBezTo>
                      <a:pt x="17392" y="29066"/>
                      <a:pt x="16655" y="17985"/>
                      <a:pt x="14478" y="7144"/>
                    </a:cubicBezTo>
                    <a:cubicBezTo>
                      <a:pt x="14478" y="7144"/>
                      <a:pt x="16859" y="10287"/>
                      <a:pt x="18574" y="16669"/>
                    </a:cubicBezTo>
                    <a:cubicBezTo>
                      <a:pt x="20606" y="24595"/>
                      <a:pt x="21187" y="32824"/>
                      <a:pt x="20288" y="40957"/>
                    </a:cubicBezTo>
                    <a:cubicBezTo>
                      <a:pt x="19310" y="49050"/>
                      <a:pt x="16857" y="56895"/>
                      <a:pt x="13049" y="64103"/>
                    </a:cubicBezTo>
                    <a:cubicBezTo>
                      <a:pt x="10192" y="69151"/>
                      <a:pt x="7525" y="72009"/>
                      <a:pt x="7144" y="71723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2" name="Полилиния: фигура 151">
                <a:extLst>
                  <a:ext uri="{FF2B5EF4-FFF2-40B4-BE49-F238E27FC236}">
                    <a16:creationId xmlns:a16="http://schemas.microsoft.com/office/drawing/2014/main" id="{B41AB73A-51FA-48BC-866A-641EF2D6CC5B}"/>
                  </a:ext>
                </a:extLst>
              </p:cNvPr>
              <p:cNvSpPr/>
              <p:nvPr/>
            </p:nvSpPr>
            <p:spPr>
              <a:xfrm>
                <a:off x="5771592" y="6112928"/>
                <a:ext cx="352425" cy="295275"/>
              </a:xfrm>
              <a:custGeom>
                <a:avLst/>
                <a:gdLst>
                  <a:gd name="connsiteX0" fmla="*/ 7144 w 352425"/>
                  <a:gd name="connsiteY0" fmla="*/ 7144 h 295275"/>
                  <a:gd name="connsiteX1" fmla="*/ 84773 w 352425"/>
                  <a:gd name="connsiteY1" fmla="*/ 294894 h 295275"/>
                  <a:gd name="connsiteX2" fmla="*/ 275273 w 352425"/>
                  <a:gd name="connsiteY2" fmla="*/ 294894 h 295275"/>
                  <a:gd name="connsiteX3" fmla="*/ 348234 w 352425"/>
                  <a:gd name="connsiteY3" fmla="*/ 7144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2425" h="295275">
                    <a:moveTo>
                      <a:pt x="7144" y="7144"/>
                    </a:moveTo>
                    <a:cubicBezTo>
                      <a:pt x="12478" y="101632"/>
                      <a:pt x="40957" y="197644"/>
                      <a:pt x="84773" y="294894"/>
                    </a:cubicBezTo>
                    <a:lnTo>
                      <a:pt x="275273" y="294894"/>
                    </a:lnTo>
                    <a:cubicBezTo>
                      <a:pt x="316992" y="198692"/>
                      <a:pt x="343567" y="102775"/>
                      <a:pt x="348234" y="7144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3" name="Полилиния: фигура 152">
                <a:extLst>
                  <a:ext uri="{FF2B5EF4-FFF2-40B4-BE49-F238E27FC236}">
                    <a16:creationId xmlns:a16="http://schemas.microsoft.com/office/drawing/2014/main" id="{32F463F7-4123-42BA-B31D-D5F10695A64F}"/>
                  </a:ext>
                </a:extLst>
              </p:cNvPr>
              <p:cNvSpPr/>
              <p:nvPr/>
            </p:nvSpPr>
            <p:spPr>
              <a:xfrm>
                <a:off x="5801692" y="6264090"/>
                <a:ext cx="285750" cy="9525"/>
              </a:xfrm>
              <a:custGeom>
                <a:avLst/>
                <a:gdLst>
                  <a:gd name="connsiteX0" fmla="*/ 287274 w 285750"/>
                  <a:gd name="connsiteY0" fmla="*/ 8858 h 9525"/>
                  <a:gd name="connsiteX1" fmla="*/ 147256 w 285750"/>
                  <a:gd name="connsiteY1" fmla="*/ 10668 h 9525"/>
                  <a:gd name="connsiteX2" fmla="*/ 7144 w 285750"/>
                  <a:gd name="connsiteY2" fmla="*/ 8858 h 9525"/>
                  <a:gd name="connsiteX3" fmla="*/ 147256 w 285750"/>
                  <a:gd name="connsiteY3" fmla="*/ 7144 h 9525"/>
                  <a:gd name="connsiteX4" fmla="*/ 287274 w 285750"/>
                  <a:gd name="connsiteY4" fmla="*/ 8858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0" h="9525">
                    <a:moveTo>
                      <a:pt x="287274" y="8858"/>
                    </a:moveTo>
                    <a:cubicBezTo>
                      <a:pt x="287274" y="9906"/>
                      <a:pt x="224599" y="10668"/>
                      <a:pt x="147256" y="10668"/>
                    </a:cubicBezTo>
                    <a:cubicBezTo>
                      <a:pt x="69913" y="10668"/>
                      <a:pt x="7144" y="9906"/>
                      <a:pt x="7144" y="8858"/>
                    </a:cubicBezTo>
                    <a:cubicBezTo>
                      <a:pt x="7144" y="7810"/>
                      <a:pt x="69818" y="7144"/>
                      <a:pt x="147256" y="7144"/>
                    </a:cubicBezTo>
                    <a:cubicBezTo>
                      <a:pt x="224694" y="7144"/>
                      <a:pt x="287274" y="7906"/>
                      <a:pt x="287274" y="8858"/>
                    </a:cubicBez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4" name="Полилиния: фигура 153">
                <a:extLst>
                  <a:ext uri="{FF2B5EF4-FFF2-40B4-BE49-F238E27FC236}">
                    <a16:creationId xmlns:a16="http://schemas.microsoft.com/office/drawing/2014/main" id="{690D6B3E-9CDD-41C5-8C21-AADA6F9D9C40}"/>
                  </a:ext>
                </a:extLst>
              </p:cNvPr>
              <p:cNvSpPr/>
              <p:nvPr/>
            </p:nvSpPr>
            <p:spPr>
              <a:xfrm>
                <a:off x="5814931" y="6298285"/>
                <a:ext cx="276225" cy="9525"/>
              </a:xfrm>
              <a:custGeom>
                <a:avLst/>
                <a:gdLst>
                  <a:gd name="connsiteX0" fmla="*/ 269748 w 276225"/>
                  <a:gd name="connsiteY0" fmla="*/ 8954 h 9525"/>
                  <a:gd name="connsiteX1" fmla="*/ 138494 w 276225"/>
                  <a:gd name="connsiteY1" fmla="*/ 10763 h 9525"/>
                  <a:gd name="connsiteX2" fmla="*/ 7144 w 276225"/>
                  <a:gd name="connsiteY2" fmla="*/ 8954 h 9525"/>
                  <a:gd name="connsiteX3" fmla="*/ 138494 w 276225"/>
                  <a:gd name="connsiteY3" fmla="*/ 7144 h 9525"/>
                  <a:gd name="connsiteX4" fmla="*/ 269748 w 276225"/>
                  <a:gd name="connsiteY4" fmla="*/ 8954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225" h="9525">
                    <a:moveTo>
                      <a:pt x="269748" y="8954"/>
                    </a:moveTo>
                    <a:cubicBezTo>
                      <a:pt x="269748" y="9906"/>
                      <a:pt x="210979" y="10763"/>
                      <a:pt x="138494" y="10763"/>
                    </a:cubicBezTo>
                    <a:cubicBezTo>
                      <a:pt x="66008" y="10763"/>
                      <a:pt x="7144" y="9906"/>
                      <a:pt x="7144" y="8954"/>
                    </a:cubicBezTo>
                    <a:cubicBezTo>
                      <a:pt x="7144" y="8001"/>
                      <a:pt x="65913" y="7144"/>
                      <a:pt x="138494" y="7144"/>
                    </a:cubicBezTo>
                    <a:cubicBezTo>
                      <a:pt x="211074" y="7144"/>
                      <a:pt x="269748" y="7906"/>
                      <a:pt x="269748" y="8954"/>
                    </a:cubicBez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5" name="Полилиния: фигура 154">
                <a:extLst>
                  <a:ext uri="{FF2B5EF4-FFF2-40B4-BE49-F238E27FC236}">
                    <a16:creationId xmlns:a16="http://schemas.microsoft.com/office/drawing/2014/main" id="{CE691BBC-B98D-429B-A5C4-A7919D8A9ACA}"/>
                  </a:ext>
                </a:extLst>
              </p:cNvPr>
              <p:cNvSpPr/>
              <p:nvPr/>
            </p:nvSpPr>
            <p:spPr>
              <a:xfrm>
                <a:off x="5850555" y="6174936"/>
                <a:ext cx="9525" cy="95250"/>
              </a:xfrm>
              <a:custGeom>
                <a:avLst/>
                <a:gdLst>
                  <a:gd name="connsiteX0" fmla="*/ 8858 w 9525"/>
                  <a:gd name="connsiteY0" fmla="*/ 7144 h 95250"/>
                  <a:gd name="connsiteX1" fmla="*/ 8858 w 9525"/>
                  <a:gd name="connsiteY1" fmla="*/ 94964 h 95250"/>
                  <a:gd name="connsiteX2" fmla="*/ 8858 w 9525"/>
                  <a:gd name="connsiteY2" fmla="*/ 7144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525" h="95250">
                    <a:moveTo>
                      <a:pt x="8858" y="7144"/>
                    </a:moveTo>
                    <a:cubicBezTo>
                      <a:pt x="11272" y="36368"/>
                      <a:pt x="11272" y="65740"/>
                      <a:pt x="8858" y="94964"/>
                    </a:cubicBezTo>
                    <a:cubicBezTo>
                      <a:pt x="6572" y="65736"/>
                      <a:pt x="6572" y="36372"/>
                      <a:pt x="8858" y="7144"/>
                    </a:cubicBez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6" name="Полилиния: фигура 155">
                <a:extLst>
                  <a:ext uri="{FF2B5EF4-FFF2-40B4-BE49-F238E27FC236}">
                    <a16:creationId xmlns:a16="http://schemas.microsoft.com/office/drawing/2014/main" id="{506B7FBC-20C5-4E05-92E6-3B45C87E6D17}"/>
                  </a:ext>
                </a:extLst>
              </p:cNvPr>
              <p:cNvSpPr/>
              <p:nvPr/>
            </p:nvSpPr>
            <p:spPr>
              <a:xfrm>
                <a:off x="5952568" y="6174936"/>
                <a:ext cx="9525" cy="104775"/>
              </a:xfrm>
              <a:custGeom>
                <a:avLst/>
                <a:gdLst>
                  <a:gd name="connsiteX0" fmla="*/ 8953 w 9525"/>
                  <a:gd name="connsiteY0" fmla="*/ 7144 h 104775"/>
                  <a:gd name="connsiteX1" fmla="*/ 8953 w 9525"/>
                  <a:gd name="connsiteY1" fmla="*/ 98012 h 104775"/>
                  <a:gd name="connsiteX2" fmla="*/ 8953 w 9525"/>
                  <a:gd name="connsiteY2" fmla="*/ 714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525" h="104775">
                    <a:moveTo>
                      <a:pt x="8953" y="7144"/>
                    </a:moveTo>
                    <a:cubicBezTo>
                      <a:pt x="11365" y="37385"/>
                      <a:pt x="11365" y="67771"/>
                      <a:pt x="8953" y="98012"/>
                    </a:cubicBezTo>
                    <a:cubicBezTo>
                      <a:pt x="6541" y="67771"/>
                      <a:pt x="6541" y="37385"/>
                      <a:pt x="8953" y="7144"/>
                    </a:cubicBez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7" name="Полилиния: фигура 156">
                <a:extLst>
                  <a:ext uri="{FF2B5EF4-FFF2-40B4-BE49-F238E27FC236}">
                    <a16:creationId xmlns:a16="http://schemas.microsoft.com/office/drawing/2014/main" id="{F5CE52F4-2111-4C92-96DA-62A543318D0B}"/>
                  </a:ext>
                </a:extLst>
              </p:cNvPr>
              <p:cNvSpPr/>
              <p:nvPr/>
            </p:nvSpPr>
            <p:spPr>
              <a:xfrm>
                <a:off x="6048389" y="6174174"/>
                <a:ext cx="9525" cy="104775"/>
              </a:xfrm>
              <a:custGeom>
                <a:avLst/>
                <a:gdLst>
                  <a:gd name="connsiteX0" fmla="*/ 8954 w 9525"/>
                  <a:gd name="connsiteY0" fmla="*/ 7144 h 104775"/>
                  <a:gd name="connsiteX1" fmla="*/ 8954 w 9525"/>
                  <a:gd name="connsiteY1" fmla="*/ 99822 h 104775"/>
                  <a:gd name="connsiteX2" fmla="*/ 8954 w 9525"/>
                  <a:gd name="connsiteY2" fmla="*/ 714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525" h="104775">
                    <a:moveTo>
                      <a:pt x="8954" y="7144"/>
                    </a:moveTo>
                    <a:cubicBezTo>
                      <a:pt x="11240" y="37994"/>
                      <a:pt x="11240" y="68972"/>
                      <a:pt x="8954" y="99822"/>
                    </a:cubicBezTo>
                    <a:cubicBezTo>
                      <a:pt x="6540" y="68977"/>
                      <a:pt x="6540" y="37990"/>
                      <a:pt x="8954" y="7144"/>
                    </a:cubicBez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8" name="Полилиния: фигура 157">
                <a:extLst>
                  <a:ext uri="{FF2B5EF4-FFF2-40B4-BE49-F238E27FC236}">
                    <a16:creationId xmlns:a16="http://schemas.microsoft.com/office/drawing/2014/main" id="{3BB966BE-3716-4887-81F1-F2C6658F3B78}"/>
                  </a:ext>
                </a:extLst>
              </p:cNvPr>
              <p:cNvSpPr/>
              <p:nvPr/>
            </p:nvSpPr>
            <p:spPr>
              <a:xfrm>
                <a:off x="5778069" y="6173222"/>
                <a:ext cx="342900" cy="9525"/>
              </a:xfrm>
              <a:custGeom>
                <a:avLst/>
                <a:gdLst>
                  <a:gd name="connsiteX0" fmla="*/ 335756 w 342900"/>
                  <a:gd name="connsiteY0" fmla="*/ 8858 h 9525"/>
                  <a:gd name="connsiteX1" fmla="*/ 171450 w 342900"/>
                  <a:gd name="connsiteY1" fmla="*/ 10668 h 9525"/>
                  <a:gd name="connsiteX2" fmla="*/ 7144 w 342900"/>
                  <a:gd name="connsiteY2" fmla="*/ 8858 h 9525"/>
                  <a:gd name="connsiteX3" fmla="*/ 171450 w 342900"/>
                  <a:gd name="connsiteY3" fmla="*/ 7144 h 9525"/>
                  <a:gd name="connsiteX4" fmla="*/ 335756 w 342900"/>
                  <a:gd name="connsiteY4" fmla="*/ 8858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2900" h="9525">
                    <a:moveTo>
                      <a:pt x="335756" y="8858"/>
                    </a:moveTo>
                    <a:cubicBezTo>
                      <a:pt x="335756" y="9906"/>
                      <a:pt x="262128" y="10668"/>
                      <a:pt x="171450" y="10668"/>
                    </a:cubicBezTo>
                    <a:cubicBezTo>
                      <a:pt x="80772" y="10668"/>
                      <a:pt x="7144" y="9906"/>
                      <a:pt x="7144" y="8858"/>
                    </a:cubicBezTo>
                    <a:cubicBezTo>
                      <a:pt x="7144" y="7811"/>
                      <a:pt x="80677" y="7144"/>
                      <a:pt x="171450" y="7144"/>
                    </a:cubicBezTo>
                    <a:cubicBezTo>
                      <a:pt x="262224" y="7144"/>
                      <a:pt x="335756" y="7906"/>
                      <a:pt x="335756" y="8858"/>
                    </a:cubicBez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9" name="Полилиния: фигура 158">
                <a:extLst>
                  <a:ext uri="{FF2B5EF4-FFF2-40B4-BE49-F238E27FC236}">
                    <a16:creationId xmlns:a16="http://schemas.microsoft.com/office/drawing/2014/main" id="{0905A8FF-B672-483B-B91C-BB2C9D10D1E3}"/>
                  </a:ext>
                </a:extLst>
              </p:cNvPr>
              <p:cNvSpPr/>
              <p:nvPr/>
            </p:nvSpPr>
            <p:spPr>
              <a:xfrm>
                <a:off x="1890443" y="4767124"/>
                <a:ext cx="552450" cy="1076325"/>
              </a:xfrm>
              <a:custGeom>
                <a:avLst/>
                <a:gdLst>
                  <a:gd name="connsiteX0" fmla="*/ 237837 w 552450"/>
                  <a:gd name="connsiteY0" fmla="*/ 7352 h 1076325"/>
                  <a:gd name="connsiteX1" fmla="*/ 183830 w 552450"/>
                  <a:gd name="connsiteY1" fmla="*/ 136511 h 1076325"/>
                  <a:gd name="connsiteX2" fmla="*/ 202880 w 552450"/>
                  <a:gd name="connsiteY2" fmla="*/ 341203 h 1076325"/>
                  <a:gd name="connsiteX3" fmla="*/ 178115 w 552450"/>
                  <a:gd name="connsiteY3" fmla="*/ 365015 h 1076325"/>
                  <a:gd name="connsiteX4" fmla="*/ 90771 w 552450"/>
                  <a:gd name="connsiteY4" fmla="*/ 351871 h 1076325"/>
                  <a:gd name="connsiteX5" fmla="*/ 105725 w 552450"/>
                  <a:gd name="connsiteY5" fmla="*/ 448836 h 1076325"/>
                  <a:gd name="connsiteX6" fmla="*/ 201547 w 552450"/>
                  <a:gd name="connsiteY6" fmla="*/ 588186 h 1076325"/>
                  <a:gd name="connsiteX7" fmla="*/ 192784 w 552450"/>
                  <a:gd name="connsiteY7" fmla="*/ 609998 h 1076325"/>
                  <a:gd name="connsiteX8" fmla="*/ 52290 w 552450"/>
                  <a:gd name="connsiteY8" fmla="*/ 624477 h 1076325"/>
                  <a:gd name="connsiteX9" fmla="*/ 148588 w 552450"/>
                  <a:gd name="connsiteY9" fmla="*/ 787544 h 1076325"/>
                  <a:gd name="connsiteX10" fmla="*/ 155636 w 552450"/>
                  <a:gd name="connsiteY10" fmla="*/ 812214 h 1076325"/>
                  <a:gd name="connsiteX11" fmla="*/ 83913 w 552450"/>
                  <a:gd name="connsiteY11" fmla="*/ 793640 h 1076325"/>
                  <a:gd name="connsiteX12" fmla="*/ 7713 w 552450"/>
                  <a:gd name="connsiteY12" fmla="*/ 810500 h 1076325"/>
                  <a:gd name="connsiteX13" fmla="*/ 211167 w 552450"/>
                  <a:gd name="connsiteY13" fmla="*/ 1029575 h 1076325"/>
                  <a:gd name="connsiteX14" fmla="*/ 290605 w 552450"/>
                  <a:gd name="connsiteY14" fmla="*/ 1069199 h 1076325"/>
                  <a:gd name="connsiteX15" fmla="*/ 365758 w 552450"/>
                  <a:gd name="connsiteY15" fmla="*/ 1021574 h 1076325"/>
                  <a:gd name="connsiteX16" fmla="*/ 546256 w 552450"/>
                  <a:gd name="connsiteY16" fmla="*/ 782877 h 1076325"/>
                  <a:gd name="connsiteX17" fmla="*/ 469199 w 552450"/>
                  <a:gd name="connsiteY17" fmla="*/ 773352 h 1076325"/>
                  <a:gd name="connsiteX18" fmla="*/ 399667 w 552450"/>
                  <a:gd name="connsiteY18" fmla="*/ 799070 h 1076325"/>
                  <a:gd name="connsiteX19" fmla="*/ 404143 w 552450"/>
                  <a:gd name="connsiteY19" fmla="*/ 773828 h 1076325"/>
                  <a:gd name="connsiteX20" fmla="*/ 483677 w 552450"/>
                  <a:gd name="connsiteY20" fmla="*/ 601902 h 1076325"/>
                  <a:gd name="connsiteX21" fmla="*/ 342421 w 552450"/>
                  <a:gd name="connsiteY21" fmla="*/ 601902 h 1076325"/>
                  <a:gd name="connsiteX22" fmla="*/ 331563 w 552450"/>
                  <a:gd name="connsiteY22" fmla="*/ 581138 h 1076325"/>
                  <a:gd name="connsiteX23" fmla="*/ 412906 w 552450"/>
                  <a:gd name="connsiteY23" fmla="*/ 432834 h 1076325"/>
                  <a:gd name="connsiteX24" fmla="*/ 418240 w 552450"/>
                  <a:gd name="connsiteY24" fmla="*/ 334917 h 1076325"/>
                  <a:gd name="connsiteX25" fmla="*/ 332515 w 552450"/>
                  <a:gd name="connsiteY25" fmla="*/ 356634 h 1076325"/>
                  <a:gd name="connsiteX26" fmla="*/ 305560 w 552450"/>
                  <a:gd name="connsiteY26" fmla="*/ 335488 h 1076325"/>
                  <a:gd name="connsiteX27" fmla="*/ 304131 w 552450"/>
                  <a:gd name="connsiteY27" fmla="*/ 129939 h 1076325"/>
                  <a:gd name="connsiteX28" fmla="*/ 236027 w 552450"/>
                  <a:gd name="connsiteY28" fmla="*/ 7352 h 1076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2450" h="1076325">
                    <a:moveTo>
                      <a:pt x="237837" y="7352"/>
                    </a:moveTo>
                    <a:cubicBezTo>
                      <a:pt x="237837" y="7352"/>
                      <a:pt x="178306" y="3065"/>
                      <a:pt x="183830" y="136511"/>
                    </a:cubicBezTo>
                    <a:cubicBezTo>
                      <a:pt x="185587" y="205091"/>
                      <a:pt x="191951" y="273476"/>
                      <a:pt x="202880" y="341203"/>
                    </a:cubicBezTo>
                    <a:cubicBezTo>
                      <a:pt x="202880" y="341203"/>
                      <a:pt x="201070" y="370826"/>
                      <a:pt x="178115" y="365015"/>
                    </a:cubicBezTo>
                    <a:cubicBezTo>
                      <a:pt x="155160" y="359205"/>
                      <a:pt x="112107" y="330344"/>
                      <a:pt x="90771" y="351871"/>
                    </a:cubicBezTo>
                    <a:cubicBezTo>
                      <a:pt x="69435" y="373397"/>
                      <a:pt x="77150" y="408450"/>
                      <a:pt x="105725" y="448836"/>
                    </a:cubicBezTo>
                    <a:cubicBezTo>
                      <a:pt x="134300" y="489221"/>
                      <a:pt x="196022" y="579995"/>
                      <a:pt x="201547" y="588186"/>
                    </a:cubicBezTo>
                    <a:cubicBezTo>
                      <a:pt x="207071" y="596378"/>
                      <a:pt x="209071" y="611427"/>
                      <a:pt x="192784" y="609998"/>
                    </a:cubicBezTo>
                    <a:cubicBezTo>
                      <a:pt x="176496" y="608570"/>
                      <a:pt x="66863" y="571327"/>
                      <a:pt x="52290" y="624477"/>
                    </a:cubicBezTo>
                    <a:cubicBezTo>
                      <a:pt x="37717" y="677626"/>
                      <a:pt x="138015" y="776877"/>
                      <a:pt x="148588" y="787544"/>
                    </a:cubicBezTo>
                    <a:cubicBezTo>
                      <a:pt x="159160" y="798212"/>
                      <a:pt x="159922" y="805547"/>
                      <a:pt x="155636" y="812214"/>
                    </a:cubicBezTo>
                    <a:cubicBezTo>
                      <a:pt x="151350" y="818882"/>
                      <a:pt x="115536" y="802689"/>
                      <a:pt x="83913" y="793640"/>
                    </a:cubicBezTo>
                    <a:cubicBezTo>
                      <a:pt x="52290" y="784592"/>
                      <a:pt x="13999" y="779162"/>
                      <a:pt x="7713" y="810500"/>
                    </a:cubicBezTo>
                    <a:cubicBezTo>
                      <a:pt x="1426" y="841837"/>
                      <a:pt x="45813" y="933563"/>
                      <a:pt x="211167" y="1029575"/>
                    </a:cubicBezTo>
                    <a:lnTo>
                      <a:pt x="290605" y="1069199"/>
                    </a:lnTo>
                    <a:lnTo>
                      <a:pt x="365758" y="1021574"/>
                    </a:lnTo>
                    <a:cubicBezTo>
                      <a:pt x="520444" y="909084"/>
                      <a:pt x="555115" y="813453"/>
                      <a:pt x="546256" y="782877"/>
                    </a:cubicBezTo>
                    <a:cubicBezTo>
                      <a:pt x="537398" y="752302"/>
                      <a:pt x="499679" y="761255"/>
                      <a:pt x="469199" y="773352"/>
                    </a:cubicBezTo>
                    <a:cubicBezTo>
                      <a:pt x="438719" y="785449"/>
                      <a:pt x="404715" y="805261"/>
                      <a:pt x="399667" y="799070"/>
                    </a:cubicBezTo>
                    <a:cubicBezTo>
                      <a:pt x="394618" y="792878"/>
                      <a:pt x="394618" y="785925"/>
                      <a:pt x="404143" y="773828"/>
                    </a:cubicBezTo>
                    <a:cubicBezTo>
                      <a:pt x="413668" y="761732"/>
                      <a:pt x="503489" y="653242"/>
                      <a:pt x="483677" y="601902"/>
                    </a:cubicBezTo>
                    <a:cubicBezTo>
                      <a:pt x="463865" y="550562"/>
                      <a:pt x="358519" y="598473"/>
                      <a:pt x="342421" y="601902"/>
                    </a:cubicBezTo>
                    <a:cubicBezTo>
                      <a:pt x="326324" y="605331"/>
                      <a:pt x="327086" y="589710"/>
                      <a:pt x="331563" y="581138"/>
                    </a:cubicBezTo>
                    <a:cubicBezTo>
                      <a:pt x="336040" y="572565"/>
                      <a:pt x="387760" y="476363"/>
                      <a:pt x="412906" y="432834"/>
                    </a:cubicBezTo>
                    <a:cubicBezTo>
                      <a:pt x="438052" y="389304"/>
                      <a:pt x="442434" y="354919"/>
                      <a:pt x="418240" y="334917"/>
                    </a:cubicBezTo>
                    <a:cubicBezTo>
                      <a:pt x="394047" y="314914"/>
                      <a:pt x="354804" y="348632"/>
                      <a:pt x="332515" y="356634"/>
                    </a:cubicBezTo>
                    <a:cubicBezTo>
                      <a:pt x="310227" y="364635"/>
                      <a:pt x="305560" y="335488"/>
                      <a:pt x="305560" y="335488"/>
                    </a:cubicBezTo>
                    <a:cubicBezTo>
                      <a:pt x="309657" y="267016"/>
                      <a:pt x="309180" y="198347"/>
                      <a:pt x="304131" y="129939"/>
                    </a:cubicBezTo>
                    <a:cubicBezTo>
                      <a:pt x="296225" y="-3412"/>
                      <a:pt x="236027" y="7352"/>
                      <a:pt x="236027" y="7352"/>
                    </a:cubicBezTo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0" name="Полилиния: фигура 159">
                <a:extLst>
                  <a:ext uri="{FF2B5EF4-FFF2-40B4-BE49-F238E27FC236}">
                    <a16:creationId xmlns:a16="http://schemas.microsoft.com/office/drawing/2014/main" id="{17A9D687-9393-487B-9FCA-B8D651E42721}"/>
                  </a:ext>
                </a:extLst>
              </p:cNvPr>
              <p:cNvSpPr/>
              <p:nvPr/>
            </p:nvSpPr>
            <p:spPr>
              <a:xfrm>
                <a:off x="2125851" y="4886870"/>
                <a:ext cx="66675" cy="1095375"/>
              </a:xfrm>
              <a:custGeom>
                <a:avLst/>
                <a:gdLst>
                  <a:gd name="connsiteX0" fmla="*/ 7191 w 66675"/>
                  <a:gd name="connsiteY0" fmla="*/ 7144 h 1095375"/>
                  <a:gd name="connsiteX1" fmla="*/ 7191 w 66675"/>
                  <a:gd name="connsiteY1" fmla="*/ 9906 h 1095375"/>
                  <a:gd name="connsiteX2" fmla="*/ 7858 w 66675"/>
                  <a:gd name="connsiteY2" fmla="*/ 18098 h 1095375"/>
                  <a:gd name="connsiteX3" fmla="*/ 9954 w 66675"/>
                  <a:gd name="connsiteY3" fmla="*/ 49625 h 1095375"/>
                  <a:gd name="connsiteX4" fmla="*/ 16812 w 66675"/>
                  <a:gd name="connsiteY4" fmla="*/ 165640 h 1095375"/>
                  <a:gd name="connsiteX5" fmla="*/ 35195 w 66675"/>
                  <a:gd name="connsiteY5" fmla="*/ 548640 h 1095375"/>
                  <a:gd name="connsiteX6" fmla="*/ 52626 w 66675"/>
                  <a:gd name="connsiteY6" fmla="*/ 931736 h 1095375"/>
                  <a:gd name="connsiteX7" fmla="*/ 58531 w 66675"/>
                  <a:gd name="connsiteY7" fmla="*/ 1047845 h 1095375"/>
                  <a:gd name="connsiteX8" fmla="*/ 60150 w 66675"/>
                  <a:gd name="connsiteY8" fmla="*/ 1079373 h 1095375"/>
                  <a:gd name="connsiteX9" fmla="*/ 60150 w 66675"/>
                  <a:gd name="connsiteY9" fmla="*/ 1087565 h 1095375"/>
                  <a:gd name="connsiteX10" fmla="*/ 60150 w 66675"/>
                  <a:gd name="connsiteY10" fmla="*/ 1090422 h 1095375"/>
                  <a:gd name="connsiteX11" fmla="*/ 60150 w 66675"/>
                  <a:gd name="connsiteY11" fmla="*/ 1087660 h 1095375"/>
                  <a:gd name="connsiteX12" fmla="*/ 59484 w 66675"/>
                  <a:gd name="connsiteY12" fmla="*/ 1079468 h 1095375"/>
                  <a:gd name="connsiteX13" fmla="*/ 57388 w 66675"/>
                  <a:gd name="connsiteY13" fmla="*/ 1047941 h 1095375"/>
                  <a:gd name="connsiteX14" fmla="*/ 50530 w 66675"/>
                  <a:gd name="connsiteY14" fmla="*/ 931926 h 1095375"/>
                  <a:gd name="connsiteX15" fmla="*/ 32147 w 66675"/>
                  <a:gd name="connsiteY15" fmla="*/ 548831 h 1095375"/>
                  <a:gd name="connsiteX16" fmla="*/ 14716 w 66675"/>
                  <a:gd name="connsiteY16" fmla="*/ 165830 h 1095375"/>
                  <a:gd name="connsiteX17" fmla="*/ 8811 w 66675"/>
                  <a:gd name="connsiteY17" fmla="*/ 49721 h 1095375"/>
                  <a:gd name="connsiteX18" fmla="*/ 7191 w 66675"/>
                  <a:gd name="connsiteY18" fmla="*/ 18193 h 1095375"/>
                  <a:gd name="connsiteX19" fmla="*/ 7191 w 66675"/>
                  <a:gd name="connsiteY19" fmla="*/ 10001 h 1095375"/>
                  <a:gd name="connsiteX20" fmla="*/ 7191 w 66675"/>
                  <a:gd name="connsiteY20" fmla="*/ 7144 h 1095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6675" h="1095375">
                    <a:moveTo>
                      <a:pt x="7191" y="7144"/>
                    </a:moveTo>
                    <a:lnTo>
                      <a:pt x="7191" y="9906"/>
                    </a:lnTo>
                    <a:cubicBezTo>
                      <a:pt x="7191" y="11906"/>
                      <a:pt x="7191" y="14669"/>
                      <a:pt x="7858" y="18098"/>
                    </a:cubicBezTo>
                    <a:cubicBezTo>
                      <a:pt x="8334" y="25527"/>
                      <a:pt x="9001" y="36100"/>
                      <a:pt x="9954" y="49625"/>
                    </a:cubicBezTo>
                    <a:cubicBezTo>
                      <a:pt x="11763" y="77058"/>
                      <a:pt x="14145" y="116300"/>
                      <a:pt x="16812" y="165640"/>
                    </a:cubicBezTo>
                    <a:cubicBezTo>
                      <a:pt x="22241" y="263652"/>
                      <a:pt x="28623" y="399098"/>
                      <a:pt x="35195" y="548640"/>
                    </a:cubicBezTo>
                    <a:cubicBezTo>
                      <a:pt x="41767" y="698183"/>
                      <a:pt x="47768" y="833723"/>
                      <a:pt x="52626" y="931736"/>
                    </a:cubicBezTo>
                    <a:cubicBezTo>
                      <a:pt x="55102" y="980694"/>
                      <a:pt x="57102" y="1020318"/>
                      <a:pt x="58531" y="1047845"/>
                    </a:cubicBezTo>
                    <a:cubicBezTo>
                      <a:pt x="59198" y="1061466"/>
                      <a:pt x="59769" y="1072039"/>
                      <a:pt x="60150" y="1079373"/>
                    </a:cubicBezTo>
                    <a:cubicBezTo>
                      <a:pt x="60150" y="1082897"/>
                      <a:pt x="60150" y="1085660"/>
                      <a:pt x="60150" y="1087565"/>
                    </a:cubicBezTo>
                    <a:cubicBezTo>
                      <a:pt x="60214" y="1088516"/>
                      <a:pt x="60214" y="1089471"/>
                      <a:pt x="60150" y="1090422"/>
                    </a:cubicBezTo>
                    <a:cubicBezTo>
                      <a:pt x="60091" y="1089502"/>
                      <a:pt x="60091" y="1088580"/>
                      <a:pt x="60150" y="1087660"/>
                    </a:cubicBezTo>
                    <a:cubicBezTo>
                      <a:pt x="60150" y="1085660"/>
                      <a:pt x="60150" y="1082897"/>
                      <a:pt x="59484" y="1079468"/>
                    </a:cubicBezTo>
                    <a:cubicBezTo>
                      <a:pt x="59484" y="1072039"/>
                      <a:pt x="58245" y="1061466"/>
                      <a:pt x="57388" y="1047941"/>
                    </a:cubicBezTo>
                    <a:cubicBezTo>
                      <a:pt x="55578" y="1020509"/>
                      <a:pt x="53197" y="981266"/>
                      <a:pt x="50530" y="931926"/>
                    </a:cubicBezTo>
                    <a:cubicBezTo>
                      <a:pt x="45006" y="833914"/>
                      <a:pt x="38719" y="698468"/>
                      <a:pt x="32147" y="548831"/>
                    </a:cubicBezTo>
                    <a:cubicBezTo>
                      <a:pt x="25575" y="399193"/>
                      <a:pt x="19574" y="263843"/>
                      <a:pt x="14716" y="165830"/>
                    </a:cubicBezTo>
                    <a:cubicBezTo>
                      <a:pt x="12240" y="116872"/>
                      <a:pt x="10144" y="77248"/>
                      <a:pt x="8811" y="49721"/>
                    </a:cubicBezTo>
                    <a:cubicBezTo>
                      <a:pt x="8144" y="36100"/>
                      <a:pt x="7572" y="25527"/>
                      <a:pt x="7191" y="18193"/>
                    </a:cubicBezTo>
                    <a:cubicBezTo>
                      <a:pt x="7191" y="14669"/>
                      <a:pt x="7191" y="11906"/>
                      <a:pt x="7191" y="10001"/>
                    </a:cubicBezTo>
                    <a:cubicBezTo>
                      <a:pt x="7128" y="9050"/>
                      <a:pt x="7128" y="8095"/>
                      <a:pt x="7191" y="7144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1" name="Полилиния: фигура 160">
                <a:extLst>
                  <a:ext uri="{FF2B5EF4-FFF2-40B4-BE49-F238E27FC236}">
                    <a16:creationId xmlns:a16="http://schemas.microsoft.com/office/drawing/2014/main" id="{6E0559B6-C0EF-44F3-B796-465532591FC4}"/>
                  </a:ext>
                </a:extLst>
              </p:cNvPr>
              <p:cNvSpPr/>
              <p:nvPr/>
            </p:nvSpPr>
            <p:spPr>
              <a:xfrm>
                <a:off x="2032935" y="5154618"/>
                <a:ext cx="123825" cy="123825"/>
              </a:xfrm>
              <a:custGeom>
                <a:avLst/>
                <a:gdLst>
                  <a:gd name="connsiteX0" fmla="*/ 7144 w 123825"/>
                  <a:gd name="connsiteY0" fmla="*/ 7144 h 123825"/>
                  <a:gd name="connsiteX1" fmla="*/ 12097 w 123825"/>
                  <a:gd name="connsiteY1" fmla="*/ 11239 h 123825"/>
                  <a:gd name="connsiteX2" fmla="*/ 24670 w 123825"/>
                  <a:gd name="connsiteY2" fmla="*/ 23336 h 123825"/>
                  <a:gd name="connsiteX3" fmla="*/ 64484 w 123825"/>
                  <a:gd name="connsiteY3" fmla="*/ 64961 h 123825"/>
                  <a:gd name="connsiteX4" fmla="*/ 103346 w 123825"/>
                  <a:gd name="connsiteY4" fmla="*/ 107537 h 123825"/>
                  <a:gd name="connsiteX5" fmla="*/ 115157 w 123825"/>
                  <a:gd name="connsiteY5" fmla="*/ 120301 h 123825"/>
                  <a:gd name="connsiteX6" fmla="*/ 119348 w 123825"/>
                  <a:gd name="connsiteY6" fmla="*/ 125254 h 123825"/>
                  <a:gd name="connsiteX7" fmla="*/ 114300 w 123825"/>
                  <a:gd name="connsiteY7" fmla="*/ 121158 h 123825"/>
                  <a:gd name="connsiteX8" fmla="*/ 101822 w 123825"/>
                  <a:gd name="connsiteY8" fmla="*/ 108966 h 123825"/>
                  <a:gd name="connsiteX9" fmla="*/ 62293 w 123825"/>
                  <a:gd name="connsiteY9" fmla="*/ 67056 h 123825"/>
                  <a:gd name="connsiteX10" fmla="*/ 23146 w 123825"/>
                  <a:gd name="connsiteY10" fmla="*/ 24860 h 123825"/>
                  <a:gd name="connsiteX11" fmla="*/ 10858 w 123825"/>
                  <a:gd name="connsiteY11" fmla="*/ 12478 h 123825"/>
                  <a:gd name="connsiteX12" fmla="*/ 7144 w 123825"/>
                  <a:gd name="connsiteY12" fmla="*/ 7144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23825" h="123825">
                    <a:moveTo>
                      <a:pt x="7144" y="7144"/>
                    </a:moveTo>
                    <a:cubicBezTo>
                      <a:pt x="8953" y="8306"/>
                      <a:pt x="10616" y="9681"/>
                      <a:pt x="12097" y="11239"/>
                    </a:cubicBezTo>
                    <a:cubicBezTo>
                      <a:pt x="15145" y="14002"/>
                      <a:pt x="19431" y="18193"/>
                      <a:pt x="24670" y="23336"/>
                    </a:cubicBezTo>
                    <a:cubicBezTo>
                      <a:pt x="35147" y="33719"/>
                      <a:pt x="49244" y="48482"/>
                      <a:pt x="64484" y="64961"/>
                    </a:cubicBezTo>
                    <a:lnTo>
                      <a:pt x="103346" y="107537"/>
                    </a:lnTo>
                    <a:lnTo>
                      <a:pt x="115157" y="120301"/>
                    </a:lnTo>
                    <a:cubicBezTo>
                      <a:pt x="116750" y="121776"/>
                      <a:pt x="118157" y="123439"/>
                      <a:pt x="119348" y="125254"/>
                    </a:cubicBezTo>
                    <a:cubicBezTo>
                      <a:pt x="119348" y="125254"/>
                      <a:pt x="117443" y="123920"/>
                      <a:pt x="114300" y="121158"/>
                    </a:cubicBezTo>
                    <a:cubicBezTo>
                      <a:pt x="111157" y="118396"/>
                      <a:pt x="106966" y="114205"/>
                      <a:pt x="101822" y="108966"/>
                    </a:cubicBezTo>
                    <a:cubicBezTo>
                      <a:pt x="91440" y="98488"/>
                      <a:pt x="77533" y="83629"/>
                      <a:pt x="62293" y="67056"/>
                    </a:cubicBezTo>
                    <a:lnTo>
                      <a:pt x="23146" y="24860"/>
                    </a:lnTo>
                    <a:lnTo>
                      <a:pt x="10858" y="12478"/>
                    </a:lnTo>
                    <a:cubicBezTo>
                      <a:pt x="9409" y="10857"/>
                      <a:pt x="8162" y="9065"/>
                      <a:pt x="7144" y="7144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2" name="Полилиния: фигура 161">
                <a:extLst>
                  <a:ext uri="{FF2B5EF4-FFF2-40B4-BE49-F238E27FC236}">
                    <a16:creationId xmlns:a16="http://schemas.microsoft.com/office/drawing/2014/main" id="{34683F55-18A2-4B47-8D94-9FE5D6372C88}"/>
                  </a:ext>
                </a:extLst>
              </p:cNvPr>
              <p:cNvSpPr/>
              <p:nvPr/>
            </p:nvSpPr>
            <p:spPr>
              <a:xfrm>
                <a:off x="2152941" y="5136312"/>
                <a:ext cx="142875" cy="142875"/>
              </a:xfrm>
              <a:custGeom>
                <a:avLst/>
                <a:gdLst>
                  <a:gd name="connsiteX0" fmla="*/ 7152 w 142875"/>
                  <a:gd name="connsiteY0" fmla="*/ 140893 h 142875"/>
                  <a:gd name="connsiteX1" fmla="*/ 72017 w 142875"/>
                  <a:gd name="connsiteY1" fmla="*/ 72980 h 142875"/>
                  <a:gd name="connsiteX2" fmla="*/ 138692 w 142875"/>
                  <a:gd name="connsiteY2" fmla="*/ 7162 h 142875"/>
                  <a:gd name="connsiteX3" fmla="*/ 73827 w 142875"/>
                  <a:gd name="connsiteY3" fmla="*/ 75170 h 142875"/>
                  <a:gd name="connsiteX4" fmla="*/ 7152 w 142875"/>
                  <a:gd name="connsiteY4" fmla="*/ 140893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75" h="142875">
                    <a:moveTo>
                      <a:pt x="7152" y="140893"/>
                    </a:moveTo>
                    <a:cubicBezTo>
                      <a:pt x="6580" y="140321"/>
                      <a:pt x="35727" y="109937"/>
                      <a:pt x="72017" y="72980"/>
                    </a:cubicBezTo>
                    <a:cubicBezTo>
                      <a:pt x="108307" y="36023"/>
                      <a:pt x="138692" y="6305"/>
                      <a:pt x="138692" y="7162"/>
                    </a:cubicBezTo>
                    <a:cubicBezTo>
                      <a:pt x="138692" y="8019"/>
                      <a:pt x="110117" y="38213"/>
                      <a:pt x="73827" y="75170"/>
                    </a:cubicBezTo>
                    <a:cubicBezTo>
                      <a:pt x="37537" y="112128"/>
                      <a:pt x="7819" y="141560"/>
                      <a:pt x="7152" y="140893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3" name="Полилиния: фигура 162">
                <a:extLst>
                  <a:ext uri="{FF2B5EF4-FFF2-40B4-BE49-F238E27FC236}">
                    <a16:creationId xmlns:a16="http://schemas.microsoft.com/office/drawing/2014/main" id="{F4C53F99-CDF3-4366-A7FC-887A9D354BFE}"/>
                  </a:ext>
                </a:extLst>
              </p:cNvPr>
              <p:cNvSpPr/>
              <p:nvPr/>
            </p:nvSpPr>
            <p:spPr>
              <a:xfrm>
                <a:off x="2152664" y="5413698"/>
                <a:ext cx="152400" cy="95250"/>
              </a:xfrm>
              <a:custGeom>
                <a:avLst/>
                <a:gdLst>
                  <a:gd name="connsiteX0" fmla="*/ 7144 w 152400"/>
                  <a:gd name="connsiteY0" fmla="*/ 93726 h 95250"/>
                  <a:gd name="connsiteX1" fmla="*/ 12668 w 152400"/>
                  <a:gd name="connsiteY1" fmla="*/ 90202 h 95250"/>
                  <a:gd name="connsiteX2" fmla="*/ 28194 w 152400"/>
                  <a:gd name="connsiteY2" fmla="*/ 81534 h 95250"/>
                  <a:gd name="connsiteX3" fmla="*/ 78962 w 152400"/>
                  <a:gd name="connsiteY3" fmla="*/ 51911 h 95250"/>
                  <a:gd name="connsiteX4" fmla="*/ 128302 w 152400"/>
                  <a:gd name="connsiteY4" fmla="*/ 20098 h 95250"/>
                  <a:gd name="connsiteX5" fmla="*/ 143161 w 152400"/>
                  <a:gd name="connsiteY5" fmla="*/ 10573 h 95250"/>
                  <a:gd name="connsiteX6" fmla="*/ 148781 w 152400"/>
                  <a:gd name="connsiteY6" fmla="*/ 7144 h 95250"/>
                  <a:gd name="connsiteX7" fmla="*/ 143828 w 152400"/>
                  <a:gd name="connsiteY7" fmla="*/ 11525 h 95250"/>
                  <a:gd name="connsiteX8" fmla="*/ 129540 w 152400"/>
                  <a:gd name="connsiteY8" fmla="*/ 22193 h 95250"/>
                  <a:gd name="connsiteX9" fmla="*/ 80486 w 152400"/>
                  <a:gd name="connsiteY9" fmla="*/ 54769 h 95250"/>
                  <a:gd name="connsiteX10" fmla="*/ 29242 w 152400"/>
                  <a:gd name="connsiteY10" fmla="*/ 83344 h 95250"/>
                  <a:gd name="connsiteX11" fmla="*/ 13240 w 152400"/>
                  <a:gd name="connsiteY11" fmla="*/ 91154 h 95250"/>
                  <a:gd name="connsiteX12" fmla="*/ 7144 w 152400"/>
                  <a:gd name="connsiteY12" fmla="*/ 93726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400" h="95250">
                    <a:moveTo>
                      <a:pt x="7144" y="93726"/>
                    </a:moveTo>
                    <a:cubicBezTo>
                      <a:pt x="8844" y="92343"/>
                      <a:pt x="10698" y="91161"/>
                      <a:pt x="12668" y="90202"/>
                    </a:cubicBezTo>
                    <a:lnTo>
                      <a:pt x="28194" y="81534"/>
                    </a:lnTo>
                    <a:cubicBezTo>
                      <a:pt x="41339" y="74104"/>
                      <a:pt x="59436" y="63913"/>
                      <a:pt x="78962" y="51911"/>
                    </a:cubicBezTo>
                    <a:cubicBezTo>
                      <a:pt x="98489" y="39909"/>
                      <a:pt x="115824" y="28480"/>
                      <a:pt x="128302" y="20098"/>
                    </a:cubicBezTo>
                    <a:lnTo>
                      <a:pt x="143161" y="10573"/>
                    </a:lnTo>
                    <a:cubicBezTo>
                      <a:pt x="144919" y="9251"/>
                      <a:pt x="146801" y="8102"/>
                      <a:pt x="148781" y="7144"/>
                    </a:cubicBezTo>
                    <a:cubicBezTo>
                      <a:pt x="148781" y="7144"/>
                      <a:pt x="147161" y="8858"/>
                      <a:pt x="143828" y="11525"/>
                    </a:cubicBezTo>
                    <a:cubicBezTo>
                      <a:pt x="140494" y="14192"/>
                      <a:pt x="135636" y="17812"/>
                      <a:pt x="129540" y="22193"/>
                    </a:cubicBezTo>
                    <a:cubicBezTo>
                      <a:pt x="117348" y="31051"/>
                      <a:pt x="100108" y="42767"/>
                      <a:pt x="80486" y="54769"/>
                    </a:cubicBezTo>
                    <a:cubicBezTo>
                      <a:pt x="60865" y="66770"/>
                      <a:pt x="42386" y="76771"/>
                      <a:pt x="29242" y="83344"/>
                    </a:cubicBezTo>
                    <a:cubicBezTo>
                      <a:pt x="22479" y="86773"/>
                      <a:pt x="17050" y="89440"/>
                      <a:pt x="13240" y="91154"/>
                    </a:cubicBezTo>
                    <a:cubicBezTo>
                      <a:pt x="11333" y="92282"/>
                      <a:pt x="9283" y="93147"/>
                      <a:pt x="7144" y="93726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4" name="Полилиния: фигура 163">
                <a:extLst>
                  <a:ext uri="{FF2B5EF4-FFF2-40B4-BE49-F238E27FC236}">
                    <a16:creationId xmlns:a16="http://schemas.microsoft.com/office/drawing/2014/main" id="{16F3D7D5-FF97-4D7D-8DF2-66380AD4F6A9}"/>
                  </a:ext>
                </a:extLst>
              </p:cNvPr>
              <p:cNvSpPr/>
              <p:nvPr/>
            </p:nvSpPr>
            <p:spPr>
              <a:xfrm>
                <a:off x="2021028" y="5419794"/>
                <a:ext cx="142875" cy="85725"/>
              </a:xfrm>
              <a:custGeom>
                <a:avLst/>
                <a:gdLst>
                  <a:gd name="connsiteX0" fmla="*/ 7144 w 142875"/>
                  <a:gd name="connsiteY0" fmla="*/ 7144 h 85725"/>
                  <a:gd name="connsiteX1" fmla="*/ 12668 w 142875"/>
                  <a:gd name="connsiteY1" fmla="*/ 9715 h 85725"/>
                  <a:gd name="connsiteX2" fmla="*/ 27051 w 142875"/>
                  <a:gd name="connsiteY2" fmla="*/ 17717 h 85725"/>
                  <a:gd name="connsiteX3" fmla="*/ 74009 w 142875"/>
                  <a:gd name="connsiteY3" fmla="*/ 45053 h 85725"/>
                  <a:gd name="connsiteX4" fmla="*/ 120491 w 142875"/>
                  <a:gd name="connsiteY4" fmla="*/ 73628 h 85725"/>
                  <a:gd name="connsiteX5" fmla="*/ 134398 w 142875"/>
                  <a:gd name="connsiteY5" fmla="*/ 82487 h 85725"/>
                  <a:gd name="connsiteX6" fmla="*/ 139255 w 142875"/>
                  <a:gd name="connsiteY6" fmla="*/ 86011 h 85725"/>
                  <a:gd name="connsiteX7" fmla="*/ 133731 w 142875"/>
                  <a:gd name="connsiteY7" fmla="*/ 83439 h 85725"/>
                  <a:gd name="connsiteX8" fmla="*/ 119348 w 142875"/>
                  <a:gd name="connsiteY8" fmla="*/ 75438 h 85725"/>
                  <a:gd name="connsiteX9" fmla="*/ 72390 w 142875"/>
                  <a:gd name="connsiteY9" fmla="*/ 48101 h 85725"/>
                  <a:gd name="connsiteX10" fmla="*/ 26003 w 142875"/>
                  <a:gd name="connsiteY10" fmla="*/ 19526 h 85725"/>
                  <a:gd name="connsiteX11" fmla="*/ 12097 w 142875"/>
                  <a:gd name="connsiteY11" fmla="*/ 10668 h 85725"/>
                  <a:gd name="connsiteX12" fmla="*/ 7144 w 142875"/>
                  <a:gd name="connsiteY12" fmla="*/ 7144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2875" h="85725">
                    <a:moveTo>
                      <a:pt x="7144" y="7144"/>
                    </a:moveTo>
                    <a:cubicBezTo>
                      <a:pt x="9111" y="7699"/>
                      <a:pt x="10977" y="8568"/>
                      <a:pt x="12668" y="9715"/>
                    </a:cubicBezTo>
                    <a:cubicBezTo>
                      <a:pt x="16097" y="11525"/>
                      <a:pt x="21050" y="14288"/>
                      <a:pt x="27051" y="17717"/>
                    </a:cubicBezTo>
                    <a:cubicBezTo>
                      <a:pt x="39148" y="24574"/>
                      <a:pt x="55626" y="34195"/>
                      <a:pt x="74009" y="45053"/>
                    </a:cubicBezTo>
                    <a:cubicBezTo>
                      <a:pt x="92392" y="55912"/>
                      <a:pt x="108680" y="65913"/>
                      <a:pt x="120491" y="73628"/>
                    </a:cubicBezTo>
                    <a:cubicBezTo>
                      <a:pt x="126397" y="77248"/>
                      <a:pt x="131159" y="80296"/>
                      <a:pt x="134398" y="82487"/>
                    </a:cubicBezTo>
                    <a:cubicBezTo>
                      <a:pt x="136167" y="83439"/>
                      <a:pt x="137801" y="84624"/>
                      <a:pt x="139255" y="86011"/>
                    </a:cubicBezTo>
                    <a:cubicBezTo>
                      <a:pt x="137319" y="85374"/>
                      <a:pt x="135465" y="84511"/>
                      <a:pt x="133731" y="83439"/>
                    </a:cubicBezTo>
                    <a:cubicBezTo>
                      <a:pt x="130302" y="81629"/>
                      <a:pt x="125444" y="78867"/>
                      <a:pt x="119348" y="75438"/>
                    </a:cubicBezTo>
                    <a:cubicBezTo>
                      <a:pt x="107251" y="68580"/>
                      <a:pt x="90773" y="58960"/>
                      <a:pt x="72390" y="48101"/>
                    </a:cubicBezTo>
                    <a:cubicBezTo>
                      <a:pt x="54007" y="37243"/>
                      <a:pt x="37814" y="27242"/>
                      <a:pt x="26003" y="19526"/>
                    </a:cubicBezTo>
                    <a:cubicBezTo>
                      <a:pt x="20098" y="15812"/>
                      <a:pt x="15335" y="12859"/>
                      <a:pt x="12097" y="10668"/>
                    </a:cubicBezTo>
                    <a:cubicBezTo>
                      <a:pt x="10315" y="9689"/>
                      <a:pt x="8653" y="8506"/>
                      <a:pt x="7144" y="7144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5" name="Полилиния: фигура 164">
                <a:extLst>
                  <a:ext uri="{FF2B5EF4-FFF2-40B4-BE49-F238E27FC236}">
                    <a16:creationId xmlns:a16="http://schemas.microsoft.com/office/drawing/2014/main" id="{135843A6-AE02-4998-9873-863F2E737597}"/>
                  </a:ext>
                </a:extLst>
              </p:cNvPr>
              <p:cNvSpPr/>
              <p:nvPr/>
            </p:nvSpPr>
            <p:spPr>
              <a:xfrm>
                <a:off x="1994930" y="5622962"/>
                <a:ext cx="180975" cy="104775"/>
              </a:xfrm>
              <a:custGeom>
                <a:avLst/>
                <a:gdLst>
                  <a:gd name="connsiteX0" fmla="*/ 7144 w 180975"/>
                  <a:gd name="connsiteY0" fmla="*/ 7144 h 104775"/>
                  <a:gd name="connsiteX1" fmla="*/ 14097 w 180975"/>
                  <a:gd name="connsiteY1" fmla="*/ 10478 h 104775"/>
                  <a:gd name="connsiteX2" fmla="*/ 33147 w 180975"/>
                  <a:gd name="connsiteY2" fmla="*/ 20669 h 104775"/>
                  <a:gd name="connsiteX3" fmla="*/ 93536 w 180975"/>
                  <a:gd name="connsiteY3" fmla="*/ 55341 h 104775"/>
                  <a:gd name="connsiteX4" fmla="*/ 153543 w 180975"/>
                  <a:gd name="connsiteY4" fmla="*/ 90774 h 104775"/>
                  <a:gd name="connsiteX5" fmla="*/ 171545 w 180975"/>
                  <a:gd name="connsiteY5" fmla="*/ 101822 h 104775"/>
                  <a:gd name="connsiteX6" fmla="*/ 177927 w 180975"/>
                  <a:gd name="connsiteY6" fmla="*/ 106204 h 104775"/>
                  <a:gd name="connsiteX7" fmla="*/ 170879 w 180975"/>
                  <a:gd name="connsiteY7" fmla="*/ 102775 h 104775"/>
                  <a:gd name="connsiteX8" fmla="*/ 152400 w 180975"/>
                  <a:gd name="connsiteY8" fmla="*/ 92583 h 104775"/>
                  <a:gd name="connsiteX9" fmla="*/ 92012 w 180975"/>
                  <a:gd name="connsiteY9" fmla="*/ 58008 h 104775"/>
                  <a:gd name="connsiteX10" fmla="*/ 32004 w 180975"/>
                  <a:gd name="connsiteY10" fmla="*/ 22574 h 104775"/>
                  <a:gd name="connsiteX11" fmla="*/ 14002 w 180975"/>
                  <a:gd name="connsiteY11" fmla="*/ 11525 h 104775"/>
                  <a:gd name="connsiteX12" fmla="*/ 7144 w 180975"/>
                  <a:gd name="connsiteY12" fmla="*/ 714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0975" h="104775">
                    <a:moveTo>
                      <a:pt x="7144" y="7144"/>
                    </a:moveTo>
                    <a:cubicBezTo>
                      <a:pt x="9563" y="8030"/>
                      <a:pt x="11891" y="9147"/>
                      <a:pt x="14097" y="10478"/>
                    </a:cubicBezTo>
                    <a:lnTo>
                      <a:pt x="33147" y="20669"/>
                    </a:lnTo>
                    <a:cubicBezTo>
                      <a:pt x="48673" y="29433"/>
                      <a:pt x="70009" y="41624"/>
                      <a:pt x="93536" y="55341"/>
                    </a:cubicBezTo>
                    <a:cubicBezTo>
                      <a:pt x="117062" y="69056"/>
                      <a:pt x="138208" y="81534"/>
                      <a:pt x="153543" y="90774"/>
                    </a:cubicBezTo>
                    <a:lnTo>
                      <a:pt x="171545" y="101822"/>
                    </a:lnTo>
                    <a:cubicBezTo>
                      <a:pt x="173809" y="103074"/>
                      <a:pt x="175946" y="104541"/>
                      <a:pt x="177927" y="106204"/>
                    </a:cubicBezTo>
                    <a:cubicBezTo>
                      <a:pt x="175470" y="105296"/>
                      <a:pt x="173109" y="104147"/>
                      <a:pt x="170879" y="102775"/>
                    </a:cubicBezTo>
                    <a:lnTo>
                      <a:pt x="152400" y="92583"/>
                    </a:lnTo>
                    <a:cubicBezTo>
                      <a:pt x="136874" y="83916"/>
                      <a:pt x="115538" y="71628"/>
                      <a:pt x="92012" y="58008"/>
                    </a:cubicBezTo>
                    <a:cubicBezTo>
                      <a:pt x="68485" y="44387"/>
                      <a:pt x="47339" y="31718"/>
                      <a:pt x="32004" y="22574"/>
                    </a:cubicBezTo>
                    <a:lnTo>
                      <a:pt x="14002" y="11525"/>
                    </a:lnTo>
                    <a:cubicBezTo>
                      <a:pt x="11573" y="10301"/>
                      <a:pt x="9276" y="8833"/>
                      <a:pt x="7144" y="7144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6" name="Полилиния: фигура 165">
                <a:extLst>
                  <a:ext uri="{FF2B5EF4-FFF2-40B4-BE49-F238E27FC236}">
                    <a16:creationId xmlns:a16="http://schemas.microsoft.com/office/drawing/2014/main" id="{B67DB857-702B-47E0-8BD1-7C73298162EB}"/>
                  </a:ext>
                </a:extLst>
              </p:cNvPr>
              <p:cNvSpPr/>
              <p:nvPr/>
            </p:nvSpPr>
            <p:spPr>
              <a:xfrm>
                <a:off x="2161808" y="5603436"/>
                <a:ext cx="190500" cy="123825"/>
              </a:xfrm>
              <a:custGeom>
                <a:avLst/>
                <a:gdLst>
                  <a:gd name="connsiteX0" fmla="*/ 7144 w 190500"/>
                  <a:gd name="connsiteY0" fmla="*/ 122206 h 123825"/>
                  <a:gd name="connsiteX1" fmla="*/ 14097 w 190500"/>
                  <a:gd name="connsiteY1" fmla="*/ 117539 h 123825"/>
                  <a:gd name="connsiteX2" fmla="*/ 33147 w 190500"/>
                  <a:gd name="connsiteY2" fmla="*/ 105823 h 123825"/>
                  <a:gd name="connsiteX3" fmla="*/ 96298 w 190500"/>
                  <a:gd name="connsiteY3" fmla="*/ 66199 h 123825"/>
                  <a:gd name="connsiteX4" fmla="*/ 158115 w 190500"/>
                  <a:gd name="connsiteY4" fmla="*/ 24479 h 123825"/>
                  <a:gd name="connsiteX5" fmla="*/ 177165 w 190500"/>
                  <a:gd name="connsiteY5" fmla="*/ 11621 h 123825"/>
                  <a:gd name="connsiteX6" fmla="*/ 184118 w 190500"/>
                  <a:gd name="connsiteY6" fmla="*/ 7144 h 123825"/>
                  <a:gd name="connsiteX7" fmla="*/ 177832 w 190500"/>
                  <a:gd name="connsiteY7" fmla="*/ 12573 h 123825"/>
                  <a:gd name="connsiteX8" fmla="*/ 159829 w 190500"/>
                  <a:gd name="connsiteY8" fmla="*/ 26194 h 123825"/>
                  <a:gd name="connsiteX9" fmla="*/ 98488 w 190500"/>
                  <a:gd name="connsiteY9" fmla="*/ 68771 h 123825"/>
                  <a:gd name="connsiteX10" fmla="*/ 34766 w 190500"/>
                  <a:gd name="connsiteY10" fmla="*/ 107632 h 123825"/>
                  <a:gd name="connsiteX11" fmla="*/ 14954 w 190500"/>
                  <a:gd name="connsiteY11" fmla="*/ 118586 h 123825"/>
                  <a:gd name="connsiteX12" fmla="*/ 7144 w 190500"/>
                  <a:gd name="connsiteY12" fmla="*/ 122206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0500" h="123825">
                    <a:moveTo>
                      <a:pt x="7144" y="122206"/>
                    </a:moveTo>
                    <a:cubicBezTo>
                      <a:pt x="9317" y="120444"/>
                      <a:pt x="11644" y="118883"/>
                      <a:pt x="14097" y="117539"/>
                    </a:cubicBezTo>
                    <a:lnTo>
                      <a:pt x="33147" y="105823"/>
                    </a:lnTo>
                    <a:cubicBezTo>
                      <a:pt x="49435" y="96298"/>
                      <a:pt x="71914" y="82105"/>
                      <a:pt x="96298" y="66199"/>
                    </a:cubicBezTo>
                    <a:cubicBezTo>
                      <a:pt x="120682" y="50292"/>
                      <a:pt x="142399" y="35433"/>
                      <a:pt x="158115" y="24479"/>
                    </a:cubicBezTo>
                    <a:lnTo>
                      <a:pt x="177165" y="11621"/>
                    </a:lnTo>
                    <a:cubicBezTo>
                      <a:pt x="179335" y="9910"/>
                      <a:pt x="181663" y="8411"/>
                      <a:pt x="184118" y="7144"/>
                    </a:cubicBezTo>
                    <a:cubicBezTo>
                      <a:pt x="182237" y="9188"/>
                      <a:pt x="180128" y="11009"/>
                      <a:pt x="177832" y="12573"/>
                    </a:cubicBezTo>
                    <a:cubicBezTo>
                      <a:pt x="173641" y="15812"/>
                      <a:pt x="167545" y="20574"/>
                      <a:pt x="159829" y="26194"/>
                    </a:cubicBezTo>
                    <a:cubicBezTo>
                      <a:pt x="144494" y="37624"/>
                      <a:pt x="122872" y="52864"/>
                      <a:pt x="98488" y="68771"/>
                    </a:cubicBezTo>
                    <a:cubicBezTo>
                      <a:pt x="74104" y="84677"/>
                      <a:pt x="51340" y="98203"/>
                      <a:pt x="34766" y="107632"/>
                    </a:cubicBezTo>
                    <a:cubicBezTo>
                      <a:pt x="26384" y="112395"/>
                      <a:pt x="19621" y="116110"/>
                      <a:pt x="14954" y="118586"/>
                    </a:cubicBezTo>
                    <a:cubicBezTo>
                      <a:pt x="12467" y="120029"/>
                      <a:pt x="9852" y="121241"/>
                      <a:pt x="7144" y="122206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7" name="Полилиния: фигура 166">
                <a:extLst>
                  <a:ext uri="{FF2B5EF4-FFF2-40B4-BE49-F238E27FC236}">
                    <a16:creationId xmlns:a16="http://schemas.microsoft.com/office/drawing/2014/main" id="{A3200827-FD48-4576-9558-A7DFA97D7EBF}"/>
                  </a:ext>
                </a:extLst>
              </p:cNvPr>
              <p:cNvSpPr/>
              <p:nvPr/>
            </p:nvSpPr>
            <p:spPr>
              <a:xfrm>
                <a:off x="2061414" y="5855563"/>
                <a:ext cx="228600" cy="552450"/>
              </a:xfrm>
              <a:custGeom>
                <a:avLst/>
                <a:gdLst>
                  <a:gd name="connsiteX0" fmla="*/ 226981 w 228600"/>
                  <a:gd name="connsiteY0" fmla="*/ 7144 h 552450"/>
                  <a:gd name="connsiteX1" fmla="*/ 7144 w 228600"/>
                  <a:gd name="connsiteY1" fmla="*/ 7144 h 552450"/>
                  <a:gd name="connsiteX2" fmla="*/ 78867 w 228600"/>
                  <a:gd name="connsiteY2" fmla="*/ 550164 h 552450"/>
                  <a:gd name="connsiteX3" fmla="*/ 155162 w 228600"/>
                  <a:gd name="connsiteY3" fmla="*/ 550164 h 552450"/>
                  <a:gd name="connsiteX4" fmla="*/ 226981 w 228600"/>
                  <a:gd name="connsiteY4" fmla="*/ 7144 h 552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8600" h="552450">
                    <a:moveTo>
                      <a:pt x="226981" y="7144"/>
                    </a:moveTo>
                    <a:lnTo>
                      <a:pt x="7144" y="7144"/>
                    </a:lnTo>
                    <a:lnTo>
                      <a:pt x="78867" y="550164"/>
                    </a:lnTo>
                    <a:lnTo>
                      <a:pt x="155162" y="550164"/>
                    </a:lnTo>
                    <a:lnTo>
                      <a:pt x="226981" y="7144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8" name="Полилиния: фигура 167">
                <a:extLst>
                  <a:ext uri="{FF2B5EF4-FFF2-40B4-BE49-F238E27FC236}">
                    <a16:creationId xmlns:a16="http://schemas.microsoft.com/office/drawing/2014/main" id="{10257F8C-5A87-499F-8CE6-541ADE86F452}"/>
                  </a:ext>
                </a:extLst>
              </p:cNvPr>
              <p:cNvSpPr/>
              <p:nvPr/>
            </p:nvSpPr>
            <p:spPr>
              <a:xfrm>
                <a:off x="2072844" y="5898832"/>
                <a:ext cx="209550" cy="57150"/>
              </a:xfrm>
              <a:custGeom>
                <a:avLst/>
                <a:gdLst>
                  <a:gd name="connsiteX0" fmla="*/ 7144 w 209550"/>
                  <a:gd name="connsiteY0" fmla="*/ 30264 h 57150"/>
                  <a:gd name="connsiteX1" fmla="*/ 8287 w 209550"/>
                  <a:gd name="connsiteY1" fmla="*/ 32170 h 57150"/>
                  <a:gd name="connsiteX2" fmla="*/ 13621 w 209550"/>
                  <a:gd name="connsiteY2" fmla="*/ 35980 h 57150"/>
                  <a:gd name="connsiteX3" fmla="*/ 36862 w 209550"/>
                  <a:gd name="connsiteY3" fmla="*/ 33122 h 57150"/>
                  <a:gd name="connsiteX4" fmla="*/ 65437 w 209550"/>
                  <a:gd name="connsiteY4" fmla="*/ 14072 h 57150"/>
                  <a:gd name="connsiteX5" fmla="*/ 105823 w 209550"/>
                  <a:gd name="connsiteY5" fmla="*/ 14929 h 57150"/>
                  <a:gd name="connsiteX6" fmla="*/ 143446 w 209550"/>
                  <a:gd name="connsiteY6" fmla="*/ 33122 h 57150"/>
                  <a:gd name="connsiteX7" fmla="*/ 174022 w 209550"/>
                  <a:gd name="connsiteY7" fmla="*/ 49600 h 57150"/>
                  <a:gd name="connsiteX8" fmla="*/ 196596 w 209550"/>
                  <a:gd name="connsiteY8" fmla="*/ 56077 h 57150"/>
                  <a:gd name="connsiteX9" fmla="*/ 202978 w 209550"/>
                  <a:gd name="connsiteY9" fmla="*/ 56553 h 57150"/>
                  <a:gd name="connsiteX10" fmla="*/ 205264 w 209550"/>
                  <a:gd name="connsiteY10" fmla="*/ 56553 h 57150"/>
                  <a:gd name="connsiteX11" fmla="*/ 175070 w 209550"/>
                  <a:gd name="connsiteY11" fmla="*/ 47028 h 57150"/>
                  <a:gd name="connsiteX12" fmla="*/ 145161 w 209550"/>
                  <a:gd name="connsiteY12" fmla="*/ 30074 h 57150"/>
                  <a:gd name="connsiteX13" fmla="*/ 107061 w 209550"/>
                  <a:gd name="connsiteY13" fmla="*/ 11024 h 57150"/>
                  <a:gd name="connsiteX14" fmla="*/ 64389 w 209550"/>
                  <a:gd name="connsiteY14" fmla="*/ 10548 h 57150"/>
                  <a:gd name="connsiteX15" fmla="*/ 48387 w 209550"/>
                  <a:gd name="connsiteY15" fmla="*/ 20073 h 57150"/>
                  <a:gd name="connsiteX16" fmla="*/ 35814 w 209550"/>
                  <a:gd name="connsiteY16" fmla="*/ 29598 h 57150"/>
                  <a:gd name="connsiteX17" fmla="*/ 14383 w 209550"/>
                  <a:gd name="connsiteY17" fmla="*/ 33313 h 57150"/>
                  <a:gd name="connsiteX18" fmla="*/ 7144 w 209550"/>
                  <a:gd name="connsiteY18" fmla="*/ 30264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9550" h="57150">
                    <a:moveTo>
                      <a:pt x="7144" y="30264"/>
                    </a:moveTo>
                    <a:cubicBezTo>
                      <a:pt x="7144" y="30264"/>
                      <a:pt x="7144" y="31026"/>
                      <a:pt x="8287" y="32170"/>
                    </a:cubicBezTo>
                    <a:cubicBezTo>
                      <a:pt x="9743" y="33838"/>
                      <a:pt x="11570" y="35143"/>
                      <a:pt x="13621" y="35980"/>
                    </a:cubicBezTo>
                    <a:cubicBezTo>
                      <a:pt x="21391" y="38690"/>
                      <a:pt x="29980" y="37634"/>
                      <a:pt x="36862" y="33122"/>
                    </a:cubicBezTo>
                    <a:cubicBezTo>
                      <a:pt x="45720" y="28264"/>
                      <a:pt x="53435" y="18644"/>
                      <a:pt x="65437" y="14072"/>
                    </a:cubicBezTo>
                    <a:cubicBezTo>
                      <a:pt x="78624" y="9892"/>
                      <a:pt x="92824" y="10194"/>
                      <a:pt x="105823" y="14929"/>
                    </a:cubicBezTo>
                    <a:cubicBezTo>
                      <a:pt x="119055" y="19446"/>
                      <a:pt x="131689" y="25555"/>
                      <a:pt x="143446" y="33122"/>
                    </a:cubicBezTo>
                    <a:cubicBezTo>
                      <a:pt x="153275" y="39264"/>
                      <a:pt x="163487" y="44769"/>
                      <a:pt x="174022" y="49600"/>
                    </a:cubicBezTo>
                    <a:cubicBezTo>
                      <a:pt x="181218" y="52773"/>
                      <a:pt x="188812" y="54952"/>
                      <a:pt x="196596" y="56077"/>
                    </a:cubicBezTo>
                    <a:cubicBezTo>
                      <a:pt x="198710" y="56379"/>
                      <a:pt x="200842" y="56538"/>
                      <a:pt x="202978" y="56553"/>
                    </a:cubicBezTo>
                    <a:cubicBezTo>
                      <a:pt x="203733" y="56697"/>
                      <a:pt x="204509" y="56697"/>
                      <a:pt x="205264" y="56553"/>
                    </a:cubicBezTo>
                    <a:cubicBezTo>
                      <a:pt x="194818" y="54742"/>
                      <a:pt x="184663" y="51539"/>
                      <a:pt x="175070" y="47028"/>
                    </a:cubicBezTo>
                    <a:cubicBezTo>
                      <a:pt x="164761" y="41997"/>
                      <a:pt x="154773" y="36334"/>
                      <a:pt x="145161" y="30074"/>
                    </a:cubicBezTo>
                    <a:cubicBezTo>
                      <a:pt x="133328" y="22120"/>
                      <a:pt x="120523" y="15718"/>
                      <a:pt x="107061" y="11024"/>
                    </a:cubicBezTo>
                    <a:cubicBezTo>
                      <a:pt x="93305" y="6019"/>
                      <a:pt x="78254" y="5851"/>
                      <a:pt x="64389" y="10548"/>
                    </a:cubicBezTo>
                    <a:cubicBezTo>
                      <a:pt x="58558" y="12801"/>
                      <a:pt x="53148" y="16021"/>
                      <a:pt x="48387" y="20073"/>
                    </a:cubicBezTo>
                    <a:cubicBezTo>
                      <a:pt x="44398" y="23505"/>
                      <a:pt x="40199" y="26686"/>
                      <a:pt x="35814" y="29598"/>
                    </a:cubicBezTo>
                    <a:cubicBezTo>
                      <a:pt x="29537" y="33860"/>
                      <a:pt x="21728" y="35213"/>
                      <a:pt x="14383" y="33313"/>
                    </a:cubicBezTo>
                    <a:cubicBezTo>
                      <a:pt x="11807" y="32737"/>
                      <a:pt x="9356" y="31705"/>
                      <a:pt x="7144" y="30264"/>
                    </a:cubicBezTo>
                    <a:close/>
                  </a:path>
                </a:pathLst>
              </a:custGeom>
              <a:solidFill>
                <a:srgbClr val="F5F5F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9" name="Полилиния: фигура 168">
                <a:extLst>
                  <a:ext uri="{FF2B5EF4-FFF2-40B4-BE49-F238E27FC236}">
                    <a16:creationId xmlns:a16="http://schemas.microsoft.com/office/drawing/2014/main" id="{88977845-6987-4BDE-944A-9420522BFAE9}"/>
                  </a:ext>
                </a:extLst>
              </p:cNvPr>
              <p:cNvSpPr/>
              <p:nvPr/>
            </p:nvSpPr>
            <p:spPr>
              <a:xfrm>
                <a:off x="2080827" y="5982531"/>
                <a:ext cx="200025" cy="47625"/>
              </a:xfrm>
              <a:custGeom>
                <a:avLst/>
                <a:gdLst>
                  <a:gd name="connsiteX0" fmla="*/ 7162 w 200025"/>
                  <a:gd name="connsiteY0" fmla="*/ 46958 h 47625"/>
                  <a:gd name="connsiteX1" fmla="*/ 12305 w 200025"/>
                  <a:gd name="connsiteY1" fmla="*/ 41148 h 47625"/>
                  <a:gd name="connsiteX2" fmla="*/ 29926 w 200025"/>
                  <a:gd name="connsiteY2" fmla="*/ 30004 h 47625"/>
                  <a:gd name="connsiteX3" fmla="*/ 60502 w 200025"/>
                  <a:gd name="connsiteY3" fmla="*/ 25432 h 47625"/>
                  <a:gd name="connsiteX4" fmla="*/ 98602 w 200025"/>
                  <a:gd name="connsiteY4" fmla="*/ 30575 h 47625"/>
                  <a:gd name="connsiteX5" fmla="*/ 137749 w 200025"/>
                  <a:gd name="connsiteY5" fmla="*/ 32195 h 47625"/>
                  <a:gd name="connsiteX6" fmla="*/ 168610 w 200025"/>
                  <a:gd name="connsiteY6" fmla="*/ 23431 h 47625"/>
                  <a:gd name="connsiteX7" fmla="*/ 187089 w 200025"/>
                  <a:gd name="connsiteY7" fmla="*/ 12382 h 47625"/>
                  <a:gd name="connsiteX8" fmla="*/ 192994 w 200025"/>
                  <a:gd name="connsiteY8" fmla="*/ 7144 h 47625"/>
                  <a:gd name="connsiteX9" fmla="*/ 167563 w 200025"/>
                  <a:gd name="connsiteY9" fmla="*/ 21146 h 47625"/>
                  <a:gd name="connsiteX10" fmla="*/ 137368 w 200025"/>
                  <a:gd name="connsiteY10" fmla="*/ 28956 h 47625"/>
                  <a:gd name="connsiteX11" fmla="*/ 99268 w 200025"/>
                  <a:gd name="connsiteY11" fmla="*/ 27051 h 47625"/>
                  <a:gd name="connsiteX12" fmla="*/ 60597 w 200025"/>
                  <a:gd name="connsiteY12" fmla="*/ 22098 h 47625"/>
                  <a:gd name="connsiteX13" fmla="*/ 28974 w 200025"/>
                  <a:gd name="connsiteY13" fmla="*/ 27622 h 47625"/>
                  <a:gd name="connsiteX14" fmla="*/ 11353 w 200025"/>
                  <a:gd name="connsiteY14" fmla="*/ 40196 h 47625"/>
                  <a:gd name="connsiteX15" fmla="*/ 8019 w 200025"/>
                  <a:gd name="connsiteY15" fmla="*/ 45053 h 47625"/>
                  <a:gd name="connsiteX16" fmla="*/ 7162 w 200025"/>
                  <a:gd name="connsiteY16" fmla="*/ 46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00025" h="47625">
                    <a:moveTo>
                      <a:pt x="7162" y="46958"/>
                    </a:moveTo>
                    <a:cubicBezTo>
                      <a:pt x="7162" y="46958"/>
                      <a:pt x="8876" y="44768"/>
                      <a:pt x="12305" y="41148"/>
                    </a:cubicBezTo>
                    <a:cubicBezTo>
                      <a:pt x="17284" y="36177"/>
                      <a:pt x="23301" y="32372"/>
                      <a:pt x="29926" y="30004"/>
                    </a:cubicBezTo>
                    <a:cubicBezTo>
                      <a:pt x="39712" y="26458"/>
                      <a:pt x="50107" y="24903"/>
                      <a:pt x="60502" y="25432"/>
                    </a:cubicBezTo>
                    <a:cubicBezTo>
                      <a:pt x="73293" y="26384"/>
                      <a:pt x="86016" y="28102"/>
                      <a:pt x="98602" y="30575"/>
                    </a:cubicBezTo>
                    <a:cubicBezTo>
                      <a:pt x="111495" y="33078"/>
                      <a:pt x="124693" y="33624"/>
                      <a:pt x="137749" y="32195"/>
                    </a:cubicBezTo>
                    <a:cubicBezTo>
                      <a:pt x="148419" y="30843"/>
                      <a:pt x="158823" y="27889"/>
                      <a:pt x="168610" y="23431"/>
                    </a:cubicBezTo>
                    <a:cubicBezTo>
                      <a:pt x="175175" y="20473"/>
                      <a:pt x="181376" y="16765"/>
                      <a:pt x="187089" y="12382"/>
                    </a:cubicBezTo>
                    <a:cubicBezTo>
                      <a:pt x="189295" y="10924"/>
                      <a:pt x="191283" y="9160"/>
                      <a:pt x="192994" y="7144"/>
                    </a:cubicBezTo>
                    <a:cubicBezTo>
                      <a:pt x="184845" y="12383"/>
                      <a:pt x="176348" y="17061"/>
                      <a:pt x="167563" y="21146"/>
                    </a:cubicBezTo>
                    <a:cubicBezTo>
                      <a:pt x="157899" y="25108"/>
                      <a:pt x="147741" y="27736"/>
                      <a:pt x="137368" y="28956"/>
                    </a:cubicBezTo>
                    <a:cubicBezTo>
                      <a:pt x="124642" y="30125"/>
                      <a:pt x="111815" y="29484"/>
                      <a:pt x="99268" y="27051"/>
                    </a:cubicBezTo>
                    <a:cubicBezTo>
                      <a:pt x="86508" y="24507"/>
                      <a:pt x="73587" y="22852"/>
                      <a:pt x="60597" y="22098"/>
                    </a:cubicBezTo>
                    <a:cubicBezTo>
                      <a:pt x="49785" y="21699"/>
                      <a:pt x="39010" y="23581"/>
                      <a:pt x="28974" y="27622"/>
                    </a:cubicBezTo>
                    <a:cubicBezTo>
                      <a:pt x="22175" y="30336"/>
                      <a:pt x="16130" y="34649"/>
                      <a:pt x="11353" y="40196"/>
                    </a:cubicBezTo>
                    <a:cubicBezTo>
                      <a:pt x="10062" y="41684"/>
                      <a:pt x="8944" y="43314"/>
                      <a:pt x="8019" y="45053"/>
                    </a:cubicBezTo>
                    <a:cubicBezTo>
                      <a:pt x="7352" y="46292"/>
                      <a:pt x="7066" y="46863"/>
                      <a:pt x="7162" y="46958"/>
                    </a:cubicBezTo>
                    <a:close/>
                  </a:path>
                </a:pathLst>
              </a:custGeom>
              <a:solidFill>
                <a:srgbClr val="F5F5F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0" name="Полилиния: фигура 169">
                <a:extLst>
                  <a:ext uri="{FF2B5EF4-FFF2-40B4-BE49-F238E27FC236}">
                    <a16:creationId xmlns:a16="http://schemas.microsoft.com/office/drawing/2014/main" id="{D82896AC-11BA-4371-991E-A202E5E38391}"/>
                  </a:ext>
                </a:extLst>
              </p:cNvPr>
              <p:cNvSpPr/>
              <p:nvPr/>
            </p:nvSpPr>
            <p:spPr>
              <a:xfrm>
                <a:off x="2093323" y="6060732"/>
                <a:ext cx="171450" cy="28575"/>
              </a:xfrm>
              <a:custGeom>
                <a:avLst/>
                <a:gdLst>
                  <a:gd name="connsiteX0" fmla="*/ 170117 w 171450"/>
                  <a:gd name="connsiteY0" fmla="*/ 22288 h 28575"/>
                  <a:gd name="connsiteX1" fmla="*/ 164116 w 171450"/>
                  <a:gd name="connsiteY1" fmla="*/ 19145 h 28575"/>
                  <a:gd name="connsiteX2" fmla="*/ 145828 w 171450"/>
                  <a:gd name="connsiteY2" fmla="*/ 15240 h 28575"/>
                  <a:gd name="connsiteX3" fmla="*/ 118300 w 171450"/>
                  <a:gd name="connsiteY3" fmla="*/ 16859 h 28575"/>
                  <a:gd name="connsiteX4" fmla="*/ 85534 w 171450"/>
                  <a:gd name="connsiteY4" fmla="*/ 23717 h 28575"/>
                  <a:gd name="connsiteX5" fmla="*/ 52864 w 171450"/>
                  <a:gd name="connsiteY5" fmla="*/ 27432 h 28575"/>
                  <a:gd name="connsiteX6" fmla="*/ 26861 w 171450"/>
                  <a:gd name="connsiteY6" fmla="*/ 21812 h 28575"/>
                  <a:gd name="connsiteX7" fmla="*/ 7144 w 171450"/>
                  <a:gd name="connsiteY7" fmla="*/ 7144 h 28575"/>
                  <a:gd name="connsiteX8" fmla="*/ 10858 w 171450"/>
                  <a:gd name="connsiteY8" fmla="*/ 12859 h 28575"/>
                  <a:gd name="connsiteX9" fmla="*/ 25813 w 171450"/>
                  <a:gd name="connsiteY9" fmla="*/ 24098 h 28575"/>
                  <a:gd name="connsiteX10" fmla="*/ 52673 w 171450"/>
                  <a:gd name="connsiteY10" fmla="*/ 30766 h 28575"/>
                  <a:gd name="connsiteX11" fmla="*/ 86297 w 171450"/>
                  <a:gd name="connsiteY11" fmla="*/ 27242 h 28575"/>
                  <a:gd name="connsiteX12" fmla="*/ 118872 w 171450"/>
                  <a:gd name="connsiteY12" fmla="*/ 20098 h 28575"/>
                  <a:gd name="connsiteX13" fmla="*/ 145733 w 171450"/>
                  <a:gd name="connsiteY13" fmla="*/ 17812 h 28575"/>
                  <a:gd name="connsiteX14" fmla="*/ 170117 w 171450"/>
                  <a:gd name="connsiteY14" fmla="*/ 22288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28575">
                    <a:moveTo>
                      <a:pt x="170117" y="22288"/>
                    </a:moveTo>
                    <a:cubicBezTo>
                      <a:pt x="168341" y="20858"/>
                      <a:pt x="166302" y="19790"/>
                      <a:pt x="164116" y="19145"/>
                    </a:cubicBezTo>
                    <a:cubicBezTo>
                      <a:pt x="158233" y="16991"/>
                      <a:pt x="152077" y="15676"/>
                      <a:pt x="145828" y="15240"/>
                    </a:cubicBezTo>
                    <a:cubicBezTo>
                      <a:pt x="136620" y="14706"/>
                      <a:pt x="127382" y="15249"/>
                      <a:pt x="118300" y="16859"/>
                    </a:cubicBezTo>
                    <a:cubicBezTo>
                      <a:pt x="108109" y="18479"/>
                      <a:pt x="97060" y="21336"/>
                      <a:pt x="85534" y="23717"/>
                    </a:cubicBezTo>
                    <a:cubicBezTo>
                      <a:pt x="74836" y="26279"/>
                      <a:pt x="63864" y="27526"/>
                      <a:pt x="52864" y="27432"/>
                    </a:cubicBezTo>
                    <a:cubicBezTo>
                      <a:pt x="43918" y="27229"/>
                      <a:pt x="35092" y="25321"/>
                      <a:pt x="26861" y="21812"/>
                    </a:cubicBezTo>
                    <a:cubicBezTo>
                      <a:pt x="19321" y="18379"/>
                      <a:pt x="12599" y="13379"/>
                      <a:pt x="7144" y="7144"/>
                    </a:cubicBezTo>
                    <a:cubicBezTo>
                      <a:pt x="7935" y="9305"/>
                      <a:pt x="9205" y="11259"/>
                      <a:pt x="10858" y="12859"/>
                    </a:cubicBezTo>
                    <a:cubicBezTo>
                      <a:pt x="15006" y="17606"/>
                      <a:pt x="20100" y="21434"/>
                      <a:pt x="25813" y="24098"/>
                    </a:cubicBezTo>
                    <a:cubicBezTo>
                      <a:pt x="34229" y="28098"/>
                      <a:pt x="43363" y="30366"/>
                      <a:pt x="52673" y="30766"/>
                    </a:cubicBezTo>
                    <a:cubicBezTo>
                      <a:pt x="63986" y="31041"/>
                      <a:pt x="75287" y="29857"/>
                      <a:pt x="86297" y="27242"/>
                    </a:cubicBezTo>
                    <a:cubicBezTo>
                      <a:pt x="97917" y="24765"/>
                      <a:pt x="108871" y="21907"/>
                      <a:pt x="118872" y="20098"/>
                    </a:cubicBezTo>
                    <a:cubicBezTo>
                      <a:pt x="127713" y="18343"/>
                      <a:pt x="136722" y="17576"/>
                      <a:pt x="145733" y="17812"/>
                    </a:cubicBezTo>
                    <a:cubicBezTo>
                      <a:pt x="154015" y="18284"/>
                      <a:pt x="162206" y="19788"/>
                      <a:pt x="170117" y="22288"/>
                    </a:cubicBezTo>
                    <a:close/>
                  </a:path>
                </a:pathLst>
              </a:custGeom>
              <a:solidFill>
                <a:srgbClr val="F5F5F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1" name="Полилиния: фигура 170">
                <a:extLst>
                  <a:ext uri="{FF2B5EF4-FFF2-40B4-BE49-F238E27FC236}">
                    <a16:creationId xmlns:a16="http://schemas.microsoft.com/office/drawing/2014/main" id="{1222D500-1A80-4B5A-8B6D-5F2D391CB793}"/>
                  </a:ext>
                </a:extLst>
              </p:cNvPr>
              <p:cNvSpPr/>
              <p:nvPr/>
            </p:nvSpPr>
            <p:spPr>
              <a:xfrm>
                <a:off x="2100272" y="6138932"/>
                <a:ext cx="152400" cy="38100"/>
              </a:xfrm>
              <a:custGeom>
                <a:avLst/>
                <a:gdLst>
                  <a:gd name="connsiteX0" fmla="*/ 7148 w 152400"/>
                  <a:gd name="connsiteY0" fmla="*/ 19431 h 38100"/>
                  <a:gd name="connsiteX1" fmla="*/ 28484 w 152400"/>
                  <a:gd name="connsiteY1" fmla="*/ 17240 h 38100"/>
                  <a:gd name="connsiteX2" fmla="*/ 50772 w 152400"/>
                  <a:gd name="connsiteY2" fmla="*/ 25527 h 38100"/>
                  <a:gd name="connsiteX3" fmla="*/ 79824 w 152400"/>
                  <a:gd name="connsiteY3" fmla="*/ 33528 h 38100"/>
                  <a:gd name="connsiteX4" fmla="*/ 132402 w 152400"/>
                  <a:gd name="connsiteY4" fmla="*/ 21336 h 38100"/>
                  <a:gd name="connsiteX5" fmla="*/ 145451 w 152400"/>
                  <a:gd name="connsiteY5" fmla="*/ 11811 h 38100"/>
                  <a:gd name="connsiteX6" fmla="*/ 149356 w 152400"/>
                  <a:gd name="connsiteY6" fmla="*/ 7144 h 38100"/>
                  <a:gd name="connsiteX7" fmla="*/ 131068 w 152400"/>
                  <a:gd name="connsiteY7" fmla="*/ 19621 h 38100"/>
                  <a:gd name="connsiteX8" fmla="*/ 80109 w 152400"/>
                  <a:gd name="connsiteY8" fmla="*/ 30480 h 38100"/>
                  <a:gd name="connsiteX9" fmla="*/ 28865 w 152400"/>
                  <a:gd name="connsiteY9" fmla="*/ 15240 h 38100"/>
                  <a:gd name="connsiteX10" fmla="*/ 12292 w 152400"/>
                  <a:gd name="connsiteY10" fmla="*/ 16669 h 38100"/>
                  <a:gd name="connsiteX11" fmla="*/ 7148 w 152400"/>
                  <a:gd name="connsiteY11" fmla="*/ 1943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2400" h="38100">
                    <a:moveTo>
                      <a:pt x="7148" y="19431"/>
                    </a:moveTo>
                    <a:cubicBezTo>
                      <a:pt x="13856" y="16489"/>
                      <a:pt x="21318" y="15723"/>
                      <a:pt x="28484" y="17240"/>
                    </a:cubicBezTo>
                    <a:cubicBezTo>
                      <a:pt x="36194" y="19181"/>
                      <a:pt x="43668" y="21960"/>
                      <a:pt x="50772" y="25527"/>
                    </a:cubicBezTo>
                    <a:cubicBezTo>
                      <a:pt x="59884" y="29951"/>
                      <a:pt x="69732" y="32663"/>
                      <a:pt x="79824" y="33528"/>
                    </a:cubicBezTo>
                    <a:cubicBezTo>
                      <a:pt x="98201" y="35170"/>
                      <a:pt x="116623" y="30898"/>
                      <a:pt x="132402" y="21336"/>
                    </a:cubicBezTo>
                    <a:cubicBezTo>
                      <a:pt x="137077" y="18632"/>
                      <a:pt x="141451" y="15439"/>
                      <a:pt x="145451" y="11811"/>
                    </a:cubicBezTo>
                    <a:cubicBezTo>
                      <a:pt x="146948" y="10429"/>
                      <a:pt x="148260" y="8861"/>
                      <a:pt x="149356" y="7144"/>
                    </a:cubicBezTo>
                    <a:cubicBezTo>
                      <a:pt x="143484" y="11622"/>
                      <a:pt x="137380" y="15787"/>
                      <a:pt x="131068" y="19621"/>
                    </a:cubicBezTo>
                    <a:cubicBezTo>
                      <a:pt x="115538" y="28224"/>
                      <a:pt x="97797" y="32004"/>
                      <a:pt x="80109" y="30480"/>
                    </a:cubicBezTo>
                    <a:cubicBezTo>
                      <a:pt x="59250" y="29242"/>
                      <a:pt x="43343" y="16859"/>
                      <a:pt x="28865" y="15240"/>
                    </a:cubicBezTo>
                    <a:cubicBezTo>
                      <a:pt x="23310" y="14265"/>
                      <a:pt x="17597" y="14758"/>
                      <a:pt x="12292" y="16669"/>
                    </a:cubicBezTo>
                    <a:cubicBezTo>
                      <a:pt x="8577" y="17621"/>
                      <a:pt x="7053" y="19240"/>
                      <a:pt x="7148" y="19431"/>
                    </a:cubicBezTo>
                    <a:close/>
                  </a:path>
                </a:pathLst>
              </a:custGeom>
              <a:solidFill>
                <a:srgbClr val="F5F5F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2" name="Полилиния: фигура 171">
                <a:extLst>
                  <a:ext uri="{FF2B5EF4-FFF2-40B4-BE49-F238E27FC236}">
                    <a16:creationId xmlns:a16="http://schemas.microsoft.com/office/drawing/2014/main" id="{C60FC86A-2E72-4ADC-BF75-C2346C44872D}"/>
                  </a:ext>
                </a:extLst>
              </p:cNvPr>
              <p:cNvSpPr/>
              <p:nvPr/>
            </p:nvSpPr>
            <p:spPr>
              <a:xfrm>
                <a:off x="2112849" y="6224657"/>
                <a:ext cx="123825" cy="38100"/>
              </a:xfrm>
              <a:custGeom>
                <a:avLst/>
                <a:gdLst>
                  <a:gd name="connsiteX0" fmla="*/ 7144 w 123825"/>
                  <a:gd name="connsiteY0" fmla="*/ 37814 h 38100"/>
                  <a:gd name="connsiteX1" fmla="*/ 25527 w 123825"/>
                  <a:gd name="connsiteY1" fmla="*/ 34195 h 38100"/>
                  <a:gd name="connsiteX2" fmla="*/ 66199 w 123825"/>
                  <a:gd name="connsiteY2" fmla="*/ 15621 h 38100"/>
                  <a:gd name="connsiteX3" fmla="*/ 89535 w 123825"/>
                  <a:gd name="connsiteY3" fmla="*/ 10763 h 38100"/>
                  <a:gd name="connsiteX4" fmla="*/ 108585 w 123825"/>
                  <a:gd name="connsiteY4" fmla="*/ 15050 h 38100"/>
                  <a:gd name="connsiteX5" fmla="*/ 122206 w 123825"/>
                  <a:gd name="connsiteY5" fmla="*/ 26766 h 38100"/>
                  <a:gd name="connsiteX6" fmla="*/ 120110 w 123825"/>
                  <a:gd name="connsiteY6" fmla="*/ 22098 h 38100"/>
                  <a:gd name="connsiteX7" fmla="*/ 109823 w 123825"/>
                  <a:gd name="connsiteY7" fmla="*/ 12573 h 38100"/>
                  <a:gd name="connsiteX8" fmla="*/ 89916 w 123825"/>
                  <a:gd name="connsiteY8" fmla="*/ 7144 h 38100"/>
                  <a:gd name="connsiteX9" fmla="*/ 65246 w 123825"/>
                  <a:gd name="connsiteY9" fmla="*/ 12002 h 38100"/>
                  <a:gd name="connsiteX10" fmla="*/ 24860 w 123825"/>
                  <a:gd name="connsiteY10" fmla="*/ 31528 h 38100"/>
                  <a:gd name="connsiteX11" fmla="*/ 7144 w 123825"/>
                  <a:gd name="connsiteY11" fmla="*/ 3781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3825" h="38100">
                    <a:moveTo>
                      <a:pt x="7144" y="37814"/>
                    </a:moveTo>
                    <a:cubicBezTo>
                      <a:pt x="13464" y="37985"/>
                      <a:pt x="19743" y="36748"/>
                      <a:pt x="25527" y="34195"/>
                    </a:cubicBezTo>
                    <a:cubicBezTo>
                      <a:pt x="36576" y="30480"/>
                      <a:pt x="50197" y="22003"/>
                      <a:pt x="66199" y="15621"/>
                    </a:cubicBezTo>
                    <a:cubicBezTo>
                      <a:pt x="73623" y="12613"/>
                      <a:pt x="81528" y="10968"/>
                      <a:pt x="89535" y="10763"/>
                    </a:cubicBezTo>
                    <a:cubicBezTo>
                      <a:pt x="96132" y="10687"/>
                      <a:pt x="102656" y="12154"/>
                      <a:pt x="108585" y="15050"/>
                    </a:cubicBezTo>
                    <a:cubicBezTo>
                      <a:pt x="113902" y="17949"/>
                      <a:pt x="118544" y="21942"/>
                      <a:pt x="122206" y="26766"/>
                    </a:cubicBezTo>
                    <a:cubicBezTo>
                      <a:pt x="122206" y="26765"/>
                      <a:pt x="122206" y="24860"/>
                      <a:pt x="120110" y="22098"/>
                    </a:cubicBezTo>
                    <a:cubicBezTo>
                      <a:pt x="117471" y="18165"/>
                      <a:pt x="113948" y="14903"/>
                      <a:pt x="109823" y="12573"/>
                    </a:cubicBezTo>
                    <a:cubicBezTo>
                      <a:pt x="103716" y="9201"/>
                      <a:pt x="96890" y="7339"/>
                      <a:pt x="89916" y="7144"/>
                    </a:cubicBezTo>
                    <a:cubicBezTo>
                      <a:pt x="81459" y="7184"/>
                      <a:pt x="73087" y="8832"/>
                      <a:pt x="65246" y="12002"/>
                    </a:cubicBezTo>
                    <a:cubicBezTo>
                      <a:pt x="48673" y="18574"/>
                      <a:pt x="35433" y="27337"/>
                      <a:pt x="24860" y="31528"/>
                    </a:cubicBezTo>
                    <a:cubicBezTo>
                      <a:pt x="14288" y="35719"/>
                      <a:pt x="7144" y="37814"/>
                      <a:pt x="7144" y="37814"/>
                    </a:cubicBezTo>
                    <a:close/>
                  </a:path>
                </a:pathLst>
              </a:custGeom>
              <a:solidFill>
                <a:srgbClr val="F5F5F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3" name="Полилиния: фигура 172">
                <a:extLst>
                  <a:ext uri="{FF2B5EF4-FFF2-40B4-BE49-F238E27FC236}">
                    <a16:creationId xmlns:a16="http://schemas.microsoft.com/office/drawing/2014/main" id="{761CE78B-E888-4DC4-BB1A-FD75D126C749}"/>
                  </a:ext>
                </a:extLst>
              </p:cNvPr>
              <p:cNvSpPr/>
              <p:nvPr/>
            </p:nvSpPr>
            <p:spPr>
              <a:xfrm>
                <a:off x="2123327" y="6303781"/>
                <a:ext cx="104775" cy="19050"/>
              </a:xfrm>
              <a:custGeom>
                <a:avLst/>
                <a:gdLst>
                  <a:gd name="connsiteX0" fmla="*/ 7144 w 104775"/>
                  <a:gd name="connsiteY0" fmla="*/ 7268 h 19050"/>
                  <a:gd name="connsiteX1" fmla="*/ 21050 w 104775"/>
                  <a:gd name="connsiteY1" fmla="*/ 11744 h 19050"/>
                  <a:gd name="connsiteX2" fmla="*/ 55817 w 104775"/>
                  <a:gd name="connsiteY2" fmla="*/ 17650 h 19050"/>
                  <a:gd name="connsiteX3" fmla="*/ 91059 w 104775"/>
                  <a:gd name="connsiteY3" fmla="*/ 18697 h 19050"/>
                  <a:gd name="connsiteX4" fmla="*/ 105632 w 104775"/>
                  <a:gd name="connsiteY4" fmla="*/ 16983 h 19050"/>
                  <a:gd name="connsiteX5" fmla="*/ 56197 w 104775"/>
                  <a:gd name="connsiteY5" fmla="*/ 14030 h 19050"/>
                  <a:gd name="connsiteX6" fmla="*/ 7144 w 104775"/>
                  <a:gd name="connsiteY6" fmla="*/ 7268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775" h="19050">
                    <a:moveTo>
                      <a:pt x="7144" y="7268"/>
                    </a:moveTo>
                    <a:cubicBezTo>
                      <a:pt x="11517" y="9478"/>
                      <a:pt x="16209" y="10988"/>
                      <a:pt x="21050" y="11744"/>
                    </a:cubicBezTo>
                    <a:cubicBezTo>
                      <a:pt x="32482" y="14544"/>
                      <a:pt x="44101" y="16518"/>
                      <a:pt x="55817" y="17650"/>
                    </a:cubicBezTo>
                    <a:cubicBezTo>
                      <a:pt x="67527" y="18794"/>
                      <a:pt x="79301" y="19144"/>
                      <a:pt x="91059" y="18697"/>
                    </a:cubicBezTo>
                    <a:cubicBezTo>
                      <a:pt x="95969" y="18734"/>
                      <a:pt x="100865" y="18158"/>
                      <a:pt x="105632" y="16983"/>
                    </a:cubicBezTo>
                    <a:cubicBezTo>
                      <a:pt x="105632" y="15840"/>
                      <a:pt x="83344" y="16983"/>
                      <a:pt x="56197" y="14030"/>
                    </a:cubicBezTo>
                    <a:cubicBezTo>
                      <a:pt x="29051" y="11078"/>
                      <a:pt x="7334" y="6315"/>
                      <a:pt x="7144" y="7268"/>
                    </a:cubicBezTo>
                    <a:close/>
                  </a:path>
                </a:pathLst>
              </a:custGeom>
              <a:solidFill>
                <a:srgbClr val="F5F5F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" name="Полилиния: фигура 173">
                <a:extLst>
                  <a:ext uri="{FF2B5EF4-FFF2-40B4-BE49-F238E27FC236}">
                    <a16:creationId xmlns:a16="http://schemas.microsoft.com/office/drawing/2014/main" id="{6DC9A2B3-FB9F-4840-9641-DF427912CE42}"/>
                  </a:ext>
                </a:extLst>
              </p:cNvPr>
              <p:cNvSpPr/>
              <p:nvPr/>
            </p:nvSpPr>
            <p:spPr>
              <a:xfrm>
                <a:off x="4549249" y="3223806"/>
                <a:ext cx="1000125" cy="895350"/>
              </a:xfrm>
              <a:custGeom>
                <a:avLst/>
                <a:gdLst>
                  <a:gd name="connsiteX0" fmla="*/ 7144 w 1000125"/>
                  <a:gd name="connsiteY0" fmla="*/ 7144 h 895350"/>
                  <a:gd name="connsiteX1" fmla="*/ 1000030 w 1000125"/>
                  <a:gd name="connsiteY1" fmla="*/ 7144 h 895350"/>
                  <a:gd name="connsiteX2" fmla="*/ 1000030 w 1000125"/>
                  <a:gd name="connsiteY2" fmla="*/ 895445 h 895350"/>
                  <a:gd name="connsiteX3" fmla="*/ 7144 w 1000125"/>
                  <a:gd name="connsiteY3" fmla="*/ 895445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0125" h="895350">
                    <a:moveTo>
                      <a:pt x="7144" y="7144"/>
                    </a:moveTo>
                    <a:lnTo>
                      <a:pt x="1000030" y="7144"/>
                    </a:lnTo>
                    <a:lnTo>
                      <a:pt x="1000030" y="895445"/>
                    </a:lnTo>
                    <a:lnTo>
                      <a:pt x="7144" y="895445"/>
                    </a:ln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" name="Полилиния: фигура 174">
                <a:extLst>
                  <a:ext uri="{FF2B5EF4-FFF2-40B4-BE49-F238E27FC236}">
                    <a16:creationId xmlns:a16="http://schemas.microsoft.com/office/drawing/2014/main" id="{1AB480BE-07B9-4BCC-99AB-B3165422E8F4}"/>
                  </a:ext>
                </a:extLst>
              </p:cNvPr>
              <p:cNvSpPr/>
              <p:nvPr/>
            </p:nvSpPr>
            <p:spPr>
              <a:xfrm>
                <a:off x="4547058" y="3221234"/>
                <a:ext cx="1009650" cy="904875"/>
              </a:xfrm>
              <a:custGeom>
                <a:avLst/>
                <a:gdLst>
                  <a:gd name="connsiteX0" fmla="*/ 1001935 w 1009650"/>
                  <a:gd name="connsiteY0" fmla="*/ 898112 h 904875"/>
                  <a:gd name="connsiteX1" fmla="*/ 1001935 w 1009650"/>
                  <a:gd name="connsiteY1" fmla="*/ 881634 h 904875"/>
                  <a:gd name="connsiteX2" fmla="*/ 1001935 w 1009650"/>
                  <a:gd name="connsiteY2" fmla="*/ 834009 h 904875"/>
                  <a:gd name="connsiteX3" fmla="*/ 1001363 w 1009650"/>
                  <a:gd name="connsiteY3" fmla="*/ 653701 h 904875"/>
                  <a:gd name="connsiteX4" fmla="*/ 1000220 w 1009650"/>
                  <a:gd name="connsiteY4" fmla="*/ 9811 h 904875"/>
                  <a:gd name="connsiteX5" fmla="*/ 1002506 w 1009650"/>
                  <a:gd name="connsiteY5" fmla="*/ 12097 h 904875"/>
                  <a:gd name="connsiteX6" fmla="*/ 9430 w 1009650"/>
                  <a:gd name="connsiteY6" fmla="*/ 12287 h 904875"/>
                  <a:gd name="connsiteX7" fmla="*/ 9430 w 1009650"/>
                  <a:gd name="connsiteY7" fmla="*/ 12287 h 904875"/>
                  <a:gd name="connsiteX8" fmla="*/ 12097 w 1009650"/>
                  <a:gd name="connsiteY8" fmla="*/ 9620 h 904875"/>
                  <a:gd name="connsiteX9" fmla="*/ 12097 w 1009650"/>
                  <a:gd name="connsiteY9" fmla="*/ 897922 h 904875"/>
                  <a:gd name="connsiteX10" fmla="*/ 9811 w 1009650"/>
                  <a:gd name="connsiteY10" fmla="*/ 895540 h 904875"/>
                  <a:gd name="connsiteX11" fmla="*/ 727900 w 1009650"/>
                  <a:gd name="connsiteY11" fmla="*/ 896779 h 904875"/>
                  <a:gd name="connsiteX12" fmla="*/ 930497 w 1009650"/>
                  <a:gd name="connsiteY12" fmla="*/ 897350 h 904875"/>
                  <a:gd name="connsiteX13" fmla="*/ 984123 w 1009650"/>
                  <a:gd name="connsiteY13" fmla="*/ 897350 h 904875"/>
                  <a:gd name="connsiteX14" fmla="*/ 997934 w 1009650"/>
                  <a:gd name="connsiteY14" fmla="*/ 897350 h 904875"/>
                  <a:gd name="connsiteX15" fmla="*/ 997934 w 1009650"/>
                  <a:gd name="connsiteY15" fmla="*/ 897350 h 904875"/>
                  <a:gd name="connsiteX16" fmla="*/ 984314 w 1009650"/>
                  <a:gd name="connsiteY16" fmla="*/ 897350 h 904875"/>
                  <a:gd name="connsiteX17" fmla="*/ 931164 w 1009650"/>
                  <a:gd name="connsiteY17" fmla="*/ 897350 h 904875"/>
                  <a:gd name="connsiteX18" fmla="*/ 729139 w 1009650"/>
                  <a:gd name="connsiteY18" fmla="*/ 897922 h 904875"/>
                  <a:gd name="connsiteX19" fmla="*/ 9525 w 1009650"/>
                  <a:gd name="connsiteY19" fmla="*/ 899065 h 904875"/>
                  <a:gd name="connsiteX20" fmla="*/ 7144 w 1009650"/>
                  <a:gd name="connsiteY20" fmla="*/ 899065 h 904875"/>
                  <a:gd name="connsiteX21" fmla="*/ 7144 w 1009650"/>
                  <a:gd name="connsiteY21" fmla="*/ 898112 h 904875"/>
                  <a:gd name="connsiteX22" fmla="*/ 7144 w 1009650"/>
                  <a:gd name="connsiteY22" fmla="*/ 9811 h 904875"/>
                  <a:gd name="connsiteX23" fmla="*/ 7144 w 1009650"/>
                  <a:gd name="connsiteY23" fmla="*/ 7144 h 904875"/>
                  <a:gd name="connsiteX24" fmla="*/ 9906 w 1009650"/>
                  <a:gd name="connsiteY24" fmla="*/ 7144 h 904875"/>
                  <a:gd name="connsiteX25" fmla="*/ 1002697 w 1009650"/>
                  <a:gd name="connsiteY25" fmla="*/ 7144 h 904875"/>
                  <a:gd name="connsiteX26" fmla="*/ 1004983 w 1009650"/>
                  <a:gd name="connsiteY26" fmla="*/ 7144 h 904875"/>
                  <a:gd name="connsiteX27" fmla="*/ 1004983 w 1009650"/>
                  <a:gd name="connsiteY27" fmla="*/ 9430 h 904875"/>
                  <a:gd name="connsiteX28" fmla="*/ 1003840 w 1009650"/>
                  <a:gd name="connsiteY28" fmla="*/ 654749 h 904875"/>
                  <a:gd name="connsiteX29" fmla="*/ 1003268 w 1009650"/>
                  <a:gd name="connsiteY29" fmla="*/ 834581 h 904875"/>
                  <a:gd name="connsiteX30" fmla="*/ 1003268 w 1009650"/>
                  <a:gd name="connsiteY30" fmla="*/ 881729 h 904875"/>
                  <a:gd name="connsiteX31" fmla="*/ 1001935 w 1009650"/>
                  <a:gd name="connsiteY31" fmla="*/ 898112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009650" h="904875">
                    <a:moveTo>
                      <a:pt x="1001935" y="898112"/>
                    </a:moveTo>
                    <a:cubicBezTo>
                      <a:pt x="1001935" y="898112"/>
                      <a:pt x="1001935" y="892397"/>
                      <a:pt x="1001935" y="881634"/>
                    </a:cubicBezTo>
                    <a:cubicBezTo>
                      <a:pt x="1001935" y="870871"/>
                      <a:pt x="1001935" y="854774"/>
                      <a:pt x="1001935" y="834009"/>
                    </a:cubicBezTo>
                    <a:cubicBezTo>
                      <a:pt x="1001935" y="792290"/>
                      <a:pt x="1001935" y="731330"/>
                      <a:pt x="1001363" y="653701"/>
                    </a:cubicBezTo>
                    <a:cubicBezTo>
                      <a:pt x="1001363" y="498539"/>
                      <a:pt x="1000697" y="276701"/>
                      <a:pt x="1000220" y="9811"/>
                    </a:cubicBezTo>
                    <a:lnTo>
                      <a:pt x="1002506" y="12097"/>
                    </a:lnTo>
                    <a:lnTo>
                      <a:pt x="9430" y="12287"/>
                    </a:lnTo>
                    <a:lnTo>
                      <a:pt x="9430" y="12287"/>
                    </a:lnTo>
                    <a:lnTo>
                      <a:pt x="12097" y="9620"/>
                    </a:lnTo>
                    <a:cubicBezTo>
                      <a:pt x="12097" y="332803"/>
                      <a:pt x="12097" y="636937"/>
                      <a:pt x="12097" y="897922"/>
                    </a:cubicBezTo>
                    <a:lnTo>
                      <a:pt x="9811" y="895540"/>
                    </a:lnTo>
                    <a:lnTo>
                      <a:pt x="727900" y="896779"/>
                    </a:lnTo>
                    <a:lnTo>
                      <a:pt x="930497" y="897350"/>
                    </a:lnTo>
                    <a:lnTo>
                      <a:pt x="984123" y="897350"/>
                    </a:lnTo>
                    <a:lnTo>
                      <a:pt x="997934" y="897350"/>
                    </a:lnTo>
                    <a:lnTo>
                      <a:pt x="997934" y="897350"/>
                    </a:lnTo>
                    <a:lnTo>
                      <a:pt x="984314" y="897350"/>
                    </a:lnTo>
                    <a:lnTo>
                      <a:pt x="931164" y="897350"/>
                    </a:lnTo>
                    <a:lnTo>
                      <a:pt x="729139" y="897922"/>
                    </a:lnTo>
                    <a:lnTo>
                      <a:pt x="9525" y="899065"/>
                    </a:lnTo>
                    <a:lnTo>
                      <a:pt x="7144" y="899065"/>
                    </a:lnTo>
                    <a:lnTo>
                      <a:pt x="7144" y="898112"/>
                    </a:lnTo>
                    <a:cubicBezTo>
                      <a:pt x="7144" y="637127"/>
                      <a:pt x="7144" y="332994"/>
                      <a:pt x="7144" y="9811"/>
                    </a:cubicBezTo>
                    <a:lnTo>
                      <a:pt x="7144" y="7144"/>
                    </a:lnTo>
                    <a:lnTo>
                      <a:pt x="9906" y="7144"/>
                    </a:lnTo>
                    <a:lnTo>
                      <a:pt x="1002697" y="7144"/>
                    </a:lnTo>
                    <a:lnTo>
                      <a:pt x="1004983" y="7144"/>
                    </a:lnTo>
                    <a:lnTo>
                      <a:pt x="1004983" y="9430"/>
                    </a:lnTo>
                    <a:cubicBezTo>
                      <a:pt x="1004983" y="276892"/>
                      <a:pt x="1004125" y="499205"/>
                      <a:pt x="1003840" y="654749"/>
                    </a:cubicBezTo>
                    <a:cubicBezTo>
                      <a:pt x="1003840" y="732187"/>
                      <a:pt x="1003840" y="792956"/>
                      <a:pt x="1003268" y="834581"/>
                    </a:cubicBezTo>
                    <a:cubicBezTo>
                      <a:pt x="1003268" y="855155"/>
                      <a:pt x="1003268" y="870966"/>
                      <a:pt x="1003268" y="881729"/>
                    </a:cubicBezTo>
                    <a:cubicBezTo>
                      <a:pt x="1003268" y="892493"/>
                      <a:pt x="1001935" y="898112"/>
                      <a:pt x="1001935" y="898112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6" name="Полилиния: фигура 175">
                <a:extLst>
                  <a:ext uri="{FF2B5EF4-FFF2-40B4-BE49-F238E27FC236}">
                    <a16:creationId xmlns:a16="http://schemas.microsoft.com/office/drawing/2014/main" id="{DA0075A0-B663-4A1E-B24E-C221101FFD6F}"/>
                  </a:ext>
                </a:extLst>
              </p:cNvPr>
              <p:cNvSpPr/>
              <p:nvPr/>
            </p:nvSpPr>
            <p:spPr>
              <a:xfrm>
                <a:off x="4696506" y="3378968"/>
                <a:ext cx="247650" cy="19050"/>
              </a:xfrm>
              <a:custGeom>
                <a:avLst/>
                <a:gdLst>
                  <a:gd name="connsiteX0" fmla="*/ 240602 w 247650"/>
                  <a:gd name="connsiteY0" fmla="*/ 9811 h 19050"/>
                  <a:gd name="connsiteX1" fmla="*/ 123825 w 247650"/>
                  <a:gd name="connsiteY1" fmla="*/ 12478 h 19050"/>
                  <a:gd name="connsiteX2" fmla="*/ 7144 w 247650"/>
                  <a:gd name="connsiteY2" fmla="*/ 9811 h 19050"/>
                  <a:gd name="connsiteX3" fmla="*/ 123825 w 247650"/>
                  <a:gd name="connsiteY3" fmla="*/ 7144 h 19050"/>
                  <a:gd name="connsiteX4" fmla="*/ 240602 w 247650"/>
                  <a:gd name="connsiteY4" fmla="*/ 981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7650" h="19050">
                    <a:moveTo>
                      <a:pt x="240602" y="9811"/>
                    </a:moveTo>
                    <a:cubicBezTo>
                      <a:pt x="240602" y="11240"/>
                      <a:pt x="188309" y="12478"/>
                      <a:pt x="123825" y="12478"/>
                    </a:cubicBezTo>
                    <a:cubicBezTo>
                      <a:pt x="59341" y="12478"/>
                      <a:pt x="7144" y="11240"/>
                      <a:pt x="7144" y="9811"/>
                    </a:cubicBezTo>
                    <a:cubicBezTo>
                      <a:pt x="7144" y="8382"/>
                      <a:pt x="59341" y="7144"/>
                      <a:pt x="123825" y="7144"/>
                    </a:cubicBezTo>
                    <a:cubicBezTo>
                      <a:pt x="188309" y="7144"/>
                      <a:pt x="240602" y="8382"/>
                      <a:pt x="240602" y="9811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7" name="Полилиния: фигура 176">
                <a:extLst>
                  <a:ext uri="{FF2B5EF4-FFF2-40B4-BE49-F238E27FC236}">
                    <a16:creationId xmlns:a16="http://schemas.microsoft.com/office/drawing/2014/main" id="{D3D822F8-C932-4E06-B314-12B1638EC32F}"/>
                  </a:ext>
                </a:extLst>
              </p:cNvPr>
              <p:cNvSpPr/>
              <p:nvPr/>
            </p:nvSpPr>
            <p:spPr>
              <a:xfrm>
                <a:off x="4709364" y="3445643"/>
                <a:ext cx="647700" cy="19050"/>
              </a:xfrm>
              <a:custGeom>
                <a:avLst/>
                <a:gdLst>
                  <a:gd name="connsiteX0" fmla="*/ 648462 w 647700"/>
                  <a:gd name="connsiteY0" fmla="*/ 9811 h 19050"/>
                  <a:gd name="connsiteX1" fmla="*/ 327755 w 647700"/>
                  <a:gd name="connsiteY1" fmla="*/ 12478 h 19050"/>
                  <a:gd name="connsiteX2" fmla="*/ 7144 w 647700"/>
                  <a:gd name="connsiteY2" fmla="*/ 9811 h 19050"/>
                  <a:gd name="connsiteX3" fmla="*/ 327755 w 647700"/>
                  <a:gd name="connsiteY3" fmla="*/ 7144 h 19050"/>
                  <a:gd name="connsiteX4" fmla="*/ 648462 w 647700"/>
                  <a:gd name="connsiteY4" fmla="*/ 981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700" h="19050">
                    <a:moveTo>
                      <a:pt x="648462" y="9811"/>
                    </a:moveTo>
                    <a:cubicBezTo>
                      <a:pt x="648462" y="11335"/>
                      <a:pt x="504825" y="12478"/>
                      <a:pt x="327755" y="12478"/>
                    </a:cubicBezTo>
                    <a:cubicBezTo>
                      <a:pt x="150686" y="12478"/>
                      <a:pt x="7144" y="11335"/>
                      <a:pt x="7144" y="9811"/>
                    </a:cubicBezTo>
                    <a:cubicBezTo>
                      <a:pt x="7144" y="8287"/>
                      <a:pt x="150686" y="7144"/>
                      <a:pt x="327755" y="7144"/>
                    </a:cubicBezTo>
                    <a:cubicBezTo>
                      <a:pt x="504825" y="7144"/>
                      <a:pt x="648462" y="8382"/>
                      <a:pt x="648462" y="9811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8" name="Полилиния: фигура 177">
                <a:extLst>
                  <a:ext uri="{FF2B5EF4-FFF2-40B4-BE49-F238E27FC236}">
                    <a16:creationId xmlns:a16="http://schemas.microsoft.com/office/drawing/2014/main" id="{F4A8D39C-4076-47B1-9126-75884C540D1D}"/>
                  </a:ext>
                </a:extLst>
              </p:cNvPr>
              <p:cNvSpPr/>
              <p:nvPr/>
            </p:nvSpPr>
            <p:spPr>
              <a:xfrm>
                <a:off x="4698220" y="3561276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9 h 47625"/>
                  <a:gd name="connsiteX3" fmla="*/ 7144 w 47625"/>
                  <a:gd name="connsiteY3" fmla="*/ 48959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9"/>
                    </a:lnTo>
                    <a:lnTo>
                      <a:pt x="7144" y="48959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9" name="Полилиния: фигура 178">
                <a:extLst>
                  <a:ext uri="{FF2B5EF4-FFF2-40B4-BE49-F238E27FC236}">
                    <a16:creationId xmlns:a16="http://schemas.microsoft.com/office/drawing/2014/main" id="{F5FE4542-18F1-480D-8634-FAA9B4846B59}"/>
                  </a:ext>
                </a:extLst>
              </p:cNvPr>
              <p:cNvSpPr/>
              <p:nvPr/>
            </p:nvSpPr>
            <p:spPr>
              <a:xfrm>
                <a:off x="4801185" y="3561276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9 h 47625"/>
                  <a:gd name="connsiteX3" fmla="*/ 7144 w 47625"/>
                  <a:gd name="connsiteY3" fmla="*/ 48959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9"/>
                    </a:lnTo>
                    <a:lnTo>
                      <a:pt x="7144" y="48959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0" name="Полилиния: фигура 179">
                <a:extLst>
                  <a:ext uri="{FF2B5EF4-FFF2-40B4-BE49-F238E27FC236}">
                    <a16:creationId xmlns:a16="http://schemas.microsoft.com/office/drawing/2014/main" id="{7B181069-4BC5-4E1B-90F6-AF1CB304D972}"/>
                  </a:ext>
                </a:extLst>
              </p:cNvPr>
              <p:cNvSpPr/>
              <p:nvPr/>
            </p:nvSpPr>
            <p:spPr>
              <a:xfrm>
                <a:off x="4906056" y="3559371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9 h 47625"/>
                  <a:gd name="connsiteX3" fmla="*/ 7144 w 47625"/>
                  <a:gd name="connsiteY3" fmla="*/ 48959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9"/>
                    </a:lnTo>
                    <a:lnTo>
                      <a:pt x="7144" y="48959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1" name="Полилиния: фигура 180">
                <a:extLst>
                  <a:ext uri="{FF2B5EF4-FFF2-40B4-BE49-F238E27FC236}">
                    <a16:creationId xmlns:a16="http://schemas.microsoft.com/office/drawing/2014/main" id="{32019CC8-B46F-42A1-ACE0-E7B43595F3F6}"/>
                  </a:ext>
                </a:extLst>
              </p:cNvPr>
              <p:cNvSpPr/>
              <p:nvPr/>
            </p:nvSpPr>
            <p:spPr>
              <a:xfrm>
                <a:off x="5007116" y="3561276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9 h 47625"/>
                  <a:gd name="connsiteX3" fmla="*/ 7144 w 47625"/>
                  <a:gd name="connsiteY3" fmla="*/ 48959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9"/>
                    </a:lnTo>
                    <a:lnTo>
                      <a:pt x="7144" y="48959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2" name="Полилиния: фигура 181">
                <a:extLst>
                  <a:ext uri="{FF2B5EF4-FFF2-40B4-BE49-F238E27FC236}">
                    <a16:creationId xmlns:a16="http://schemas.microsoft.com/office/drawing/2014/main" id="{905F7177-B579-463D-A0DD-24740DC6926A}"/>
                  </a:ext>
                </a:extLst>
              </p:cNvPr>
              <p:cNvSpPr/>
              <p:nvPr/>
            </p:nvSpPr>
            <p:spPr>
              <a:xfrm>
                <a:off x="5110081" y="3561276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8 w 47625"/>
                  <a:gd name="connsiteY1" fmla="*/ 7144 h 47625"/>
                  <a:gd name="connsiteX2" fmla="*/ 48958 w 47625"/>
                  <a:gd name="connsiteY2" fmla="*/ 48959 h 47625"/>
                  <a:gd name="connsiteX3" fmla="*/ 7144 w 47625"/>
                  <a:gd name="connsiteY3" fmla="*/ 48959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8" y="7144"/>
                    </a:lnTo>
                    <a:lnTo>
                      <a:pt x="48958" y="48959"/>
                    </a:lnTo>
                    <a:lnTo>
                      <a:pt x="7144" y="48959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3" name="Полилиния: фигура 182">
                <a:extLst>
                  <a:ext uri="{FF2B5EF4-FFF2-40B4-BE49-F238E27FC236}">
                    <a16:creationId xmlns:a16="http://schemas.microsoft.com/office/drawing/2014/main" id="{86CD80A7-4E19-4A7F-BBF2-913D36390E41}"/>
                  </a:ext>
                </a:extLst>
              </p:cNvPr>
              <p:cNvSpPr/>
              <p:nvPr/>
            </p:nvSpPr>
            <p:spPr>
              <a:xfrm>
                <a:off x="5213046" y="3561276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8 w 47625"/>
                  <a:gd name="connsiteY1" fmla="*/ 7144 h 47625"/>
                  <a:gd name="connsiteX2" fmla="*/ 48958 w 47625"/>
                  <a:gd name="connsiteY2" fmla="*/ 48959 h 47625"/>
                  <a:gd name="connsiteX3" fmla="*/ 7144 w 47625"/>
                  <a:gd name="connsiteY3" fmla="*/ 48959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8" y="7144"/>
                    </a:lnTo>
                    <a:lnTo>
                      <a:pt x="48958" y="48959"/>
                    </a:lnTo>
                    <a:lnTo>
                      <a:pt x="7144" y="48959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4" name="Полилиния: фигура 183">
                <a:extLst>
                  <a:ext uri="{FF2B5EF4-FFF2-40B4-BE49-F238E27FC236}">
                    <a16:creationId xmlns:a16="http://schemas.microsoft.com/office/drawing/2014/main" id="{E152E09F-9FA1-4CE9-8733-D2F7696ECE7B}"/>
                  </a:ext>
                </a:extLst>
              </p:cNvPr>
              <p:cNvSpPr/>
              <p:nvPr/>
            </p:nvSpPr>
            <p:spPr>
              <a:xfrm>
                <a:off x="5316012" y="3561276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8 w 47625"/>
                  <a:gd name="connsiteY1" fmla="*/ 7144 h 47625"/>
                  <a:gd name="connsiteX2" fmla="*/ 48958 w 47625"/>
                  <a:gd name="connsiteY2" fmla="*/ 48959 h 47625"/>
                  <a:gd name="connsiteX3" fmla="*/ 7144 w 47625"/>
                  <a:gd name="connsiteY3" fmla="*/ 48959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8" y="7144"/>
                    </a:lnTo>
                    <a:lnTo>
                      <a:pt x="48958" y="48959"/>
                    </a:lnTo>
                    <a:lnTo>
                      <a:pt x="7144" y="48959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5" name="Полилиния: фигура 184">
                <a:extLst>
                  <a:ext uri="{FF2B5EF4-FFF2-40B4-BE49-F238E27FC236}">
                    <a16:creationId xmlns:a16="http://schemas.microsoft.com/office/drawing/2014/main" id="{E3E512E5-E38A-4498-894F-CA467D881F76}"/>
                  </a:ext>
                </a:extLst>
              </p:cNvPr>
              <p:cNvSpPr/>
              <p:nvPr/>
            </p:nvSpPr>
            <p:spPr>
              <a:xfrm>
                <a:off x="4698220" y="3650240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6" name="Полилиния: фигура 185">
                <a:extLst>
                  <a:ext uri="{FF2B5EF4-FFF2-40B4-BE49-F238E27FC236}">
                    <a16:creationId xmlns:a16="http://schemas.microsoft.com/office/drawing/2014/main" id="{DF61734D-D86C-4757-A6E9-420BD1DEA5F1}"/>
                  </a:ext>
                </a:extLst>
              </p:cNvPr>
              <p:cNvSpPr/>
              <p:nvPr/>
            </p:nvSpPr>
            <p:spPr>
              <a:xfrm>
                <a:off x="4801185" y="3650240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7" name="Полилиния: фигура 186">
                <a:extLst>
                  <a:ext uri="{FF2B5EF4-FFF2-40B4-BE49-F238E27FC236}">
                    <a16:creationId xmlns:a16="http://schemas.microsoft.com/office/drawing/2014/main" id="{1CA3D59B-6F67-4D41-B7DA-D584C3281A7A}"/>
                  </a:ext>
                </a:extLst>
              </p:cNvPr>
              <p:cNvSpPr/>
              <p:nvPr/>
            </p:nvSpPr>
            <p:spPr>
              <a:xfrm>
                <a:off x="4904151" y="3650240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8" name="Полилиния: фигура 187">
                <a:extLst>
                  <a:ext uri="{FF2B5EF4-FFF2-40B4-BE49-F238E27FC236}">
                    <a16:creationId xmlns:a16="http://schemas.microsoft.com/office/drawing/2014/main" id="{4CEEAD75-5293-4E58-AEAA-EBB72A1AF0B8}"/>
                  </a:ext>
                </a:extLst>
              </p:cNvPr>
              <p:cNvSpPr/>
              <p:nvPr/>
            </p:nvSpPr>
            <p:spPr>
              <a:xfrm>
                <a:off x="5007116" y="3650240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9" name="Полилиния: фигура 188">
                <a:extLst>
                  <a:ext uri="{FF2B5EF4-FFF2-40B4-BE49-F238E27FC236}">
                    <a16:creationId xmlns:a16="http://schemas.microsoft.com/office/drawing/2014/main" id="{9E22CE39-BBB7-4DBC-B7D8-B3838B6A65F2}"/>
                  </a:ext>
                </a:extLst>
              </p:cNvPr>
              <p:cNvSpPr/>
              <p:nvPr/>
            </p:nvSpPr>
            <p:spPr>
              <a:xfrm>
                <a:off x="5110081" y="3650240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8 w 47625"/>
                  <a:gd name="connsiteY1" fmla="*/ 7144 h 47625"/>
                  <a:gd name="connsiteX2" fmla="*/ 48958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8" y="7144"/>
                    </a:lnTo>
                    <a:lnTo>
                      <a:pt x="48958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5" name="Полилиния: фигура 194">
                <a:extLst>
                  <a:ext uri="{FF2B5EF4-FFF2-40B4-BE49-F238E27FC236}">
                    <a16:creationId xmlns:a16="http://schemas.microsoft.com/office/drawing/2014/main" id="{A618FD71-E0D1-4F27-88BF-7BDD4F25BE11}"/>
                  </a:ext>
                </a:extLst>
              </p:cNvPr>
              <p:cNvSpPr/>
              <p:nvPr/>
            </p:nvSpPr>
            <p:spPr>
              <a:xfrm>
                <a:off x="5214951" y="3648335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9 h 47625"/>
                  <a:gd name="connsiteX3" fmla="*/ 7144 w 47625"/>
                  <a:gd name="connsiteY3" fmla="*/ 48959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9"/>
                    </a:lnTo>
                    <a:lnTo>
                      <a:pt x="7144" y="48959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6" name="Полилиния: фигура 195">
                <a:extLst>
                  <a:ext uri="{FF2B5EF4-FFF2-40B4-BE49-F238E27FC236}">
                    <a16:creationId xmlns:a16="http://schemas.microsoft.com/office/drawing/2014/main" id="{C821A5C4-7E73-4F84-9B33-07DFF8099037}"/>
                  </a:ext>
                </a:extLst>
              </p:cNvPr>
              <p:cNvSpPr/>
              <p:nvPr/>
            </p:nvSpPr>
            <p:spPr>
              <a:xfrm>
                <a:off x="5316012" y="3650240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8 w 47625"/>
                  <a:gd name="connsiteY1" fmla="*/ 7144 h 47625"/>
                  <a:gd name="connsiteX2" fmla="*/ 48958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8" y="7144"/>
                    </a:lnTo>
                    <a:lnTo>
                      <a:pt x="48958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7" name="Полилиния: фигура 196">
                <a:extLst>
                  <a:ext uri="{FF2B5EF4-FFF2-40B4-BE49-F238E27FC236}">
                    <a16:creationId xmlns:a16="http://schemas.microsoft.com/office/drawing/2014/main" id="{FA547ED2-BE10-40CC-A83C-6A2C5EEDEA1E}"/>
                  </a:ext>
                </a:extLst>
              </p:cNvPr>
              <p:cNvSpPr/>
              <p:nvPr/>
            </p:nvSpPr>
            <p:spPr>
              <a:xfrm>
                <a:off x="4698220" y="3739203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8" name="Полилиния: фигура 197">
                <a:extLst>
                  <a:ext uri="{FF2B5EF4-FFF2-40B4-BE49-F238E27FC236}">
                    <a16:creationId xmlns:a16="http://schemas.microsoft.com/office/drawing/2014/main" id="{26307D8E-3080-4966-9675-B2AF49B483C9}"/>
                  </a:ext>
                </a:extLst>
              </p:cNvPr>
              <p:cNvSpPr/>
              <p:nvPr/>
            </p:nvSpPr>
            <p:spPr>
              <a:xfrm>
                <a:off x="4803090" y="3737298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9" name="Полилиния: фигура 198">
                <a:extLst>
                  <a:ext uri="{FF2B5EF4-FFF2-40B4-BE49-F238E27FC236}">
                    <a16:creationId xmlns:a16="http://schemas.microsoft.com/office/drawing/2014/main" id="{093250BE-B563-4F69-9181-237F0D12810A}"/>
                  </a:ext>
                </a:extLst>
              </p:cNvPr>
              <p:cNvSpPr/>
              <p:nvPr/>
            </p:nvSpPr>
            <p:spPr>
              <a:xfrm>
                <a:off x="4904151" y="3739203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1" name="Полилиния: фигура 200">
                <a:extLst>
                  <a:ext uri="{FF2B5EF4-FFF2-40B4-BE49-F238E27FC236}">
                    <a16:creationId xmlns:a16="http://schemas.microsoft.com/office/drawing/2014/main" id="{1C9CC6EA-59CF-4734-A899-08733EE2F712}"/>
                  </a:ext>
                </a:extLst>
              </p:cNvPr>
              <p:cNvSpPr/>
              <p:nvPr/>
            </p:nvSpPr>
            <p:spPr>
              <a:xfrm>
                <a:off x="5007116" y="3739203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2" name="Полилиния: фигура 201">
                <a:extLst>
                  <a:ext uri="{FF2B5EF4-FFF2-40B4-BE49-F238E27FC236}">
                    <a16:creationId xmlns:a16="http://schemas.microsoft.com/office/drawing/2014/main" id="{FB5BC2EF-B1F3-4183-9765-1FBAD41F3996}"/>
                  </a:ext>
                </a:extLst>
              </p:cNvPr>
              <p:cNvSpPr/>
              <p:nvPr/>
            </p:nvSpPr>
            <p:spPr>
              <a:xfrm>
                <a:off x="5110081" y="3739203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8 w 47625"/>
                  <a:gd name="connsiteY1" fmla="*/ 7144 h 47625"/>
                  <a:gd name="connsiteX2" fmla="*/ 48958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8" y="7144"/>
                    </a:lnTo>
                    <a:lnTo>
                      <a:pt x="48958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3" name="Полилиния: фигура 202">
                <a:extLst>
                  <a:ext uri="{FF2B5EF4-FFF2-40B4-BE49-F238E27FC236}">
                    <a16:creationId xmlns:a16="http://schemas.microsoft.com/office/drawing/2014/main" id="{05F73877-0F0B-4EDF-AC5B-01C61FB229A4}"/>
                  </a:ext>
                </a:extLst>
              </p:cNvPr>
              <p:cNvSpPr/>
              <p:nvPr/>
            </p:nvSpPr>
            <p:spPr>
              <a:xfrm>
                <a:off x="5213046" y="3739203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8 w 47625"/>
                  <a:gd name="connsiteY1" fmla="*/ 7144 h 47625"/>
                  <a:gd name="connsiteX2" fmla="*/ 48958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8" y="7144"/>
                    </a:lnTo>
                    <a:lnTo>
                      <a:pt x="48958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4" name="Полилиния: фигура 203">
                <a:extLst>
                  <a:ext uri="{FF2B5EF4-FFF2-40B4-BE49-F238E27FC236}">
                    <a16:creationId xmlns:a16="http://schemas.microsoft.com/office/drawing/2014/main" id="{63E16BEA-0459-4F5B-ABA5-A0FB1519D3AF}"/>
                  </a:ext>
                </a:extLst>
              </p:cNvPr>
              <p:cNvSpPr/>
              <p:nvPr/>
            </p:nvSpPr>
            <p:spPr>
              <a:xfrm>
                <a:off x="5316012" y="3739203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8 w 47625"/>
                  <a:gd name="connsiteY1" fmla="*/ 7144 h 47625"/>
                  <a:gd name="connsiteX2" fmla="*/ 48958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8" y="7144"/>
                    </a:lnTo>
                    <a:lnTo>
                      <a:pt x="48958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5" name="Полилиния: фигура 204">
                <a:extLst>
                  <a:ext uri="{FF2B5EF4-FFF2-40B4-BE49-F238E27FC236}">
                    <a16:creationId xmlns:a16="http://schemas.microsoft.com/office/drawing/2014/main" id="{D0F793BA-3AF8-4DBA-80D6-C7A9C1500301}"/>
                  </a:ext>
                </a:extLst>
              </p:cNvPr>
              <p:cNvSpPr/>
              <p:nvPr/>
            </p:nvSpPr>
            <p:spPr>
              <a:xfrm>
                <a:off x="4698220" y="3828072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6" name="Полилиния: фигура 205">
                <a:extLst>
                  <a:ext uri="{FF2B5EF4-FFF2-40B4-BE49-F238E27FC236}">
                    <a16:creationId xmlns:a16="http://schemas.microsoft.com/office/drawing/2014/main" id="{C930E704-CF38-4E56-A8CB-E0B7EFF517CD}"/>
                  </a:ext>
                </a:extLst>
              </p:cNvPr>
              <p:cNvSpPr/>
              <p:nvPr/>
            </p:nvSpPr>
            <p:spPr>
              <a:xfrm>
                <a:off x="4801185" y="3828072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7" name="Полилиния: фигура 206">
                <a:extLst>
                  <a:ext uri="{FF2B5EF4-FFF2-40B4-BE49-F238E27FC236}">
                    <a16:creationId xmlns:a16="http://schemas.microsoft.com/office/drawing/2014/main" id="{8F64080E-4450-40EF-9D06-BC82BCF81B2D}"/>
                  </a:ext>
                </a:extLst>
              </p:cNvPr>
              <p:cNvSpPr/>
              <p:nvPr/>
            </p:nvSpPr>
            <p:spPr>
              <a:xfrm>
                <a:off x="4904151" y="3828072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8" name="Полилиния: фигура 207">
                <a:extLst>
                  <a:ext uri="{FF2B5EF4-FFF2-40B4-BE49-F238E27FC236}">
                    <a16:creationId xmlns:a16="http://schemas.microsoft.com/office/drawing/2014/main" id="{D967C3DC-E8C5-49AC-9266-81CA4BA76476}"/>
                  </a:ext>
                </a:extLst>
              </p:cNvPr>
              <p:cNvSpPr/>
              <p:nvPr/>
            </p:nvSpPr>
            <p:spPr>
              <a:xfrm>
                <a:off x="5009021" y="3826167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9 h 47625"/>
                  <a:gd name="connsiteX3" fmla="*/ 7144 w 47625"/>
                  <a:gd name="connsiteY3" fmla="*/ 48959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9"/>
                    </a:lnTo>
                    <a:lnTo>
                      <a:pt x="7144" y="48959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9" name="Полилиния: фигура 208">
                <a:extLst>
                  <a:ext uri="{FF2B5EF4-FFF2-40B4-BE49-F238E27FC236}">
                    <a16:creationId xmlns:a16="http://schemas.microsoft.com/office/drawing/2014/main" id="{100865CB-3478-43F1-B696-8E08D59D1E4F}"/>
                  </a:ext>
                </a:extLst>
              </p:cNvPr>
              <p:cNvSpPr/>
              <p:nvPr/>
            </p:nvSpPr>
            <p:spPr>
              <a:xfrm>
                <a:off x="5110081" y="3828072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8 w 47625"/>
                  <a:gd name="connsiteY1" fmla="*/ 7144 h 47625"/>
                  <a:gd name="connsiteX2" fmla="*/ 48958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8" y="7144"/>
                    </a:lnTo>
                    <a:lnTo>
                      <a:pt x="48958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0" name="Полилиния: фигура 209">
                <a:extLst>
                  <a:ext uri="{FF2B5EF4-FFF2-40B4-BE49-F238E27FC236}">
                    <a16:creationId xmlns:a16="http://schemas.microsoft.com/office/drawing/2014/main" id="{06D714F6-59F1-464F-AFE5-28D23B08D182}"/>
                  </a:ext>
                </a:extLst>
              </p:cNvPr>
              <p:cNvSpPr/>
              <p:nvPr/>
            </p:nvSpPr>
            <p:spPr>
              <a:xfrm>
                <a:off x="5213046" y="3828072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8 w 47625"/>
                  <a:gd name="connsiteY1" fmla="*/ 7144 h 47625"/>
                  <a:gd name="connsiteX2" fmla="*/ 48958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8" y="7144"/>
                    </a:lnTo>
                    <a:lnTo>
                      <a:pt x="48958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1" name="Полилиния: фигура 210">
                <a:extLst>
                  <a:ext uri="{FF2B5EF4-FFF2-40B4-BE49-F238E27FC236}">
                    <a16:creationId xmlns:a16="http://schemas.microsoft.com/office/drawing/2014/main" id="{FAEDF94A-37B7-48E6-921E-8AE331F3D7F1}"/>
                  </a:ext>
                </a:extLst>
              </p:cNvPr>
              <p:cNvSpPr/>
              <p:nvPr/>
            </p:nvSpPr>
            <p:spPr>
              <a:xfrm>
                <a:off x="5316012" y="3828072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8 w 47625"/>
                  <a:gd name="connsiteY1" fmla="*/ 7144 h 47625"/>
                  <a:gd name="connsiteX2" fmla="*/ 48958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8" y="7144"/>
                    </a:lnTo>
                    <a:lnTo>
                      <a:pt x="48958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2" name="Полилиния: фигура 211">
                <a:extLst>
                  <a:ext uri="{FF2B5EF4-FFF2-40B4-BE49-F238E27FC236}">
                    <a16:creationId xmlns:a16="http://schemas.microsoft.com/office/drawing/2014/main" id="{9CC85A4A-B1E6-4DFD-AF44-05A2AB1FEBDF}"/>
                  </a:ext>
                </a:extLst>
              </p:cNvPr>
              <p:cNvSpPr/>
              <p:nvPr/>
            </p:nvSpPr>
            <p:spPr>
              <a:xfrm>
                <a:off x="4698220" y="3917035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3" name="Полилиния: фигура 212">
                <a:extLst>
                  <a:ext uri="{FF2B5EF4-FFF2-40B4-BE49-F238E27FC236}">
                    <a16:creationId xmlns:a16="http://schemas.microsoft.com/office/drawing/2014/main" id="{0303DF1D-7459-44A6-850E-63208AAD3936}"/>
                  </a:ext>
                </a:extLst>
              </p:cNvPr>
              <p:cNvSpPr/>
              <p:nvPr/>
            </p:nvSpPr>
            <p:spPr>
              <a:xfrm>
                <a:off x="4801185" y="3917035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4" name="Полилиния: фигура 213">
                <a:extLst>
                  <a:ext uri="{FF2B5EF4-FFF2-40B4-BE49-F238E27FC236}">
                    <a16:creationId xmlns:a16="http://schemas.microsoft.com/office/drawing/2014/main" id="{8C2CF6AC-1BDE-42B9-8FEF-2CA390CA7454}"/>
                  </a:ext>
                </a:extLst>
              </p:cNvPr>
              <p:cNvSpPr/>
              <p:nvPr/>
            </p:nvSpPr>
            <p:spPr>
              <a:xfrm>
                <a:off x="4904151" y="3917035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5" name="Полилиния: фигура 214">
                <a:extLst>
                  <a:ext uri="{FF2B5EF4-FFF2-40B4-BE49-F238E27FC236}">
                    <a16:creationId xmlns:a16="http://schemas.microsoft.com/office/drawing/2014/main" id="{0E21399F-FA27-4E0D-B468-DC6299122388}"/>
                  </a:ext>
                </a:extLst>
              </p:cNvPr>
              <p:cNvSpPr/>
              <p:nvPr/>
            </p:nvSpPr>
            <p:spPr>
              <a:xfrm>
                <a:off x="5007116" y="3917035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6" name="Полилиния: фигура 215">
                <a:extLst>
                  <a:ext uri="{FF2B5EF4-FFF2-40B4-BE49-F238E27FC236}">
                    <a16:creationId xmlns:a16="http://schemas.microsoft.com/office/drawing/2014/main" id="{F6B1B6E5-C5B4-4F87-8ADD-1947959C5052}"/>
                  </a:ext>
                </a:extLst>
              </p:cNvPr>
              <p:cNvSpPr/>
              <p:nvPr/>
            </p:nvSpPr>
            <p:spPr>
              <a:xfrm>
                <a:off x="5110081" y="3917035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8 w 47625"/>
                  <a:gd name="connsiteY1" fmla="*/ 7144 h 47625"/>
                  <a:gd name="connsiteX2" fmla="*/ 48958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8" y="7144"/>
                    </a:lnTo>
                    <a:lnTo>
                      <a:pt x="48958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7" name="Полилиния: фигура 216">
                <a:extLst>
                  <a:ext uri="{FF2B5EF4-FFF2-40B4-BE49-F238E27FC236}">
                    <a16:creationId xmlns:a16="http://schemas.microsoft.com/office/drawing/2014/main" id="{AC783661-4E95-4CBC-8AA3-ED3C3C67B0B8}"/>
                  </a:ext>
                </a:extLst>
              </p:cNvPr>
              <p:cNvSpPr/>
              <p:nvPr/>
            </p:nvSpPr>
            <p:spPr>
              <a:xfrm>
                <a:off x="5214951" y="3915130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9 w 47625"/>
                  <a:gd name="connsiteY1" fmla="*/ 7144 h 47625"/>
                  <a:gd name="connsiteX2" fmla="*/ 48959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9" y="7144"/>
                    </a:lnTo>
                    <a:lnTo>
                      <a:pt x="48959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8" name="Полилиния: фигура 217">
                <a:extLst>
                  <a:ext uri="{FF2B5EF4-FFF2-40B4-BE49-F238E27FC236}">
                    <a16:creationId xmlns:a16="http://schemas.microsoft.com/office/drawing/2014/main" id="{28831BB8-FABD-4A52-BF8A-5425FDD64605}"/>
                  </a:ext>
                </a:extLst>
              </p:cNvPr>
              <p:cNvSpPr/>
              <p:nvPr/>
            </p:nvSpPr>
            <p:spPr>
              <a:xfrm>
                <a:off x="5316012" y="3917035"/>
                <a:ext cx="47625" cy="47625"/>
              </a:xfrm>
              <a:custGeom>
                <a:avLst/>
                <a:gdLst>
                  <a:gd name="connsiteX0" fmla="*/ 7144 w 47625"/>
                  <a:gd name="connsiteY0" fmla="*/ 7144 h 47625"/>
                  <a:gd name="connsiteX1" fmla="*/ 48958 w 47625"/>
                  <a:gd name="connsiteY1" fmla="*/ 7144 h 47625"/>
                  <a:gd name="connsiteX2" fmla="*/ 48958 w 47625"/>
                  <a:gd name="connsiteY2" fmla="*/ 48958 h 47625"/>
                  <a:gd name="connsiteX3" fmla="*/ 7144 w 47625"/>
                  <a:gd name="connsiteY3" fmla="*/ 4895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47625">
                    <a:moveTo>
                      <a:pt x="7144" y="7144"/>
                    </a:moveTo>
                    <a:lnTo>
                      <a:pt x="48958" y="7144"/>
                    </a:lnTo>
                    <a:lnTo>
                      <a:pt x="48958" y="48958"/>
                    </a:lnTo>
                    <a:lnTo>
                      <a:pt x="7144" y="48958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9" name="Полилиния: фигура 218">
                <a:extLst>
                  <a:ext uri="{FF2B5EF4-FFF2-40B4-BE49-F238E27FC236}">
                    <a16:creationId xmlns:a16="http://schemas.microsoft.com/office/drawing/2014/main" id="{B5EE631C-54FC-4C17-9908-22365A7A11AD}"/>
                  </a:ext>
                </a:extLst>
              </p:cNvPr>
              <p:cNvSpPr/>
              <p:nvPr/>
            </p:nvSpPr>
            <p:spPr>
              <a:xfrm>
                <a:off x="6036006" y="2896431"/>
                <a:ext cx="838200" cy="1390650"/>
              </a:xfrm>
              <a:custGeom>
                <a:avLst/>
                <a:gdLst>
                  <a:gd name="connsiteX0" fmla="*/ 7144 w 838200"/>
                  <a:gd name="connsiteY0" fmla="*/ 7144 h 1390650"/>
                  <a:gd name="connsiteX1" fmla="*/ 838772 w 838200"/>
                  <a:gd name="connsiteY1" fmla="*/ 7144 h 1390650"/>
                  <a:gd name="connsiteX2" fmla="*/ 838772 w 838200"/>
                  <a:gd name="connsiteY2" fmla="*/ 1383697 h 1390650"/>
                  <a:gd name="connsiteX3" fmla="*/ 7144 w 838200"/>
                  <a:gd name="connsiteY3" fmla="*/ 1383697 h 139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8200" h="1390650">
                    <a:moveTo>
                      <a:pt x="7144" y="7144"/>
                    </a:moveTo>
                    <a:lnTo>
                      <a:pt x="838772" y="7144"/>
                    </a:lnTo>
                    <a:lnTo>
                      <a:pt x="838772" y="1383697"/>
                    </a:lnTo>
                    <a:lnTo>
                      <a:pt x="7144" y="1383697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0" name="Полилиния: фигура 219">
                <a:extLst>
                  <a:ext uri="{FF2B5EF4-FFF2-40B4-BE49-F238E27FC236}">
                    <a16:creationId xmlns:a16="http://schemas.microsoft.com/office/drawing/2014/main" id="{D724D145-2939-43A0-A0A6-A00F5713502E}"/>
                  </a:ext>
                </a:extLst>
              </p:cNvPr>
              <p:cNvSpPr/>
              <p:nvPr/>
            </p:nvSpPr>
            <p:spPr>
              <a:xfrm>
                <a:off x="6008384" y="2896431"/>
                <a:ext cx="838200" cy="1390650"/>
              </a:xfrm>
              <a:custGeom>
                <a:avLst/>
                <a:gdLst>
                  <a:gd name="connsiteX0" fmla="*/ 7144 w 838200"/>
                  <a:gd name="connsiteY0" fmla="*/ 7144 h 1390650"/>
                  <a:gd name="connsiteX1" fmla="*/ 838771 w 838200"/>
                  <a:gd name="connsiteY1" fmla="*/ 7144 h 1390650"/>
                  <a:gd name="connsiteX2" fmla="*/ 838771 w 838200"/>
                  <a:gd name="connsiteY2" fmla="*/ 1383697 h 1390650"/>
                  <a:gd name="connsiteX3" fmla="*/ 7144 w 838200"/>
                  <a:gd name="connsiteY3" fmla="*/ 1383697 h 139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8200" h="1390650">
                    <a:moveTo>
                      <a:pt x="7144" y="7144"/>
                    </a:moveTo>
                    <a:lnTo>
                      <a:pt x="838771" y="7144"/>
                    </a:lnTo>
                    <a:lnTo>
                      <a:pt x="838771" y="1383697"/>
                    </a:lnTo>
                    <a:lnTo>
                      <a:pt x="7144" y="1383697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1" name="Полилиния: фигура 220">
                <a:extLst>
                  <a:ext uri="{FF2B5EF4-FFF2-40B4-BE49-F238E27FC236}">
                    <a16:creationId xmlns:a16="http://schemas.microsoft.com/office/drawing/2014/main" id="{6DA7D1B6-1F7B-44A0-9146-45718F62979A}"/>
                  </a:ext>
                </a:extLst>
              </p:cNvPr>
              <p:cNvSpPr/>
              <p:nvPr/>
            </p:nvSpPr>
            <p:spPr>
              <a:xfrm>
                <a:off x="6043817" y="2924340"/>
                <a:ext cx="771525" cy="1333500"/>
              </a:xfrm>
              <a:custGeom>
                <a:avLst/>
                <a:gdLst>
                  <a:gd name="connsiteX0" fmla="*/ 7144 w 771525"/>
                  <a:gd name="connsiteY0" fmla="*/ 7144 h 1333500"/>
                  <a:gd name="connsiteX1" fmla="*/ 767906 w 771525"/>
                  <a:gd name="connsiteY1" fmla="*/ 7144 h 1333500"/>
                  <a:gd name="connsiteX2" fmla="*/ 767906 w 771525"/>
                  <a:gd name="connsiteY2" fmla="*/ 1327880 h 1333500"/>
                  <a:gd name="connsiteX3" fmla="*/ 7144 w 771525"/>
                  <a:gd name="connsiteY3" fmla="*/ 1327880 h 1333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525" h="1333500">
                    <a:moveTo>
                      <a:pt x="7144" y="7144"/>
                    </a:moveTo>
                    <a:lnTo>
                      <a:pt x="767906" y="7144"/>
                    </a:lnTo>
                    <a:lnTo>
                      <a:pt x="767906" y="1327880"/>
                    </a:lnTo>
                    <a:lnTo>
                      <a:pt x="7144" y="1327880"/>
                    </a:ln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2" name="Полилиния: фигура 221">
                <a:extLst>
                  <a:ext uri="{FF2B5EF4-FFF2-40B4-BE49-F238E27FC236}">
                    <a16:creationId xmlns:a16="http://schemas.microsoft.com/office/drawing/2014/main" id="{7C1C0C81-53E1-470B-972B-5889FBF49A19}"/>
                  </a:ext>
                </a:extLst>
              </p:cNvPr>
              <p:cNvSpPr/>
              <p:nvPr/>
            </p:nvSpPr>
            <p:spPr>
              <a:xfrm>
                <a:off x="6188597" y="3095980"/>
                <a:ext cx="476250" cy="990600"/>
              </a:xfrm>
              <a:custGeom>
                <a:avLst/>
                <a:gdLst>
                  <a:gd name="connsiteX0" fmla="*/ 7144 w 476250"/>
                  <a:gd name="connsiteY0" fmla="*/ 7144 h 990600"/>
                  <a:gd name="connsiteX1" fmla="*/ 474917 w 476250"/>
                  <a:gd name="connsiteY1" fmla="*/ 7144 h 990600"/>
                  <a:gd name="connsiteX2" fmla="*/ 474917 w 476250"/>
                  <a:gd name="connsiteY2" fmla="*/ 984599 h 990600"/>
                  <a:gd name="connsiteX3" fmla="*/ 7144 w 476250"/>
                  <a:gd name="connsiteY3" fmla="*/ 984599 h 990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0" h="990600">
                    <a:moveTo>
                      <a:pt x="7144" y="7144"/>
                    </a:moveTo>
                    <a:lnTo>
                      <a:pt x="474917" y="7144"/>
                    </a:lnTo>
                    <a:lnTo>
                      <a:pt x="474917" y="984599"/>
                    </a:lnTo>
                    <a:lnTo>
                      <a:pt x="7144" y="984599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3" name="Полилиния: фигура 222">
                <a:extLst>
                  <a:ext uri="{FF2B5EF4-FFF2-40B4-BE49-F238E27FC236}">
                    <a16:creationId xmlns:a16="http://schemas.microsoft.com/office/drawing/2014/main" id="{73E9A870-F3A2-4FCC-B8C1-C32A7A2678E6}"/>
                  </a:ext>
                </a:extLst>
              </p:cNvPr>
              <p:cNvSpPr/>
              <p:nvPr/>
            </p:nvSpPr>
            <p:spPr>
              <a:xfrm>
                <a:off x="6188587" y="3366966"/>
                <a:ext cx="476250" cy="714375"/>
              </a:xfrm>
              <a:custGeom>
                <a:avLst/>
                <a:gdLst>
                  <a:gd name="connsiteX0" fmla="*/ 7154 w 476250"/>
                  <a:gd name="connsiteY0" fmla="*/ 367760 h 714375"/>
                  <a:gd name="connsiteX1" fmla="*/ 178604 w 476250"/>
                  <a:gd name="connsiteY1" fmla="*/ 174498 h 714375"/>
                  <a:gd name="connsiteX2" fmla="*/ 307857 w 476250"/>
                  <a:gd name="connsiteY2" fmla="*/ 160496 h 714375"/>
                  <a:gd name="connsiteX3" fmla="*/ 475022 w 476250"/>
                  <a:gd name="connsiteY3" fmla="*/ 7144 h 714375"/>
                  <a:gd name="connsiteX4" fmla="*/ 478260 w 476250"/>
                  <a:gd name="connsiteY4" fmla="*/ 713613 h 714375"/>
                  <a:gd name="connsiteX5" fmla="*/ 7154 w 476250"/>
                  <a:gd name="connsiteY5" fmla="*/ 713613 h 714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6250" h="714375">
                    <a:moveTo>
                      <a:pt x="7154" y="367760"/>
                    </a:moveTo>
                    <a:cubicBezTo>
                      <a:pt x="6105" y="276415"/>
                      <a:pt x="88211" y="186785"/>
                      <a:pt x="178604" y="174498"/>
                    </a:cubicBezTo>
                    <a:cubicBezTo>
                      <a:pt x="221752" y="168497"/>
                      <a:pt x="267567" y="176974"/>
                      <a:pt x="307857" y="160496"/>
                    </a:cubicBezTo>
                    <a:cubicBezTo>
                      <a:pt x="379772" y="130969"/>
                      <a:pt x="402631" y="35433"/>
                      <a:pt x="475022" y="7144"/>
                    </a:cubicBezTo>
                    <a:lnTo>
                      <a:pt x="478260" y="713613"/>
                    </a:lnTo>
                    <a:lnTo>
                      <a:pt x="7154" y="713613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4" name="Полилиния: фигура 223">
                <a:extLst>
                  <a:ext uri="{FF2B5EF4-FFF2-40B4-BE49-F238E27FC236}">
                    <a16:creationId xmlns:a16="http://schemas.microsoft.com/office/drawing/2014/main" id="{381552CF-6564-4A3D-AAB1-32F5CAABBFAD}"/>
                  </a:ext>
                </a:extLst>
              </p:cNvPr>
              <p:cNvSpPr/>
              <p:nvPr/>
            </p:nvSpPr>
            <p:spPr>
              <a:xfrm>
                <a:off x="874123" y="5645823"/>
                <a:ext cx="742950" cy="247650"/>
              </a:xfrm>
              <a:custGeom>
                <a:avLst/>
                <a:gdLst>
                  <a:gd name="connsiteX0" fmla="*/ 7144 w 742950"/>
                  <a:gd name="connsiteY0" fmla="*/ 7144 h 247650"/>
                  <a:gd name="connsiteX1" fmla="*/ 7144 w 742950"/>
                  <a:gd name="connsiteY1" fmla="*/ 247174 h 247650"/>
                  <a:gd name="connsiteX2" fmla="*/ 358140 w 742950"/>
                  <a:gd name="connsiteY2" fmla="*/ 247174 h 247650"/>
                  <a:gd name="connsiteX3" fmla="*/ 745236 w 742950"/>
                  <a:gd name="connsiteY3" fmla="*/ 247174 h 247650"/>
                  <a:gd name="connsiteX4" fmla="*/ 745236 w 742950"/>
                  <a:gd name="connsiteY4" fmla="*/ 7144 h 247650"/>
                  <a:gd name="connsiteX5" fmla="*/ 7144 w 742950"/>
                  <a:gd name="connsiteY5" fmla="*/ 7144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2950" h="247650">
                    <a:moveTo>
                      <a:pt x="7144" y="7144"/>
                    </a:moveTo>
                    <a:lnTo>
                      <a:pt x="7144" y="247174"/>
                    </a:lnTo>
                    <a:lnTo>
                      <a:pt x="358140" y="247174"/>
                    </a:lnTo>
                    <a:lnTo>
                      <a:pt x="745236" y="247174"/>
                    </a:lnTo>
                    <a:lnTo>
                      <a:pt x="745236" y="7144"/>
                    </a:lnTo>
                    <a:lnTo>
                      <a:pt x="7144" y="7144"/>
                    </a:lnTo>
                    <a:close/>
                  </a:path>
                </a:pathLst>
              </a:custGeom>
              <a:solidFill>
                <a:srgbClr val="F5F5F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5" name="Полилиния: фигура 224">
                <a:extLst>
                  <a:ext uri="{FF2B5EF4-FFF2-40B4-BE49-F238E27FC236}">
                    <a16:creationId xmlns:a16="http://schemas.microsoft.com/office/drawing/2014/main" id="{FFE52BDD-D8C9-45AB-A4B0-D9B08444287A}"/>
                  </a:ext>
                </a:extLst>
              </p:cNvPr>
              <p:cNvSpPr/>
              <p:nvPr/>
            </p:nvSpPr>
            <p:spPr>
              <a:xfrm>
                <a:off x="843167" y="5578767"/>
                <a:ext cx="800100" cy="76200"/>
              </a:xfrm>
              <a:custGeom>
                <a:avLst/>
                <a:gdLst>
                  <a:gd name="connsiteX0" fmla="*/ 7144 w 800100"/>
                  <a:gd name="connsiteY0" fmla="*/ 7144 h 76200"/>
                  <a:gd name="connsiteX1" fmla="*/ 7144 w 800100"/>
                  <a:gd name="connsiteY1" fmla="*/ 74200 h 76200"/>
                  <a:gd name="connsiteX2" fmla="*/ 801910 w 800100"/>
                  <a:gd name="connsiteY2" fmla="*/ 74200 h 76200"/>
                  <a:gd name="connsiteX3" fmla="*/ 801910 w 800100"/>
                  <a:gd name="connsiteY3" fmla="*/ 7144 h 76200"/>
                  <a:gd name="connsiteX4" fmla="*/ 389096 w 800100"/>
                  <a:gd name="connsiteY4" fmla="*/ 7144 h 76200"/>
                  <a:gd name="connsiteX5" fmla="*/ 7144 w 800100"/>
                  <a:gd name="connsiteY5" fmla="*/ 7144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00100" h="76200">
                    <a:moveTo>
                      <a:pt x="7144" y="7144"/>
                    </a:moveTo>
                    <a:lnTo>
                      <a:pt x="7144" y="74200"/>
                    </a:lnTo>
                    <a:lnTo>
                      <a:pt x="801910" y="74200"/>
                    </a:lnTo>
                    <a:lnTo>
                      <a:pt x="801910" y="7144"/>
                    </a:lnTo>
                    <a:lnTo>
                      <a:pt x="389096" y="7144"/>
                    </a:lnTo>
                    <a:lnTo>
                      <a:pt x="7144" y="7144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6" name="Полилиния: фигура 225">
                <a:extLst>
                  <a:ext uri="{FF2B5EF4-FFF2-40B4-BE49-F238E27FC236}">
                    <a16:creationId xmlns:a16="http://schemas.microsoft.com/office/drawing/2014/main" id="{94C5B5CB-1954-4C07-8FAC-A650BE616A4B}"/>
                  </a:ext>
                </a:extLst>
              </p:cNvPr>
              <p:cNvSpPr/>
              <p:nvPr/>
            </p:nvSpPr>
            <p:spPr>
              <a:xfrm>
                <a:off x="1225119" y="5578767"/>
                <a:ext cx="419100" cy="314325"/>
              </a:xfrm>
              <a:custGeom>
                <a:avLst/>
                <a:gdLst>
                  <a:gd name="connsiteX0" fmla="*/ 22574 w 419100"/>
                  <a:gd name="connsiteY0" fmla="*/ 314230 h 314325"/>
                  <a:gd name="connsiteX1" fmla="*/ 394240 w 419100"/>
                  <a:gd name="connsiteY1" fmla="*/ 314230 h 314325"/>
                  <a:gd name="connsiteX2" fmla="*/ 394240 w 419100"/>
                  <a:gd name="connsiteY2" fmla="*/ 74200 h 314325"/>
                  <a:gd name="connsiteX3" fmla="*/ 419957 w 419100"/>
                  <a:gd name="connsiteY3" fmla="*/ 74200 h 314325"/>
                  <a:gd name="connsiteX4" fmla="*/ 419957 w 419100"/>
                  <a:gd name="connsiteY4" fmla="*/ 7144 h 314325"/>
                  <a:gd name="connsiteX5" fmla="*/ 7144 w 419100"/>
                  <a:gd name="connsiteY5" fmla="*/ 7144 h 314325"/>
                  <a:gd name="connsiteX6" fmla="*/ 7144 w 419100"/>
                  <a:gd name="connsiteY6" fmla="*/ 68008 h 314325"/>
                  <a:gd name="connsiteX7" fmla="*/ 22574 w 419100"/>
                  <a:gd name="connsiteY7" fmla="*/ 31423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9100" h="314325">
                    <a:moveTo>
                      <a:pt x="22574" y="314230"/>
                    </a:moveTo>
                    <a:lnTo>
                      <a:pt x="394240" y="314230"/>
                    </a:lnTo>
                    <a:lnTo>
                      <a:pt x="394240" y="74200"/>
                    </a:lnTo>
                    <a:lnTo>
                      <a:pt x="419957" y="74200"/>
                    </a:lnTo>
                    <a:lnTo>
                      <a:pt x="419957" y="7144"/>
                    </a:lnTo>
                    <a:lnTo>
                      <a:pt x="7144" y="7144"/>
                    </a:lnTo>
                    <a:lnTo>
                      <a:pt x="7144" y="68008"/>
                    </a:lnTo>
                    <a:lnTo>
                      <a:pt x="22574" y="314230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7" name="Полилиния: фигура 226">
                <a:extLst>
                  <a:ext uri="{FF2B5EF4-FFF2-40B4-BE49-F238E27FC236}">
                    <a16:creationId xmlns:a16="http://schemas.microsoft.com/office/drawing/2014/main" id="{D7E11D36-84F8-4FE3-9F17-80E46294D8F1}"/>
                  </a:ext>
                </a:extLst>
              </p:cNvPr>
              <p:cNvSpPr/>
              <p:nvPr/>
            </p:nvSpPr>
            <p:spPr>
              <a:xfrm>
                <a:off x="977374" y="5684494"/>
                <a:ext cx="161925" cy="47625"/>
              </a:xfrm>
              <a:custGeom>
                <a:avLst/>
                <a:gdLst>
                  <a:gd name="connsiteX0" fmla="*/ 7144 w 161925"/>
                  <a:gd name="connsiteY0" fmla="*/ 7144 h 47625"/>
                  <a:gd name="connsiteX1" fmla="*/ 156782 w 161925"/>
                  <a:gd name="connsiteY1" fmla="*/ 7144 h 47625"/>
                  <a:gd name="connsiteX2" fmla="*/ 156782 w 161925"/>
                  <a:gd name="connsiteY2" fmla="*/ 43244 h 47625"/>
                  <a:gd name="connsiteX3" fmla="*/ 7144 w 161925"/>
                  <a:gd name="connsiteY3" fmla="*/ 43244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925" h="47625">
                    <a:moveTo>
                      <a:pt x="7144" y="7144"/>
                    </a:moveTo>
                    <a:lnTo>
                      <a:pt x="156782" y="7144"/>
                    </a:lnTo>
                    <a:lnTo>
                      <a:pt x="156782" y="43244"/>
                    </a:lnTo>
                    <a:lnTo>
                      <a:pt x="7144" y="43244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8" name="Полилиния: фигура 227">
                <a:extLst>
                  <a:ext uri="{FF2B5EF4-FFF2-40B4-BE49-F238E27FC236}">
                    <a16:creationId xmlns:a16="http://schemas.microsoft.com/office/drawing/2014/main" id="{967F69D1-16B2-4884-AFBB-F5AD365F2ECA}"/>
                  </a:ext>
                </a:extLst>
              </p:cNvPr>
              <p:cNvSpPr/>
              <p:nvPr/>
            </p:nvSpPr>
            <p:spPr>
              <a:xfrm>
                <a:off x="958134" y="5765838"/>
                <a:ext cx="200025" cy="85725"/>
              </a:xfrm>
              <a:custGeom>
                <a:avLst/>
                <a:gdLst>
                  <a:gd name="connsiteX0" fmla="*/ 7144 w 200025"/>
                  <a:gd name="connsiteY0" fmla="*/ 7144 h 85725"/>
                  <a:gd name="connsiteX1" fmla="*/ 199358 w 200025"/>
                  <a:gd name="connsiteY1" fmla="*/ 7144 h 85725"/>
                  <a:gd name="connsiteX2" fmla="*/ 199358 w 200025"/>
                  <a:gd name="connsiteY2" fmla="*/ 83439 h 85725"/>
                  <a:gd name="connsiteX3" fmla="*/ 7144 w 200025"/>
                  <a:gd name="connsiteY3" fmla="*/ 83439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0025" h="85725">
                    <a:moveTo>
                      <a:pt x="7144" y="7144"/>
                    </a:moveTo>
                    <a:lnTo>
                      <a:pt x="199358" y="7144"/>
                    </a:lnTo>
                    <a:lnTo>
                      <a:pt x="199358" y="83439"/>
                    </a:lnTo>
                    <a:lnTo>
                      <a:pt x="7144" y="83439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9" name="Полилиния: фигура 228">
                <a:extLst>
                  <a:ext uri="{FF2B5EF4-FFF2-40B4-BE49-F238E27FC236}">
                    <a16:creationId xmlns:a16="http://schemas.microsoft.com/office/drawing/2014/main" id="{C5E57FE7-2A8D-41BC-9C20-ABC119E2EB10}"/>
                  </a:ext>
                </a:extLst>
              </p:cNvPr>
              <p:cNvSpPr/>
              <p:nvPr/>
            </p:nvSpPr>
            <p:spPr>
              <a:xfrm>
                <a:off x="550083" y="3114935"/>
                <a:ext cx="1181100" cy="3295650"/>
              </a:xfrm>
              <a:custGeom>
                <a:avLst/>
                <a:gdLst>
                  <a:gd name="connsiteX0" fmla="*/ 1180052 w 1181100"/>
                  <a:gd name="connsiteY0" fmla="*/ 3293936 h 3295650"/>
                  <a:gd name="connsiteX1" fmla="*/ 1164622 w 1181100"/>
                  <a:gd name="connsiteY1" fmla="*/ 7144 h 3295650"/>
                  <a:gd name="connsiteX2" fmla="*/ 1100995 w 1181100"/>
                  <a:gd name="connsiteY2" fmla="*/ 7144 h 3295650"/>
                  <a:gd name="connsiteX3" fmla="*/ 1100995 w 1181100"/>
                  <a:gd name="connsiteY3" fmla="*/ 654844 h 3295650"/>
                  <a:gd name="connsiteX4" fmla="*/ 936593 w 1181100"/>
                  <a:gd name="connsiteY4" fmla="*/ 654844 h 3295650"/>
                  <a:gd name="connsiteX5" fmla="*/ 933545 w 1181100"/>
                  <a:gd name="connsiteY5" fmla="*/ 7144 h 3295650"/>
                  <a:gd name="connsiteX6" fmla="*/ 869918 w 1181100"/>
                  <a:gd name="connsiteY6" fmla="*/ 7144 h 3295650"/>
                  <a:gd name="connsiteX7" fmla="*/ 869918 w 1181100"/>
                  <a:gd name="connsiteY7" fmla="*/ 654844 h 3295650"/>
                  <a:gd name="connsiteX8" fmla="*/ 304419 w 1181100"/>
                  <a:gd name="connsiteY8" fmla="*/ 654844 h 3295650"/>
                  <a:gd name="connsiteX9" fmla="*/ 301371 w 1181100"/>
                  <a:gd name="connsiteY9" fmla="*/ 7144 h 3295650"/>
                  <a:gd name="connsiteX10" fmla="*/ 237744 w 1181100"/>
                  <a:gd name="connsiteY10" fmla="*/ 7144 h 3295650"/>
                  <a:gd name="connsiteX11" fmla="*/ 237744 w 1181100"/>
                  <a:gd name="connsiteY11" fmla="*/ 654844 h 3295650"/>
                  <a:gd name="connsiteX12" fmla="*/ 73819 w 1181100"/>
                  <a:gd name="connsiteY12" fmla="*/ 654844 h 3295650"/>
                  <a:gd name="connsiteX13" fmla="*/ 70771 w 1181100"/>
                  <a:gd name="connsiteY13" fmla="*/ 7144 h 3295650"/>
                  <a:gd name="connsiteX14" fmla="*/ 7144 w 1181100"/>
                  <a:gd name="connsiteY14" fmla="*/ 7144 h 3295650"/>
                  <a:gd name="connsiteX15" fmla="*/ 7144 w 1181100"/>
                  <a:gd name="connsiteY15" fmla="*/ 3293936 h 3295650"/>
                  <a:gd name="connsiteX16" fmla="*/ 86297 w 1181100"/>
                  <a:gd name="connsiteY16" fmla="*/ 3293936 h 3295650"/>
                  <a:gd name="connsiteX17" fmla="*/ 84011 w 1181100"/>
                  <a:gd name="connsiteY17" fmla="*/ 2852833 h 3295650"/>
                  <a:gd name="connsiteX18" fmla="*/ 237744 w 1181100"/>
                  <a:gd name="connsiteY18" fmla="*/ 2852833 h 3295650"/>
                  <a:gd name="connsiteX19" fmla="*/ 237744 w 1181100"/>
                  <a:gd name="connsiteY19" fmla="*/ 3293936 h 3295650"/>
                  <a:gd name="connsiteX20" fmla="*/ 316897 w 1181100"/>
                  <a:gd name="connsiteY20" fmla="*/ 3293936 h 3295650"/>
                  <a:gd name="connsiteX21" fmla="*/ 314801 w 1181100"/>
                  <a:gd name="connsiteY21" fmla="*/ 2852833 h 3295650"/>
                  <a:gd name="connsiteX22" fmla="*/ 869918 w 1181100"/>
                  <a:gd name="connsiteY22" fmla="*/ 2852833 h 3295650"/>
                  <a:gd name="connsiteX23" fmla="*/ 869918 w 1181100"/>
                  <a:gd name="connsiteY23" fmla="*/ 3293936 h 3295650"/>
                  <a:gd name="connsiteX24" fmla="*/ 949071 w 1181100"/>
                  <a:gd name="connsiteY24" fmla="*/ 3293936 h 3295650"/>
                  <a:gd name="connsiteX25" fmla="*/ 946976 w 1181100"/>
                  <a:gd name="connsiteY25" fmla="*/ 2852833 h 3295650"/>
                  <a:gd name="connsiteX26" fmla="*/ 1100995 w 1181100"/>
                  <a:gd name="connsiteY26" fmla="*/ 2852833 h 3295650"/>
                  <a:gd name="connsiteX27" fmla="*/ 1100995 w 1181100"/>
                  <a:gd name="connsiteY27" fmla="*/ 3293936 h 3295650"/>
                  <a:gd name="connsiteX28" fmla="*/ 156781 w 1181100"/>
                  <a:gd name="connsiteY28" fmla="*/ 2417636 h 3295650"/>
                  <a:gd name="connsiteX29" fmla="*/ 99631 w 1181100"/>
                  <a:gd name="connsiteY29" fmla="*/ 2174081 h 3295650"/>
                  <a:gd name="connsiteX30" fmla="*/ 216694 w 1181100"/>
                  <a:gd name="connsiteY30" fmla="*/ 2174081 h 3295650"/>
                  <a:gd name="connsiteX31" fmla="*/ 237744 w 1181100"/>
                  <a:gd name="connsiteY31" fmla="*/ 2189036 h 3295650"/>
                  <a:gd name="connsiteX32" fmla="*/ 237744 w 1181100"/>
                  <a:gd name="connsiteY32" fmla="*/ 2764536 h 3295650"/>
                  <a:gd name="connsiteX33" fmla="*/ 168878 w 1181100"/>
                  <a:gd name="connsiteY33" fmla="*/ 2469261 h 3295650"/>
                  <a:gd name="connsiteX34" fmla="*/ 237744 w 1181100"/>
                  <a:gd name="connsiteY34" fmla="*/ 1352550 h 3295650"/>
                  <a:gd name="connsiteX35" fmla="*/ 168878 w 1181100"/>
                  <a:gd name="connsiteY35" fmla="*/ 1057275 h 3295650"/>
                  <a:gd name="connsiteX36" fmla="*/ 237744 w 1181100"/>
                  <a:gd name="connsiteY36" fmla="*/ 776954 h 3295650"/>
                  <a:gd name="connsiteX37" fmla="*/ 225361 w 1181100"/>
                  <a:gd name="connsiteY37" fmla="*/ 1405414 h 3295650"/>
                  <a:gd name="connsiteX38" fmla="*/ 83344 w 1181100"/>
                  <a:gd name="connsiteY38" fmla="*/ 1405414 h 3295650"/>
                  <a:gd name="connsiteX39" fmla="*/ 156210 w 1181100"/>
                  <a:gd name="connsiteY39" fmla="*/ 1108901 h 3295650"/>
                  <a:gd name="connsiteX40" fmla="*/ 156781 w 1181100"/>
                  <a:gd name="connsiteY40" fmla="*/ 1005364 h 3295650"/>
                  <a:gd name="connsiteX41" fmla="*/ 91630 w 1181100"/>
                  <a:gd name="connsiteY41" fmla="*/ 726281 h 3295650"/>
                  <a:gd name="connsiteX42" fmla="*/ 224981 w 1181100"/>
                  <a:gd name="connsiteY42" fmla="*/ 726281 h 3295650"/>
                  <a:gd name="connsiteX43" fmla="*/ 144113 w 1181100"/>
                  <a:gd name="connsiteY43" fmla="*/ 1056894 h 3295650"/>
                  <a:gd name="connsiteX44" fmla="*/ 77438 w 1181100"/>
                  <a:gd name="connsiteY44" fmla="*/ 1330071 h 3295650"/>
                  <a:gd name="connsiteX45" fmla="*/ 74486 w 1181100"/>
                  <a:gd name="connsiteY45" fmla="*/ 757523 h 3295650"/>
                  <a:gd name="connsiteX46" fmla="*/ 81153 w 1181100"/>
                  <a:gd name="connsiteY46" fmla="*/ 2198656 h 3295650"/>
                  <a:gd name="connsiteX47" fmla="*/ 144113 w 1181100"/>
                  <a:gd name="connsiteY47" fmla="*/ 2468785 h 3295650"/>
                  <a:gd name="connsiteX48" fmla="*/ 84011 w 1181100"/>
                  <a:gd name="connsiteY48" fmla="*/ 2715292 h 3295650"/>
                  <a:gd name="connsiteX49" fmla="*/ 156210 w 1181100"/>
                  <a:gd name="connsiteY49" fmla="*/ 2520410 h 3295650"/>
                  <a:gd name="connsiteX50" fmla="*/ 217361 w 1181100"/>
                  <a:gd name="connsiteY50" fmla="*/ 2780919 h 3295650"/>
                  <a:gd name="connsiteX51" fmla="*/ 92107 w 1181100"/>
                  <a:gd name="connsiteY51" fmla="*/ 2780919 h 3295650"/>
                  <a:gd name="connsiteX52" fmla="*/ 83153 w 1181100"/>
                  <a:gd name="connsiteY52" fmla="*/ 2101882 h 3295650"/>
                  <a:gd name="connsiteX53" fmla="*/ 83153 w 1181100"/>
                  <a:gd name="connsiteY53" fmla="*/ 2099596 h 3295650"/>
                  <a:gd name="connsiteX54" fmla="*/ 81153 w 1181100"/>
                  <a:gd name="connsiteY54" fmla="*/ 2099596 h 3295650"/>
                  <a:gd name="connsiteX55" fmla="*/ 78200 w 1181100"/>
                  <a:gd name="connsiteY55" fmla="*/ 1476280 h 3295650"/>
                  <a:gd name="connsiteX56" fmla="*/ 238220 w 1181100"/>
                  <a:gd name="connsiteY56" fmla="*/ 1476280 h 3295650"/>
                  <a:gd name="connsiteX57" fmla="*/ 238220 w 1181100"/>
                  <a:gd name="connsiteY57" fmla="*/ 2101406 h 3295650"/>
                  <a:gd name="connsiteX58" fmla="*/ 308324 w 1181100"/>
                  <a:gd name="connsiteY58" fmla="*/ 1476756 h 3295650"/>
                  <a:gd name="connsiteX59" fmla="*/ 870299 w 1181100"/>
                  <a:gd name="connsiteY59" fmla="*/ 1476756 h 3295650"/>
                  <a:gd name="connsiteX60" fmla="*/ 870299 w 1181100"/>
                  <a:gd name="connsiteY60" fmla="*/ 2101882 h 3295650"/>
                  <a:gd name="connsiteX61" fmla="*/ 311277 w 1181100"/>
                  <a:gd name="connsiteY61" fmla="*/ 2101882 h 3295650"/>
                  <a:gd name="connsiteX62" fmla="*/ 1014984 w 1181100"/>
                  <a:gd name="connsiteY62" fmla="*/ 1108424 h 3295650"/>
                  <a:gd name="connsiteX63" fmla="*/ 1084136 w 1181100"/>
                  <a:gd name="connsiteY63" fmla="*/ 1404938 h 3295650"/>
                  <a:gd name="connsiteX64" fmla="*/ 942118 w 1181100"/>
                  <a:gd name="connsiteY64" fmla="*/ 1404938 h 3295650"/>
                  <a:gd name="connsiteX65" fmla="*/ 939641 w 1181100"/>
                  <a:gd name="connsiteY65" fmla="*/ 1314069 h 3295650"/>
                  <a:gd name="connsiteX66" fmla="*/ 937165 w 1181100"/>
                  <a:gd name="connsiteY66" fmla="*/ 774954 h 3295650"/>
                  <a:gd name="connsiteX67" fmla="*/ 1002887 w 1181100"/>
                  <a:gd name="connsiteY67" fmla="*/ 1056799 h 3295650"/>
                  <a:gd name="connsiteX68" fmla="*/ 1100995 w 1181100"/>
                  <a:gd name="connsiteY68" fmla="*/ 1371219 h 3295650"/>
                  <a:gd name="connsiteX69" fmla="*/ 1027652 w 1181100"/>
                  <a:gd name="connsiteY69" fmla="*/ 1056894 h 3295650"/>
                  <a:gd name="connsiteX70" fmla="*/ 1100995 w 1181100"/>
                  <a:gd name="connsiteY70" fmla="*/ 758476 h 3295650"/>
                  <a:gd name="connsiteX71" fmla="*/ 1100995 w 1181100"/>
                  <a:gd name="connsiteY71" fmla="*/ 1403985 h 3295650"/>
                  <a:gd name="connsiteX72" fmla="*/ 1100995 w 1181100"/>
                  <a:gd name="connsiteY72" fmla="*/ 1405033 h 3295650"/>
                  <a:gd name="connsiteX73" fmla="*/ 1096518 w 1181100"/>
                  <a:gd name="connsiteY73" fmla="*/ 1405033 h 3295650"/>
                  <a:gd name="connsiteX74" fmla="*/ 1100995 w 1181100"/>
                  <a:gd name="connsiteY74" fmla="*/ 2205704 h 3295650"/>
                  <a:gd name="connsiteX75" fmla="*/ 1100995 w 1181100"/>
                  <a:gd name="connsiteY75" fmla="*/ 2746153 h 3295650"/>
                  <a:gd name="connsiteX76" fmla="*/ 1036225 w 1181100"/>
                  <a:gd name="connsiteY76" fmla="*/ 2468975 h 3295650"/>
                  <a:gd name="connsiteX77" fmla="*/ 1024223 w 1181100"/>
                  <a:gd name="connsiteY77" fmla="*/ 2417350 h 3295650"/>
                  <a:gd name="connsiteX78" fmla="*/ 967073 w 1181100"/>
                  <a:gd name="connsiteY78" fmla="*/ 2173795 h 3295650"/>
                  <a:gd name="connsiteX79" fmla="*/ 1084136 w 1181100"/>
                  <a:gd name="connsiteY79" fmla="*/ 2173795 h 3295650"/>
                  <a:gd name="connsiteX80" fmla="*/ 1015556 w 1181100"/>
                  <a:gd name="connsiteY80" fmla="*/ 1005364 h 3295650"/>
                  <a:gd name="connsiteX81" fmla="*/ 950786 w 1181100"/>
                  <a:gd name="connsiteY81" fmla="*/ 726281 h 3295650"/>
                  <a:gd name="connsiteX82" fmla="*/ 1084136 w 1181100"/>
                  <a:gd name="connsiteY82" fmla="*/ 726281 h 3295650"/>
                  <a:gd name="connsiteX83" fmla="*/ 1101281 w 1181100"/>
                  <a:gd name="connsiteY83" fmla="*/ 1476851 h 3295650"/>
                  <a:gd name="connsiteX84" fmla="*/ 1101281 w 1181100"/>
                  <a:gd name="connsiteY84" fmla="*/ 2101977 h 3295650"/>
                  <a:gd name="connsiteX85" fmla="*/ 950786 w 1181100"/>
                  <a:gd name="connsiteY85" fmla="*/ 2101977 h 3295650"/>
                  <a:gd name="connsiteX86" fmla="*/ 950214 w 1181100"/>
                  <a:gd name="connsiteY86" fmla="*/ 2099691 h 3295650"/>
                  <a:gd name="connsiteX87" fmla="*/ 943642 w 1181100"/>
                  <a:gd name="connsiteY87" fmla="*/ 2101215 h 3295650"/>
                  <a:gd name="connsiteX88" fmla="*/ 940689 w 1181100"/>
                  <a:gd name="connsiteY88" fmla="*/ 1476851 h 3295650"/>
                  <a:gd name="connsiteX89" fmla="*/ 1011841 w 1181100"/>
                  <a:gd name="connsiteY89" fmla="*/ 2468880 h 3295650"/>
                  <a:gd name="connsiteX90" fmla="*/ 946690 w 1181100"/>
                  <a:gd name="connsiteY90" fmla="*/ 2734056 h 3295650"/>
                  <a:gd name="connsiteX91" fmla="*/ 944023 w 1181100"/>
                  <a:gd name="connsiteY91" fmla="*/ 2178368 h 3295650"/>
                  <a:gd name="connsiteX92" fmla="*/ 1023842 w 1181100"/>
                  <a:gd name="connsiteY92" fmla="*/ 2520506 h 3295650"/>
                  <a:gd name="connsiteX93" fmla="*/ 1084136 w 1181100"/>
                  <a:gd name="connsiteY93" fmla="*/ 2780919 h 3295650"/>
                  <a:gd name="connsiteX94" fmla="*/ 959549 w 1181100"/>
                  <a:gd name="connsiteY94" fmla="*/ 2780919 h 3295650"/>
                  <a:gd name="connsiteX95" fmla="*/ 869918 w 1181100"/>
                  <a:gd name="connsiteY95" fmla="*/ 726281 h 3295650"/>
                  <a:gd name="connsiteX96" fmla="*/ 869918 w 1181100"/>
                  <a:gd name="connsiteY96" fmla="*/ 1404938 h 3295650"/>
                  <a:gd name="connsiteX97" fmla="*/ 307943 w 1181100"/>
                  <a:gd name="connsiteY97" fmla="*/ 1404938 h 3295650"/>
                  <a:gd name="connsiteX98" fmla="*/ 304705 w 1181100"/>
                  <a:gd name="connsiteY98" fmla="*/ 726281 h 3295650"/>
                  <a:gd name="connsiteX99" fmla="*/ 324612 w 1181100"/>
                  <a:gd name="connsiteY99" fmla="*/ 2780919 h 3295650"/>
                  <a:gd name="connsiteX100" fmla="*/ 314420 w 1181100"/>
                  <a:gd name="connsiteY100" fmla="*/ 2780919 h 3295650"/>
                  <a:gd name="connsiteX101" fmla="*/ 311563 w 1181100"/>
                  <a:gd name="connsiteY101" fmla="*/ 2173700 h 3295650"/>
                  <a:gd name="connsiteX102" fmla="*/ 869918 w 1181100"/>
                  <a:gd name="connsiteY102" fmla="*/ 2173700 h 3295650"/>
                  <a:gd name="connsiteX103" fmla="*/ 869918 w 1181100"/>
                  <a:gd name="connsiteY103" fmla="*/ 2780919 h 3295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1181100" h="3295650">
                    <a:moveTo>
                      <a:pt x="1180052" y="3293936"/>
                    </a:moveTo>
                    <a:lnTo>
                      <a:pt x="1164622" y="7144"/>
                    </a:lnTo>
                    <a:lnTo>
                      <a:pt x="1100995" y="7144"/>
                    </a:lnTo>
                    <a:lnTo>
                      <a:pt x="1100995" y="654844"/>
                    </a:lnTo>
                    <a:lnTo>
                      <a:pt x="936593" y="654844"/>
                    </a:lnTo>
                    <a:lnTo>
                      <a:pt x="933545" y="7144"/>
                    </a:lnTo>
                    <a:lnTo>
                      <a:pt x="869918" y="7144"/>
                    </a:lnTo>
                    <a:lnTo>
                      <a:pt x="869918" y="654844"/>
                    </a:lnTo>
                    <a:lnTo>
                      <a:pt x="304419" y="654844"/>
                    </a:lnTo>
                    <a:lnTo>
                      <a:pt x="301371" y="7144"/>
                    </a:lnTo>
                    <a:lnTo>
                      <a:pt x="237744" y="7144"/>
                    </a:lnTo>
                    <a:lnTo>
                      <a:pt x="237744" y="654844"/>
                    </a:lnTo>
                    <a:lnTo>
                      <a:pt x="73819" y="654844"/>
                    </a:lnTo>
                    <a:lnTo>
                      <a:pt x="70771" y="7144"/>
                    </a:lnTo>
                    <a:lnTo>
                      <a:pt x="7144" y="7144"/>
                    </a:lnTo>
                    <a:lnTo>
                      <a:pt x="7144" y="3293936"/>
                    </a:lnTo>
                    <a:lnTo>
                      <a:pt x="86297" y="3293936"/>
                    </a:lnTo>
                    <a:lnTo>
                      <a:pt x="84011" y="2852833"/>
                    </a:lnTo>
                    <a:lnTo>
                      <a:pt x="237744" y="2852833"/>
                    </a:lnTo>
                    <a:lnTo>
                      <a:pt x="237744" y="3293936"/>
                    </a:lnTo>
                    <a:lnTo>
                      <a:pt x="316897" y="3293936"/>
                    </a:lnTo>
                    <a:lnTo>
                      <a:pt x="314801" y="2852833"/>
                    </a:lnTo>
                    <a:lnTo>
                      <a:pt x="869918" y="2852833"/>
                    </a:lnTo>
                    <a:lnTo>
                      <a:pt x="869918" y="3293936"/>
                    </a:lnTo>
                    <a:lnTo>
                      <a:pt x="949071" y="3293936"/>
                    </a:lnTo>
                    <a:lnTo>
                      <a:pt x="946976" y="2852833"/>
                    </a:lnTo>
                    <a:lnTo>
                      <a:pt x="1100995" y="2852833"/>
                    </a:lnTo>
                    <a:lnTo>
                      <a:pt x="1100995" y="3293936"/>
                    </a:lnTo>
                    <a:close/>
                    <a:moveTo>
                      <a:pt x="156781" y="2417636"/>
                    </a:moveTo>
                    <a:lnTo>
                      <a:pt x="99631" y="2174081"/>
                    </a:lnTo>
                    <a:lnTo>
                      <a:pt x="216694" y="2174081"/>
                    </a:lnTo>
                    <a:close/>
                    <a:moveTo>
                      <a:pt x="237744" y="2189036"/>
                    </a:moveTo>
                    <a:lnTo>
                      <a:pt x="237744" y="2764536"/>
                    </a:lnTo>
                    <a:lnTo>
                      <a:pt x="168878" y="2469261"/>
                    </a:lnTo>
                    <a:close/>
                    <a:moveTo>
                      <a:pt x="237744" y="1352550"/>
                    </a:moveTo>
                    <a:lnTo>
                      <a:pt x="168878" y="1057275"/>
                    </a:lnTo>
                    <a:lnTo>
                      <a:pt x="237744" y="776954"/>
                    </a:lnTo>
                    <a:close/>
                    <a:moveTo>
                      <a:pt x="225361" y="1405414"/>
                    </a:moveTo>
                    <a:lnTo>
                      <a:pt x="83344" y="1405414"/>
                    </a:lnTo>
                    <a:lnTo>
                      <a:pt x="156210" y="1108901"/>
                    </a:lnTo>
                    <a:close/>
                    <a:moveTo>
                      <a:pt x="156781" y="1005364"/>
                    </a:moveTo>
                    <a:lnTo>
                      <a:pt x="91630" y="726281"/>
                    </a:lnTo>
                    <a:lnTo>
                      <a:pt x="224981" y="726281"/>
                    </a:lnTo>
                    <a:close/>
                    <a:moveTo>
                      <a:pt x="144113" y="1056894"/>
                    </a:moveTo>
                    <a:lnTo>
                      <a:pt x="77438" y="1330071"/>
                    </a:lnTo>
                    <a:lnTo>
                      <a:pt x="74486" y="757523"/>
                    </a:lnTo>
                    <a:close/>
                    <a:moveTo>
                      <a:pt x="81153" y="2198656"/>
                    </a:moveTo>
                    <a:lnTo>
                      <a:pt x="144113" y="2468785"/>
                    </a:lnTo>
                    <a:lnTo>
                      <a:pt x="84011" y="2715292"/>
                    </a:lnTo>
                    <a:close/>
                    <a:moveTo>
                      <a:pt x="156210" y="2520410"/>
                    </a:moveTo>
                    <a:lnTo>
                      <a:pt x="217361" y="2780919"/>
                    </a:lnTo>
                    <a:lnTo>
                      <a:pt x="92107" y="2780919"/>
                    </a:lnTo>
                    <a:close/>
                    <a:moveTo>
                      <a:pt x="83153" y="2101882"/>
                    </a:moveTo>
                    <a:lnTo>
                      <a:pt x="83153" y="2099596"/>
                    </a:lnTo>
                    <a:lnTo>
                      <a:pt x="81153" y="2099596"/>
                    </a:lnTo>
                    <a:lnTo>
                      <a:pt x="78200" y="1476280"/>
                    </a:lnTo>
                    <a:lnTo>
                      <a:pt x="238220" y="1476280"/>
                    </a:lnTo>
                    <a:lnTo>
                      <a:pt x="238220" y="2101406"/>
                    </a:lnTo>
                    <a:close/>
                    <a:moveTo>
                      <a:pt x="308324" y="1476756"/>
                    </a:moveTo>
                    <a:lnTo>
                      <a:pt x="870299" y="1476756"/>
                    </a:lnTo>
                    <a:lnTo>
                      <a:pt x="870299" y="2101882"/>
                    </a:lnTo>
                    <a:lnTo>
                      <a:pt x="311277" y="2101882"/>
                    </a:lnTo>
                    <a:close/>
                    <a:moveTo>
                      <a:pt x="1014984" y="1108424"/>
                    </a:moveTo>
                    <a:lnTo>
                      <a:pt x="1084136" y="1404938"/>
                    </a:lnTo>
                    <a:lnTo>
                      <a:pt x="942118" y="1404938"/>
                    </a:lnTo>
                    <a:close/>
                    <a:moveTo>
                      <a:pt x="939641" y="1314069"/>
                    </a:moveTo>
                    <a:lnTo>
                      <a:pt x="937165" y="774954"/>
                    </a:lnTo>
                    <a:lnTo>
                      <a:pt x="1002887" y="1056799"/>
                    </a:lnTo>
                    <a:close/>
                    <a:moveTo>
                      <a:pt x="1100995" y="1371219"/>
                    </a:moveTo>
                    <a:lnTo>
                      <a:pt x="1027652" y="1056894"/>
                    </a:lnTo>
                    <a:lnTo>
                      <a:pt x="1100995" y="758476"/>
                    </a:lnTo>
                    <a:close/>
                    <a:moveTo>
                      <a:pt x="1100995" y="1403985"/>
                    </a:moveTo>
                    <a:lnTo>
                      <a:pt x="1100995" y="1405033"/>
                    </a:lnTo>
                    <a:lnTo>
                      <a:pt x="1096518" y="1405033"/>
                    </a:lnTo>
                    <a:close/>
                    <a:moveTo>
                      <a:pt x="1100995" y="2205704"/>
                    </a:moveTo>
                    <a:lnTo>
                      <a:pt x="1100995" y="2746153"/>
                    </a:lnTo>
                    <a:lnTo>
                      <a:pt x="1036225" y="2468975"/>
                    </a:lnTo>
                    <a:close/>
                    <a:moveTo>
                      <a:pt x="1024223" y="2417350"/>
                    </a:moveTo>
                    <a:lnTo>
                      <a:pt x="967073" y="2173795"/>
                    </a:lnTo>
                    <a:lnTo>
                      <a:pt x="1084136" y="2173795"/>
                    </a:lnTo>
                    <a:close/>
                    <a:moveTo>
                      <a:pt x="1015556" y="1005364"/>
                    </a:moveTo>
                    <a:lnTo>
                      <a:pt x="950786" y="726281"/>
                    </a:lnTo>
                    <a:lnTo>
                      <a:pt x="1084136" y="726281"/>
                    </a:lnTo>
                    <a:close/>
                    <a:moveTo>
                      <a:pt x="1101281" y="1476851"/>
                    </a:moveTo>
                    <a:lnTo>
                      <a:pt x="1101281" y="2101977"/>
                    </a:lnTo>
                    <a:lnTo>
                      <a:pt x="950786" y="2101977"/>
                    </a:lnTo>
                    <a:lnTo>
                      <a:pt x="950214" y="2099691"/>
                    </a:lnTo>
                    <a:lnTo>
                      <a:pt x="943642" y="2101215"/>
                    </a:lnTo>
                    <a:lnTo>
                      <a:pt x="940689" y="1476851"/>
                    </a:lnTo>
                    <a:close/>
                    <a:moveTo>
                      <a:pt x="1011841" y="2468880"/>
                    </a:moveTo>
                    <a:lnTo>
                      <a:pt x="946690" y="2734056"/>
                    </a:lnTo>
                    <a:lnTo>
                      <a:pt x="944023" y="2178368"/>
                    </a:lnTo>
                    <a:close/>
                    <a:moveTo>
                      <a:pt x="1023842" y="2520506"/>
                    </a:moveTo>
                    <a:lnTo>
                      <a:pt x="1084136" y="2780919"/>
                    </a:lnTo>
                    <a:lnTo>
                      <a:pt x="959549" y="2780919"/>
                    </a:lnTo>
                    <a:close/>
                    <a:moveTo>
                      <a:pt x="869918" y="726281"/>
                    </a:moveTo>
                    <a:lnTo>
                      <a:pt x="869918" y="1404938"/>
                    </a:lnTo>
                    <a:lnTo>
                      <a:pt x="307943" y="1404938"/>
                    </a:lnTo>
                    <a:lnTo>
                      <a:pt x="304705" y="726281"/>
                    </a:lnTo>
                    <a:close/>
                    <a:moveTo>
                      <a:pt x="324612" y="2780919"/>
                    </a:moveTo>
                    <a:lnTo>
                      <a:pt x="314420" y="2780919"/>
                    </a:lnTo>
                    <a:lnTo>
                      <a:pt x="311563" y="2173700"/>
                    </a:lnTo>
                    <a:lnTo>
                      <a:pt x="869918" y="2173700"/>
                    </a:lnTo>
                    <a:lnTo>
                      <a:pt x="869918" y="2780919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0" name="Полилиния: фигура 229">
                <a:extLst>
                  <a:ext uri="{FF2B5EF4-FFF2-40B4-BE49-F238E27FC236}">
                    <a16:creationId xmlns:a16="http://schemas.microsoft.com/office/drawing/2014/main" id="{F9BB8BA4-3675-4ABB-9520-AF83EBCD85EE}"/>
                  </a:ext>
                </a:extLst>
              </p:cNvPr>
              <p:cNvSpPr/>
              <p:nvPr/>
            </p:nvSpPr>
            <p:spPr>
              <a:xfrm>
                <a:off x="1258457" y="4025620"/>
                <a:ext cx="114300" cy="495300"/>
              </a:xfrm>
              <a:custGeom>
                <a:avLst/>
                <a:gdLst>
                  <a:gd name="connsiteX0" fmla="*/ 7144 w 114300"/>
                  <a:gd name="connsiteY0" fmla="*/ 7144 h 495300"/>
                  <a:gd name="connsiteX1" fmla="*/ 112300 w 114300"/>
                  <a:gd name="connsiteY1" fmla="*/ 7144 h 495300"/>
                  <a:gd name="connsiteX2" fmla="*/ 112300 w 114300"/>
                  <a:gd name="connsiteY2" fmla="*/ 497014 h 495300"/>
                  <a:gd name="connsiteX3" fmla="*/ 7144 w 114300"/>
                  <a:gd name="connsiteY3" fmla="*/ 497014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300" h="495300">
                    <a:moveTo>
                      <a:pt x="7144" y="7144"/>
                    </a:moveTo>
                    <a:lnTo>
                      <a:pt x="112300" y="7144"/>
                    </a:lnTo>
                    <a:lnTo>
                      <a:pt x="112300" y="497014"/>
                    </a:lnTo>
                    <a:lnTo>
                      <a:pt x="7144" y="497014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1" name="Полилиния: фигура 230">
                <a:extLst>
                  <a:ext uri="{FF2B5EF4-FFF2-40B4-BE49-F238E27FC236}">
                    <a16:creationId xmlns:a16="http://schemas.microsoft.com/office/drawing/2014/main" id="{455C80F1-250E-4BC0-B720-6D781EFBC887}"/>
                  </a:ext>
                </a:extLst>
              </p:cNvPr>
              <p:cNvSpPr/>
              <p:nvPr/>
            </p:nvSpPr>
            <p:spPr>
              <a:xfrm>
                <a:off x="1292175" y="4377092"/>
                <a:ext cx="47625" cy="47625"/>
              </a:xfrm>
              <a:custGeom>
                <a:avLst/>
                <a:gdLst>
                  <a:gd name="connsiteX0" fmla="*/ 48863 w 47625"/>
                  <a:gd name="connsiteY0" fmla="*/ 28004 h 47625"/>
                  <a:gd name="connsiteX1" fmla="*/ 28003 w 47625"/>
                  <a:gd name="connsiteY1" fmla="*/ 48863 h 47625"/>
                  <a:gd name="connsiteX2" fmla="*/ 7144 w 47625"/>
                  <a:gd name="connsiteY2" fmla="*/ 28003 h 47625"/>
                  <a:gd name="connsiteX3" fmla="*/ 28004 w 47625"/>
                  <a:gd name="connsiteY3" fmla="*/ 7144 h 47625"/>
                  <a:gd name="connsiteX4" fmla="*/ 28099 w 47625"/>
                  <a:gd name="connsiteY4" fmla="*/ 7144 h 47625"/>
                  <a:gd name="connsiteX5" fmla="*/ 48863 w 47625"/>
                  <a:gd name="connsiteY5" fmla="*/ 28004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625" h="47625">
                    <a:moveTo>
                      <a:pt x="48863" y="28004"/>
                    </a:moveTo>
                    <a:cubicBezTo>
                      <a:pt x="48863" y="39524"/>
                      <a:pt x="39524" y="48863"/>
                      <a:pt x="28003" y="48863"/>
                    </a:cubicBezTo>
                    <a:cubicBezTo>
                      <a:pt x="16483" y="48863"/>
                      <a:pt x="7144" y="39524"/>
                      <a:pt x="7144" y="28003"/>
                    </a:cubicBezTo>
                    <a:cubicBezTo>
                      <a:pt x="7144" y="16483"/>
                      <a:pt x="16483" y="7144"/>
                      <a:pt x="28004" y="7144"/>
                    </a:cubicBezTo>
                    <a:cubicBezTo>
                      <a:pt x="28035" y="7144"/>
                      <a:pt x="28067" y="7144"/>
                      <a:pt x="28099" y="7144"/>
                    </a:cubicBezTo>
                    <a:cubicBezTo>
                      <a:pt x="39582" y="7196"/>
                      <a:pt x="48863" y="16520"/>
                      <a:pt x="48863" y="28004"/>
                    </a:cubicBez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2" name="Полилиния: фигура 231">
                <a:extLst>
                  <a:ext uri="{FF2B5EF4-FFF2-40B4-BE49-F238E27FC236}">
                    <a16:creationId xmlns:a16="http://schemas.microsoft.com/office/drawing/2014/main" id="{4D1A26DB-3FA6-44FC-9A42-AC7A71ADB721}"/>
                  </a:ext>
                </a:extLst>
              </p:cNvPr>
              <p:cNvSpPr/>
              <p:nvPr/>
            </p:nvSpPr>
            <p:spPr>
              <a:xfrm>
                <a:off x="1296081" y="4155446"/>
                <a:ext cx="38100" cy="209550"/>
              </a:xfrm>
              <a:custGeom>
                <a:avLst/>
                <a:gdLst>
                  <a:gd name="connsiteX0" fmla="*/ 7144 w 38100"/>
                  <a:gd name="connsiteY0" fmla="*/ 7144 h 209550"/>
                  <a:gd name="connsiteX1" fmla="*/ 39338 w 38100"/>
                  <a:gd name="connsiteY1" fmla="*/ 7144 h 209550"/>
                  <a:gd name="connsiteX2" fmla="*/ 39338 w 38100"/>
                  <a:gd name="connsiteY2" fmla="*/ 207359 h 209550"/>
                  <a:gd name="connsiteX3" fmla="*/ 7144 w 38100"/>
                  <a:gd name="connsiteY3" fmla="*/ 207359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0" h="209550">
                    <a:moveTo>
                      <a:pt x="7144" y="7144"/>
                    </a:moveTo>
                    <a:lnTo>
                      <a:pt x="39338" y="7144"/>
                    </a:lnTo>
                    <a:lnTo>
                      <a:pt x="39338" y="207359"/>
                    </a:lnTo>
                    <a:lnTo>
                      <a:pt x="7144" y="207359"/>
                    </a:ln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3" name="Полилиния: фигура 232">
                <a:extLst>
                  <a:ext uri="{FF2B5EF4-FFF2-40B4-BE49-F238E27FC236}">
                    <a16:creationId xmlns:a16="http://schemas.microsoft.com/office/drawing/2014/main" id="{D25BE497-9254-4C17-AF68-6E0AB901B1AD}"/>
                  </a:ext>
                </a:extLst>
              </p:cNvPr>
              <p:cNvSpPr/>
              <p:nvPr/>
            </p:nvSpPr>
            <p:spPr>
              <a:xfrm>
                <a:off x="1151682" y="4025620"/>
                <a:ext cx="114300" cy="495300"/>
              </a:xfrm>
              <a:custGeom>
                <a:avLst/>
                <a:gdLst>
                  <a:gd name="connsiteX0" fmla="*/ 7144 w 114300"/>
                  <a:gd name="connsiteY0" fmla="*/ 7144 h 495300"/>
                  <a:gd name="connsiteX1" fmla="*/ 112300 w 114300"/>
                  <a:gd name="connsiteY1" fmla="*/ 7144 h 495300"/>
                  <a:gd name="connsiteX2" fmla="*/ 112300 w 114300"/>
                  <a:gd name="connsiteY2" fmla="*/ 497014 h 495300"/>
                  <a:gd name="connsiteX3" fmla="*/ 7144 w 114300"/>
                  <a:gd name="connsiteY3" fmla="*/ 497014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300" h="495300">
                    <a:moveTo>
                      <a:pt x="7144" y="7144"/>
                    </a:moveTo>
                    <a:lnTo>
                      <a:pt x="112300" y="7144"/>
                    </a:lnTo>
                    <a:lnTo>
                      <a:pt x="112300" y="497014"/>
                    </a:lnTo>
                    <a:lnTo>
                      <a:pt x="7144" y="497014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4" name="Полилиния: фигура 233">
                <a:extLst>
                  <a:ext uri="{FF2B5EF4-FFF2-40B4-BE49-F238E27FC236}">
                    <a16:creationId xmlns:a16="http://schemas.microsoft.com/office/drawing/2014/main" id="{27CF5F37-8462-43B6-BB9A-E84BA759C840}"/>
                  </a:ext>
                </a:extLst>
              </p:cNvPr>
              <p:cNvSpPr/>
              <p:nvPr/>
            </p:nvSpPr>
            <p:spPr>
              <a:xfrm>
                <a:off x="1185305" y="4377092"/>
                <a:ext cx="47625" cy="47625"/>
              </a:xfrm>
              <a:custGeom>
                <a:avLst/>
                <a:gdLst>
                  <a:gd name="connsiteX0" fmla="*/ 48863 w 47625"/>
                  <a:gd name="connsiteY0" fmla="*/ 28004 h 47625"/>
                  <a:gd name="connsiteX1" fmla="*/ 28003 w 47625"/>
                  <a:gd name="connsiteY1" fmla="*/ 48863 h 47625"/>
                  <a:gd name="connsiteX2" fmla="*/ 7144 w 47625"/>
                  <a:gd name="connsiteY2" fmla="*/ 28003 h 47625"/>
                  <a:gd name="connsiteX3" fmla="*/ 28004 w 47625"/>
                  <a:gd name="connsiteY3" fmla="*/ 7144 h 47625"/>
                  <a:gd name="connsiteX4" fmla="*/ 28099 w 47625"/>
                  <a:gd name="connsiteY4" fmla="*/ 7144 h 47625"/>
                  <a:gd name="connsiteX5" fmla="*/ 48863 w 47625"/>
                  <a:gd name="connsiteY5" fmla="*/ 28004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625" h="47625">
                    <a:moveTo>
                      <a:pt x="48863" y="28004"/>
                    </a:moveTo>
                    <a:cubicBezTo>
                      <a:pt x="48863" y="39524"/>
                      <a:pt x="39524" y="48863"/>
                      <a:pt x="28003" y="48863"/>
                    </a:cubicBezTo>
                    <a:cubicBezTo>
                      <a:pt x="16483" y="48863"/>
                      <a:pt x="7144" y="39524"/>
                      <a:pt x="7144" y="28003"/>
                    </a:cubicBezTo>
                    <a:cubicBezTo>
                      <a:pt x="7144" y="16483"/>
                      <a:pt x="16483" y="7144"/>
                      <a:pt x="28004" y="7144"/>
                    </a:cubicBezTo>
                    <a:cubicBezTo>
                      <a:pt x="28035" y="7144"/>
                      <a:pt x="28067" y="7144"/>
                      <a:pt x="28099" y="7144"/>
                    </a:cubicBezTo>
                    <a:cubicBezTo>
                      <a:pt x="39582" y="7196"/>
                      <a:pt x="48863" y="16520"/>
                      <a:pt x="48863" y="28004"/>
                    </a:cubicBez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5" name="Полилиния: фигура 234">
                <a:extLst>
                  <a:ext uri="{FF2B5EF4-FFF2-40B4-BE49-F238E27FC236}">
                    <a16:creationId xmlns:a16="http://schemas.microsoft.com/office/drawing/2014/main" id="{AF8DC7C7-CE82-4228-8333-BC0A45189914}"/>
                  </a:ext>
                </a:extLst>
              </p:cNvPr>
              <p:cNvSpPr/>
              <p:nvPr/>
            </p:nvSpPr>
            <p:spPr>
              <a:xfrm>
                <a:off x="1189305" y="4155446"/>
                <a:ext cx="38100" cy="209550"/>
              </a:xfrm>
              <a:custGeom>
                <a:avLst/>
                <a:gdLst>
                  <a:gd name="connsiteX0" fmla="*/ 7144 w 38100"/>
                  <a:gd name="connsiteY0" fmla="*/ 7144 h 209550"/>
                  <a:gd name="connsiteX1" fmla="*/ 39338 w 38100"/>
                  <a:gd name="connsiteY1" fmla="*/ 7144 h 209550"/>
                  <a:gd name="connsiteX2" fmla="*/ 39338 w 38100"/>
                  <a:gd name="connsiteY2" fmla="*/ 207359 h 209550"/>
                  <a:gd name="connsiteX3" fmla="*/ 7144 w 38100"/>
                  <a:gd name="connsiteY3" fmla="*/ 207359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0" h="209550">
                    <a:moveTo>
                      <a:pt x="7144" y="7144"/>
                    </a:moveTo>
                    <a:lnTo>
                      <a:pt x="39338" y="7144"/>
                    </a:lnTo>
                    <a:lnTo>
                      <a:pt x="39338" y="207359"/>
                    </a:lnTo>
                    <a:lnTo>
                      <a:pt x="7144" y="207359"/>
                    </a:ln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6" name="Полилиния: фигура 235">
                <a:extLst>
                  <a:ext uri="{FF2B5EF4-FFF2-40B4-BE49-F238E27FC236}">
                    <a16:creationId xmlns:a16="http://schemas.microsoft.com/office/drawing/2014/main" id="{2C575040-D82D-4552-9405-BA4C90190803}"/>
                  </a:ext>
                </a:extLst>
              </p:cNvPr>
              <p:cNvSpPr/>
              <p:nvPr/>
            </p:nvSpPr>
            <p:spPr>
              <a:xfrm>
                <a:off x="1049955" y="4025620"/>
                <a:ext cx="114300" cy="495300"/>
              </a:xfrm>
              <a:custGeom>
                <a:avLst/>
                <a:gdLst>
                  <a:gd name="connsiteX0" fmla="*/ 7144 w 114300"/>
                  <a:gd name="connsiteY0" fmla="*/ 7144 h 495300"/>
                  <a:gd name="connsiteX1" fmla="*/ 112300 w 114300"/>
                  <a:gd name="connsiteY1" fmla="*/ 7144 h 495300"/>
                  <a:gd name="connsiteX2" fmla="*/ 112300 w 114300"/>
                  <a:gd name="connsiteY2" fmla="*/ 497014 h 495300"/>
                  <a:gd name="connsiteX3" fmla="*/ 7144 w 114300"/>
                  <a:gd name="connsiteY3" fmla="*/ 497014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300" h="495300">
                    <a:moveTo>
                      <a:pt x="7144" y="7144"/>
                    </a:moveTo>
                    <a:lnTo>
                      <a:pt x="112300" y="7144"/>
                    </a:lnTo>
                    <a:lnTo>
                      <a:pt x="112300" y="497014"/>
                    </a:lnTo>
                    <a:lnTo>
                      <a:pt x="7144" y="497014"/>
                    </a:lnTo>
                    <a:close/>
                  </a:path>
                </a:pathLst>
              </a:custGeom>
              <a:solidFill>
                <a:srgbClr val="F5F5F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7" name="Полилиния: фигура 236">
                <a:extLst>
                  <a:ext uri="{FF2B5EF4-FFF2-40B4-BE49-F238E27FC236}">
                    <a16:creationId xmlns:a16="http://schemas.microsoft.com/office/drawing/2014/main" id="{8A589554-0601-4975-B360-E16E91D0CA38}"/>
                  </a:ext>
                </a:extLst>
              </p:cNvPr>
              <p:cNvSpPr/>
              <p:nvPr/>
            </p:nvSpPr>
            <p:spPr>
              <a:xfrm>
                <a:off x="1083768" y="4377092"/>
                <a:ext cx="47625" cy="47625"/>
              </a:xfrm>
              <a:custGeom>
                <a:avLst/>
                <a:gdLst>
                  <a:gd name="connsiteX0" fmla="*/ 48863 w 47625"/>
                  <a:gd name="connsiteY0" fmla="*/ 28004 h 47625"/>
                  <a:gd name="connsiteX1" fmla="*/ 28004 w 47625"/>
                  <a:gd name="connsiteY1" fmla="*/ 48863 h 47625"/>
                  <a:gd name="connsiteX2" fmla="*/ 7144 w 47625"/>
                  <a:gd name="connsiteY2" fmla="*/ 28004 h 47625"/>
                  <a:gd name="connsiteX3" fmla="*/ 28004 w 47625"/>
                  <a:gd name="connsiteY3" fmla="*/ 7144 h 47625"/>
                  <a:gd name="connsiteX4" fmla="*/ 48863 w 47625"/>
                  <a:gd name="connsiteY4" fmla="*/ 28004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47625">
                    <a:moveTo>
                      <a:pt x="48863" y="28004"/>
                    </a:moveTo>
                    <a:cubicBezTo>
                      <a:pt x="48863" y="39524"/>
                      <a:pt x="39524" y="48863"/>
                      <a:pt x="28004" y="48863"/>
                    </a:cubicBezTo>
                    <a:cubicBezTo>
                      <a:pt x="16483" y="48863"/>
                      <a:pt x="7144" y="39524"/>
                      <a:pt x="7144" y="28004"/>
                    </a:cubicBezTo>
                    <a:cubicBezTo>
                      <a:pt x="7144" y="16483"/>
                      <a:pt x="16483" y="7144"/>
                      <a:pt x="28004" y="7144"/>
                    </a:cubicBezTo>
                    <a:cubicBezTo>
                      <a:pt x="39524" y="7144"/>
                      <a:pt x="48863" y="16483"/>
                      <a:pt x="48863" y="28004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8" name="Полилиния: фигура 237">
                <a:extLst>
                  <a:ext uri="{FF2B5EF4-FFF2-40B4-BE49-F238E27FC236}">
                    <a16:creationId xmlns:a16="http://schemas.microsoft.com/office/drawing/2014/main" id="{0C4A1A64-E2CF-44B1-B516-BA079EE3D257}"/>
                  </a:ext>
                </a:extLst>
              </p:cNvPr>
              <p:cNvSpPr/>
              <p:nvPr/>
            </p:nvSpPr>
            <p:spPr>
              <a:xfrm>
                <a:off x="1087674" y="4155446"/>
                <a:ext cx="38100" cy="209550"/>
              </a:xfrm>
              <a:custGeom>
                <a:avLst/>
                <a:gdLst>
                  <a:gd name="connsiteX0" fmla="*/ 7144 w 38100"/>
                  <a:gd name="connsiteY0" fmla="*/ 7144 h 209550"/>
                  <a:gd name="connsiteX1" fmla="*/ 39338 w 38100"/>
                  <a:gd name="connsiteY1" fmla="*/ 7144 h 209550"/>
                  <a:gd name="connsiteX2" fmla="*/ 39338 w 38100"/>
                  <a:gd name="connsiteY2" fmla="*/ 207359 h 209550"/>
                  <a:gd name="connsiteX3" fmla="*/ 7144 w 38100"/>
                  <a:gd name="connsiteY3" fmla="*/ 207359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0" h="209550">
                    <a:moveTo>
                      <a:pt x="7144" y="7144"/>
                    </a:moveTo>
                    <a:lnTo>
                      <a:pt x="39338" y="7144"/>
                    </a:lnTo>
                    <a:lnTo>
                      <a:pt x="39338" y="207359"/>
                    </a:lnTo>
                    <a:lnTo>
                      <a:pt x="7144" y="207359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9" name="Полилиния: фигура 238">
                <a:extLst>
                  <a:ext uri="{FF2B5EF4-FFF2-40B4-BE49-F238E27FC236}">
                    <a16:creationId xmlns:a16="http://schemas.microsoft.com/office/drawing/2014/main" id="{AEA131E2-E1A5-4865-AA05-6F648B44655D}"/>
                  </a:ext>
                </a:extLst>
              </p:cNvPr>
              <p:cNvSpPr/>
              <p:nvPr/>
            </p:nvSpPr>
            <p:spPr>
              <a:xfrm>
                <a:off x="873170" y="4058005"/>
                <a:ext cx="180975" cy="457200"/>
              </a:xfrm>
              <a:custGeom>
                <a:avLst/>
                <a:gdLst>
                  <a:gd name="connsiteX0" fmla="*/ 53912 w 180975"/>
                  <a:gd name="connsiteY0" fmla="*/ 457200 h 457200"/>
                  <a:gd name="connsiteX1" fmla="*/ 180213 w 180975"/>
                  <a:gd name="connsiteY1" fmla="*/ 26289 h 457200"/>
                  <a:gd name="connsiteX2" fmla="*/ 136684 w 180975"/>
                  <a:gd name="connsiteY2" fmla="*/ 7144 h 457200"/>
                  <a:gd name="connsiteX3" fmla="*/ 7144 w 180975"/>
                  <a:gd name="connsiteY3" fmla="*/ 441579 h 457200"/>
                  <a:gd name="connsiteX4" fmla="*/ 53912 w 180975"/>
                  <a:gd name="connsiteY4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975" h="457200">
                    <a:moveTo>
                      <a:pt x="53912" y="457200"/>
                    </a:moveTo>
                    <a:lnTo>
                      <a:pt x="180213" y="26289"/>
                    </a:lnTo>
                    <a:lnTo>
                      <a:pt x="136684" y="7144"/>
                    </a:lnTo>
                    <a:lnTo>
                      <a:pt x="7144" y="441579"/>
                    </a:lnTo>
                    <a:lnTo>
                      <a:pt x="53912" y="457200"/>
                    </a:lnTo>
                    <a:close/>
                  </a:path>
                </a:pathLst>
              </a:custGeom>
              <a:solidFill>
                <a:srgbClr val="F5F5F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0" name="Полилиния: фигура 239">
                <a:extLst>
                  <a:ext uri="{FF2B5EF4-FFF2-40B4-BE49-F238E27FC236}">
                    <a16:creationId xmlns:a16="http://schemas.microsoft.com/office/drawing/2014/main" id="{1D46FEBF-4475-409D-9B24-2A2660E5ECCD}"/>
                  </a:ext>
                </a:extLst>
              </p:cNvPr>
              <p:cNvSpPr/>
              <p:nvPr/>
            </p:nvSpPr>
            <p:spPr>
              <a:xfrm>
                <a:off x="732867" y="5135473"/>
                <a:ext cx="533400" cy="85725"/>
              </a:xfrm>
              <a:custGeom>
                <a:avLst/>
                <a:gdLst>
                  <a:gd name="connsiteX0" fmla="*/ 7144 w 533400"/>
                  <a:gd name="connsiteY0" fmla="*/ 81248 h 85725"/>
                  <a:gd name="connsiteX1" fmla="*/ 7144 w 533400"/>
                  <a:gd name="connsiteY1" fmla="*/ 7144 h 85725"/>
                  <a:gd name="connsiteX2" fmla="*/ 531019 w 533400"/>
                  <a:gd name="connsiteY2" fmla="*/ 7144 h 85725"/>
                  <a:gd name="connsiteX3" fmla="*/ 532733 w 533400"/>
                  <a:gd name="connsiteY3" fmla="*/ 81248 h 85725"/>
                  <a:gd name="connsiteX4" fmla="*/ 7144 w 533400"/>
                  <a:gd name="connsiteY4" fmla="*/ 81248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400" h="85725">
                    <a:moveTo>
                      <a:pt x="7144" y="81248"/>
                    </a:moveTo>
                    <a:lnTo>
                      <a:pt x="7144" y="7144"/>
                    </a:lnTo>
                    <a:lnTo>
                      <a:pt x="531019" y="7144"/>
                    </a:lnTo>
                    <a:lnTo>
                      <a:pt x="532733" y="81248"/>
                    </a:lnTo>
                    <a:lnTo>
                      <a:pt x="7144" y="81248"/>
                    </a:lnTo>
                    <a:close/>
                  </a:path>
                </a:pathLst>
              </a:custGeom>
              <a:solidFill>
                <a:srgbClr val="F5F5F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1" name="Полилиния: фигура 240">
                <a:extLst>
                  <a:ext uri="{FF2B5EF4-FFF2-40B4-BE49-F238E27FC236}">
                    <a16:creationId xmlns:a16="http://schemas.microsoft.com/office/drawing/2014/main" id="{6959E6BB-D93B-4FFA-8B28-7B285EE4029D}"/>
                  </a:ext>
                </a:extLst>
              </p:cNvPr>
              <p:cNvSpPr/>
              <p:nvPr/>
            </p:nvSpPr>
            <p:spPr>
              <a:xfrm>
                <a:off x="754780" y="5147570"/>
                <a:ext cx="514350" cy="57150"/>
              </a:xfrm>
              <a:custGeom>
                <a:avLst/>
                <a:gdLst>
                  <a:gd name="connsiteX0" fmla="*/ 509392 w 514350"/>
                  <a:gd name="connsiteY0" fmla="*/ 7144 h 57150"/>
                  <a:gd name="connsiteX1" fmla="*/ 14663 w 514350"/>
                  <a:gd name="connsiteY1" fmla="*/ 17621 h 57150"/>
                  <a:gd name="connsiteX2" fmla="*/ 14663 w 514350"/>
                  <a:gd name="connsiteY2" fmla="*/ 50292 h 57150"/>
                  <a:gd name="connsiteX3" fmla="*/ 509392 w 514350"/>
                  <a:gd name="connsiteY3" fmla="*/ 56864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4350" h="57150">
                    <a:moveTo>
                      <a:pt x="509392" y="7144"/>
                    </a:moveTo>
                    <a:cubicBezTo>
                      <a:pt x="509392" y="7144"/>
                      <a:pt x="44667" y="10573"/>
                      <a:pt x="14663" y="17621"/>
                    </a:cubicBezTo>
                    <a:cubicBezTo>
                      <a:pt x="8186" y="19145"/>
                      <a:pt x="1614" y="47720"/>
                      <a:pt x="14663" y="50292"/>
                    </a:cubicBezTo>
                    <a:cubicBezTo>
                      <a:pt x="27712" y="52864"/>
                      <a:pt x="509392" y="56864"/>
                      <a:pt x="509392" y="5686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2" name="Полилиния: фигура 241">
                <a:extLst>
                  <a:ext uri="{FF2B5EF4-FFF2-40B4-BE49-F238E27FC236}">
                    <a16:creationId xmlns:a16="http://schemas.microsoft.com/office/drawing/2014/main" id="{4093CD0F-9E8E-415A-8AF5-DAAD9F892638}"/>
                  </a:ext>
                </a:extLst>
              </p:cNvPr>
              <p:cNvSpPr/>
              <p:nvPr/>
            </p:nvSpPr>
            <p:spPr>
              <a:xfrm>
                <a:off x="793732" y="5058320"/>
                <a:ext cx="428625" cy="85725"/>
              </a:xfrm>
              <a:custGeom>
                <a:avLst/>
                <a:gdLst>
                  <a:gd name="connsiteX0" fmla="*/ 7144 w 428625"/>
                  <a:gd name="connsiteY0" fmla="*/ 81344 h 85725"/>
                  <a:gd name="connsiteX1" fmla="*/ 7144 w 428625"/>
                  <a:gd name="connsiteY1" fmla="*/ 7144 h 85725"/>
                  <a:gd name="connsiteX2" fmla="*/ 422148 w 428625"/>
                  <a:gd name="connsiteY2" fmla="*/ 7144 h 85725"/>
                  <a:gd name="connsiteX3" fmla="*/ 423482 w 428625"/>
                  <a:gd name="connsiteY3" fmla="*/ 81344 h 85725"/>
                  <a:gd name="connsiteX4" fmla="*/ 7144 w 428625"/>
                  <a:gd name="connsiteY4" fmla="*/ 81344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8625" h="85725">
                    <a:moveTo>
                      <a:pt x="7144" y="81344"/>
                    </a:moveTo>
                    <a:lnTo>
                      <a:pt x="7144" y="7144"/>
                    </a:lnTo>
                    <a:lnTo>
                      <a:pt x="422148" y="7144"/>
                    </a:lnTo>
                    <a:lnTo>
                      <a:pt x="423482" y="81344"/>
                    </a:lnTo>
                    <a:lnTo>
                      <a:pt x="7144" y="81344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3" name="Полилиния: фигура 242">
                <a:extLst>
                  <a:ext uri="{FF2B5EF4-FFF2-40B4-BE49-F238E27FC236}">
                    <a16:creationId xmlns:a16="http://schemas.microsoft.com/office/drawing/2014/main" id="{2A26F7A4-BDC4-401C-B915-958B0425F709}"/>
                  </a:ext>
                </a:extLst>
              </p:cNvPr>
              <p:cNvSpPr/>
              <p:nvPr/>
            </p:nvSpPr>
            <p:spPr>
              <a:xfrm>
                <a:off x="811470" y="5070417"/>
                <a:ext cx="409575" cy="57150"/>
              </a:xfrm>
              <a:custGeom>
                <a:avLst/>
                <a:gdLst>
                  <a:gd name="connsiteX0" fmla="*/ 404601 w 409575"/>
                  <a:gd name="connsiteY0" fmla="*/ 7144 h 57150"/>
                  <a:gd name="connsiteX1" fmla="*/ 13123 w 409575"/>
                  <a:gd name="connsiteY1" fmla="*/ 17716 h 57150"/>
                  <a:gd name="connsiteX2" fmla="*/ 13123 w 409575"/>
                  <a:gd name="connsiteY2" fmla="*/ 50387 h 57150"/>
                  <a:gd name="connsiteX3" fmla="*/ 404982 w 409575"/>
                  <a:gd name="connsiteY3" fmla="*/ 56864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75" h="57150">
                    <a:moveTo>
                      <a:pt x="404601" y="7144"/>
                    </a:moveTo>
                    <a:cubicBezTo>
                      <a:pt x="404601" y="7144"/>
                      <a:pt x="36555" y="10954"/>
                      <a:pt x="13123" y="17716"/>
                    </a:cubicBezTo>
                    <a:cubicBezTo>
                      <a:pt x="7980" y="19240"/>
                      <a:pt x="2741" y="47720"/>
                      <a:pt x="13123" y="50387"/>
                    </a:cubicBezTo>
                    <a:cubicBezTo>
                      <a:pt x="23505" y="53054"/>
                      <a:pt x="404982" y="56864"/>
                      <a:pt x="404982" y="56864"/>
                    </a:cubicBez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4" name="Полилиния: фигура 243">
                <a:extLst>
                  <a:ext uri="{FF2B5EF4-FFF2-40B4-BE49-F238E27FC236}">
                    <a16:creationId xmlns:a16="http://schemas.microsoft.com/office/drawing/2014/main" id="{43F79EEE-FF28-437D-A33A-84AA3AE45866}"/>
                  </a:ext>
                </a:extLst>
              </p:cNvPr>
              <p:cNvSpPr/>
              <p:nvPr/>
            </p:nvSpPr>
            <p:spPr>
              <a:xfrm>
                <a:off x="791827" y="4985073"/>
                <a:ext cx="428625" cy="85725"/>
              </a:xfrm>
              <a:custGeom>
                <a:avLst/>
                <a:gdLst>
                  <a:gd name="connsiteX0" fmla="*/ 7144 w 428625"/>
                  <a:gd name="connsiteY0" fmla="*/ 81343 h 85725"/>
                  <a:gd name="connsiteX1" fmla="*/ 7144 w 428625"/>
                  <a:gd name="connsiteY1" fmla="*/ 7144 h 85725"/>
                  <a:gd name="connsiteX2" fmla="*/ 422148 w 428625"/>
                  <a:gd name="connsiteY2" fmla="*/ 7144 h 85725"/>
                  <a:gd name="connsiteX3" fmla="*/ 423482 w 428625"/>
                  <a:gd name="connsiteY3" fmla="*/ 81343 h 85725"/>
                  <a:gd name="connsiteX4" fmla="*/ 7144 w 428625"/>
                  <a:gd name="connsiteY4" fmla="*/ 81343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8625" h="85725">
                    <a:moveTo>
                      <a:pt x="7144" y="81343"/>
                    </a:moveTo>
                    <a:lnTo>
                      <a:pt x="7144" y="7144"/>
                    </a:lnTo>
                    <a:lnTo>
                      <a:pt x="422148" y="7144"/>
                    </a:lnTo>
                    <a:lnTo>
                      <a:pt x="423482" y="81343"/>
                    </a:lnTo>
                    <a:lnTo>
                      <a:pt x="7144" y="81343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5" name="Полилиния: фигура 244">
                <a:extLst>
                  <a:ext uri="{FF2B5EF4-FFF2-40B4-BE49-F238E27FC236}">
                    <a16:creationId xmlns:a16="http://schemas.microsoft.com/office/drawing/2014/main" id="{30465690-91D4-4D85-A00D-3348CA762262}"/>
                  </a:ext>
                </a:extLst>
              </p:cNvPr>
              <p:cNvSpPr/>
              <p:nvPr/>
            </p:nvSpPr>
            <p:spPr>
              <a:xfrm>
                <a:off x="809184" y="4997170"/>
                <a:ext cx="409575" cy="57150"/>
              </a:xfrm>
              <a:custGeom>
                <a:avLst/>
                <a:gdLst>
                  <a:gd name="connsiteX0" fmla="*/ 405077 w 409575"/>
                  <a:gd name="connsiteY0" fmla="*/ 7144 h 57150"/>
                  <a:gd name="connsiteX1" fmla="*/ 13123 w 409575"/>
                  <a:gd name="connsiteY1" fmla="*/ 17621 h 57150"/>
                  <a:gd name="connsiteX2" fmla="*/ 13123 w 409575"/>
                  <a:gd name="connsiteY2" fmla="*/ 50292 h 57150"/>
                  <a:gd name="connsiteX3" fmla="*/ 405077 w 409575"/>
                  <a:gd name="connsiteY3" fmla="*/ 56864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75" h="57150">
                    <a:moveTo>
                      <a:pt x="405077" y="7144"/>
                    </a:moveTo>
                    <a:cubicBezTo>
                      <a:pt x="405077" y="7144"/>
                      <a:pt x="36936" y="10573"/>
                      <a:pt x="13123" y="17621"/>
                    </a:cubicBezTo>
                    <a:cubicBezTo>
                      <a:pt x="7980" y="19145"/>
                      <a:pt x="2741" y="47720"/>
                      <a:pt x="13123" y="50292"/>
                    </a:cubicBezTo>
                    <a:cubicBezTo>
                      <a:pt x="23505" y="52864"/>
                      <a:pt x="405077" y="56864"/>
                      <a:pt x="405077" y="56864"/>
                    </a:cubicBez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6" name="Полилиния: фигура 245">
                <a:extLst>
                  <a:ext uri="{FF2B5EF4-FFF2-40B4-BE49-F238E27FC236}">
                    <a16:creationId xmlns:a16="http://schemas.microsoft.com/office/drawing/2014/main" id="{B42978D2-046A-4AB4-B8C5-7F4FD4675A19}"/>
                  </a:ext>
                </a:extLst>
              </p:cNvPr>
              <p:cNvSpPr/>
              <p:nvPr/>
            </p:nvSpPr>
            <p:spPr>
              <a:xfrm>
                <a:off x="1305606" y="3281813"/>
                <a:ext cx="114300" cy="495300"/>
              </a:xfrm>
              <a:custGeom>
                <a:avLst/>
                <a:gdLst>
                  <a:gd name="connsiteX0" fmla="*/ 7144 w 114300"/>
                  <a:gd name="connsiteY0" fmla="*/ 7144 h 495300"/>
                  <a:gd name="connsiteX1" fmla="*/ 112300 w 114300"/>
                  <a:gd name="connsiteY1" fmla="*/ 7144 h 495300"/>
                  <a:gd name="connsiteX2" fmla="*/ 112300 w 114300"/>
                  <a:gd name="connsiteY2" fmla="*/ 497015 h 495300"/>
                  <a:gd name="connsiteX3" fmla="*/ 7144 w 114300"/>
                  <a:gd name="connsiteY3" fmla="*/ 497015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300" h="495300">
                    <a:moveTo>
                      <a:pt x="7144" y="7144"/>
                    </a:moveTo>
                    <a:lnTo>
                      <a:pt x="112300" y="7144"/>
                    </a:lnTo>
                    <a:lnTo>
                      <a:pt x="112300" y="497015"/>
                    </a:lnTo>
                    <a:lnTo>
                      <a:pt x="7144" y="497015"/>
                    </a:lnTo>
                    <a:close/>
                  </a:path>
                </a:pathLst>
              </a:custGeom>
              <a:solidFill>
                <a:srgbClr val="F5F5F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7" name="Полилиния: фигура 246">
                <a:extLst>
                  <a:ext uri="{FF2B5EF4-FFF2-40B4-BE49-F238E27FC236}">
                    <a16:creationId xmlns:a16="http://schemas.microsoft.com/office/drawing/2014/main" id="{2FEFD73E-9717-491A-99FF-3F3564E78BA4}"/>
                  </a:ext>
                </a:extLst>
              </p:cNvPr>
              <p:cNvSpPr/>
              <p:nvPr/>
            </p:nvSpPr>
            <p:spPr>
              <a:xfrm>
                <a:off x="1339324" y="3633380"/>
                <a:ext cx="47625" cy="47625"/>
              </a:xfrm>
              <a:custGeom>
                <a:avLst/>
                <a:gdLst>
                  <a:gd name="connsiteX0" fmla="*/ 48863 w 47625"/>
                  <a:gd name="connsiteY0" fmla="*/ 27908 h 47625"/>
                  <a:gd name="connsiteX1" fmla="*/ 28099 w 47625"/>
                  <a:gd name="connsiteY1" fmla="*/ 48863 h 47625"/>
                  <a:gd name="connsiteX2" fmla="*/ 7144 w 47625"/>
                  <a:gd name="connsiteY2" fmla="*/ 28099 h 47625"/>
                  <a:gd name="connsiteX3" fmla="*/ 27908 w 47625"/>
                  <a:gd name="connsiteY3" fmla="*/ 7144 h 47625"/>
                  <a:gd name="connsiteX4" fmla="*/ 28099 w 47625"/>
                  <a:gd name="connsiteY4" fmla="*/ 7144 h 47625"/>
                  <a:gd name="connsiteX5" fmla="*/ 48863 w 47625"/>
                  <a:gd name="connsiteY5" fmla="*/ 2790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625" h="47625">
                    <a:moveTo>
                      <a:pt x="48863" y="27908"/>
                    </a:moveTo>
                    <a:cubicBezTo>
                      <a:pt x="48915" y="39429"/>
                      <a:pt x="39619" y="48810"/>
                      <a:pt x="28099" y="48863"/>
                    </a:cubicBezTo>
                    <a:cubicBezTo>
                      <a:pt x="16578" y="48915"/>
                      <a:pt x="7196" y="39619"/>
                      <a:pt x="7144" y="28099"/>
                    </a:cubicBezTo>
                    <a:cubicBezTo>
                      <a:pt x="7092" y="16578"/>
                      <a:pt x="16388" y="7196"/>
                      <a:pt x="27908" y="7144"/>
                    </a:cubicBezTo>
                    <a:cubicBezTo>
                      <a:pt x="27972" y="7144"/>
                      <a:pt x="28035" y="7144"/>
                      <a:pt x="28099" y="7144"/>
                    </a:cubicBezTo>
                    <a:cubicBezTo>
                      <a:pt x="39566" y="7144"/>
                      <a:pt x="48863" y="16440"/>
                      <a:pt x="48863" y="27908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8" name="Полилиния: фигура 247">
                <a:extLst>
                  <a:ext uri="{FF2B5EF4-FFF2-40B4-BE49-F238E27FC236}">
                    <a16:creationId xmlns:a16="http://schemas.microsoft.com/office/drawing/2014/main" id="{3B3DB47D-8F61-48EE-AAA8-95994FCFB9CD}"/>
                  </a:ext>
                </a:extLst>
              </p:cNvPr>
              <p:cNvSpPr/>
              <p:nvPr/>
            </p:nvSpPr>
            <p:spPr>
              <a:xfrm>
                <a:off x="1343325" y="3411639"/>
                <a:ext cx="38100" cy="209550"/>
              </a:xfrm>
              <a:custGeom>
                <a:avLst/>
                <a:gdLst>
                  <a:gd name="connsiteX0" fmla="*/ 7144 w 38100"/>
                  <a:gd name="connsiteY0" fmla="*/ 7144 h 209550"/>
                  <a:gd name="connsiteX1" fmla="*/ 39338 w 38100"/>
                  <a:gd name="connsiteY1" fmla="*/ 7144 h 209550"/>
                  <a:gd name="connsiteX2" fmla="*/ 39338 w 38100"/>
                  <a:gd name="connsiteY2" fmla="*/ 207359 h 209550"/>
                  <a:gd name="connsiteX3" fmla="*/ 7144 w 38100"/>
                  <a:gd name="connsiteY3" fmla="*/ 207359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0" h="209550">
                    <a:moveTo>
                      <a:pt x="7144" y="7144"/>
                    </a:moveTo>
                    <a:lnTo>
                      <a:pt x="39338" y="7144"/>
                    </a:lnTo>
                    <a:lnTo>
                      <a:pt x="39338" y="207359"/>
                    </a:lnTo>
                    <a:lnTo>
                      <a:pt x="7144" y="207359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9" name="Полилиния: фигура 248">
                <a:extLst>
                  <a:ext uri="{FF2B5EF4-FFF2-40B4-BE49-F238E27FC236}">
                    <a16:creationId xmlns:a16="http://schemas.microsoft.com/office/drawing/2014/main" id="{2C2779CA-7C8A-422B-90F1-8C131049E558}"/>
                  </a:ext>
                </a:extLst>
              </p:cNvPr>
              <p:cNvSpPr/>
              <p:nvPr/>
            </p:nvSpPr>
            <p:spPr>
              <a:xfrm>
                <a:off x="1198830" y="3281813"/>
                <a:ext cx="114300" cy="495300"/>
              </a:xfrm>
              <a:custGeom>
                <a:avLst/>
                <a:gdLst>
                  <a:gd name="connsiteX0" fmla="*/ 7144 w 114300"/>
                  <a:gd name="connsiteY0" fmla="*/ 7144 h 495300"/>
                  <a:gd name="connsiteX1" fmla="*/ 112205 w 114300"/>
                  <a:gd name="connsiteY1" fmla="*/ 7144 h 495300"/>
                  <a:gd name="connsiteX2" fmla="*/ 112205 w 114300"/>
                  <a:gd name="connsiteY2" fmla="*/ 497015 h 495300"/>
                  <a:gd name="connsiteX3" fmla="*/ 7144 w 114300"/>
                  <a:gd name="connsiteY3" fmla="*/ 497015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300" h="495300">
                    <a:moveTo>
                      <a:pt x="7144" y="7144"/>
                    </a:moveTo>
                    <a:lnTo>
                      <a:pt x="112205" y="7144"/>
                    </a:lnTo>
                    <a:lnTo>
                      <a:pt x="112205" y="497015"/>
                    </a:lnTo>
                    <a:lnTo>
                      <a:pt x="7144" y="497015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0" name="Полилиния: фигура 249">
                <a:extLst>
                  <a:ext uri="{FF2B5EF4-FFF2-40B4-BE49-F238E27FC236}">
                    <a16:creationId xmlns:a16="http://schemas.microsoft.com/office/drawing/2014/main" id="{6CC4B59F-F472-4976-A404-0B3F517424C1}"/>
                  </a:ext>
                </a:extLst>
              </p:cNvPr>
              <p:cNvSpPr/>
              <p:nvPr/>
            </p:nvSpPr>
            <p:spPr>
              <a:xfrm>
                <a:off x="1232930" y="3633380"/>
                <a:ext cx="47625" cy="47625"/>
              </a:xfrm>
              <a:custGeom>
                <a:avLst/>
                <a:gdLst>
                  <a:gd name="connsiteX0" fmla="*/ 48863 w 47625"/>
                  <a:gd name="connsiteY0" fmla="*/ 27908 h 47625"/>
                  <a:gd name="connsiteX1" fmla="*/ 28099 w 47625"/>
                  <a:gd name="connsiteY1" fmla="*/ 48863 h 47625"/>
                  <a:gd name="connsiteX2" fmla="*/ 7144 w 47625"/>
                  <a:gd name="connsiteY2" fmla="*/ 28099 h 47625"/>
                  <a:gd name="connsiteX3" fmla="*/ 27908 w 47625"/>
                  <a:gd name="connsiteY3" fmla="*/ 7144 h 47625"/>
                  <a:gd name="connsiteX4" fmla="*/ 28099 w 47625"/>
                  <a:gd name="connsiteY4" fmla="*/ 7144 h 47625"/>
                  <a:gd name="connsiteX5" fmla="*/ 48863 w 47625"/>
                  <a:gd name="connsiteY5" fmla="*/ 2790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625" h="47625">
                    <a:moveTo>
                      <a:pt x="48863" y="27908"/>
                    </a:moveTo>
                    <a:cubicBezTo>
                      <a:pt x="48915" y="39429"/>
                      <a:pt x="39619" y="48810"/>
                      <a:pt x="28099" y="48863"/>
                    </a:cubicBezTo>
                    <a:cubicBezTo>
                      <a:pt x="16578" y="48915"/>
                      <a:pt x="7196" y="39619"/>
                      <a:pt x="7144" y="28099"/>
                    </a:cubicBezTo>
                    <a:cubicBezTo>
                      <a:pt x="7092" y="16578"/>
                      <a:pt x="16388" y="7196"/>
                      <a:pt x="27908" y="7144"/>
                    </a:cubicBezTo>
                    <a:cubicBezTo>
                      <a:pt x="27972" y="7144"/>
                      <a:pt x="28035" y="7144"/>
                      <a:pt x="28099" y="7144"/>
                    </a:cubicBezTo>
                    <a:cubicBezTo>
                      <a:pt x="39545" y="7196"/>
                      <a:pt x="48811" y="16462"/>
                      <a:pt x="48863" y="27908"/>
                    </a:cubicBez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1" name="Полилиния: фигура 250">
                <a:extLst>
                  <a:ext uri="{FF2B5EF4-FFF2-40B4-BE49-F238E27FC236}">
                    <a16:creationId xmlns:a16="http://schemas.microsoft.com/office/drawing/2014/main" id="{5CD0CEFF-05DB-41F2-A25C-ED66D500C632}"/>
                  </a:ext>
                </a:extLst>
              </p:cNvPr>
              <p:cNvSpPr/>
              <p:nvPr/>
            </p:nvSpPr>
            <p:spPr>
              <a:xfrm>
                <a:off x="1236549" y="3411639"/>
                <a:ext cx="38100" cy="209550"/>
              </a:xfrm>
              <a:custGeom>
                <a:avLst/>
                <a:gdLst>
                  <a:gd name="connsiteX0" fmla="*/ 7144 w 38100"/>
                  <a:gd name="connsiteY0" fmla="*/ 7144 h 209550"/>
                  <a:gd name="connsiteX1" fmla="*/ 39243 w 38100"/>
                  <a:gd name="connsiteY1" fmla="*/ 7144 h 209550"/>
                  <a:gd name="connsiteX2" fmla="*/ 39243 w 38100"/>
                  <a:gd name="connsiteY2" fmla="*/ 207359 h 209550"/>
                  <a:gd name="connsiteX3" fmla="*/ 7144 w 38100"/>
                  <a:gd name="connsiteY3" fmla="*/ 207359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0" h="209550">
                    <a:moveTo>
                      <a:pt x="7144" y="7144"/>
                    </a:moveTo>
                    <a:lnTo>
                      <a:pt x="39243" y="7144"/>
                    </a:lnTo>
                    <a:lnTo>
                      <a:pt x="39243" y="207359"/>
                    </a:lnTo>
                    <a:lnTo>
                      <a:pt x="7144" y="207359"/>
                    </a:ln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2" name="Полилиния: фигура 251">
                <a:extLst>
                  <a:ext uri="{FF2B5EF4-FFF2-40B4-BE49-F238E27FC236}">
                    <a16:creationId xmlns:a16="http://schemas.microsoft.com/office/drawing/2014/main" id="{2A4DCF04-66CB-41E8-BDA7-77282B6B77A6}"/>
                  </a:ext>
                </a:extLst>
              </p:cNvPr>
              <p:cNvSpPr/>
              <p:nvPr/>
            </p:nvSpPr>
            <p:spPr>
              <a:xfrm>
                <a:off x="1097103" y="3281813"/>
                <a:ext cx="114300" cy="495300"/>
              </a:xfrm>
              <a:custGeom>
                <a:avLst/>
                <a:gdLst>
                  <a:gd name="connsiteX0" fmla="*/ 7144 w 114300"/>
                  <a:gd name="connsiteY0" fmla="*/ 7144 h 495300"/>
                  <a:gd name="connsiteX1" fmla="*/ 112300 w 114300"/>
                  <a:gd name="connsiteY1" fmla="*/ 7144 h 495300"/>
                  <a:gd name="connsiteX2" fmla="*/ 112300 w 114300"/>
                  <a:gd name="connsiteY2" fmla="*/ 497015 h 495300"/>
                  <a:gd name="connsiteX3" fmla="*/ 7144 w 114300"/>
                  <a:gd name="connsiteY3" fmla="*/ 497015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300" h="495300">
                    <a:moveTo>
                      <a:pt x="7144" y="7144"/>
                    </a:moveTo>
                    <a:lnTo>
                      <a:pt x="112300" y="7144"/>
                    </a:lnTo>
                    <a:lnTo>
                      <a:pt x="112300" y="497015"/>
                    </a:lnTo>
                    <a:lnTo>
                      <a:pt x="7144" y="497015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3" name="Полилиния: фигура 252">
                <a:extLst>
                  <a:ext uri="{FF2B5EF4-FFF2-40B4-BE49-F238E27FC236}">
                    <a16:creationId xmlns:a16="http://schemas.microsoft.com/office/drawing/2014/main" id="{966B7B65-1FB6-42A2-921C-2B09CF914CDB}"/>
                  </a:ext>
                </a:extLst>
              </p:cNvPr>
              <p:cNvSpPr/>
              <p:nvPr/>
            </p:nvSpPr>
            <p:spPr>
              <a:xfrm>
                <a:off x="1130917" y="3633381"/>
                <a:ext cx="47625" cy="47625"/>
              </a:xfrm>
              <a:custGeom>
                <a:avLst/>
                <a:gdLst>
                  <a:gd name="connsiteX0" fmla="*/ 48863 w 47625"/>
                  <a:gd name="connsiteY0" fmla="*/ 27908 h 47625"/>
                  <a:gd name="connsiteX1" fmla="*/ 28099 w 47625"/>
                  <a:gd name="connsiteY1" fmla="*/ 48863 h 47625"/>
                  <a:gd name="connsiteX2" fmla="*/ 7144 w 47625"/>
                  <a:gd name="connsiteY2" fmla="*/ 28099 h 47625"/>
                  <a:gd name="connsiteX3" fmla="*/ 27908 w 47625"/>
                  <a:gd name="connsiteY3" fmla="*/ 7144 h 47625"/>
                  <a:gd name="connsiteX4" fmla="*/ 28003 w 47625"/>
                  <a:gd name="connsiteY4" fmla="*/ 7144 h 47625"/>
                  <a:gd name="connsiteX5" fmla="*/ 48863 w 47625"/>
                  <a:gd name="connsiteY5" fmla="*/ 27908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625" h="47625">
                    <a:moveTo>
                      <a:pt x="48863" y="27908"/>
                    </a:moveTo>
                    <a:cubicBezTo>
                      <a:pt x="48916" y="39429"/>
                      <a:pt x="39619" y="48810"/>
                      <a:pt x="28099" y="48863"/>
                    </a:cubicBezTo>
                    <a:cubicBezTo>
                      <a:pt x="16578" y="48916"/>
                      <a:pt x="7197" y="39619"/>
                      <a:pt x="7144" y="28099"/>
                    </a:cubicBezTo>
                    <a:cubicBezTo>
                      <a:pt x="7091" y="16578"/>
                      <a:pt x="16388" y="7197"/>
                      <a:pt x="27908" y="7144"/>
                    </a:cubicBezTo>
                    <a:cubicBezTo>
                      <a:pt x="27940" y="7144"/>
                      <a:pt x="27972" y="7144"/>
                      <a:pt x="28003" y="7144"/>
                    </a:cubicBezTo>
                    <a:cubicBezTo>
                      <a:pt x="39487" y="7144"/>
                      <a:pt x="48811" y="16425"/>
                      <a:pt x="48863" y="27908"/>
                    </a:cubicBez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4" name="Полилиния: фигура 253">
                <a:extLst>
                  <a:ext uri="{FF2B5EF4-FFF2-40B4-BE49-F238E27FC236}">
                    <a16:creationId xmlns:a16="http://schemas.microsoft.com/office/drawing/2014/main" id="{5B607A65-9640-44D8-B67C-6F617C19BD0C}"/>
                  </a:ext>
                </a:extLst>
              </p:cNvPr>
              <p:cNvSpPr/>
              <p:nvPr/>
            </p:nvSpPr>
            <p:spPr>
              <a:xfrm>
                <a:off x="1134822" y="3411639"/>
                <a:ext cx="38100" cy="209550"/>
              </a:xfrm>
              <a:custGeom>
                <a:avLst/>
                <a:gdLst>
                  <a:gd name="connsiteX0" fmla="*/ 7144 w 38100"/>
                  <a:gd name="connsiteY0" fmla="*/ 7144 h 209550"/>
                  <a:gd name="connsiteX1" fmla="*/ 39338 w 38100"/>
                  <a:gd name="connsiteY1" fmla="*/ 7144 h 209550"/>
                  <a:gd name="connsiteX2" fmla="*/ 39338 w 38100"/>
                  <a:gd name="connsiteY2" fmla="*/ 207359 h 209550"/>
                  <a:gd name="connsiteX3" fmla="*/ 7144 w 38100"/>
                  <a:gd name="connsiteY3" fmla="*/ 207359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0" h="209550">
                    <a:moveTo>
                      <a:pt x="7144" y="7144"/>
                    </a:moveTo>
                    <a:lnTo>
                      <a:pt x="39338" y="7144"/>
                    </a:lnTo>
                    <a:lnTo>
                      <a:pt x="39338" y="207359"/>
                    </a:lnTo>
                    <a:lnTo>
                      <a:pt x="7144" y="207359"/>
                    </a:ln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5" name="Полилиния: фигура 254">
                <a:extLst>
                  <a:ext uri="{FF2B5EF4-FFF2-40B4-BE49-F238E27FC236}">
                    <a16:creationId xmlns:a16="http://schemas.microsoft.com/office/drawing/2014/main" id="{03815FEA-4057-465D-A760-3EDEDA291BFF}"/>
                  </a:ext>
                </a:extLst>
              </p:cNvPr>
              <p:cNvSpPr/>
              <p:nvPr/>
            </p:nvSpPr>
            <p:spPr>
              <a:xfrm>
                <a:off x="395873" y="6395726"/>
                <a:ext cx="6572250" cy="19050"/>
              </a:xfrm>
              <a:custGeom>
                <a:avLst/>
                <a:gdLst>
                  <a:gd name="connsiteX0" fmla="*/ 6565297 w 6572250"/>
                  <a:gd name="connsiteY0" fmla="*/ 9620 h 19050"/>
                  <a:gd name="connsiteX1" fmla="*/ 3286411 w 6572250"/>
                  <a:gd name="connsiteY1" fmla="*/ 12097 h 19050"/>
                  <a:gd name="connsiteX2" fmla="*/ 7144 w 6572250"/>
                  <a:gd name="connsiteY2" fmla="*/ 9620 h 19050"/>
                  <a:gd name="connsiteX3" fmla="*/ 3286411 w 6572250"/>
                  <a:gd name="connsiteY3" fmla="*/ 7144 h 19050"/>
                  <a:gd name="connsiteX4" fmla="*/ 6565297 w 6572250"/>
                  <a:gd name="connsiteY4" fmla="*/ 962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72250" h="19050">
                    <a:moveTo>
                      <a:pt x="6565297" y="9620"/>
                    </a:moveTo>
                    <a:cubicBezTo>
                      <a:pt x="6565297" y="11049"/>
                      <a:pt x="5097113" y="12097"/>
                      <a:pt x="3286411" y="12097"/>
                    </a:cubicBezTo>
                    <a:cubicBezTo>
                      <a:pt x="1475708" y="12097"/>
                      <a:pt x="7144" y="10668"/>
                      <a:pt x="7144" y="9620"/>
                    </a:cubicBezTo>
                    <a:cubicBezTo>
                      <a:pt x="7144" y="8573"/>
                      <a:pt x="1475042" y="7144"/>
                      <a:pt x="3286411" y="7144"/>
                    </a:cubicBezTo>
                    <a:cubicBezTo>
                      <a:pt x="5097780" y="7144"/>
                      <a:pt x="6565297" y="7906"/>
                      <a:pt x="6565297" y="962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6" name="Полилиния: фигура 255">
                <a:extLst>
                  <a:ext uri="{FF2B5EF4-FFF2-40B4-BE49-F238E27FC236}">
                    <a16:creationId xmlns:a16="http://schemas.microsoft.com/office/drawing/2014/main" id="{C506EA77-A7E0-4784-AE2A-A28D15E1B57A}"/>
                  </a:ext>
                </a:extLst>
              </p:cNvPr>
              <p:cNvSpPr/>
              <p:nvPr/>
            </p:nvSpPr>
            <p:spPr>
              <a:xfrm>
                <a:off x="263732" y="3600970"/>
                <a:ext cx="485775" cy="466725"/>
              </a:xfrm>
              <a:custGeom>
                <a:avLst/>
                <a:gdLst>
                  <a:gd name="connsiteX0" fmla="*/ 480851 w 485775"/>
                  <a:gd name="connsiteY0" fmla="*/ 442843 h 466725"/>
                  <a:gd name="connsiteX1" fmla="*/ 432179 w 485775"/>
                  <a:gd name="connsiteY1" fmla="*/ 357118 h 466725"/>
                  <a:gd name="connsiteX2" fmla="*/ 357117 w 485775"/>
                  <a:gd name="connsiteY2" fmla="*/ 41278 h 466725"/>
                  <a:gd name="connsiteX3" fmla="*/ 41278 w 485775"/>
                  <a:gd name="connsiteY3" fmla="*/ 116339 h 466725"/>
                  <a:gd name="connsiteX4" fmla="*/ 116339 w 485775"/>
                  <a:gd name="connsiteY4" fmla="*/ 432179 h 466725"/>
                  <a:gd name="connsiteX5" fmla="*/ 377219 w 485775"/>
                  <a:gd name="connsiteY5" fmla="*/ 418268 h 466725"/>
                  <a:gd name="connsiteX6" fmla="*/ 377220 w 485775"/>
                  <a:gd name="connsiteY6" fmla="*/ 418268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5775" h="466725">
                    <a:moveTo>
                      <a:pt x="480851" y="442843"/>
                    </a:moveTo>
                    <a:lnTo>
                      <a:pt x="432179" y="357118"/>
                    </a:lnTo>
                    <a:cubicBezTo>
                      <a:pt x="498668" y="249173"/>
                      <a:pt x="465062" y="107767"/>
                      <a:pt x="357117" y="41278"/>
                    </a:cubicBezTo>
                    <a:cubicBezTo>
                      <a:pt x="249173" y="-25211"/>
                      <a:pt x="107767" y="8395"/>
                      <a:pt x="41278" y="116339"/>
                    </a:cubicBezTo>
                    <a:cubicBezTo>
                      <a:pt x="-25211" y="224284"/>
                      <a:pt x="8395" y="365690"/>
                      <a:pt x="116339" y="432179"/>
                    </a:cubicBezTo>
                    <a:cubicBezTo>
                      <a:pt x="197716" y="482303"/>
                      <a:pt x="301635" y="476762"/>
                      <a:pt x="377219" y="418268"/>
                    </a:cubicBezTo>
                    <a:lnTo>
                      <a:pt x="377220" y="418268"/>
                    </a:ln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7" name="Полилиния: фигура 256">
                <a:extLst>
                  <a:ext uri="{FF2B5EF4-FFF2-40B4-BE49-F238E27FC236}">
                    <a16:creationId xmlns:a16="http://schemas.microsoft.com/office/drawing/2014/main" id="{AAC2A774-EEEB-453C-A78E-F46C6569D2D8}"/>
                  </a:ext>
                </a:extLst>
              </p:cNvPr>
              <p:cNvSpPr/>
              <p:nvPr/>
            </p:nvSpPr>
            <p:spPr>
              <a:xfrm>
                <a:off x="262054" y="3599343"/>
                <a:ext cx="485775" cy="476250"/>
              </a:xfrm>
              <a:custGeom>
                <a:avLst/>
                <a:gdLst>
                  <a:gd name="connsiteX0" fmla="*/ 482529 w 485775"/>
                  <a:gd name="connsiteY0" fmla="*/ 444470 h 476250"/>
                  <a:gd name="connsiteX1" fmla="*/ 378516 w 485775"/>
                  <a:gd name="connsiteY1" fmla="*/ 421229 h 476250"/>
                  <a:gd name="connsiteX2" fmla="*/ 377563 w 485775"/>
                  <a:gd name="connsiteY2" fmla="*/ 419705 h 476250"/>
                  <a:gd name="connsiteX3" fmla="*/ 377563 w 485775"/>
                  <a:gd name="connsiteY3" fmla="*/ 419229 h 476250"/>
                  <a:gd name="connsiteX4" fmla="*/ 377563 w 485775"/>
                  <a:gd name="connsiteY4" fmla="*/ 419229 h 476250"/>
                  <a:gd name="connsiteX5" fmla="*/ 379373 w 485775"/>
                  <a:gd name="connsiteY5" fmla="*/ 420944 h 476250"/>
                  <a:gd name="connsiteX6" fmla="*/ 269073 w 485775"/>
                  <a:gd name="connsiteY6" fmla="*/ 467711 h 476250"/>
                  <a:gd name="connsiteX7" fmla="*/ 232593 w 485775"/>
                  <a:gd name="connsiteY7" fmla="*/ 469616 h 476250"/>
                  <a:gd name="connsiteX8" fmla="*/ 213543 w 485775"/>
                  <a:gd name="connsiteY8" fmla="*/ 468569 h 476250"/>
                  <a:gd name="connsiteX9" fmla="*/ 194493 w 485775"/>
                  <a:gd name="connsiteY9" fmla="*/ 465616 h 476250"/>
                  <a:gd name="connsiteX10" fmla="*/ 11517 w 485775"/>
                  <a:gd name="connsiteY10" fmla="*/ 284641 h 476250"/>
                  <a:gd name="connsiteX11" fmla="*/ 14185 w 485775"/>
                  <a:gd name="connsiteY11" fmla="*/ 182152 h 476250"/>
                  <a:gd name="connsiteX12" fmla="*/ 63619 w 485775"/>
                  <a:gd name="connsiteY12" fmla="*/ 86902 h 476250"/>
                  <a:gd name="connsiteX13" fmla="*/ 152392 w 485775"/>
                  <a:gd name="connsiteY13" fmla="*/ 23561 h 476250"/>
                  <a:gd name="connsiteX14" fmla="*/ 255643 w 485775"/>
                  <a:gd name="connsiteY14" fmla="*/ 7749 h 476250"/>
                  <a:gd name="connsiteX15" fmla="*/ 350417 w 485775"/>
                  <a:gd name="connsiteY15" fmla="*/ 35753 h 476250"/>
                  <a:gd name="connsiteX16" fmla="*/ 459574 w 485775"/>
                  <a:gd name="connsiteY16" fmla="*/ 170436 h 476250"/>
                  <a:gd name="connsiteX17" fmla="*/ 469099 w 485775"/>
                  <a:gd name="connsiteY17" fmla="*/ 245303 h 476250"/>
                  <a:gd name="connsiteX18" fmla="*/ 434523 w 485775"/>
                  <a:gd name="connsiteY18" fmla="*/ 359603 h 476250"/>
                  <a:gd name="connsiteX19" fmla="*/ 434523 w 485775"/>
                  <a:gd name="connsiteY19" fmla="*/ 358079 h 476250"/>
                  <a:gd name="connsiteX20" fmla="*/ 482148 w 485775"/>
                  <a:gd name="connsiteY20" fmla="*/ 444470 h 476250"/>
                  <a:gd name="connsiteX21" fmla="*/ 432427 w 485775"/>
                  <a:gd name="connsiteY21" fmla="*/ 359317 h 476250"/>
                  <a:gd name="connsiteX22" fmla="*/ 432427 w 485775"/>
                  <a:gd name="connsiteY22" fmla="*/ 358079 h 476250"/>
                  <a:gd name="connsiteX23" fmla="*/ 465574 w 485775"/>
                  <a:gd name="connsiteY23" fmla="*/ 245207 h 476250"/>
                  <a:gd name="connsiteX24" fmla="*/ 455382 w 485775"/>
                  <a:gd name="connsiteY24" fmla="*/ 171579 h 476250"/>
                  <a:gd name="connsiteX25" fmla="*/ 347655 w 485775"/>
                  <a:gd name="connsiteY25" fmla="*/ 39848 h 476250"/>
                  <a:gd name="connsiteX26" fmla="*/ 254786 w 485775"/>
                  <a:gd name="connsiteY26" fmla="*/ 12607 h 476250"/>
                  <a:gd name="connsiteX27" fmla="*/ 153630 w 485775"/>
                  <a:gd name="connsiteY27" fmla="*/ 28228 h 476250"/>
                  <a:gd name="connsiteX28" fmla="*/ 67239 w 485775"/>
                  <a:gd name="connsiteY28" fmla="*/ 90331 h 476250"/>
                  <a:gd name="connsiteX29" fmla="*/ 18852 w 485775"/>
                  <a:gd name="connsiteY29" fmla="*/ 183009 h 476250"/>
                  <a:gd name="connsiteX30" fmla="*/ 16089 w 485775"/>
                  <a:gd name="connsiteY30" fmla="*/ 283402 h 476250"/>
                  <a:gd name="connsiteX31" fmla="*/ 195159 w 485775"/>
                  <a:gd name="connsiteY31" fmla="*/ 461710 h 476250"/>
                  <a:gd name="connsiteX32" fmla="*/ 214209 w 485775"/>
                  <a:gd name="connsiteY32" fmla="*/ 464663 h 476250"/>
                  <a:gd name="connsiteX33" fmla="*/ 233259 w 485775"/>
                  <a:gd name="connsiteY33" fmla="*/ 465806 h 476250"/>
                  <a:gd name="connsiteX34" fmla="*/ 269169 w 485775"/>
                  <a:gd name="connsiteY34" fmla="*/ 464092 h 476250"/>
                  <a:gd name="connsiteX35" fmla="*/ 378421 w 485775"/>
                  <a:gd name="connsiteY35" fmla="*/ 418943 h 476250"/>
                  <a:gd name="connsiteX36" fmla="*/ 380034 w 485775"/>
                  <a:gd name="connsiteY36" fmla="*/ 418842 h 476250"/>
                  <a:gd name="connsiteX37" fmla="*/ 380135 w 485775"/>
                  <a:gd name="connsiteY37" fmla="*/ 418943 h 476250"/>
                  <a:gd name="connsiteX38" fmla="*/ 380135 w 485775"/>
                  <a:gd name="connsiteY38" fmla="*/ 420467 h 476250"/>
                  <a:gd name="connsiteX39" fmla="*/ 380135 w 485775"/>
                  <a:gd name="connsiteY39" fmla="*/ 420467 h 476250"/>
                  <a:gd name="connsiteX40" fmla="*/ 379468 w 485775"/>
                  <a:gd name="connsiteY40" fmla="*/ 418467 h 47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85775" h="476250">
                    <a:moveTo>
                      <a:pt x="482529" y="444470"/>
                    </a:moveTo>
                    <a:lnTo>
                      <a:pt x="378516" y="421229"/>
                    </a:lnTo>
                    <a:cubicBezTo>
                      <a:pt x="377852" y="421044"/>
                      <a:pt x="377439" y="420383"/>
                      <a:pt x="377563" y="419705"/>
                    </a:cubicBezTo>
                    <a:lnTo>
                      <a:pt x="377563" y="419229"/>
                    </a:lnTo>
                    <a:lnTo>
                      <a:pt x="377563" y="419229"/>
                    </a:lnTo>
                    <a:lnTo>
                      <a:pt x="379373" y="420944"/>
                    </a:lnTo>
                    <a:cubicBezTo>
                      <a:pt x="347376" y="445990"/>
                      <a:pt x="309322" y="462125"/>
                      <a:pt x="269073" y="467711"/>
                    </a:cubicBezTo>
                    <a:cubicBezTo>
                      <a:pt x="256992" y="469412"/>
                      <a:pt x="244785" y="470050"/>
                      <a:pt x="232593" y="469616"/>
                    </a:cubicBezTo>
                    <a:cubicBezTo>
                      <a:pt x="226401" y="469616"/>
                      <a:pt x="220020" y="469045"/>
                      <a:pt x="213543" y="468569"/>
                    </a:cubicBezTo>
                    <a:lnTo>
                      <a:pt x="194493" y="465616"/>
                    </a:lnTo>
                    <a:cubicBezTo>
                      <a:pt x="102582" y="447718"/>
                      <a:pt x="30424" y="376349"/>
                      <a:pt x="11517" y="284641"/>
                    </a:cubicBezTo>
                    <a:cubicBezTo>
                      <a:pt x="4893" y="250694"/>
                      <a:pt x="5803" y="215708"/>
                      <a:pt x="14185" y="182152"/>
                    </a:cubicBezTo>
                    <a:cubicBezTo>
                      <a:pt x="22871" y="146929"/>
                      <a:pt x="39816" y="114279"/>
                      <a:pt x="63619" y="86902"/>
                    </a:cubicBezTo>
                    <a:cubicBezTo>
                      <a:pt x="87768" y="59046"/>
                      <a:pt x="118196" y="37335"/>
                      <a:pt x="152392" y="23561"/>
                    </a:cubicBezTo>
                    <a:cubicBezTo>
                      <a:pt x="185191" y="10626"/>
                      <a:pt x="220477" y="5223"/>
                      <a:pt x="255643" y="7749"/>
                    </a:cubicBezTo>
                    <a:cubicBezTo>
                      <a:pt x="288902" y="10040"/>
                      <a:pt x="321254" y="19599"/>
                      <a:pt x="350417" y="35753"/>
                    </a:cubicBezTo>
                    <a:cubicBezTo>
                      <a:pt x="402690" y="65033"/>
                      <a:pt x="441754" y="113233"/>
                      <a:pt x="459574" y="170436"/>
                    </a:cubicBezTo>
                    <a:cubicBezTo>
                      <a:pt x="466527" y="194764"/>
                      <a:pt x="469739" y="220008"/>
                      <a:pt x="469099" y="245303"/>
                    </a:cubicBezTo>
                    <a:cubicBezTo>
                      <a:pt x="467904" y="285793"/>
                      <a:pt x="455971" y="325239"/>
                      <a:pt x="434523" y="359603"/>
                    </a:cubicBezTo>
                    <a:lnTo>
                      <a:pt x="434523" y="358079"/>
                    </a:lnTo>
                    <a:lnTo>
                      <a:pt x="482148" y="444470"/>
                    </a:lnTo>
                    <a:cubicBezTo>
                      <a:pt x="478052" y="437327"/>
                      <a:pt x="463098" y="412276"/>
                      <a:pt x="432427" y="359317"/>
                    </a:cubicBezTo>
                    <a:cubicBezTo>
                      <a:pt x="432184" y="358940"/>
                      <a:pt x="432184" y="358456"/>
                      <a:pt x="432427" y="358079"/>
                    </a:cubicBezTo>
                    <a:cubicBezTo>
                      <a:pt x="453113" y="323982"/>
                      <a:pt x="464539" y="285075"/>
                      <a:pt x="465574" y="245207"/>
                    </a:cubicBezTo>
                    <a:cubicBezTo>
                      <a:pt x="465900" y="220291"/>
                      <a:pt x="462465" y="195469"/>
                      <a:pt x="455382" y="171579"/>
                    </a:cubicBezTo>
                    <a:cubicBezTo>
                      <a:pt x="437564" y="115550"/>
                      <a:pt x="399032" y="68434"/>
                      <a:pt x="347655" y="39848"/>
                    </a:cubicBezTo>
                    <a:cubicBezTo>
                      <a:pt x="319092" y="24017"/>
                      <a:pt x="287375" y="14714"/>
                      <a:pt x="254786" y="12607"/>
                    </a:cubicBezTo>
                    <a:cubicBezTo>
                      <a:pt x="220323" y="10160"/>
                      <a:pt x="185750" y="15499"/>
                      <a:pt x="153630" y="28228"/>
                    </a:cubicBezTo>
                    <a:cubicBezTo>
                      <a:pt x="120321" y="41795"/>
                      <a:pt x="90711" y="63080"/>
                      <a:pt x="67239" y="90331"/>
                    </a:cubicBezTo>
                    <a:cubicBezTo>
                      <a:pt x="44002" y="116958"/>
                      <a:pt x="27418" y="148722"/>
                      <a:pt x="18852" y="183009"/>
                    </a:cubicBezTo>
                    <a:cubicBezTo>
                      <a:pt x="10582" y="215866"/>
                      <a:pt x="9639" y="250140"/>
                      <a:pt x="16089" y="283402"/>
                    </a:cubicBezTo>
                    <a:cubicBezTo>
                      <a:pt x="34517" y="373427"/>
                      <a:pt x="105057" y="443667"/>
                      <a:pt x="195159" y="461710"/>
                    </a:cubicBezTo>
                    <a:lnTo>
                      <a:pt x="214209" y="464663"/>
                    </a:lnTo>
                    <a:cubicBezTo>
                      <a:pt x="220591" y="465235"/>
                      <a:pt x="226878" y="465425"/>
                      <a:pt x="233259" y="465806"/>
                    </a:cubicBezTo>
                    <a:cubicBezTo>
                      <a:pt x="245256" y="466302"/>
                      <a:pt x="257274" y="465728"/>
                      <a:pt x="269169" y="464092"/>
                    </a:cubicBezTo>
                    <a:cubicBezTo>
                      <a:pt x="308923" y="458912"/>
                      <a:pt x="346607" y="443339"/>
                      <a:pt x="378421" y="418943"/>
                    </a:cubicBezTo>
                    <a:cubicBezTo>
                      <a:pt x="378838" y="418470"/>
                      <a:pt x="379560" y="418425"/>
                      <a:pt x="380034" y="418842"/>
                    </a:cubicBezTo>
                    <a:cubicBezTo>
                      <a:pt x="380070" y="418874"/>
                      <a:pt x="380103" y="418907"/>
                      <a:pt x="380135" y="418943"/>
                    </a:cubicBezTo>
                    <a:cubicBezTo>
                      <a:pt x="380523" y="419377"/>
                      <a:pt x="380523" y="420033"/>
                      <a:pt x="380135" y="420467"/>
                    </a:cubicBezTo>
                    <a:lnTo>
                      <a:pt x="380135" y="420467"/>
                    </a:lnTo>
                    <a:lnTo>
                      <a:pt x="379468" y="418467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8" name="Полилиния: фигура 257">
                <a:extLst>
                  <a:ext uri="{FF2B5EF4-FFF2-40B4-BE49-F238E27FC236}">
                    <a16:creationId xmlns:a16="http://schemas.microsoft.com/office/drawing/2014/main" id="{ADBF0990-9844-4E78-9128-999E13162C1D}"/>
                  </a:ext>
                </a:extLst>
              </p:cNvPr>
              <p:cNvSpPr/>
              <p:nvPr/>
            </p:nvSpPr>
            <p:spPr>
              <a:xfrm>
                <a:off x="429401" y="3772636"/>
                <a:ext cx="152400" cy="133350"/>
              </a:xfrm>
              <a:custGeom>
                <a:avLst/>
                <a:gdLst>
                  <a:gd name="connsiteX0" fmla="*/ 7144 w 152400"/>
                  <a:gd name="connsiteY0" fmla="*/ 40957 h 133350"/>
                  <a:gd name="connsiteX1" fmla="*/ 37243 w 152400"/>
                  <a:gd name="connsiteY1" fmla="*/ 7144 h 133350"/>
                  <a:gd name="connsiteX2" fmla="*/ 67247 w 152400"/>
                  <a:gd name="connsiteY2" fmla="*/ 40957 h 133350"/>
                  <a:gd name="connsiteX3" fmla="*/ 37243 w 152400"/>
                  <a:gd name="connsiteY3" fmla="*/ 74867 h 133350"/>
                  <a:gd name="connsiteX4" fmla="*/ 7144 w 152400"/>
                  <a:gd name="connsiteY4" fmla="*/ 40957 h 133350"/>
                  <a:gd name="connsiteX5" fmla="*/ 49911 w 152400"/>
                  <a:gd name="connsiteY5" fmla="*/ 40957 h 133350"/>
                  <a:gd name="connsiteX6" fmla="*/ 37243 w 152400"/>
                  <a:gd name="connsiteY6" fmla="*/ 21907 h 133350"/>
                  <a:gd name="connsiteX7" fmla="*/ 24575 w 152400"/>
                  <a:gd name="connsiteY7" fmla="*/ 40957 h 133350"/>
                  <a:gd name="connsiteX8" fmla="*/ 37243 w 152400"/>
                  <a:gd name="connsiteY8" fmla="*/ 60007 h 133350"/>
                  <a:gd name="connsiteX9" fmla="*/ 49911 w 152400"/>
                  <a:gd name="connsiteY9" fmla="*/ 40957 h 133350"/>
                  <a:gd name="connsiteX10" fmla="*/ 109442 w 152400"/>
                  <a:gd name="connsiteY10" fmla="*/ 8477 h 133350"/>
                  <a:gd name="connsiteX11" fmla="*/ 130016 w 152400"/>
                  <a:gd name="connsiteY11" fmla="*/ 8477 h 133350"/>
                  <a:gd name="connsiteX12" fmla="*/ 47339 w 152400"/>
                  <a:gd name="connsiteY12" fmla="*/ 131445 h 133350"/>
                  <a:gd name="connsiteX13" fmla="*/ 26670 w 152400"/>
                  <a:gd name="connsiteY13" fmla="*/ 131445 h 133350"/>
                  <a:gd name="connsiteX14" fmla="*/ 89440 w 152400"/>
                  <a:gd name="connsiteY14" fmla="*/ 98965 h 133350"/>
                  <a:gd name="connsiteX15" fmla="*/ 119444 w 152400"/>
                  <a:gd name="connsiteY15" fmla="*/ 65056 h 133350"/>
                  <a:gd name="connsiteX16" fmla="*/ 149638 w 152400"/>
                  <a:gd name="connsiteY16" fmla="*/ 98965 h 133350"/>
                  <a:gd name="connsiteX17" fmla="*/ 119444 w 152400"/>
                  <a:gd name="connsiteY17" fmla="*/ 132874 h 133350"/>
                  <a:gd name="connsiteX18" fmla="*/ 89535 w 152400"/>
                  <a:gd name="connsiteY18" fmla="*/ 99060 h 133350"/>
                  <a:gd name="connsiteX19" fmla="*/ 132112 w 152400"/>
                  <a:gd name="connsiteY19" fmla="*/ 98965 h 133350"/>
                  <a:gd name="connsiteX20" fmla="*/ 119444 w 152400"/>
                  <a:gd name="connsiteY20" fmla="*/ 79438 h 133350"/>
                  <a:gd name="connsiteX21" fmla="*/ 106775 w 152400"/>
                  <a:gd name="connsiteY21" fmla="*/ 98965 h 133350"/>
                  <a:gd name="connsiteX22" fmla="*/ 119444 w 152400"/>
                  <a:gd name="connsiteY22" fmla="*/ 118015 h 133350"/>
                  <a:gd name="connsiteX23" fmla="*/ 132207 w 152400"/>
                  <a:gd name="connsiteY23" fmla="*/ 9906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52400" h="133350">
                    <a:moveTo>
                      <a:pt x="7144" y="40957"/>
                    </a:moveTo>
                    <a:cubicBezTo>
                      <a:pt x="7144" y="20288"/>
                      <a:pt x="19526" y="7144"/>
                      <a:pt x="37243" y="7144"/>
                    </a:cubicBezTo>
                    <a:cubicBezTo>
                      <a:pt x="54959" y="7144"/>
                      <a:pt x="67247" y="20098"/>
                      <a:pt x="67247" y="40957"/>
                    </a:cubicBezTo>
                    <a:cubicBezTo>
                      <a:pt x="67247" y="61817"/>
                      <a:pt x="54959" y="74867"/>
                      <a:pt x="37243" y="74867"/>
                    </a:cubicBezTo>
                    <a:cubicBezTo>
                      <a:pt x="19526" y="74867"/>
                      <a:pt x="7144" y="61722"/>
                      <a:pt x="7144" y="40957"/>
                    </a:cubicBezTo>
                    <a:close/>
                    <a:moveTo>
                      <a:pt x="49911" y="40957"/>
                    </a:moveTo>
                    <a:cubicBezTo>
                      <a:pt x="49911" y="27813"/>
                      <a:pt x="44863" y="21907"/>
                      <a:pt x="37243" y="21907"/>
                    </a:cubicBezTo>
                    <a:cubicBezTo>
                      <a:pt x="29623" y="21907"/>
                      <a:pt x="24575" y="28384"/>
                      <a:pt x="24575" y="40957"/>
                    </a:cubicBezTo>
                    <a:cubicBezTo>
                      <a:pt x="24575" y="53530"/>
                      <a:pt x="29813" y="60007"/>
                      <a:pt x="37243" y="60007"/>
                    </a:cubicBezTo>
                    <a:cubicBezTo>
                      <a:pt x="44672" y="60007"/>
                      <a:pt x="49911" y="54197"/>
                      <a:pt x="49911" y="40957"/>
                    </a:cubicBezTo>
                    <a:close/>
                    <a:moveTo>
                      <a:pt x="109442" y="8477"/>
                    </a:moveTo>
                    <a:lnTo>
                      <a:pt x="130016" y="8477"/>
                    </a:lnTo>
                    <a:lnTo>
                      <a:pt x="47339" y="131445"/>
                    </a:lnTo>
                    <a:lnTo>
                      <a:pt x="26670" y="131445"/>
                    </a:lnTo>
                    <a:close/>
                    <a:moveTo>
                      <a:pt x="89440" y="98965"/>
                    </a:moveTo>
                    <a:cubicBezTo>
                      <a:pt x="89440" y="78200"/>
                      <a:pt x="101918" y="65056"/>
                      <a:pt x="119444" y="65056"/>
                    </a:cubicBezTo>
                    <a:cubicBezTo>
                      <a:pt x="136970" y="65056"/>
                      <a:pt x="149638" y="78200"/>
                      <a:pt x="149638" y="98965"/>
                    </a:cubicBezTo>
                    <a:cubicBezTo>
                      <a:pt x="149638" y="119729"/>
                      <a:pt x="137160" y="132874"/>
                      <a:pt x="119444" y="132874"/>
                    </a:cubicBezTo>
                    <a:cubicBezTo>
                      <a:pt x="101727" y="132874"/>
                      <a:pt x="89535" y="119634"/>
                      <a:pt x="89535" y="99060"/>
                    </a:cubicBezTo>
                    <a:close/>
                    <a:moveTo>
                      <a:pt x="132112" y="98965"/>
                    </a:moveTo>
                    <a:cubicBezTo>
                      <a:pt x="132112" y="85915"/>
                      <a:pt x="127064" y="79438"/>
                      <a:pt x="119444" y="79438"/>
                    </a:cubicBezTo>
                    <a:cubicBezTo>
                      <a:pt x="111824" y="79438"/>
                      <a:pt x="106775" y="85820"/>
                      <a:pt x="106775" y="98965"/>
                    </a:cubicBezTo>
                    <a:cubicBezTo>
                      <a:pt x="106775" y="112109"/>
                      <a:pt x="112014" y="118015"/>
                      <a:pt x="119444" y="118015"/>
                    </a:cubicBezTo>
                    <a:cubicBezTo>
                      <a:pt x="126873" y="118015"/>
                      <a:pt x="132207" y="111919"/>
                      <a:pt x="132207" y="99060"/>
                    </a:cubicBez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9" name="Полилиния: фигура 258">
                <a:extLst>
                  <a:ext uri="{FF2B5EF4-FFF2-40B4-BE49-F238E27FC236}">
                    <a16:creationId xmlns:a16="http://schemas.microsoft.com/office/drawing/2014/main" id="{25335B2B-0EE9-4A3E-AA01-77DB0A1B2B67}"/>
                  </a:ext>
                </a:extLst>
              </p:cNvPr>
              <p:cNvSpPr/>
              <p:nvPr/>
            </p:nvSpPr>
            <p:spPr>
              <a:xfrm>
                <a:off x="2912092" y="4328389"/>
                <a:ext cx="485775" cy="466725"/>
              </a:xfrm>
              <a:custGeom>
                <a:avLst/>
                <a:gdLst>
                  <a:gd name="connsiteX0" fmla="*/ 7144 w 485775"/>
                  <a:gd name="connsiteY0" fmla="*/ 442181 h 466725"/>
                  <a:gd name="connsiteX1" fmla="*/ 55816 w 485775"/>
                  <a:gd name="connsiteY1" fmla="*/ 356456 h 466725"/>
                  <a:gd name="connsiteX2" fmla="*/ 131149 w 485775"/>
                  <a:gd name="connsiteY2" fmla="*/ 41097 h 466725"/>
                  <a:gd name="connsiteX3" fmla="*/ 446509 w 485775"/>
                  <a:gd name="connsiteY3" fmla="*/ 116430 h 466725"/>
                  <a:gd name="connsiteX4" fmla="*/ 371176 w 485775"/>
                  <a:gd name="connsiteY4" fmla="*/ 431789 h 466725"/>
                  <a:gd name="connsiteX5" fmla="*/ 110776 w 485775"/>
                  <a:gd name="connsiteY5" fmla="*/ 417702 h 466725"/>
                  <a:gd name="connsiteX6" fmla="*/ 110776 w 485775"/>
                  <a:gd name="connsiteY6" fmla="*/ 417702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5775" h="466725">
                    <a:moveTo>
                      <a:pt x="7144" y="442181"/>
                    </a:moveTo>
                    <a:lnTo>
                      <a:pt x="55816" y="356456"/>
                    </a:lnTo>
                    <a:cubicBezTo>
                      <a:pt x="-10465" y="248569"/>
                      <a:pt x="23263" y="107378"/>
                      <a:pt x="131149" y="41097"/>
                    </a:cubicBezTo>
                    <a:cubicBezTo>
                      <a:pt x="239036" y="-25185"/>
                      <a:pt x="380227" y="8543"/>
                      <a:pt x="446509" y="116430"/>
                    </a:cubicBezTo>
                    <a:cubicBezTo>
                      <a:pt x="512790" y="224316"/>
                      <a:pt x="479062" y="365508"/>
                      <a:pt x="371176" y="431789"/>
                    </a:cubicBezTo>
                    <a:cubicBezTo>
                      <a:pt x="289897" y="481723"/>
                      <a:pt x="186192" y="476113"/>
                      <a:pt x="110776" y="417702"/>
                    </a:cubicBezTo>
                    <a:lnTo>
                      <a:pt x="110776" y="417702"/>
                    </a:ln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0" name="Полилиния: фигура 259">
                <a:extLst>
                  <a:ext uri="{FF2B5EF4-FFF2-40B4-BE49-F238E27FC236}">
                    <a16:creationId xmlns:a16="http://schemas.microsoft.com/office/drawing/2014/main" id="{C0D922F6-D160-45CA-8FF7-6D771654A7FD}"/>
                  </a:ext>
                </a:extLst>
              </p:cNvPr>
              <p:cNvSpPr/>
              <p:nvPr/>
            </p:nvSpPr>
            <p:spPr>
              <a:xfrm>
                <a:off x="2911902" y="4325907"/>
                <a:ext cx="485775" cy="476250"/>
              </a:xfrm>
              <a:custGeom>
                <a:avLst/>
                <a:gdLst>
                  <a:gd name="connsiteX0" fmla="*/ 7334 w 485775"/>
                  <a:gd name="connsiteY0" fmla="*/ 444663 h 476250"/>
                  <a:gd name="connsiteX1" fmla="*/ 110776 w 485775"/>
                  <a:gd name="connsiteY1" fmla="*/ 419041 h 476250"/>
                  <a:gd name="connsiteX2" fmla="*/ 110109 w 485775"/>
                  <a:gd name="connsiteY2" fmla="*/ 421041 h 476250"/>
                  <a:gd name="connsiteX3" fmla="*/ 110109 w 485775"/>
                  <a:gd name="connsiteY3" fmla="*/ 421041 h 476250"/>
                  <a:gd name="connsiteX4" fmla="*/ 110109 w 485775"/>
                  <a:gd name="connsiteY4" fmla="*/ 419232 h 476250"/>
                  <a:gd name="connsiteX5" fmla="*/ 111633 w 485775"/>
                  <a:gd name="connsiteY5" fmla="*/ 419232 h 476250"/>
                  <a:gd name="connsiteX6" fmla="*/ 220885 w 485775"/>
                  <a:gd name="connsiteY6" fmla="*/ 464475 h 476250"/>
                  <a:gd name="connsiteX7" fmla="*/ 256794 w 485775"/>
                  <a:gd name="connsiteY7" fmla="*/ 466095 h 476250"/>
                  <a:gd name="connsiteX8" fmla="*/ 275844 w 485775"/>
                  <a:gd name="connsiteY8" fmla="*/ 465047 h 476250"/>
                  <a:gd name="connsiteX9" fmla="*/ 294894 w 485775"/>
                  <a:gd name="connsiteY9" fmla="*/ 462094 h 476250"/>
                  <a:gd name="connsiteX10" fmla="*/ 371094 w 485775"/>
                  <a:gd name="connsiteY10" fmla="*/ 431900 h 476250"/>
                  <a:gd name="connsiteX11" fmla="*/ 471202 w 485775"/>
                  <a:gd name="connsiteY11" fmla="*/ 183392 h 476250"/>
                  <a:gd name="connsiteX12" fmla="*/ 422815 w 485775"/>
                  <a:gd name="connsiteY12" fmla="*/ 90619 h 476250"/>
                  <a:gd name="connsiteX13" fmla="*/ 335947 w 485775"/>
                  <a:gd name="connsiteY13" fmla="*/ 28611 h 476250"/>
                  <a:gd name="connsiteX14" fmla="*/ 234696 w 485775"/>
                  <a:gd name="connsiteY14" fmla="*/ 12514 h 476250"/>
                  <a:gd name="connsiteX15" fmla="*/ 141542 w 485775"/>
                  <a:gd name="connsiteY15" fmla="*/ 40136 h 476250"/>
                  <a:gd name="connsiteX16" fmla="*/ 33909 w 485775"/>
                  <a:gd name="connsiteY16" fmla="*/ 171867 h 476250"/>
                  <a:gd name="connsiteX17" fmla="*/ 23717 w 485775"/>
                  <a:gd name="connsiteY17" fmla="*/ 245495 h 476250"/>
                  <a:gd name="connsiteX18" fmla="*/ 56865 w 485775"/>
                  <a:gd name="connsiteY18" fmla="*/ 358367 h 476250"/>
                  <a:gd name="connsiteX19" fmla="*/ 56865 w 485775"/>
                  <a:gd name="connsiteY19" fmla="*/ 359510 h 476250"/>
                  <a:gd name="connsiteX20" fmla="*/ 7144 w 485775"/>
                  <a:gd name="connsiteY20" fmla="*/ 444663 h 476250"/>
                  <a:gd name="connsiteX21" fmla="*/ 54769 w 485775"/>
                  <a:gd name="connsiteY21" fmla="*/ 358367 h 476250"/>
                  <a:gd name="connsiteX22" fmla="*/ 54769 w 485775"/>
                  <a:gd name="connsiteY22" fmla="*/ 359605 h 476250"/>
                  <a:gd name="connsiteX23" fmla="*/ 20288 w 485775"/>
                  <a:gd name="connsiteY23" fmla="*/ 245305 h 476250"/>
                  <a:gd name="connsiteX24" fmla="*/ 29813 w 485775"/>
                  <a:gd name="connsiteY24" fmla="*/ 170438 h 476250"/>
                  <a:gd name="connsiteX25" fmla="*/ 138970 w 485775"/>
                  <a:gd name="connsiteY25" fmla="*/ 35850 h 476250"/>
                  <a:gd name="connsiteX26" fmla="*/ 233744 w 485775"/>
                  <a:gd name="connsiteY26" fmla="*/ 7751 h 476250"/>
                  <a:gd name="connsiteX27" fmla="*/ 336995 w 485775"/>
                  <a:gd name="connsiteY27" fmla="*/ 23658 h 476250"/>
                  <a:gd name="connsiteX28" fmla="*/ 425768 w 485775"/>
                  <a:gd name="connsiteY28" fmla="*/ 86999 h 476250"/>
                  <a:gd name="connsiteX29" fmla="*/ 475202 w 485775"/>
                  <a:gd name="connsiteY29" fmla="*/ 182249 h 476250"/>
                  <a:gd name="connsiteX30" fmla="*/ 307296 w 485775"/>
                  <a:gd name="connsiteY30" fmla="*/ 463235 h 476250"/>
                  <a:gd name="connsiteX31" fmla="*/ 294894 w 485775"/>
                  <a:gd name="connsiteY31" fmla="*/ 465999 h 476250"/>
                  <a:gd name="connsiteX32" fmla="*/ 275844 w 485775"/>
                  <a:gd name="connsiteY32" fmla="*/ 468952 h 476250"/>
                  <a:gd name="connsiteX33" fmla="*/ 256794 w 485775"/>
                  <a:gd name="connsiteY33" fmla="*/ 469904 h 476250"/>
                  <a:gd name="connsiteX34" fmla="*/ 220313 w 485775"/>
                  <a:gd name="connsiteY34" fmla="*/ 467999 h 476250"/>
                  <a:gd name="connsiteX35" fmla="*/ 110109 w 485775"/>
                  <a:gd name="connsiteY35" fmla="*/ 421327 h 476250"/>
                  <a:gd name="connsiteX36" fmla="*/ 111823 w 485775"/>
                  <a:gd name="connsiteY36" fmla="*/ 419612 h 476250"/>
                  <a:gd name="connsiteX37" fmla="*/ 111823 w 485775"/>
                  <a:gd name="connsiteY37" fmla="*/ 419612 h 476250"/>
                  <a:gd name="connsiteX38" fmla="*/ 111823 w 485775"/>
                  <a:gd name="connsiteY38" fmla="*/ 421327 h 476250"/>
                  <a:gd name="connsiteX39" fmla="*/ 111347 w 485775"/>
                  <a:gd name="connsiteY39" fmla="*/ 421327 h 47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485775" h="476250">
                    <a:moveTo>
                      <a:pt x="7334" y="444663"/>
                    </a:moveTo>
                    <a:lnTo>
                      <a:pt x="110776" y="419041"/>
                    </a:lnTo>
                    <a:lnTo>
                      <a:pt x="110109" y="421041"/>
                    </a:lnTo>
                    <a:lnTo>
                      <a:pt x="110109" y="421041"/>
                    </a:lnTo>
                    <a:cubicBezTo>
                      <a:pt x="109678" y="420515"/>
                      <a:pt x="109678" y="419758"/>
                      <a:pt x="110109" y="419232"/>
                    </a:cubicBezTo>
                    <a:cubicBezTo>
                      <a:pt x="110575" y="418938"/>
                      <a:pt x="111167" y="418938"/>
                      <a:pt x="111633" y="419232"/>
                    </a:cubicBezTo>
                    <a:cubicBezTo>
                      <a:pt x="143438" y="443657"/>
                      <a:pt x="181123" y="459263"/>
                      <a:pt x="220885" y="464475"/>
                    </a:cubicBezTo>
                    <a:cubicBezTo>
                      <a:pt x="232783" y="466079"/>
                      <a:pt x="244800" y="466621"/>
                      <a:pt x="256794" y="466095"/>
                    </a:cubicBezTo>
                    <a:cubicBezTo>
                      <a:pt x="262985" y="466094"/>
                      <a:pt x="269272" y="465618"/>
                      <a:pt x="275844" y="465047"/>
                    </a:cubicBezTo>
                    <a:lnTo>
                      <a:pt x="294894" y="462094"/>
                    </a:lnTo>
                    <a:cubicBezTo>
                      <a:pt x="321874" y="456596"/>
                      <a:pt x="347671" y="446374"/>
                      <a:pt x="371094" y="431900"/>
                    </a:cubicBezTo>
                    <a:cubicBezTo>
                      <a:pt x="455250" y="379897"/>
                      <a:pt x="495811" y="279210"/>
                      <a:pt x="471202" y="183392"/>
                    </a:cubicBezTo>
                    <a:cubicBezTo>
                      <a:pt x="462656" y="149069"/>
                      <a:pt x="446071" y="117270"/>
                      <a:pt x="422815" y="90619"/>
                    </a:cubicBezTo>
                    <a:cubicBezTo>
                      <a:pt x="399222" y="63314"/>
                      <a:pt x="369436" y="42053"/>
                      <a:pt x="335947" y="28611"/>
                    </a:cubicBezTo>
                    <a:cubicBezTo>
                      <a:pt x="303837" y="15697"/>
                      <a:pt x="269228" y="10194"/>
                      <a:pt x="234696" y="12514"/>
                    </a:cubicBezTo>
                    <a:cubicBezTo>
                      <a:pt x="201993" y="14771"/>
                      <a:pt x="170189" y="24202"/>
                      <a:pt x="141542" y="40136"/>
                    </a:cubicBezTo>
                    <a:cubicBezTo>
                      <a:pt x="90105" y="68627"/>
                      <a:pt x="51575" y="115784"/>
                      <a:pt x="33909" y="171867"/>
                    </a:cubicBezTo>
                    <a:cubicBezTo>
                      <a:pt x="26740" y="195738"/>
                      <a:pt x="23302" y="220574"/>
                      <a:pt x="23717" y="245495"/>
                    </a:cubicBezTo>
                    <a:cubicBezTo>
                      <a:pt x="24678" y="285375"/>
                      <a:pt x="36109" y="324300"/>
                      <a:pt x="56865" y="358367"/>
                    </a:cubicBezTo>
                    <a:cubicBezTo>
                      <a:pt x="57051" y="358725"/>
                      <a:pt x="57051" y="359152"/>
                      <a:pt x="56865" y="359510"/>
                    </a:cubicBezTo>
                    <a:cubicBezTo>
                      <a:pt x="25908" y="412564"/>
                      <a:pt x="11334" y="437615"/>
                      <a:pt x="7144" y="444663"/>
                    </a:cubicBezTo>
                    <a:cubicBezTo>
                      <a:pt x="11144" y="437519"/>
                      <a:pt x="25146" y="412088"/>
                      <a:pt x="54769" y="358367"/>
                    </a:cubicBezTo>
                    <a:lnTo>
                      <a:pt x="54769" y="359605"/>
                    </a:lnTo>
                    <a:cubicBezTo>
                      <a:pt x="33320" y="325247"/>
                      <a:pt x="21418" y="285792"/>
                      <a:pt x="20288" y="245305"/>
                    </a:cubicBezTo>
                    <a:cubicBezTo>
                      <a:pt x="19602" y="220009"/>
                      <a:pt x="22814" y="194757"/>
                      <a:pt x="29813" y="170438"/>
                    </a:cubicBezTo>
                    <a:cubicBezTo>
                      <a:pt x="47593" y="113238"/>
                      <a:pt x="86671" y="65055"/>
                      <a:pt x="138970" y="35850"/>
                    </a:cubicBezTo>
                    <a:cubicBezTo>
                      <a:pt x="168114" y="19638"/>
                      <a:pt x="200472" y="10044"/>
                      <a:pt x="233744" y="7751"/>
                    </a:cubicBezTo>
                    <a:cubicBezTo>
                      <a:pt x="268919" y="5213"/>
                      <a:pt x="304214" y="10650"/>
                      <a:pt x="336995" y="23658"/>
                    </a:cubicBezTo>
                    <a:cubicBezTo>
                      <a:pt x="371228" y="37364"/>
                      <a:pt x="401671" y="59086"/>
                      <a:pt x="425768" y="86999"/>
                    </a:cubicBezTo>
                    <a:cubicBezTo>
                      <a:pt x="449589" y="114365"/>
                      <a:pt x="466536" y="147019"/>
                      <a:pt x="475202" y="182249"/>
                    </a:cubicBezTo>
                    <a:cubicBezTo>
                      <a:pt x="506428" y="306207"/>
                      <a:pt x="431254" y="432009"/>
                      <a:pt x="307296" y="463235"/>
                    </a:cubicBezTo>
                    <a:cubicBezTo>
                      <a:pt x="303188" y="464270"/>
                      <a:pt x="299053" y="465191"/>
                      <a:pt x="294894" y="465999"/>
                    </a:cubicBezTo>
                    <a:lnTo>
                      <a:pt x="275844" y="468952"/>
                    </a:lnTo>
                    <a:cubicBezTo>
                      <a:pt x="269462" y="469428"/>
                      <a:pt x="263080" y="469619"/>
                      <a:pt x="256794" y="469904"/>
                    </a:cubicBezTo>
                    <a:cubicBezTo>
                      <a:pt x="244601" y="470383"/>
                      <a:pt x="232390" y="469746"/>
                      <a:pt x="220313" y="467999"/>
                    </a:cubicBezTo>
                    <a:cubicBezTo>
                      <a:pt x="180086" y="462504"/>
                      <a:pt x="142047" y="446395"/>
                      <a:pt x="110109" y="421327"/>
                    </a:cubicBezTo>
                    <a:lnTo>
                      <a:pt x="111823" y="419612"/>
                    </a:lnTo>
                    <a:lnTo>
                      <a:pt x="111823" y="419612"/>
                    </a:lnTo>
                    <a:cubicBezTo>
                      <a:pt x="112283" y="420091"/>
                      <a:pt x="112283" y="420848"/>
                      <a:pt x="111823" y="421327"/>
                    </a:cubicBezTo>
                    <a:lnTo>
                      <a:pt x="111347" y="421327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1" name="Полилиния: фигура 260">
                <a:extLst>
                  <a:ext uri="{FF2B5EF4-FFF2-40B4-BE49-F238E27FC236}">
                    <a16:creationId xmlns:a16="http://schemas.microsoft.com/office/drawing/2014/main" id="{300F9848-2EA5-4377-B4C8-E04ECF110A8C}"/>
                  </a:ext>
                </a:extLst>
              </p:cNvPr>
              <p:cNvSpPr/>
              <p:nvPr/>
            </p:nvSpPr>
            <p:spPr>
              <a:xfrm>
                <a:off x="3265660" y="4556639"/>
                <a:ext cx="9525" cy="9525"/>
              </a:xfrm>
              <a:custGeom>
                <a:avLst/>
                <a:gdLst>
                  <a:gd name="connsiteX0" fmla="*/ 7811 w 9525"/>
                  <a:gd name="connsiteY0" fmla="*/ 7144 h 9525"/>
                  <a:gd name="connsiteX1" fmla="*/ 7811 w 9525"/>
                  <a:gd name="connsiteY1" fmla="*/ 7144 h 9525"/>
                  <a:gd name="connsiteX2" fmla="*/ 7144 w 9525"/>
                  <a:gd name="connsiteY2" fmla="*/ 7810 h 9525"/>
                  <a:gd name="connsiteX3" fmla="*/ 8192 w 9525"/>
                  <a:gd name="connsiteY3" fmla="*/ 8763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" h="9525">
                    <a:moveTo>
                      <a:pt x="7811" y="7144"/>
                    </a:moveTo>
                    <a:lnTo>
                      <a:pt x="7811" y="7144"/>
                    </a:lnTo>
                    <a:lnTo>
                      <a:pt x="7144" y="7810"/>
                    </a:lnTo>
                    <a:lnTo>
                      <a:pt x="8192" y="8763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2" name="Полилиния: фигура 261">
                <a:extLst>
                  <a:ext uri="{FF2B5EF4-FFF2-40B4-BE49-F238E27FC236}">
                    <a16:creationId xmlns:a16="http://schemas.microsoft.com/office/drawing/2014/main" id="{0B3B3D2B-92A0-4C9C-A1C0-C75FD264826F}"/>
                  </a:ext>
                </a:extLst>
              </p:cNvPr>
              <p:cNvSpPr/>
              <p:nvPr/>
            </p:nvSpPr>
            <p:spPr>
              <a:xfrm>
                <a:off x="3263564" y="4553972"/>
                <a:ext cx="9525" cy="19050"/>
              </a:xfrm>
              <a:custGeom>
                <a:avLst/>
                <a:gdLst>
                  <a:gd name="connsiteX0" fmla="*/ 11144 w 9525"/>
                  <a:gd name="connsiteY0" fmla="*/ 14478 h 19050"/>
                  <a:gd name="connsiteX1" fmla="*/ 7144 w 9525"/>
                  <a:gd name="connsiteY1" fmla="*/ 10858 h 19050"/>
                  <a:gd name="connsiteX2" fmla="*/ 11049 w 9525"/>
                  <a:gd name="connsiteY2" fmla="*/ 7144 h 19050"/>
                  <a:gd name="connsiteX3" fmla="*/ 11144 w 9525"/>
                  <a:gd name="connsiteY3" fmla="*/ 14478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" h="19050">
                    <a:moveTo>
                      <a:pt x="11144" y="14478"/>
                    </a:moveTo>
                    <a:lnTo>
                      <a:pt x="7144" y="10858"/>
                    </a:lnTo>
                    <a:lnTo>
                      <a:pt x="11049" y="7144"/>
                    </a:lnTo>
                    <a:lnTo>
                      <a:pt x="11144" y="14478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3" name="Полилиния: фигура 262">
                <a:extLst>
                  <a:ext uri="{FF2B5EF4-FFF2-40B4-BE49-F238E27FC236}">
                    <a16:creationId xmlns:a16="http://schemas.microsoft.com/office/drawing/2014/main" id="{0448C423-3E55-41AB-A6D2-7EE0890D69B1}"/>
                  </a:ext>
                </a:extLst>
              </p:cNvPr>
              <p:cNvSpPr/>
              <p:nvPr/>
            </p:nvSpPr>
            <p:spPr>
              <a:xfrm>
                <a:off x="3212510" y="4507204"/>
                <a:ext cx="66675" cy="114300"/>
              </a:xfrm>
              <a:custGeom>
                <a:avLst/>
                <a:gdLst>
                  <a:gd name="connsiteX0" fmla="*/ 62770 w 66675"/>
                  <a:gd name="connsiteY0" fmla="*/ 56579 h 114300"/>
                  <a:gd name="connsiteX1" fmla="*/ 24099 w 66675"/>
                  <a:gd name="connsiteY1" fmla="*/ 21241 h 114300"/>
                  <a:gd name="connsiteX2" fmla="*/ 12192 w 66675"/>
                  <a:gd name="connsiteY2" fmla="*/ 10763 h 114300"/>
                  <a:gd name="connsiteX3" fmla="*/ 7525 w 66675"/>
                  <a:gd name="connsiteY3" fmla="*/ 7144 h 114300"/>
                  <a:gd name="connsiteX4" fmla="*/ 11430 w 66675"/>
                  <a:gd name="connsiteY4" fmla="*/ 11525 h 114300"/>
                  <a:gd name="connsiteX5" fmla="*/ 22765 w 66675"/>
                  <a:gd name="connsiteY5" fmla="*/ 22574 h 114300"/>
                  <a:gd name="connsiteX6" fmla="*/ 59912 w 66675"/>
                  <a:gd name="connsiteY6" fmla="*/ 57626 h 114300"/>
                  <a:gd name="connsiteX7" fmla="*/ 60579 w 66675"/>
                  <a:gd name="connsiteY7" fmla="*/ 56959 h 114300"/>
                  <a:gd name="connsiteX8" fmla="*/ 60579 w 66675"/>
                  <a:gd name="connsiteY8" fmla="*/ 56959 h 114300"/>
                  <a:gd name="connsiteX9" fmla="*/ 60579 w 66675"/>
                  <a:gd name="connsiteY9" fmla="*/ 58960 h 114300"/>
                  <a:gd name="connsiteX10" fmla="*/ 59532 w 66675"/>
                  <a:gd name="connsiteY10" fmla="*/ 58007 h 114300"/>
                  <a:gd name="connsiteX11" fmla="*/ 22289 w 66675"/>
                  <a:gd name="connsiteY11" fmla="*/ 94012 h 114300"/>
                  <a:gd name="connsiteX12" fmla="*/ 11049 w 66675"/>
                  <a:gd name="connsiteY12" fmla="*/ 105346 h 114300"/>
                  <a:gd name="connsiteX13" fmla="*/ 7144 w 66675"/>
                  <a:gd name="connsiteY13" fmla="*/ 109728 h 114300"/>
                  <a:gd name="connsiteX14" fmla="*/ 11716 w 66675"/>
                  <a:gd name="connsiteY14" fmla="*/ 106013 h 114300"/>
                  <a:gd name="connsiteX15" fmla="*/ 23622 w 66675"/>
                  <a:gd name="connsiteY15" fmla="*/ 95345 h 114300"/>
                  <a:gd name="connsiteX16" fmla="*/ 61722 w 66675"/>
                  <a:gd name="connsiteY16" fmla="*/ 59246 h 114300"/>
                  <a:gd name="connsiteX17" fmla="*/ 61722 w 66675"/>
                  <a:gd name="connsiteY17" fmla="*/ 59246 h 114300"/>
                  <a:gd name="connsiteX18" fmla="*/ 62675 w 66675"/>
                  <a:gd name="connsiteY18" fmla="*/ 58293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6675" h="114300">
                    <a:moveTo>
                      <a:pt x="62770" y="56579"/>
                    </a:moveTo>
                    <a:cubicBezTo>
                      <a:pt x="47720" y="42672"/>
                      <a:pt x="34195" y="30194"/>
                      <a:pt x="24099" y="21241"/>
                    </a:cubicBezTo>
                    <a:lnTo>
                      <a:pt x="12192" y="10763"/>
                    </a:lnTo>
                    <a:cubicBezTo>
                      <a:pt x="10799" y="9361"/>
                      <a:pt x="9230" y="8144"/>
                      <a:pt x="7525" y="7144"/>
                    </a:cubicBezTo>
                    <a:cubicBezTo>
                      <a:pt x="8660" y="8745"/>
                      <a:pt x="9970" y="10214"/>
                      <a:pt x="11430" y="11525"/>
                    </a:cubicBezTo>
                    <a:cubicBezTo>
                      <a:pt x="14574" y="14478"/>
                      <a:pt x="18288" y="18193"/>
                      <a:pt x="22765" y="22574"/>
                    </a:cubicBezTo>
                    <a:cubicBezTo>
                      <a:pt x="32290" y="31623"/>
                      <a:pt x="45339" y="44005"/>
                      <a:pt x="59912" y="57626"/>
                    </a:cubicBezTo>
                    <a:lnTo>
                      <a:pt x="60579" y="56959"/>
                    </a:lnTo>
                    <a:lnTo>
                      <a:pt x="60579" y="56959"/>
                    </a:lnTo>
                    <a:lnTo>
                      <a:pt x="60579" y="58960"/>
                    </a:lnTo>
                    <a:lnTo>
                      <a:pt x="59532" y="58007"/>
                    </a:lnTo>
                    <a:cubicBezTo>
                      <a:pt x="44958" y="71914"/>
                      <a:pt x="31814" y="84677"/>
                      <a:pt x="22289" y="94012"/>
                    </a:cubicBezTo>
                    <a:lnTo>
                      <a:pt x="11049" y="105346"/>
                    </a:lnTo>
                    <a:cubicBezTo>
                      <a:pt x="9616" y="106684"/>
                      <a:pt x="8309" y="108151"/>
                      <a:pt x="7144" y="109728"/>
                    </a:cubicBezTo>
                    <a:cubicBezTo>
                      <a:pt x="8840" y="108719"/>
                      <a:pt x="10380" y="107467"/>
                      <a:pt x="11716" y="106013"/>
                    </a:cubicBezTo>
                    <a:lnTo>
                      <a:pt x="23622" y="95345"/>
                    </a:lnTo>
                    <a:cubicBezTo>
                      <a:pt x="33147" y="85820"/>
                      <a:pt x="47149" y="73438"/>
                      <a:pt x="61722" y="59246"/>
                    </a:cubicBezTo>
                    <a:lnTo>
                      <a:pt x="61722" y="59246"/>
                    </a:lnTo>
                    <a:lnTo>
                      <a:pt x="62675" y="58293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4" name="Полилиния: фигура 263">
                <a:extLst>
                  <a:ext uri="{FF2B5EF4-FFF2-40B4-BE49-F238E27FC236}">
                    <a16:creationId xmlns:a16="http://schemas.microsoft.com/office/drawing/2014/main" id="{33F07AE7-01F1-4D35-A169-FC11D88409CD}"/>
                  </a:ext>
                </a:extLst>
              </p:cNvPr>
              <p:cNvSpPr/>
              <p:nvPr/>
            </p:nvSpPr>
            <p:spPr>
              <a:xfrm>
                <a:off x="3211655" y="4505769"/>
                <a:ext cx="66675" cy="114300"/>
              </a:xfrm>
              <a:custGeom>
                <a:avLst/>
                <a:gdLst>
                  <a:gd name="connsiteX0" fmla="*/ 8381 w 66675"/>
                  <a:gd name="connsiteY0" fmla="*/ 112020 h 114300"/>
                  <a:gd name="connsiteX1" fmla="*/ 7523 w 66675"/>
                  <a:gd name="connsiteY1" fmla="*/ 112020 h 114300"/>
                  <a:gd name="connsiteX2" fmla="*/ 11429 w 66675"/>
                  <a:gd name="connsiteY2" fmla="*/ 105924 h 114300"/>
                  <a:gd name="connsiteX3" fmla="*/ 22763 w 66675"/>
                  <a:gd name="connsiteY3" fmla="*/ 94589 h 114300"/>
                  <a:gd name="connsiteX4" fmla="*/ 59054 w 66675"/>
                  <a:gd name="connsiteY4" fmla="*/ 59442 h 114300"/>
                  <a:gd name="connsiteX5" fmla="*/ 22859 w 66675"/>
                  <a:gd name="connsiteY5" fmla="*/ 25247 h 114300"/>
                  <a:gd name="connsiteX6" fmla="*/ 11524 w 66675"/>
                  <a:gd name="connsiteY6" fmla="*/ 13627 h 114300"/>
                  <a:gd name="connsiteX7" fmla="*/ 7523 w 66675"/>
                  <a:gd name="connsiteY7" fmla="*/ 7531 h 114300"/>
                  <a:gd name="connsiteX8" fmla="*/ 13810 w 66675"/>
                  <a:gd name="connsiteY8" fmla="*/ 11055 h 114300"/>
                  <a:gd name="connsiteX9" fmla="*/ 25716 w 66675"/>
                  <a:gd name="connsiteY9" fmla="*/ 21533 h 114300"/>
                  <a:gd name="connsiteX10" fmla="*/ 62673 w 66675"/>
                  <a:gd name="connsiteY10" fmla="*/ 55346 h 114300"/>
                  <a:gd name="connsiteX11" fmla="*/ 62673 w 66675"/>
                  <a:gd name="connsiteY11" fmla="*/ 55346 h 114300"/>
                  <a:gd name="connsiteX12" fmla="*/ 62673 w 66675"/>
                  <a:gd name="connsiteY12" fmla="*/ 55823 h 114300"/>
                  <a:gd name="connsiteX13" fmla="*/ 64102 w 66675"/>
                  <a:gd name="connsiteY13" fmla="*/ 57156 h 114300"/>
                  <a:gd name="connsiteX14" fmla="*/ 66007 w 66675"/>
                  <a:gd name="connsiteY14" fmla="*/ 58966 h 114300"/>
                  <a:gd name="connsiteX15" fmla="*/ 63816 w 66675"/>
                  <a:gd name="connsiteY15" fmla="*/ 61157 h 114300"/>
                  <a:gd name="connsiteX16" fmla="*/ 62769 w 66675"/>
                  <a:gd name="connsiteY16" fmla="*/ 62204 h 114300"/>
                  <a:gd name="connsiteX17" fmla="*/ 62769 w 66675"/>
                  <a:gd name="connsiteY17" fmla="*/ 62681 h 114300"/>
                  <a:gd name="connsiteX18" fmla="*/ 62769 w 66675"/>
                  <a:gd name="connsiteY18" fmla="*/ 62681 h 114300"/>
                  <a:gd name="connsiteX19" fmla="*/ 25716 w 66675"/>
                  <a:gd name="connsiteY19" fmla="*/ 97542 h 114300"/>
                  <a:gd name="connsiteX20" fmla="*/ 13905 w 66675"/>
                  <a:gd name="connsiteY20" fmla="*/ 108305 h 114300"/>
                  <a:gd name="connsiteX21" fmla="*/ 8381 w 66675"/>
                  <a:gd name="connsiteY21" fmla="*/ 112020 h 114300"/>
                  <a:gd name="connsiteX22" fmla="*/ 60768 w 66675"/>
                  <a:gd name="connsiteY22" fmla="*/ 60680 h 114300"/>
                  <a:gd name="connsiteX23" fmla="*/ 39718 w 66675"/>
                  <a:gd name="connsiteY23" fmla="*/ 80969 h 114300"/>
                  <a:gd name="connsiteX24" fmla="*/ 60863 w 66675"/>
                  <a:gd name="connsiteY24" fmla="*/ 61252 h 114300"/>
                  <a:gd name="connsiteX25" fmla="*/ 40099 w 66675"/>
                  <a:gd name="connsiteY25" fmla="*/ 38011 h 114300"/>
                  <a:gd name="connsiteX26" fmla="*/ 60768 w 66675"/>
                  <a:gd name="connsiteY26" fmla="*/ 57061 h 114300"/>
                  <a:gd name="connsiteX27" fmla="*/ 60768 w 66675"/>
                  <a:gd name="connsiteY27" fmla="*/ 57061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6675" h="114300">
                    <a:moveTo>
                      <a:pt x="8381" y="112020"/>
                    </a:moveTo>
                    <a:cubicBezTo>
                      <a:pt x="8102" y="112108"/>
                      <a:pt x="7802" y="112108"/>
                      <a:pt x="7523" y="112020"/>
                    </a:cubicBezTo>
                    <a:cubicBezTo>
                      <a:pt x="6571" y="110972"/>
                      <a:pt x="7523" y="110306"/>
                      <a:pt x="11429" y="105924"/>
                    </a:cubicBezTo>
                    <a:lnTo>
                      <a:pt x="22763" y="94589"/>
                    </a:lnTo>
                    <a:cubicBezTo>
                      <a:pt x="32288" y="85064"/>
                      <a:pt x="45052" y="72777"/>
                      <a:pt x="59054" y="59442"/>
                    </a:cubicBezTo>
                    <a:cubicBezTo>
                      <a:pt x="45338" y="46679"/>
                      <a:pt x="32479" y="34582"/>
                      <a:pt x="22859" y="25247"/>
                    </a:cubicBezTo>
                    <a:lnTo>
                      <a:pt x="11524" y="13627"/>
                    </a:lnTo>
                    <a:cubicBezTo>
                      <a:pt x="7238" y="9245"/>
                      <a:pt x="6571" y="8579"/>
                      <a:pt x="7523" y="7531"/>
                    </a:cubicBezTo>
                    <a:cubicBezTo>
                      <a:pt x="8476" y="6483"/>
                      <a:pt x="9143" y="7531"/>
                      <a:pt x="13810" y="11055"/>
                    </a:cubicBezTo>
                    <a:lnTo>
                      <a:pt x="25716" y="21533"/>
                    </a:lnTo>
                    <a:cubicBezTo>
                      <a:pt x="35908" y="31058"/>
                      <a:pt x="48957" y="42678"/>
                      <a:pt x="62673" y="55346"/>
                    </a:cubicBezTo>
                    <a:lnTo>
                      <a:pt x="62673" y="55346"/>
                    </a:lnTo>
                    <a:lnTo>
                      <a:pt x="62673" y="55823"/>
                    </a:lnTo>
                    <a:lnTo>
                      <a:pt x="64102" y="57156"/>
                    </a:lnTo>
                    <a:lnTo>
                      <a:pt x="66007" y="58966"/>
                    </a:lnTo>
                    <a:lnTo>
                      <a:pt x="63816" y="61157"/>
                    </a:lnTo>
                    <a:cubicBezTo>
                      <a:pt x="63421" y="61456"/>
                      <a:pt x="63068" y="61809"/>
                      <a:pt x="62769" y="62204"/>
                    </a:cubicBezTo>
                    <a:lnTo>
                      <a:pt x="62769" y="62681"/>
                    </a:lnTo>
                    <a:lnTo>
                      <a:pt x="62769" y="62681"/>
                    </a:lnTo>
                    <a:cubicBezTo>
                      <a:pt x="48957" y="75920"/>
                      <a:pt x="35813" y="88303"/>
                      <a:pt x="25716" y="97542"/>
                    </a:cubicBezTo>
                    <a:lnTo>
                      <a:pt x="13905" y="108305"/>
                    </a:lnTo>
                    <a:cubicBezTo>
                      <a:pt x="10381" y="110972"/>
                      <a:pt x="9143" y="112020"/>
                      <a:pt x="8381" y="112020"/>
                    </a:cubicBezTo>
                    <a:close/>
                    <a:moveTo>
                      <a:pt x="60768" y="60680"/>
                    </a:moveTo>
                    <a:lnTo>
                      <a:pt x="39718" y="80969"/>
                    </a:lnTo>
                    <a:lnTo>
                      <a:pt x="60863" y="61252"/>
                    </a:lnTo>
                    <a:close/>
                    <a:moveTo>
                      <a:pt x="40099" y="38011"/>
                    </a:moveTo>
                    <a:cubicBezTo>
                      <a:pt x="46481" y="44107"/>
                      <a:pt x="53529" y="50584"/>
                      <a:pt x="60768" y="57061"/>
                    </a:cubicBezTo>
                    <a:lnTo>
                      <a:pt x="60768" y="57061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5" name="Полилиния: фигура 264">
                <a:extLst>
                  <a:ext uri="{FF2B5EF4-FFF2-40B4-BE49-F238E27FC236}">
                    <a16:creationId xmlns:a16="http://schemas.microsoft.com/office/drawing/2014/main" id="{876B8274-C9A1-4831-81E2-E438AEC61F15}"/>
                  </a:ext>
                </a:extLst>
              </p:cNvPr>
              <p:cNvSpPr/>
              <p:nvPr/>
            </p:nvSpPr>
            <p:spPr>
              <a:xfrm>
                <a:off x="3041441" y="4507204"/>
                <a:ext cx="66675" cy="114300"/>
              </a:xfrm>
              <a:custGeom>
                <a:avLst/>
                <a:gdLst>
                  <a:gd name="connsiteX0" fmla="*/ 58865 w 66675"/>
                  <a:gd name="connsiteY0" fmla="*/ 11525 h 114300"/>
                  <a:gd name="connsiteX1" fmla="*/ 62770 w 66675"/>
                  <a:gd name="connsiteY1" fmla="*/ 7144 h 114300"/>
                  <a:gd name="connsiteX2" fmla="*/ 58198 w 66675"/>
                  <a:gd name="connsiteY2" fmla="*/ 10858 h 114300"/>
                  <a:gd name="connsiteX3" fmla="*/ 46292 w 66675"/>
                  <a:gd name="connsiteY3" fmla="*/ 21717 h 114300"/>
                  <a:gd name="connsiteX4" fmla="*/ 8192 w 66675"/>
                  <a:gd name="connsiteY4" fmla="*/ 57817 h 114300"/>
                  <a:gd name="connsiteX5" fmla="*/ 8192 w 66675"/>
                  <a:gd name="connsiteY5" fmla="*/ 57817 h 114300"/>
                  <a:gd name="connsiteX6" fmla="*/ 7144 w 66675"/>
                  <a:gd name="connsiteY6" fmla="*/ 58769 h 114300"/>
                  <a:gd name="connsiteX7" fmla="*/ 8192 w 66675"/>
                  <a:gd name="connsiteY7" fmla="*/ 59722 h 114300"/>
                  <a:gd name="connsiteX8" fmla="*/ 46863 w 66675"/>
                  <a:gd name="connsiteY8" fmla="*/ 95060 h 114300"/>
                  <a:gd name="connsiteX9" fmla="*/ 58769 w 66675"/>
                  <a:gd name="connsiteY9" fmla="*/ 105537 h 114300"/>
                  <a:gd name="connsiteX10" fmla="*/ 63341 w 66675"/>
                  <a:gd name="connsiteY10" fmla="*/ 109157 h 114300"/>
                  <a:gd name="connsiteX11" fmla="*/ 59436 w 66675"/>
                  <a:gd name="connsiteY11" fmla="*/ 104870 h 114300"/>
                  <a:gd name="connsiteX12" fmla="*/ 48101 w 66675"/>
                  <a:gd name="connsiteY12" fmla="*/ 93726 h 114300"/>
                  <a:gd name="connsiteX13" fmla="*/ 10954 w 66675"/>
                  <a:gd name="connsiteY13" fmla="*/ 58769 h 114300"/>
                  <a:gd name="connsiteX14" fmla="*/ 10287 w 66675"/>
                  <a:gd name="connsiteY14" fmla="*/ 59341 h 114300"/>
                  <a:gd name="connsiteX15" fmla="*/ 10287 w 66675"/>
                  <a:gd name="connsiteY15" fmla="*/ 59341 h 114300"/>
                  <a:gd name="connsiteX16" fmla="*/ 10287 w 66675"/>
                  <a:gd name="connsiteY16" fmla="*/ 57436 h 114300"/>
                  <a:gd name="connsiteX17" fmla="*/ 11335 w 66675"/>
                  <a:gd name="connsiteY17" fmla="*/ 58388 h 114300"/>
                  <a:gd name="connsiteX18" fmla="*/ 48578 w 66675"/>
                  <a:gd name="connsiteY18" fmla="*/ 22289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6675" h="114300">
                    <a:moveTo>
                      <a:pt x="58865" y="11525"/>
                    </a:moveTo>
                    <a:cubicBezTo>
                      <a:pt x="60359" y="10248"/>
                      <a:pt x="61672" y="8774"/>
                      <a:pt x="62770" y="7144"/>
                    </a:cubicBezTo>
                    <a:cubicBezTo>
                      <a:pt x="61145" y="8252"/>
                      <a:pt x="59615" y="9494"/>
                      <a:pt x="58198" y="10858"/>
                    </a:cubicBezTo>
                    <a:lnTo>
                      <a:pt x="46292" y="21717"/>
                    </a:lnTo>
                    <a:cubicBezTo>
                      <a:pt x="36767" y="31242"/>
                      <a:pt x="22860" y="43625"/>
                      <a:pt x="8192" y="57817"/>
                    </a:cubicBezTo>
                    <a:lnTo>
                      <a:pt x="8192" y="57817"/>
                    </a:lnTo>
                    <a:lnTo>
                      <a:pt x="7144" y="58769"/>
                    </a:lnTo>
                    <a:lnTo>
                      <a:pt x="8192" y="59722"/>
                    </a:lnTo>
                    <a:cubicBezTo>
                      <a:pt x="23146" y="73628"/>
                      <a:pt x="36767" y="86106"/>
                      <a:pt x="46863" y="95060"/>
                    </a:cubicBezTo>
                    <a:lnTo>
                      <a:pt x="58769" y="105537"/>
                    </a:lnTo>
                    <a:cubicBezTo>
                      <a:pt x="60166" y="106896"/>
                      <a:pt x="61698" y="108109"/>
                      <a:pt x="63341" y="109157"/>
                    </a:cubicBezTo>
                    <a:cubicBezTo>
                      <a:pt x="62193" y="107595"/>
                      <a:pt x="60884" y="106159"/>
                      <a:pt x="59436" y="104870"/>
                    </a:cubicBezTo>
                    <a:lnTo>
                      <a:pt x="48101" y="93726"/>
                    </a:lnTo>
                    <a:cubicBezTo>
                      <a:pt x="38576" y="84201"/>
                      <a:pt x="25527" y="72295"/>
                      <a:pt x="10954" y="58769"/>
                    </a:cubicBezTo>
                    <a:lnTo>
                      <a:pt x="10287" y="59341"/>
                    </a:lnTo>
                    <a:lnTo>
                      <a:pt x="10287" y="59341"/>
                    </a:lnTo>
                    <a:lnTo>
                      <a:pt x="10287" y="57436"/>
                    </a:lnTo>
                    <a:lnTo>
                      <a:pt x="11335" y="58388"/>
                    </a:lnTo>
                    <a:cubicBezTo>
                      <a:pt x="26003" y="44387"/>
                      <a:pt x="39148" y="31623"/>
                      <a:pt x="48578" y="2228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6" name="Полилиния: фигура 265">
                <a:extLst>
                  <a:ext uri="{FF2B5EF4-FFF2-40B4-BE49-F238E27FC236}">
                    <a16:creationId xmlns:a16="http://schemas.microsoft.com/office/drawing/2014/main" id="{639A7E35-ACD5-413E-BAE9-D658EC600D8B}"/>
                  </a:ext>
                </a:extLst>
              </p:cNvPr>
              <p:cNvSpPr/>
              <p:nvPr/>
            </p:nvSpPr>
            <p:spPr>
              <a:xfrm>
                <a:off x="3039441" y="4505359"/>
                <a:ext cx="66675" cy="114300"/>
              </a:xfrm>
              <a:custGeom>
                <a:avLst/>
                <a:gdLst>
                  <a:gd name="connsiteX0" fmla="*/ 64865 w 66675"/>
                  <a:gd name="connsiteY0" fmla="*/ 112430 h 114300"/>
                  <a:gd name="connsiteX1" fmla="*/ 59436 w 66675"/>
                  <a:gd name="connsiteY1" fmla="*/ 108525 h 114300"/>
                  <a:gd name="connsiteX2" fmla="*/ 47435 w 66675"/>
                  <a:gd name="connsiteY2" fmla="*/ 98047 h 114300"/>
                  <a:gd name="connsiteX3" fmla="*/ 10478 w 66675"/>
                  <a:gd name="connsiteY3" fmla="*/ 64234 h 114300"/>
                  <a:gd name="connsiteX4" fmla="*/ 10478 w 66675"/>
                  <a:gd name="connsiteY4" fmla="*/ 64234 h 114300"/>
                  <a:gd name="connsiteX5" fmla="*/ 10478 w 66675"/>
                  <a:gd name="connsiteY5" fmla="*/ 63662 h 114300"/>
                  <a:gd name="connsiteX6" fmla="*/ 9049 w 66675"/>
                  <a:gd name="connsiteY6" fmla="*/ 62329 h 114300"/>
                  <a:gd name="connsiteX7" fmla="*/ 7144 w 66675"/>
                  <a:gd name="connsiteY7" fmla="*/ 60519 h 114300"/>
                  <a:gd name="connsiteX8" fmla="*/ 9430 w 66675"/>
                  <a:gd name="connsiteY8" fmla="*/ 58328 h 114300"/>
                  <a:gd name="connsiteX9" fmla="*/ 10478 w 66675"/>
                  <a:gd name="connsiteY9" fmla="*/ 57376 h 114300"/>
                  <a:gd name="connsiteX10" fmla="*/ 10478 w 66675"/>
                  <a:gd name="connsiteY10" fmla="*/ 56804 h 114300"/>
                  <a:gd name="connsiteX11" fmla="*/ 10478 w 66675"/>
                  <a:gd name="connsiteY11" fmla="*/ 56804 h 114300"/>
                  <a:gd name="connsiteX12" fmla="*/ 47530 w 66675"/>
                  <a:gd name="connsiteY12" fmla="*/ 21943 h 114300"/>
                  <a:gd name="connsiteX13" fmla="*/ 59341 w 66675"/>
                  <a:gd name="connsiteY13" fmla="*/ 11179 h 114300"/>
                  <a:gd name="connsiteX14" fmla="*/ 65627 w 66675"/>
                  <a:gd name="connsiteY14" fmla="*/ 7560 h 114300"/>
                  <a:gd name="connsiteX15" fmla="*/ 61722 w 66675"/>
                  <a:gd name="connsiteY15" fmla="*/ 13656 h 114300"/>
                  <a:gd name="connsiteX16" fmla="*/ 50482 w 66675"/>
                  <a:gd name="connsiteY16" fmla="*/ 24991 h 114300"/>
                  <a:gd name="connsiteX17" fmla="*/ 14097 w 66675"/>
                  <a:gd name="connsiteY17" fmla="*/ 60233 h 114300"/>
                  <a:gd name="connsiteX18" fmla="*/ 50387 w 66675"/>
                  <a:gd name="connsiteY18" fmla="*/ 94333 h 114300"/>
                  <a:gd name="connsiteX19" fmla="*/ 61722 w 66675"/>
                  <a:gd name="connsiteY19" fmla="*/ 105477 h 114300"/>
                  <a:gd name="connsiteX20" fmla="*/ 65627 w 66675"/>
                  <a:gd name="connsiteY20" fmla="*/ 111478 h 114300"/>
                  <a:gd name="connsiteX21" fmla="*/ 64865 w 66675"/>
                  <a:gd name="connsiteY21" fmla="*/ 112430 h 114300"/>
                  <a:gd name="connsiteX22" fmla="*/ 12287 w 66675"/>
                  <a:gd name="connsiteY22" fmla="*/ 62614 h 114300"/>
                  <a:gd name="connsiteX23" fmla="*/ 33052 w 66675"/>
                  <a:gd name="connsiteY23" fmla="*/ 81664 h 114300"/>
                  <a:gd name="connsiteX24" fmla="*/ 12382 w 66675"/>
                  <a:gd name="connsiteY24" fmla="*/ 62614 h 114300"/>
                  <a:gd name="connsiteX25" fmla="*/ 12287 w 66675"/>
                  <a:gd name="connsiteY25" fmla="*/ 58995 h 114300"/>
                  <a:gd name="connsiteX26" fmla="*/ 12287 w 66675"/>
                  <a:gd name="connsiteY26" fmla="*/ 58995 h 114300"/>
                  <a:gd name="connsiteX27" fmla="*/ 33338 w 66675"/>
                  <a:gd name="connsiteY27" fmla="*/ 38802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6675" h="114300">
                    <a:moveTo>
                      <a:pt x="64865" y="112430"/>
                    </a:moveTo>
                    <a:cubicBezTo>
                      <a:pt x="64008" y="112430"/>
                      <a:pt x="62770" y="111382"/>
                      <a:pt x="59436" y="108525"/>
                    </a:cubicBezTo>
                    <a:lnTo>
                      <a:pt x="47435" y="98047"/>
                    </a:lnTo>
                    <a:cubicBezTo>
                      <a:pt x="37433" y="88999"/>
                      <a:pt x="24384" y="77092"/>
                      <a:pt x="10478" y="64234"/>
                    </a:cubicBezTo>
                    <a:lnTo>
                      <a:pt x="10478" y="64234"/>
                    </a:lnTo>
                    <a:lnTo>
                      <a:pt x="10478" y="63662"/>
                    </a:lnTo>
                    <a:lnTo>
                      <a:pt x="9049" y="62329"/>
                    </a:lnTo>
                    <a:lnTo>
                      <a:pt x="7144" y="60519"/>
                    </a:lnTo>
                    <a:lnTo>
                      <a:pt x="9430" y="58328"/>
                    </a:lnTo>
                    <a:lnTo>
                      <a:pt x="10478" y="57376"/>
                    </a:lnTo>
                    <a:lnTo>
                      <a:pt x="10478" y="56804"/>
                    </a:lnTo>
                    <a:lnTo>
                      <a:pt x="10478" y="56804"/>
                    </a:lnTo>
                    <a:cubicBezTo>
                      <a:pt x="24384" y="43564"/>
                      <a:pt x="37433" y="31277"/>
                      <a:pt x="47530" y="21943"/>
                    </a:cubicBezTo>
                    <a:lnTo>
                      <a:pt x="59341" y="11179"/>
                    </a:lnTo>
                    <a:cubicBezTo>
                      <a:pt x="64008" y="7084"/>
                      <a:pt x="64675" y="6607"/>
                      <a:pt x="65627" y="7560"/>
                    </a:cubicBezTo>
                    <a:cubicBezTo>
                      <a:pt x="66580" y="8512"/>
                      <a:pt x="66104" y="9179"/>
                      <a:pt x="61722" y="13656"/>
                    </a:cubicBezTo>
                    <a:lnTo>
                      <a:pt x="50482" y="24991"/>
                    </a:lnTo>
                    <a:cubicBezTo>
                      <a:pt x="40957" y="34516"/>
                      <a:pt x="27908" y="46993"/>
                      <a:pt x="14097" y="60233"/>
                    </a:cubicBezTo>
                    <a:cubicBezTo>
                      <a:pt x="28099" y="73092"/>
                      <a:pt x="40862" y="85189"/>
                      <a:pt x="50387" y="94333"/>
                    </a:cubicBezTo>
                    <a:lnTo>
                      <a:pt x="61722" y="105477"/>
                    </a:lnTo>
                    <a:cubicBezTo>
                      <a:pt x="66104" y="109954"/>
                      <a:pt x="66580" y="110430"/>
                      <a:pt x="65627" y="111478"/>
                    </a:cubicBezTo>
                    <a:cubicBezTo>
                      <a:pt x="64675" y="112525"/>
                      <a:pt x="65151" y="112430"/>
                      <a:pt x="64865" y="112430"/>
                    </a:cubicBezTo>
                    <a:close/>
                    <a:moveTo>
                      <a:pt x="12287" y="62614"/>
                    </a:moveTo>
                    <a:lnTo>
                      <a:pt x="33052" y="81664"/>
                    </a:lnTo>
                    <a:cubicBezTo>
                      <a:pt x="26670" y="75664"/>
                      <a:pt x="19717" y="69091"/>
                      <a:pt x="12382" y="62614"/>
                    </a:cubicBezTo>
                    <a:close/>
                    <a:moveTo>
                      <a:pt x="12287" y="58995"/>
                    </a:moveTo>
                    <a:lnTo>
                      <a:pt x="12287" y="58995"/>
                    </a:lnTo>
                    <a:lnTo>
                      <a:pt x="33338" y="38802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7" name="Полилиния: фигура 266">
                <a:extLst>
                  <a:ext uri="{FF2B5EF4-FFF2-40B4-BE49-F238E27FC236}">
                    <a16:creationId xmlns:a16="http://schemas.microsoft.com/office/drawing/2014/main" id="{FB64B291-E195-4DA9-859C-2AB1E6203A4A}"/>
                  </a:ext>
                </a:extLst>
              </p:cNvPr>
              <p:cNvSpPr/>
              <p:nvPr/>
            </p:nvSpPr>
            <p:spPr>
              <a:xfrm>
                <a:off x="3043347" y="4558353"/>
                <a:ext cx="9525" cy="9525"/>
              </a:xfrm>
              <a:custGeom>
                <a:avLst/>
                <a:gdLst>
                  <a:gd name="connsiteX0" fmla="*/ 7525 w 9525"/>
                  <a:gd name="connsiteY0" fmla="*/ 8668 h 9525"/>
                  <a:gd name="connsiteX1" fmla="*/ 7525 w 9525"/>
                  <a:gd name="connsiteY1" fmla="*/ 8668 h 9525"/>
                  <a:gd name="connsiteX2" fmla="*/ 8191 w 9525"/>
                  <a:gd name="connsiteY2" fmla="*/ 8096 h 9525"/>
                  <a:gd name="connsiteX3" fmla="*/ 7144 w 9525"/>
                  <a:gd name="connsiteY3" fmla="*/ 7144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" h="9525">
                    <a:moveTo>
                      <a:pt x="7525" y="8668"/>
                    </a:moveTo>
                    <a:lnTo>
                      <a:pt x="7525" y="8668"/>
                    </a:lnTo>
                    <a:lnTo>
                      <a:pt x="8191" y="8096"/>
                    </a:lnTo>
                    <a:lnTo>
                      <a:pt x="7144" y="7144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8" name="Полилиния: фигура 267">
                <a:extLst>
                  <a:ext uri="{FF2B5EF4-FFF2-40B4-BE49-F238E27FC236}">
                    <a16:creationId xmlns:a16="http://schemas.microsoft.com/office/drawing/2014/main" id="{F41B197B-E242-4B69-80CC-B4656A0C3FAC}"/>
                  </a:ext>
                </a:extLst>
              </p:cNvPr>
              <p:cNvSpPr/>
              <p:nvPr/>
            </p:nvSpPr>
            <p:spPr>
              <a:xfrm>
                <a:off x="3042489" y="4555305"/>
                <a:ext cx="9525" cy="19050"/>
              </a:xfrm>
              <a:custGeom>
                <a:avLst/>
                <a:gdLst>
                  <a:gd name="connsiteX0" fmla="*/ 7144 w 9525"/>
                  <a:gd name="connsiteY0" fmla="*/ 14478 h 19050"/>
                  <a:gd name="connsiteX1" fmla="*/ 7144 w 9525"/>
                  <a:gd name="connsiteY1" fmla="*/ 7144 h 19050"/>
                  <a:gd name="connsiteX2" fmla="*/ 11049 w 9525"/>
                  <a:gd name="connsiteY2" fmla="*/ 10858 h 19050"/>
                  <a:gd name="connsiteX3" fmla="*/ 7144 w 9525"/>
                  <a:gd name="connsiteY3" fmla="*/ 14478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" h="19050">
                    <a:moveTo>
                      <a:pt x="7144" y="14478"/>
                    </a:moveTo>
                    <a:lnTo>
                      <a:pt x="7144" y="7144"/>
                    </a:lnTo>
                    <a:lnTo>
                      <a:pt x="11049" y="10858"/>
                    </a:lnTo>
                    <a:lnTo>
                      <a:pt x="7144" y="14478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9" name="Полилиния: фигура 268">
                <a:extLst>
                  <a:ext uri="{FF2B5EF4-FFF2-40B4-BE49-F238E27FC236}">
                    <a16:creationId xmlns:a16="http://schemas.microsoft.com/office/drawing/2014/main" id="{7440D285-7DF9-4150-B4A5-8350E31813EC}"/>
                  </a:ext>
                </a:extLst>
              </p:cNvPr>
              <p:cNvSpPr/>
              <p:nvPr/>
            </p:nvSpPr>
            <p:spPr>
              <a:xfrm>
                <a:off x="3126759" y="4481867"/>
                <a:ext cx="66675" cy="161925"/>
              </a:xfrm>
              <a:custGeom>
                <a:avLst/>
                <a:gdLst>
                  <a:gd name="connsiteX0" fmla="*/ 7170 w 66675"/>
                  <a:gd name="connsiteY0" fmla="*/ 158782 h 161925"/>
                  <a:gd name="connsiteX1" fmla="*/ 36793 w 66675"/>
                  <a:gd name="connsiteY1" fmla="*/ 83344 h 161925"/>
                  <a:gd name="connsiteX2" fmla="*/ 63939 w 66675"/>
                  <a:gd name="connsiteY2" fmla="*/ 7144 h 161925"/>
                  <a:gd name="connsiteX3" fmla="*/ 34316 w 66675"/>
                  <a:gd name="connsiteY3" fmla="*/ 82487 h 161925"/>
                  <a:gd name="connsiteX4" fmla="*/ 7170 w 66675"/>
                  <a:gd name="connsiteY4" fmla="*/ 158782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161925">
                    <a:moveTo>
                      <a:pt x="7170" y="158782"/>
                    </a:moveTo>
                    <a:cubicBezTo>
                      <a:pt x="7837" y="158782"/>
                      <a:pt x="21076" y="125254"/>
                      <a:pt x="36793" y="83344"/>
                    </a:cubicBezTo>
                    <a:cubicBezTo>
                      <a:pt x="52509" y="41434"/>
                      <a:pt x="64606" y="7144"/>
                      <a:pt x="63939" y="7144"/>
                    </a:cubicBezTo>
                    <a:cubicBezTo>
                      <a:pt x="63272" y="7144"/>
                      <a:pt x="50033" y="40577"/>
                      <a:pt x="34316" y="82487"/>
                    </a:cubicBezTo>
                    <a:cubicBezTo>
                      <a:pt x="18600" y="124396"/>
                      <a:pt x="6503" y="158496"/>
                      <a:pt x="7170" y="15878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0" name="Полилиния: фигура 269">
                <a:extLst>
                  <a:ext uri="{FF2B5EF4-FFF2-40B4-BE49-F238E27FC236}">
                    <a16:creationId xmlns:a16="http://schemas.microsoft.com/office/drawing/2014/main" id="{5C775BBA-1070-404B-8767-00C72091B09A}"/>
                  </a:ext>
                </a:extLst>
              </p:cNvPr>
              <p:cNvSpPr/>
              <p:nvPr/>
            </p:nvSpPr>
            <p:spPr>
              <a:xfrm>
                <a:off x="3126352" y="4480629"/>
                <a:ext cx="66675" cy="161925"/>
              </a:xfrm>
              <a:custGeom>
                <a:avLst/>
                <a:gdLst>
                  <a:gd name="connsiteX0" fmla="*/ 7673 w 66675"/>
                  <a:gd name="connsiteY0" fmla="*/ 161258 h 161925"/>
                  <a:gd name="connsiteX1" fmla="*/ 7673 w 66675"/>
                  <a:gd name="connsiteY1" fmla="*/ 161258 h 161925"/>
                  <a:gd name="connsiteX2" fmla="*/ 34152 w 66675"/>
                  <a:gd name="connsiteY2" fmla="*/ 83344 h 161925"/>
                  <a:gd name="connsiteX3" fmla="*/ 64347 w 66675"/>
                  <a:gd name="connsiteY3" fmla="*/ 7144 h 161925"/>
                  <a:gd name="connsiteX4" fmla="*/ 64347 w 66675"/>
                  <a:gd name="connsiteY4" fmla="*/ 7144 h 161925"/>
                  <a:gd name="connsiteX5" fmla="*/ 64918 w 66675"/>
                  <a:gd name="connsiteY5" fmla="*/ 7144 h 161925"/>
                  <a:gd name="connsiteX6" fmla="*/ 38439 w 66675"/>
                  <a:gd name="connsiteY6" fmla="*/ 84963 h 161925"/>
                  <a:gd name="connsiteX7" fmla="*/ 17960 w 66675"/>
                  <a:gd name="connsiteY7" fmla="*/ 138494 h 161925"/>
                  <a:gd name="connsiteX8" fmla="*/ 7673 w 66675"/>
                  <a:gd name="connsiteY8" fmla="*/ 161258 h 161925"/>
                  <a:gd name="connsiteX9" fmla="*/ 47868 w 66675"/>
                  <a:gd name="connsiteY9" fmla="*/ 52292 h 161925"/>
                  <a:gd name="connsiteX10" fmla="*/ 35867 w 66675"/>
                  <a:gd name="connsiteY10" fmla="*/ 84106 h 161925"/>
                  <a:gd name="connsiteX11" fmla="*/ 24056 w 66675"/>
                  <a:gd name="connsiteY11" fmla="*/ 115919 h 161925"/>
                  <a:gd name="connsiteX12" fmla="*/ 36057 w 66675"/>
                  <a:gd name="connsiteY12" fmla="*/ 84201 h 161925"/>
                  <a:gd name="connsiteX13" fmla="*/ 47868 w 66675"/>
                  <a:gd name="connsiteY13" fmla="*/ 52292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6675" h="161925">
                    <a:moveTo>
                      <a:pt x="7673" y="161258"/>
                    </a:moveTo>
                    <a:lnTo>
                      <a:pt x="7673" y="161258"/>
                    </a:lnTo>
                    <a:cubicBezTo>
                      <a:pt x="6339" y="160687"/>
                      <a:pt x="5291" y="160306"/>
                      <a:pt x="34152" y="83344"/>
                    </a:cubicBezTo>
                    <a:cubicBezTo>
                      <a:pt x="44630" y="55245"/>
                      <a:pt x="62727" y="8096"/>
                      <a:pt x="64347" y="7144"/>
                    </a:cubicBezTo>
                    <a:lnTo>
                      <a:pt x="64347" y="7144"/>
                    </a:lnTo>
                    <a:lnTo>
                      <a:pt x="64918" y="7144"/>
                    </a:lnTo>
                    <a:cubicBezTo>
                      <a:pt x="66251" y="7144"/>
                      <a:pt x="67204" y="8001"/>
                      <a:pt x="38439" y="84963"/>
                    </a:cubicBezTo>
                    <a:cubicBezTo>
                      <a:pt x="30819" y="105251"/>
                      <a:pt x="23580" y="124206"/>
                      <a:pt x="17960" y="138494"/>
                    </a:cubicBezTo>
                    <a:cubicBezTo>
                      <a:pt x="9959" y="158591"/>
                      <a:pt x="8816" y="161258"/>
                      <a:pt x="7673" y="161258"/>
                    </a:cubicBezTo>
                    <a:close/>
                    <a:moveTo>
                      <a:pt x="47868" y="52292"/>
                    </a:moveTo>
                    <a:cubicBezTo>
                      <a:pt x="44249" y="61817"/>
                      <a:pt x="40248" y="72390"/>
                      <a:pt x="35867" y="84106"/>
                    </a:cubicBezTo>
                    <a:lnTo>
                      <a:pt x="24056" y="115919"/>
                    </a:lnTo>
                    <a:cubicBezTo>
                      <a:pt x="27675" y="106394"/>
                      <a:pt x="31676" y="95917"/>
                      <a:pt x="36057" y="84201"/>
                    </a:cubicBezTo>
                    <a:cubicBezTo>
                      <a:pt x="40439" y="72485"/>
                      <a:pt x="44439" y="61722"/>
                      <a:pt x="47868" y="5229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1" name="Полилиния: фигура 270">
                <a:extLst>
                  <a:ext uri="{FF2B5EF4-FFF2-40B4-BE49-F238E27FC236}">
                    <a16:creationId xmlns:a16="http://schemas.microsoft.com/office/drawing/2014/main" id="{B7D4E38A-6E48-4F04-B6BB-507813FB683A}"/>
                  </a:ext>
                </a:extLst>
              </p:cNvPr>
              <p:cNvSpPr/>
              <p:nvPr/>
            </p:nvSpPr>
            <p:spPr>
              <a:xfrm>
                <a:off x="3306006" y="3464458"/>
                <a:ext cx="485775" cy="466725"/>
              </a:xfrm>
              <a:custGeom>
                <a:avLst/>
                <a:gdLst>
                  <a:gd name="connsiteX0" fmla="*/ 481338 w 485775"/>
                  <a:gd name="connsiteY0" fmla="*/ 443623 h 466725"/>
                  <a:gd name="connsiteX1" fmla="*/ 432761 w 485775"/>
                  <a:gd name="connsiteY1" fmla="*/ 357898 h 466725"/>
                  <a:gd name="connsiteX2" fmla="*/ 357898 w 485775"/>
                  <a:gd name="connsiteY2" fmla="*/ 41458 h 466725"/>
                  <a:gd name="connsiteX3" fmla="*/ 41458 w 485775"/>
                  <a:gd name="connsiteY3" fmla="*/ 116320 h 466725"/>
                  <a:gd name="connsiteX4" fmla="*/ 116320 w 485775"/>
                  <a:gd name="connsiteY4" fmla="*/ 432761 h 466725"/>
                  <a:gd name="connsiteX5" fmla="*/ 377706 w 485775"/>
                  <a:gd name="connsiteY5" fmla="*/ 419049 h 466725"/>
                  <a:gd name="connsiteX6" fmla="*/ 377706 w 485775"/>
                  <a:gd name="connsiteY6" fmla="*/ 419049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5775" h="466725">
                    <a:moveTo>
                      <a:pt x="481338" y="443623"/>
                    </a:moveTo>
                    <a:lnTo>
                      <a:pt x="432761" y="357898"/>
                    </a:lnTo>
                    <a:cubicBezTo>
                      <a:pt x="499471" y="249843"/>
                      <a:pt x="465953" y="108168"/>
                      <a:pt x="357898" y="41458"/>
                    </a:cubicBezTo>
                    <a:cubicBezTo>
                      <a:pt x="249843" y="-25252"/>
                      <a:pt x="108168" y="8265"/>
                      <a:pt x="41458" y="116320"/>
                    </a:cubicBezTo>
                    <a:cubicBezTo>
                      <a:pt x="-25252" y="224376"/>
                      <a:pt x="8265" y="366051"/>
                      <a:pt x="116320" y="432761"/>
                    </a:cubicBezTo>
                    <a:cubicBezTo>
                      <a:pt x="197804" y="483066"/>
                      <a:pt x="301934" y="477603"/>
                      <a:pt x="377706" y="419049"/>
                    </a:cubicBezTo>
                    <a:lnTo>
                      <a:pt x="377706" y="419049"/>
                    </a:ln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2" name="Полилиния: фигура 271">
                <a:extLst>
                  <a:ext uri="{FF2B5EF4-FFF2-40B4-BE49-F238E27FC236}">
                    <a16:creationId xmlns:a16="http://schemas.microsoft.com/office/drawing/2014/main" id="{D09C5D2D-24C9-4B6B-9C00-0D1820A32DF1}"/>
                  </a:ext>
                </a:extLst>
              </p:cNvPr>
              <p:cNvSpPr/>
              <p:nvPr/>
            </p:nvSpPr>
            <p:spPr>
              <a:xfrm>
                <a:off x="3304836" y="3463897"/>
                <a:ext cx="485775" cy="476250"/>
              </a:xfrm>
              <a:custGeom>
                <a:avLst/>
                <a:gdLst>
                  <a:gd name="connsiteX0" fmla="*/ 482508 w 485775"/>
                  <a:gd name="connsiteY0" fmla="*/ 444184 h 476250"/>
                  <a:gd name="connsiteX1" fmla="*/ 378495 w 485775"/>
                  <a:gd name="connsiteY1" fmla="*/ 420943 h 476250"/>
                  <a:gd name="connsiteX2" fmla="*/ 377638 w 485775"/>
                  <a:gd name="connsiteY2" fmla="*/ 419515 h 476250"/>
                  <a:gd name="connsiteX3" fmla="*/ 377638 w 485775"/>
                  <a:gd name="connsiteY3" fmla="*/ 418943 h 476250"/>
                  <a:gd name="connsiteX4" fmla="*/ 377638 w 485775"/>
                  <a:gd name="connsiteY4" fmla="*/ 418943 h 476250"/>
                  <a:gd name="connsiteX5" fmla="*/ 379352 w 485775"/>
                  <a:gd name="connsiteY5" fmla="*/ 420753 h 476250"/>
                  <a:gd name="connsiteX6" fmla="*/ 269053 w 485775"/>
                  <a:gd name="connsiteY6" fmla="*/ 467425 h 476250"/>
                  <a:gd name="connsiteX7" fmla="*/ 232667 w 485775"/>
                  <a:gd name="connsiteY7" fmla="*/ 469330 h 476250"/>
                  <a:gd name="connsiteX8" fmla="*/ 213617 w 485775"/>
                  <a:gd name="connsiteY8" fmla="*/ 468283 h 476250"/>
                  <a:gd name="connsiteX9" fmla="*/ 194567 w 485775"/>
                  <a:gd name="connsiteY9" fmla="*/ 465330 h 476250"/>
                  <a:gd name="connsiteX10" fmla="*/ 11289 w 485775"/>
                  <a:gd name="connsiteY10" fmla="*/ 195423 h 476250"/>
                  <a:gd name="connsiteX11" fmla="*/ 14355 w 485775"/>
                  <a:gd name="connsiteY11" fmla="*/ 181675 h 476250"/>
                  <a:gd name="connsiteX12" fmla="*/ 63694 w 485775"/>
                  <a:gd name="connsiteY12" fmla="*/ 86902 h 476250"/>
                  <a:gd name="connsiteX13" fmla="*/ 152467 w 485775"/>
                  <a:gd name="connsiteY13" fmla="*/ 23465 h 476250"/>
                  <a:gd name="connsiteX14" fmla="*/ 255623 w 485775"/>
                  <a:gd name="connsiteY14" fmla="*/ 7749 h 476250"/>
                  <a:gd name="connsiteX15" fmla="*/ 350397 w 485775"/>
                  <a:gd name="connsiteY15" fmla="*/ 36324 h 476250"/>
                  <a:gd name="connsiteX16" fmla="*/ 420405 w 485775"/>
                  <a:gd name="connsiteY16" fmla="*/ 96141 h 476250"/>
                  <a:gd name="connsiteX17" fmla="*/ 459553 w 485775"/>
                  <a:gd name="connsiteY17" fmla="*/ 170817 h 476250"/>
                  <a:gd name="connsiteX18" fmla="*/ 469078 w 485775"/>
                  <a:gd name="connsiteY18" fmla="*/ 245683 h 476250"/>
                  <a:gd name="connsiteX19" fmla="*/ 434502 w 485775"/>
                  <a:gd name="connsiteY19" fmla="*/ 359983 h 476250"/>
                  <a:gd name="connsiteX20" fmla="*/ 434502 w 485775"/>
                  <a:gd name="connsiteY20" fmla="*/ 358840 h 476250"/>
                  <a:gd name="connsiteX21" fmla="*/ 482127 w 485775"/>
                  <a:gd name="connsiteY21" fmla="*/ 445137 h 476250"/>
                  <a:gd name="connsiteX22" fmla="*/ 432502 w 485775"/>
                  <a:gd name="connsiteY22" fmla="*/ 359983 h 476250"/>
                  <a:gd name="connsiteX23" fmla="*/ 432502 w 485775"/>
                  <a:gd name="connsiteY23" fmla="*/ 358745 h 476250"/>
                  <a:gd name="connsiteX24" fmla="*/ 465649 w 485775"/>
                  <a:gd name="connsiteY24" fmla="*/ 245874 h 476250"/>
                  <a:gd name="connsiteX25" fmla="*/ 455457 w 485775"/>
                  <a:gd name="connsiteY25" fmla="*/ 172245 h 476250"/>
                  <a:gd name="connsiteX26" fmla="*/ 348682 w 485775"/>
                  <a:gd name="connsiteY26" fmla="*/ 39562 h 476250"/>
                  <a:gd name="connsiteX27" fmla="*/ 255718 w 485775"/>
                  <a:gd name="connsiteY27" fmla="*/ 12321 h 476250"/>
                  <a:gd name="connsiteX28" fmla="*/ 154658 w 485775"/>
                  <a:gd name="connsiteY28" fmla="*/ 27942 h 476250"/>
                  <a:gd name="connsiteX29" fmla="*/ 67790 w 485775"/>
                  <a:gd name="connsiteY29" fmla="*/ 90045 h 476250"/>
                  <a:gd name="connsiteX30" fmla="*/ 19403 w 485775"/>
                  <a:gd name="connsiteY30" fmla="*/ 182723 h 476250"/>
                  <a:gd name="connsiteX31" fmla="*/ 16641 w 485775"/>
                  <a:gd name="connsiteY31" fmla="*/ 283116 h 476250"/>
                  <a:gd name="connsiteX32" fmla="*/ 195615 w 485775"/>
                  <a:gd name="connsiteY32" fmla="*/ 461424 h 476250"/>
                  <a:gd name="connsiteX33" fmla="*/ 214665 w 485775"/>
                  <a:gd name="connsiteY33" fmla="*/ 464377 h 476250"/>
                  <a:gd name="connsiteX34" fmla="*/ 233715 w 485775"/>
                  <a:gd name="connsiteY34" fmla="*/ 465520 h 476250"/>
                  <a:gd name="connsiteX35" fmla="*/ 269624 w 485775"/>
                  <a:gd name="connsiteY35" fmla="*/ 463901 h 476250"/>
                  <a:gd name="connsiteX36" fmla="*/ 378781 w 485775"/>
                  <a:gd name="connsiteY36" fmla="*/ 418657 h 476250"/>
                  <a:gd name="connsiteX37" fmla="*/ 380590 w 485775"/>
                  <a:gd name="connsiteY37" fmla="*/ 418657 h 476250"/>
                  <a:gd name="connsiteX38" fmla="*/ 380590 w 485775"/>
                  <a:gd name="connsiteY38" fmla="*/ 420181 h 476250"/>
                  <a:gd name="connsiteX39" fmla="*/ 380591 w 485775"/>
                  <a:gd name="connsiteY39" fmla="*/ 420181 h 476250"/>
                  <a:gd name="connsiteX40" fmla="*/ 379829 w 485775"/>
                  <a:gd name="connsiteY40" fmla="*/ 418276 h 47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85775" h="476250">
                    <a:moveTo>
                      <a:pt x="482508" y="444184"/>
                    </a:moveTo>
                    <a:lnTo>
                      <a:pt x="378495" y="420943"/>
                    </a:lnTo>
                    <a:cubicBezTo>
                      <a:pt x="377884" y="420759"/>
                      <a:pt x="377513" y="420141"/>
                      <a:pt x="377638" y="419515"/>
                    </a:cubicBezTo>
                    <a:cubicBezTo>
                      <a:pt x="377597" y="419326"/>
                      <a:pt x="377597" y="419131"/>
                      <a:pt x="377638" y="418943"/>
                    </a:cubicBezTo>
                    <a:lnTo>
                      <a:pt x="377638" y="418943"/>
                    </a:lnTo>
                    <a:lnTo>
                      <a:pt x="379352" y="420753"/>
                    </a:lnTo>
                    <a:cubicBezTo>
                      <a:pt x="347387" y="445836"/>
                      <a:pt x="309314" y="461947"/>
                      <a:pt x="269053" y="467425"/>
                    </a:cubicBezTo>
                    <a:cubicBezTo>
                      <a:pt x="257004" y="469129"/>
                      <a:pt x="244828" y="469767"/>
                      <a:pt x="232667" y="469330"/>
                    </a:cubicBezTo>
                    <a:cubicBezTo>
                      <a:pt x="226381" y="469330"/>
                      <a:pt x="219999" y="469330"/>
                      <a:pt x="213617" y="468283"/>
                    </a:cubicBezTo>
                    <a:lnTo>
                      <a:pt x="194567" y="465330"/>
                    </a:lnTo>
                    <a:cubicBezTo>
                      <a:pt x="69424" y="441408"/>
                      <a:pt x="-12633" y="320567"/>
                      <a:pt x="11289" y="195423"/>
                    </a:cubicBezTo>
                    <a:cubicBezTo>
                      <a:pt x="12170" y="190810"/>
                      <a:pt x="13193" y="186226"/>
                      <a:pt x="14355" y="181675"/>
                    </a:cubicBezTo>
                    <a:cubicBezTo>
                      <a:pt x="22998" y="146597"/>
                      <a:pt x="39916" y="114100"/>
                      <a:pt x="63694" y="86902"/>
                    </a:cubicBezTo>
                    <a:cubicBezTo>
                      <a:pt x="87832" y="59011"/>
                      <a:pt x="118261" y="37266"/>
                      <a:pt x="152467" y="23465"/>
                    </a:cubicBezTo>
                    <a:cubicBezTo>
                      <a:pt x="185250" y="10599"/>
                      <a:pt x="220496" y="5229"/>
                      <a:pt x="255623" y="7749"/>
                    </a:cubicBezTo>
                    <a:cubicBezTo>
                      <a:pt x="288931" y="10188"/>
                      <a:pt x="321291" y="19945"/>
                      <a:pt x="350397" y="36324"/>
                    </a:cubicBezTo>
                    <a:cubicBezTo>
                      <a:pt x="377477" y="51411"/>
                      <a:pt x="401277" y="71746"/>
                      <a:pt x="420405" y="96141"/>
                    </a:cubicBezTo>
                    <a:cubicBezTo>
                      <a:pt x="437836" y="118478"/>
                      <a:pt x="451097" y="143775"/>
                      <a:pt x="459553" y="170817"/>
                    </a:cubicBezTo>
                    <a:cubicBezTo>
                      <a:pt x="466495" y="195147"/>
                      <a:pt x="469706" y="220390"/>
                      <a:pt x="469078" y="245683"/>
                    </a:cubicBezTo>
                    <a:cubicBezTo>
                      <a:pt x="467883" y="286174"/>
                      <a:pt x="455951" y="325620"/>
                      <a:pt x="434502" y="359983"/>
                    </a:cubicBezTo>
                    <a:lnTo>
                      <a:pt x="434502" y="358840"/>
                    </a:lnTo>
                    <a:cubicBezTo>
                      <a:pt x="464125" y="412561"/>
                      <a:pt x="478127" y="437898"/>
                      <a:pt x="482127" y="445137"/>
                    </a:cubicBezTo>
                    <a:cubicBezTo>
                      <a:pt x="478031" y="437993"/>
                      <a:pt x="463077" y="412942"/>
                      <a:pt x="432502" y="359983"/>
                    </a:cubicBezTo>
                    <a:cubicBezTo>
                      <a:pt x="432314" y="359592"/>
                      <a:pt x="432314" y="359136"/>
                      <a:pt x="432502" y="358745"/>
                    </a:cubicBezTo>
                    <a:cubicBezTo>
                      <a:pt x="453270" y="324684"/>
                      <a:pt x="464702" y="285755"/>
                      <a:pt x="465649" y="245874"/>
                    </a:cubicBezTo>
                    <a:cubicBezTo>
                      <a:pt x="466012" y="220956"/>
                      <a:pt x="462575" y="196128"/>
                      <a:pt x="455457" y="172245"/>
                    </a:cubicBezTo>
                    <a:cubicBezTo>
                      <a:pt x="438143" y="115990"/>
                      <a:pt x="399932" y="68507"/>
                      <a:pt x="348682" y="39562"/>
                    </a:cubicBezTo>
                    <a:cubicBezTo>
                      <a:pt x="320044" y="23827"/>
                      <a:pt x="288318" y="14531"/>
                      <a:pt x="255718" y="12321"/>
                    </a:cubicBezTo>
                    <a:cubicBezTo>
                      <a:pt x="221285" y="9869"/>
                      <a:pt x="186743" y="15209"/>
                      <a:pt x="154658" y="27942"/>
                    </a:cubicBezTo>
                    <a:cubicBezTo>
                      <a:pt x="121150" y="41394"/>
                      <a:pt x="91360" y="62692"/>
                      <a:pt x="67790" y="90045"/>
                    </a:cubicBezTo>
                    <a:cubicBezTo>
                      <a:pt x="44516" y="116648"/>
                      <a:pt x="27928" y="148420"/>
                      <a:pt x="19403" y="182723"/>
                    </a:cubicBezTo>
                    <a:cubicBezTo>
                      <a:pt x="11133" y="215580"/>
                      <a:pt x="10190" y="249854"/>
                      <a:pt x="16641" y="283116"/>
                    </a:cubicBezTo>
                    <a:cubicBezTo>
                      <a:pt x="35054" y="373114"/>
                      <a:pt x="105550" y="443347"/>
                      <a:pt x="195615" y="461424"/>
                    </a:cubicBezTo>
                    <a:lnTo>
                      <a:pt x="214665" y="464377"/>
                    </a:lnTo>
                    <a:cubicBezTo>
                      <a:pt x="220952" y="464949"/>
                      <a:pt x="227238" y="465139"/>
                      <a:pt x="233715" y="465520"/>
                    </a:cubicBezTo>
                    <a:cubicBezTo>
                      <a:pt x="245709" y="466045"/>
                      <a:pt x="257726" y="465503"/>
                      <a:pt x="269624" y="463901"/>
                    </a:cubicBezTo>
                    <a:cubicBezTo>
                      <a:pt x="309346" y="458647"/>
                      <a:pt x="346989" y="443044"/>
                      <a:pt x="378781" y="418657"/>
                    </a:cubicBezTo>
                    <a:cubicBezTo>
                      <a:pt x="379307" y="418227"/>
                      <a:pt x="380064" y="418227"/>
                      <a:pt x="380590" y="418657"/>
                    </a:cubicBezTo>
                    <a:cubicBezTo>
                      <a:pt x="380884" y="419123"/>
                      <a:pt x="380884" y="419716"/>
                      <a:pt x="380590" y="420181"/>
                    </a:cubicBezTo>
                    <a:lnTo>
                      <a:pt x="380591" y="420181"/>
                    </a:lnTo>
                    <a:lnTo>
                      <a:pt x="379829" y="418276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3" name="Полилиния: фигура 272">
                <a:extLst>
                  <a:ext uri="{FF2B5EF4-FFF2-40B4-BE49-F238E27FC236}">
                    <a16:creationId xmlns:a16="http://schemas.microsoft.com/office/drawing/2014/main" id="{A8AA9445-E41A-4D8E-B385-3A9EA98F1CBB}"/>
                  </a:ext>
                </a:extLst>
              </p:cNvPr>
              <p:cNvSpPr/>
              <p:nvPr/>
            </p:nvSpPr>
            <p:spPr>
              <a:xfrm>
                <a:off x="3470066" y="3629094"/>
                <a:ext cx="142875" cy="152400"/>
              </a:xfrm>
              <a:custGeom>
                <a:avLst/>
                <a:gdLst>
                  <a:gd name="connsiteX0" fmla="*/ 69533 w 142875"/>
                  <a:gd name="connsiteY0" fmla="*/ 30099 h 152400"/>
                  <a:gd name="connsiteX1" fmla="*/ 104204 w 142875"/>
                  <a:gd name="connsiteY1" fmla="*/ 18574 h 152400"/>
                  <a:gd name="connsiteX2" fmla="*/ 138875 w 142875"/>
                  <a:gd name="connsiteY2" fmla="*/ 7144 h 152400"/>
                  <a:gd name="connsiteX3" fmla="*/ 131540 w 142875"/>
                  <a:gd name="connsiteY3" fmla="*/ 42863 h 152400"/>
                  <a:gd name="connsiteX4" fmla="*/ 124111 w 142875"/>
                  <a:gd name="connsiteY4" fmla="*/ 78676 h 152400"/>
                  <a:gd name="connsiteX5" fmla="*/ 105251 w 142875"/>
                  <a:gd name="connsiteY5" fmla="*/ 61913 h 152400"/>
                  <a:gd name="connsiteX6" fmla="*/ 24003 w 142875"/>
                  <a:gd name="connsiteY6" fmla="*/ 153162 h 152400"/>
                  <a:gd name="connsiteX7" fmla="*/ 7144 w 142875"/>
                  <a:gd name="connsiteY7" fmla="*/ 138113 h 152400"/>
                  <a:gd name="connsiteX8" fmla="*/ 88392 w 142875"/>
                  <a:gd name="connsiteY8" fmla="*/ 46863 h 152400"/>
                  <a:gd name="connsiteX9" fmla="*/ 69533 w 142875"/>
                  <a:gd name="connsiteY9" fmla="*/ 30099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2875" h="152400">
                    <a:moveTo>
                      <a:pt x="69533" y="30099"/>
                    </a:moveTo>
                    <a:lnTo>
                      <a:pt x="104204" y="18574"/>
                    </a:lnTo>
                    <a:lnTo>
                      <a:pt x="138875" y="7144"/>
                    </a:lnTo>
                    <a:lnTo>
                      <a:pt x="131540" y="42863"/>
                    </a:lnTo>
                    <a:lnTo>
                      <a:pt x="124111" y="78676"/>
                    </a:lnTo>
                    <a:lnTo>
                      <a:pt x="105251" y="61913"/>
                    </a:lnTo>
                    <a:lnTo>
                      <a:pt x="24003" y="153162"/>
                    </a:lnTo>
                    <a:lnTo>
                      <a:pt x="7144" y="138113"/>
                    </a:lnTo>
                    <a:lnTo>
                      <a:pt x="88392" y="46863"/>
                    </a:lnTo>
                    <a:lnTo>
                      <a:pt x="69533" y="30099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4" name="Полилиния: фигура 273">
                <a:extLst>
                  <a:ext uri="{FF2B5EF4-FFF2-40B4-BE49-F238E27FC236}">
                    <a16:creationId xmlns:a16="http://schemas.microsoft.com/office/drawing/2014/main" id="{3EEC9CFC-9718-4711-8D27-D3C2B534BE9A}"/>
                  </a:ext>
                </a:extLst>
              </p:cNvPr>
              <p:cNvSpPr/>
              <p:nvPr/>
            </p:nvSpPr>
            <p:spPr>
              <a:xfrm>
                <a:off x="5456886" y="3671093"/>
                <a:ext cx="485775" cy="466725"/>
              </a:xfrm>
              <a:custGeom>
                <a:avLst/>
                <a:gdLst>
                  <a:gd name="connsiteX0" fmla="*/ 7144 w 485775"/>
                  <a:gd name="connsiteY0" fmla="*/ 443776 h 466725"/>
                  <a:gd name="connsiteX1" fmla="*/ 55816 w 485775"/>
                  <a:gd name="connsiteY1" fmla="*/ 358051 h 466725"/>
                  <a:gd name="connsiteX2" fmla="*/ 131495 w 485775"/>
                  <a:gd name="connsiteY2" fmla="*/ 41251 h 466725"/>
                  <a:gd name="connsiteX3" fmla="*/ 448295 w 485775"/>
                  <a:gd name="connsiteY3" fmla="*/ 116930 h 466725"/>
                  <a:gd name="connsiteX4" fmla="*/ 372616 w 485775"/>
                  <a:gd name="connsiteY4" fmla="*/ 433730 h 466725"/>
                  <a:gd name="connsiteX5" fmla="*/ 111157 w 485775"/>
                  <a:gd name="connsiteY5" fmla="*/ 419678 h 466725"/>
                  <a:gd name="connsiteX6" fmla="*/ 111157 w 485775"/>
                  <a:gd name="connsiteY6" fmla="*/ 419678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5775" h="466725">
                    <a:moveTo>
                      <a:pt x="7144" y="443776"/>
                    </a:moveTo>
                    <a:lnTo>
                      <a:pt x="55816" y="358051"/>
                    </a:lnTo>
                    <a:cubicBezTo>
                      <a:pt x="-10767" y="249671"/>
                      <a:pt x="23115" y="107835"/>
                      <a:pt x="131495" y="41251"/>
                    </a:cubicBezTo>
                    <a:cubicBezTo>
                      <a:pt x="239875" y="-25332"/>
                      <a:pt x="381712" y="8550"/>
                      <a:pt x="448295" y="116930"/>
                    </a:cubicBezTo>
                    <a:cubicBezTo>
                      <a:pt x="514879" y="225310"/>
                      <a:pt x="480996" y="367147"/>
                      <a:pt x="372616" y="433730"/>
                    </a:cubicBezTo>
                    <a:cubicBezTo>
                      <a:pt x="291018" y="483861"/>
                      <a:pt x="186912" y="478266"/>
                      <a:pt x="111157" y="419678"/>
                    </a:cubicBezTo>
                    <a:lnTo>
                      <a:pt x="111157" y="419678"/>
                    </a:lnTo>
                    <a:close/>
                  </a:path>
                </a:pathLst>
              </a:custGeom>
              <a:solidFill>
                <a:srgbClr val="FAFA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5" name="Полилиния: фигура 274">
                <a:extLst>
                  <a:ext uri="{FF2B5EF4-FFF2-40B4-BE49-F238E27FC236}">
                    <a16:creationId xmlns:a16="http://schemas.microsoft.com/office/drawing/2014/main" id="{0B076942-3727-419C-BF86-B293A50801ED}"/>
                  </a:ext>
                </a:extLst>
              </p:cNvPr>
              <p:cNvSpPr/>
              <p:nvPr/>
            </p:nvSpPr>
            <p:spPr>
              <a:xfrm>
                <a:off x="5456886" y="3670492"/>
                <a:ext cx="485775" cy="476250"/>
              </a:xfrm>
              <a:custGeom>
                <a:avLst/>
                <a:gdLst>
                  <a:gd name="connsiteX0" fmla="*/ 7144 w 485775"/>
                  <a:gd name="connsiteY0" fmla="*/ 444377 h 476250"/>
                  <a:gd name="connsiteX1" fmla="*/ 110585 w 485775"/>
                  <a:gd name="connsiteY1" fmla="*/ 418755 h 476250"/>
                  <a:gd name="connsiteX2" fmla="*/ 109918 w 485775"/>
                  <a:gd name="connsiteY2" fmla="*/ 420660 h 476250"/>
                  <a:gd name="connsiteX3" fmla="*/ 109918 w 485775"/>
                  <a:gd name="connsiteY3" fmla="*/ 420660 h 476250"/>
                  <a:gd name="connsiteX4" fmla="*/ 109918 w 485775"/>
                  <a:gd name="connsiteY4" fmla="*/ 418946 h 476250"/>
                  <a:gd name="connsiteX5" fmla="*/ 111442 w 485775"/>
                  <a:gd name="connsiteY5" fmla="*/ 418946 h 476250"/>
                  <a:gd name="connsiteX6" fmla="*/ 220599 w 485775"/>
                  <a:gd name="connsiteY6" fmla="*/ 464189 h 476250"/>
                  <a:gd name="connsiteX7" fmla="*/ 256508 w 485775"/>
                  <a:gd name="connsiteY7" fmla="*/ 465809 h 476250"/>
                  <a:gd name="connsiteX8" fmla="*/ 275558 w 485775"/>
                  <a:gd name="connsiteY8" fmla="*/ 464761 h 476250"/>
                  <a:gd name="connsiteX9" fmla="*/ 294608 w 485775"/>
                  <a:gd name="connsiteY9" fmla="*/ 461713 h 476250"/>
                  <a:gd name="connsiteX10" fmla="*/ 473747 w 485775"/>
                  <a:gd name="connsiteY10" fmla="*/ 195998 h 476250"/>
                  <a:gd name="connsiteX11" fmla="*/ 470821 w 485775"/>
                  <a:gd name="connsiteY11" fmla="*/ 183012 h 476250"/>
                  <a:gd name="connsiteX12" fmla="*/ 422434 w 485775"/>
                  <a:gd name="connsiteY12" fmla="*/ 90333 h 476250"/>
                  <a:gd name="connsiteX13" fmla="*/ 335566 w 485775"/>
                  <a:gd name="connsiteY13" fmla="*/ 28230 h 476250"/>
                  <a:gd name="connsiteX14" fmla="*/ 234982 w 485775"/>
                  <a:gd name="connsiteY14" fmla="*/ 12514 h 476250"/>
                  <a:gd name="connsiteX15" fmla="*/ 142018 w 485775"/>
                  <a:gd name="connsiteY15" fmla="*/ 39851 h 476250"/>
                  <a:gd name="connsiteX16" fmla="*/ 34385 w 485775"/>
                  <a:gd name="connsiteY16" fmla="*/ 171582 h 476250"/>
                  <a:gd name="connsiteX17" fmla="*/ 24193 w 485775"/>
                  <a:gd name="connsiteY17" fmla="*/ 245210 h 476250"/>
                  <a:gd name="connsiteX18" fmla="*/ 57340 w 485775"/>
                  <a:gd name="connsiteY18" fmla="*/ 358081 h 476250"/>
                  <a:gd name="connsiteX19" fmla="*/ 57340 w 485775"/>
                  <a:gd name="connsiteY19" fmla="*/ 359224 h 476250"/>
                  <a:gd name="connsiteX20" fmla="*/ 7620 w 485775"/>
                  <a:gd name="connsiteY20" fmla="*/ 444377 h 476250"/>
                  <a:gd name="connsiteX21" fmla="*/ 55245 w 485775"/>
                  <a:gd name="connsiteY21" fmla="*/ 358081 h 476250"/>
                  <a:gd name="connsiteX22" fmla="*/ 55245 w 485775"/>
                  <a:gd name="connsiteY22" fmla="*/ 359319 h 476250"/>
                  <a:gd name="connsiteX23" fmla="*/ 20764 w 485775"/>
                  <a:gd name="connsiteY23" fmla="*/ 245019 h 476250"/>
                  <a:gd name="connsiteX24" fmla="*/ 30289 w 485775"/>
                  <a:gd name="connsiteY24" fmla="*/ 170153 h 476250"/>
                  <a:gd name="connsiteX25" fmla="*/ 139732 w 485775"/>
                  <a:gd name="connsiteY25" fmla="*/ 35850 h 476250"/>
                  <a:gd name="connsiteX26" fmla="*/ 234505 w 485775"/>
                  <a:gd name="connsiteY26" fmla="*/ 7751 h 476250"/>
                  <a:gd name="connsiteX27" fmla="*/ 337757 w 485775"/>
                  <a:gd name="connsiteY27" fmla="*/ 23658 h 476250"/>
                  <a:gd name="connsiteX28" fmla="*/ 426625 w 485775"/>
                  <a:gd name="connsiteY28" fmla="*/ 86999 h 476250"/>
                  <a:gd name="connsiteX29" fmla="*/ 475965 w 485775"/>
                  <a:gd name="connsiteY29" fmla="*/ 182249 h 476250"/>
                  <a:gd name="connsiteX30" fmla="*/ 478632 w 485775"/>
                  <a:gd name="connsiteY30" fmla="*/ 284738 h 476250"/>
                  <a:gd name="connsiteX31" fmla="*/ 373285 w 485775"/>
                  <a:gd name="connsiteY31" fmla="*/ 435614 h 476250"/>
                  <a:gd name="connsiteX32" fmla="*/ 295752 w 485775"/>
                  <a:gd name="connsiteY32" fmla="*/ 465999 h 476250"/>
                  <a:gd name="connsiteX33" fmla="*/ 276225 w 485775"/>
                  <a:gd name="connsiteY33" fmla="*/ 468857 h 476250"/>
                  <a:gd name="connsiteX34" fmla="*/ 257175 w 485775"/>
                  <a:gd name="connsiteY34" fmla="*/ 469905 h 476250"/>
                  <a:gd name="connsiteX35" fmla="*/ 220789 w 485775"/>
                  <a:gd name="connsiteY35" fmla="*/ 468000 h 476250"/>
                  <a:gd name="connsiteX36" fmla="*/ 110490 w 485775"/>
                  <a:gd name="connsiteY36" fmla="*/ 421327 h 476250"/>
                  <a:gd name="connsiteX37" fmla="*/ 112204 w 485775"/>
                  <a:gd name="connsiteY37" fmla="*/ 419612 h 476250"/>
                  <a:gd name="connsiteX38" fmla="*/ 112204 w 485775"/>
                  <a:gd name="connsiteY38" fmla="*/ 419612 h 476250"/>
                  <a:gd name="connsiteX39" fmla="*/ 112204 w 485775"/>
                  <a:gd name="connsiteY39" fmla="*/ 421327 h 476250"/>
                  <a:gd name="connsiteX40" fmla="*/ 111633 w 485775"/>
                  <a:gd name="connsiteY40" fmla="*/ 421327 h 47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85775" h="476250">
                    <a:moveTo>
                      <a:pt x="7144" y="444377"/>
                    </a:moveTo>
                    <a:lnTo>
                      <a:pt x="110585" y="418755"/>
                    </a:lnTo>
                    <a:lnTo>
                      <a:pt x="109918" y="420660"/>
                    </a:lnTo>
                    <a:lnTo>
                      <a:pt x="109918" y="420660"/>
                    </a:lnTo>
                    <a:cubicBezTo>
                      <a:pt x="109458" y="420181"/>
                      <a:pt x="109458" y="419425"/>
                      <a:pt x="109918" y="418946"/>
                    </a:cubicBezTo>
                    <a:cubicBezTo>
                      <a:pt x="110384" y="418652"/>
                      <a:pt x="110977" y="418652"/>
                      <a:pt x="111442" y="418946"/>
                    </a:cubicBezTo>
                    <a:cubicBezTo>
                      <a:pt x="143202" y="443388"/>
                      <a:pt x="180860" y="458996"/>
                      <a:pt x="220599" y="464189"/>
                    </a:cubicBezTo>
                    <a:cubicBezTo>
                      <a:pt x="232497" y="465793"/>
                      <a:pt x="244514" y="466335"/>
                      <a:pt x="256508" y="465809"/>
                    </a:cubicBezTo>
                    <a:cubicBezTo>
                      <a:pt x="262699" y="465809"/>
                      <a:pt x="268986" y="465237"/>
                      <a:pt x="275558" y="464761"/>
                    </a:cubicBezTo>
                    <a:lnTo>
                      <a:pt x="294608" y="461713"/>
                    </a:lnTo>
                    <a:cubicBezTo>
                      <a:pt x="417451" y="437806"/>
                      <a:pt x="497654" y="318841"/>
                      <a:pt x="473747" y="195998"/>
                    </a:cubicBezTo>
                    <a:cubicBezTo>
                      <a:pt x="472899" y="191642"/>
                      <a:pt x="471923" y="187311"/>
                      <a:pt x="470821" y="183012"/>
                    </a:cubicBezTo>
                    <a:cubicBezTo>
                      <a:pt x="462295" y="148709"/>
                      <a:pt x="445707" y="116936"/>
                      <a:pt x="422434" y="90333"/>
                    </a:cubicBezTo>
                    <a:cubicBezTo>
                      <a:pt x="398836" y="63011"/>
                      <a:pt x="369054" y="41719"/>
                      <a:pt x="335566" y="28230"/>
                    </a:cubicBezTo>
                    <a:cubicBezTo>
                      <a:pt x="303621" y="15585"/>
                      <a:pt x="269261" y="10217"/>
                      <a:pt x="234982" y="12514"/>
                    </a:cubicBezTo>
                    <a:cubicBezTo>
                      <a:pt x="202366" y="14711"/>
                      <a:pt x="170631" y="24043"/>
                      <a:pt x="142018" y="39851"/>
                    </a:cubicBezTo>
                    <a:cubicBezTo>
                      <a:pt x="90581" y="68341"/>
                      <a:pt x="52051" y="115498"/>
                      <a:pt x="34385" y="171582"/>
                    </a:cubicBezTo>
                    <a:cubicBezTo>
                      <a:pt x="27255" y="195462"/>
                      <a:pt x="23818" y="220291"/>
                      <a:pt x="24193" y="245210"/>
                    </a:cubicBezTo>
                    <a:cubicBezTo>
                      <a:pt x="25154" y="285089"/>
                      <a:pt x="36585" y="324015"/>
                      <a:pt x="57340" y="358081"/>
                    </a:cubicBezTo>
                    <a:cubicBezTo>
                      <a:pt x="57527" y="358439"/>
                      <a:pt x="57527" y="358866"/>
                      <a:pt x="57340" y="359224"/>
                    </a:cubicBezTo>
                    <a:cubicBezTo>
                      <a:pt x="26384" y="412278"/>
                      <a:pt x="11811" y="437329"/>
                      <a:pt x="7620" y="444377"/>
                    </a:cubicBezTo>
                    <a:cubicBezTo>
                      <a:pt x="11620" y="437234"/>
                      <a:pt x="25622" y="411802"/>
                      <a:pt x="55245" y="358081"/>
                    </a:cubicBezTo>
                    <a:lnTo>
                      <a:pt x="55245" y="359319"/>
                    </a:lnTo>
                    <a:cubicBezTo>
                      <a:pt x="33880" y="324924"/>
                      <a:pt x="21985" y="285492"/>
                      <a:pt x="20764" y="245019"/>
                    </a:cubicBezTo>
                    <a:cubicBezTo>
                      <a:pt x="20124" y="219725"/>
                      <a:pt x="23336" y="194481"/>
                      <a:pt x="30289" y="170153"/>
                    </a:cubicBezTo>
                    <a:cubicBezTo>
                      <a:pt x="48133" y="112972"/>
                      <a:pt x="87331" y="64870"/>
                      <a:pt x="139732" y="35850"/>
                    </a:cubicBezTo>
                    <a:cubicBezTo>
                      <a:pt x="168876" y="19638"/>
                      <a:pt x="201234" y="10044"/>
                      <a:pt x="234505" y="7751"/>
                    </a:cubicBezTo>
                    <a:cubicBezTo>
                      <a:pt x="269681" y="5213"/>
                      <a:pt x="304976" y="10650"/>
                      <a:pt x="337757" y="23658"/>
                    </a:cubicBezTo>
                    <a:cubicBezTo>
                      <a:pt x="372019" y="37361"/>
                      <a:pt x="402495" y="59082"/>
                      <a:pt x="426625" y="86999"/>
                    </a:cubicBezTo>
                    <a:cubicBezTo>
                      <a:pt x="450470" y="114334"/>
                      <a:pt x="467392" y="147003"/>
                      <a:pt x="475965" y="182249"/>
                    </a:cubicBezTo>
                    <a:cubicBezTo>
                      <a:pt x="484395" y="215798"/>
                      <a:pt x="485306" y="250796"/>
                      <a:pt x="478632" y="284738"/>
                    </a:cubicBezTo>
                    <a:cubicBezTo>
                      <a:pt x="465780" y="347387"/>
                      <a:pt x="427671" y="401966"/>
                      <a:pt x="373285" y="435614"/>
                    </a:cubicBezTo>
                    <a:cubicBezTo>
                      <a:pt x="349455" y="450276"/>
                      <a:pt x="323199" y="460566"/>
                      <a:pt x="295752" y="465999"/>
                    </a:cubicBezTo>
                    <a:lnTo>
                      <a:pt x="276225" y="468857"/>
                    </a:lnTo>
                    <a:cubicBezTo>
                      <a:pt x="269843" y="469428"/>
                      <a:pt x="263461" y="469523"/>
                      <a:pt x="257175" y="469905"/>
                    </a:cubicBezTo>
                    <a:cubicBezTo>
                      <a:pt x="245014" y="470341"/>
                      <a:pt x="232838" y="469703"/>
                      <a:pt x="220789" y="468000"/>
                    </a:cubicBezTo>
                    <a:cubicBezTo>
                      <a:pt x="180529" y="462521"/>
                      <a:pt x="142455" y="446411"/>
                      <a:pt x="110490" y="421327"/>
                    </a:cubicBezTo>
                    <a:lnTo>
                      <a:pt x="112204" y="419612"/>
                    </a:lnTo>
                    <a:lnTo>
                      <a:pt x="112204" y="419612"/>
                    </a:lnTo>
                    <a:cubicBezTo>
                      <a:pt x="112620" y="420108"/>
                      <a:pt x="112620" y="420831"/>
                      <a:pt x="112204" y="421327"/>
                    </a:cubicBezTo>
                    <a:lnTo>
                      <a:pt x="111633" y="421327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6" name="Полилиния: фигура 275">
                <a:extLst>
                  <a:ext uri="{FF2B5EF4-FFF2-40B4-BE49-F238E27FC236}">
                    <a16:creationId xmlns:a16="http://schemas.microsoft.com/office/drawing/2014/main" id="{F91284B6-C1A5-4348-926E-720C00565642}"/>
                  </a:ext>
                </a:extLst>
              </p:cNvPr>
              <p:cNvSpPr/>
              <p:nvPr/>
            </p:nvSpPr>
            <p:spPr>
              <a:xfrm>
                <a:off x="5657959" y="3815779"/>
                <a:ext cx="123825" cy="171450"/>
              </a:xfrm>
              <a:custGeom>
                <a:avLst/>
                <a:gdLst>
                  <a:gd name="connsiteX0" fmla="*/ 7620 w 123825"/>
                  <a:gd name="connsiteY0" fmla="*/ 73729 h 171450"/>
                  <a:gd name="connsiteX1" fmla="*/ 20764 w 123825"/>
                  <a:gd name="connsiteY1" fmla="*/ 73729 h 171450"/>
                  <a:gd name="connsiteX2" fmla="*/ 49339 w 123825"/>
                  <a:gd name="connsiteY2" fmla="*/ 33533 h 171450"/>
                  <a:gd name="connsiteX3" fmla="*/ 49339 w 123825"/>
                  <a:gd name="connsiteY3" fmla="*/ 7149 h 171450"/>
                  <a:gd name="connsiteX4" fmla="*/ 67342 w 123825"/>
                  <a:gd name="connsiteY4" fmla="*/ 40487 h 171450"/>
                  <a:gd name="connsiteX5" fmla="*/ 67342 w 123825"/>
                  <a:gd name="connsiteY5" fmla="*/ 66204 h 171450"/>
                  <a:gd name="connsiteX6" fmla="*/ 114300 w 123825"/>
                  <a:gd name="connsiteY6" fmla="*/ 70110 h 171450"/>
                  <a:gd name="connsiteX7" fmla="*/ 118586 w 123825"/>
                  <a:gd name="connsiteY7" fmla="*/ 139356 h 171450"/>
                  <a:gd name="connsiteX8" fmla="*/ 100679 w 123825"/>
                  <a:gd name="connsiteY8" fmla="*/ 164788 h 171450"/>
                  <a:gd name="connsiteX9" fmla="*/ 96012 w 123825"/>
                  <a:gd name="connsiteY9" fmla="*/ 165455 h 171450"/>
                  <a:gd name="connsiteX10" fmla="*/ 29909 w 123825"/>
                  <a:gd name="connsiteY10" fmla="*/ 156597 h 171450"/>
                  <a:gd name="connsiteX11" fmla="*/ 7144 w 123825"/>
                  <a:gd name="connsiteY11" fmla="*/ 156597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3825" h="171450">
                    <a:moveTo>
                      <a:pt x="7620" y="73729"/>
                    </a:moveTo>
                    <a:lnTo>
                      <a:pt x="20764" y="73729"/>
                    </a:lnTo>
                    <a:lnTo>
                      <a:pt x="49339" y="33533"/>
                    </a:lnTo>
                    <a:lnTo>
                      <a:pt x="49339" y="7149"/>
                    </a:lnTo>
                    <a:cubicBezTo>
                      <a:pt x="49339" y="7149"/>
                      <a:pt x="69723" y="5911"/>
                      <a:pt x="67342" y="40487"/>
                    </a:cubicBezTo>
                    <a:cubicBezTo>
                      <a:pt x="64961" y="75062"/>
                      <a:pt x="67342" y="66204"/>
                      <a:pt x="67342" y="66204"/>
                    </a:cubicBezTo>
                    <a:cubicBezTo>
                      <a:pt x="67342" y="66204"/>
                      <a:pt x="110776" y="66204"/>
                      <a:pt x="114300" y="70110"/>
                    </a:cubicBezTo>
                    <a:cubicBezTo>
                      <a:pt x="117824" y="74015"/>
                      <a:pt x="118110" y="115925"/>
                      <a:pt x="118586" y="139356"/>
                    </a:cubicBezTo>
                    <a:cubicBezTo>
                      <a:pt x="119170" y="150941"/>
                      <a:pt x="111783" y="161432"/>
                      <a:pt x="100679" y="164788"/>
                    </a:cubicBezTo>
                    <a:cubicBezTo>
                      <a:pt x="99156" y="165196"/>
                      <a:pt x="97589" y="165420"/>
                      <a:pt x="96012" y="165455"/>
                    </a:cubicBezTo>
                    <a:cubicBezTo>
                      <a:pt x="85154" y="165455"/>
                      <a:pt x="29909" y="156597"/>
                      <a:pt x="29909" y="156597"/>
                    </a:cubicBezTo>
                    <a:lnTo>
                      <a:pt x="7144" y="156597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7" name="Полилиния: фигура 276">
                <a:extLst>
                  <a:ext uri="{FF2B5EF4-FFF2-40B4-BE49-F238E27FC236}">
                    <a16:creationId xmlns:a16="http://schemas.microsoft.com/office/drawing/2014/main" id="{8FA6B978-6701-48D7-9B05-11A5CA1B2C95}"/>
                  </a:ext>
                </a:extLst>
              </p:cNvPr>
              <p:cNvSpPr/>
              <p:nvPr/>
            </p:nvSpPr>
            <p:spPr>
              <a:xfrm>
                <a:off x="5620526" y="3875125"/>
                <a:ext cx="38100" cy="95250"/>
              </a:xfrm>
              <a:custGeom>
                <a:avLst/>
                <a:gdLst>
                  <a:gd name="connsiteX0" fmla="*/ 7144 w 38100"/>
                  <a:gd name="connsiteY0" fmla="*/ 7144 h 95250"/>
                  <a:gd name="connsiteX1" fmla="*/ 15335 w 38100"/>
                  <a:gd name="connsiteY1" fmla="*/ 97536 h 95250"/>
                  <a:gd name="connsiteX2" fmla="*/ 37909 w 38100"/>
                  <a:gd name="connsiteY2" fmla="*/ 97536 h 95250"/>
                  <a:gd name="connsiteX3" fmla="*/ 37909 w 38100"/>
                  <a:gd name="connsiteY3" fmla="*/ 8954 h 95250"/>
                  <a:gd name="connsiteX4" fmla="*/ 7144 w 38100"/>
                  <a:gd name="connsiteY4" fmla="*/ 7144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95250">
                    <a:moveTo>
                      <a:pt x="7144" y="7144"/>
                    </a:moveTo>
                    <a:lnTo>
                      <a:pt x="15335" y="97536"/>
                    </a:lnTo>
                    <a:lnTo>
                      <a:pt x="37909" y="97536"/>
                    </a:lnTo>
                    <a:lnTo>
                      <a:pt x="37909" y="8954"/>
                    </a:lnTo>
                    <a:lnTo>
                      <a:pt x="7144" y="7144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8" name="Полилиния: фигура 277">
                <a:extLst>
                  <a:ext uri="{FF2B5EF4-FFF2-40B4-BE49-F238E27FC236}">
                    <a16:creationId xmlns:a16="http://schemas.microsoft.com/office/drawing/2014/main" id="{83C900D5-F8BA-4379-B5D4-656414352B46}"/>
                  </a:ext>
                </a:extLst>
              </p:cNvPr>
              <p:cNvSpPr/>
              <p:nvPr/>
            </p:nvSpPr>
            <p:spPr>
              <a:xfrm>
                <a:off x="5932374" y="4322324"/>
                <a:ext cx="419100" cy="600075"/>
              </a:xfrm>
              <a:custGeom>
                <a:avLst/>
                <a:gdLst>
                  <a:gd name="connsiteX0" fmla="*/ 397669 w 419100"/>
                  <a:gd name="connsiteY0" fmla="*/ 42577 h 600075"/>
                  <a:gd name="connsiteX1" fmla="*/ 363188 w 419100"/>
                  <a:gd name="connsiteY1" fmla="*/ 107347 h 600075"/>
                  <a:gd name="connsiteX2" fmla="*/ 333184 w 419100"/>
                  <a:gd name="connsiteY2" fmla="*/ 164497 h 600075"/>
                  <a:gd name="connsiteX3" fmla="*/ 325660 w 419100"/>
                  <a:gd name="connsiteY3" fmla="*/ 202025 h 600075"/>
                  <a:gd name="connsiteX4" fmla="*/ 207169 w 419100"/>
                  <a:gd name="connsiteY4" fmla="*/ 341376 h 600075"/>
                  <a:gd name="connsiteX5" fmla="*/ 186214 w 419100"/>
                  <a:gd name="connsiteY5" fmla="*/ 356426 h 600075"/>
                  <a:gd name="connsiteX6" fmla="*/ 174212 w 419100"/>
                  <a:gd name="connsiteY6" fmla="*/ 375476 h 600075"/>
                  <a:gd name="connsiteX7" fmla="*/ 7144 w 419100"/>
                  <a:gd name="connsiteY7" fmla="*/ 482822 h 600075"/>
                  <a:gd name="connsiteX8" fmla="*/ 40386 w 419100"/>
                  <a:gd name="connsiteY8" fmla="*/ 569119 h 600075"/>
                  <a:gd name="connsiteX9" fmla="*/ 49911 w 419100"/>
                  <a:gd name="connsiteY9" fmla="*/ 597694 h 600075"/>
                  <a:gd name="connsiteX10" fmla="*/ 288036 w 419100"/>
                  <a:gd name="connsiteY10" fmla="*/ 509206 h 600075"/>
                  <a:gd name="connsiteX11" fmla="*/ 402336 w 419100"/>
                  <a:gd name="connsiteY11" fmla="*/ 363664 h 600075"/>
                  <a:gd name="connsiteX12" fmla="*/ 414909 w 419100"/>
                  <a:gd name="connsiteY12" fmla="*/ 7144 h 600075"/>
                  <a:gd name="connsiteX13" fmla="*/ 397669 w 419100"/>
                  <a:gd name="connsiteY13" fmla="*/ 42577 h 600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19100" h="600075">
                    <a:moveTo>
                      <a:pt x="397669" y="42577"/>
                    </a:moveTo>
                    <a:lnTo>
                      <a:pt x="363188" y="107347"/>
                    </a:lnTo>
                    <a:cubicBezTo>
                      <a:pt x="363188" y="107347"/>
                      <a:pt x="345186" y="143351"/>
                      <a:pt x="333184" y="164497"/>
                    </a:cubicBezTo>
                    <a:cubicBezTo>
                      <a:pt x="326102" y="175638"/>
                      <a:pt x="323420" y="189015"/>
                      <a:pt x="325660" y="202025"/>
                    </a:cubicBezTo>
                    <a:lnTo>
                      <a:pt x="207169" y="341376"/>
                    </a:lnTo>
                    <a:cubicBezTo>
                      <a:pt x="207169" y="341376"/>
                      <a:pt x="196691" y="356426"/>
                      <a:pt x="186214" y="356426"/>
                    </a:cubicBezTo>
                    <a:cubicBezTo>
                      <a:pt x="175736" y="356426"/>
                      <a:pt x="174212" y="375476"/>
                      <a:pt x="174212" y="375476"/>
                    </a:cubicBezTo>
                    <a:lnTo>
                      <a:pt x="7144" y="482822"/>
                    </a:lnTo>
                    <a:lnTo>
                      <a:pt x="40386" y="569119"/>
                    </a:lnTo>
                    <a:cubicBezTo>
                      <a:pt x="40386" y="569119"/>
                      <a:pt x="43149" y="597694"/>
                      <a:pt x="49911" y="597694"/>
                    </a:cubicBezTo>
                    <a:cubicBezTo>
                      <a:pt x="56674" y="597694"/>
                      <a:pt x="265557" y="519684"/>
                      <a:pt x="288036" y="509206"/>
                    </a:cubicBezTo>
                    <a:cubicBezTo>
                      <a:pt x="310515" y="498729"/>
                      <a:pt x="402336" y="363664"/>
                      <a:pt x="402336" y="363664"/>
                    </a:cubicBezTo>
                    <a:lnTo>
                      <a:pt x="414909" y="7144"/>
                    </a:lnTo>
                    <a:cubicBezTo>
                      <a:pt x="396050" y="13430"/>
                      <a:pt x="397669" y="42577"/>
                      <a:pt x="397669" y="42577"/>
                    </a:cubicBez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9" name="Полилиния: фигура 278">
                <a:extLst>
                  <a:ext uri="{FF2B5EF4-FFF2-40B4-BE49-F238E27FC236}">
                    <a16:creationId xmlns:a16="http://schemas.microsoft.com/office/drawing/2014/main" id="{66D8BE43-2BE0-4BAD-AFAC-195F6B636A1E}"/>
                  </a:ext>
                </a:extLst>
              </p:cNvPr>
              <p:cNvSpPr/>
              <p:nvPr/>
            </p:nvSpPr>
            <p:spPr>
              <a:xfrm>
                <a:off x="6331491" y="3747300"/>
                <a:ext cx="266700" cy="581025"/>
              </a:xfrm>
              <a:custGeom>
                <a:avLst/>
                <a:gdLst>
                  <a:gd name="connsiteX0" fmla="*/ 10363 w 266700"/>
                  <a:gd name="connsiteY0" fmla="*/ 141351 h 581025"/>
                  <a:gd name="connsiteX1" fmla="*/ 143713 w 266700"/>
                  <a:gd name="connsiteY1" fmla="*/ 7144 h 581025"/>
                  <a:gd name="connsiteX2" fmla="*/ 150857 w 266700"/>
                  <a:gd name="connsiteY2" fmla="*/ 7144 h 581025"/>
                  <a:gd name="connsiteX3" fmla="*/ 268205 w 266700"/>
                  <a:gd name="connsiteY3" fmla="*/ 153162 h 581025"/>
                  <a:gd name="connsiteX4" fmla="*/ 267634 w 266700"/>
                  <a:gd name="connsiteY4" fmla="*/ 465201 h 581025"/>
                  <a:gd name="connsiteX5" fmla="*/ 141141 w 266700"/>
                  <a:gd name="connsiteY5" fmla="*/ 539496 h 581025"/>
                  <a:gd name="connsiteX6" fmla="*/ 86754 w 266700"/>
                  <a:gd name="connsiteY6" fmla="*/ 578548 h 581025"/>
                  <a:gd name="connsiteX7" fmla="*/ 87326 w 266700"/>
                  <a:gd name="connsiteY7" fmla="*/ 403193 h 581025"/>
                  <a:gd name="connsiteX8" fmla="*/ 7887 w 266700"/>
                  <a:gd name="connsiteY8" fmla="*/ 320040 h 581025"/>
                  <a:gd name="connsiteX9" fmla="*/ 10363 w 266700"/>
                  <a:gd name="connsiteY9" fmla="*/ 141351 h 581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6700" h="581025">
                    <a:moveTo>
                      <a:pt x="10363" y="141351"/>
                    </a:moveTo>
                    <a:cubicBezTo>
                      <a:pt x="13073" y="68711"/>
                      <a:pt x="71092" y="10318"/>
                      <a:pt x="143713" y="7144"/>
                    </a:cubicBezTo>
                    <a:lnTo>
                      <a:pt x="150857" y="7144"/>
                    </a:lnTo>
                    <a:cubicBezTo>
                      <a:pt x="228867" y="8287"/>
                      <a:pt x="271539" y="75247"/>
                      <a:pt x="268205" y="153162"/>
                    </a:cubicBezTo>
                    <a:lnTo>
                      <a:pt x="267634" y="465201"/>
                    </a:lnTo>
                    <a:cubicBezTo>
                      <a:pt x="267634" y="465201"/>
                      <a:pt x="145714" y="537115"/>
                      <a:pt x="141141" y="539496"/>
                    </a:cubicBezTo>
                    <a:lnTo>
                      <a:pt x="86754" y="578548"/>
                    </a:lnTo>
                    <a:lnTo>
                      <a:pt x="87326" y="403193"/>
                    </a:lnTo>
                    <a:cubicBezTo>
                      <a:pt x="87326" y="403193"/>
                      <a:pt x="12078" y="394811"/>
                      <a:pt x="7887" y="320040"/>
                    </a:cubicBezTo>
                    <a:cubicBezTo>
                      <a:pt x="5982" y="283655"/>
                      <a:pt x="8077" y="208979"/>
                      <a:pt x="10363" y="141351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0" name="Полилиния: фигура 279">
                <a:extLst>
                  <a:ext uri="{FF2B5EF4-FFF2-40B4-BE49-F238E27FC236}">
                    <a16:creationId xmlns:a16="http://schemas.microsoft.com/office/drawing/2014/main" id="{E408C759-8611-4B7F-8953-C2719219DC2D}"/>
                  </a:ext>
                </a:extLst>
              </p:cNvPr>
              <p:cNvSpPr/>
              <p:nvPr/>
            </p:nvSpPr>
            <p:spPr>
              <a:xfrm>
                <a:off x="6411196" y="4110011"/>
                <a:ext cx="104775" cy="57150"/>
              </a:xfrm>
              <a:custGeom>
                <a:avLst/>
                <a:gdLst>
                  <a:gd name="connsiteX0" fmla="*/ 7144 w 104775"/>
                  <a:gd name="connsiteY0" fmla="*/ 40100 h 57150"/>
                  <a:gd name="connsiteX1" fmla="*/ 103917 w 104775"/>
                  <a:gd name="connsiteY1" fmla="*/ 7144 h 57150"/>
                  <a:gd name="connsiteX2" fmla="*/ 8667 w 104775"/>
                  <a:gd name="connsiteY2" fmla="*/ 58484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57150">
                    <a:moveTo>
                      <a:pt x="7144" y="40100"/>
                    </a:moveTo>
                    <a:cubicBezTo>
                      <a:pt x="41889" y="38590"/>
                      <a:pt x="75473" y="27153"/>
                      <a:pt x="103917" y="7144"/>
                    </a:cubicBezTo>
                    <a:cubicBezTo>
                      <a:pt x="103917" y="7144"/>
                      <a:pt x="83153" y="62008"/>
                      <a:pt x="8667" y="58484"/>
                    </a:cubicBezTo>
                    <a:close/>
                  </a:path>
                </a:pathLst>
              </a:custGeom>
              <a:solidFill>
                <a:srgbClr val="723C3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1" name="Полилиния: фигура 280">
                <a:extLst>
                  <a:ext uri="{FF2B5EF4-FFF2-40B4-BE49-F238E27FC236}">
                    <a16:creationId xmlns:a16="http://schemas.microsoft.com/office/drawing/2014/main" id="{D2269CD6-7B12-4865-8305-4AAD4F2430F6}"/>
                  </a:ext>
                </a:extLst>
              </p:cNvPr>
              <p:cNvSpPr/>
              <p:nvPr/>
            </p:nvSpPr>
            <p:spPr>
              <a:xfrm>
                <a:off x="6353569" y="3924270"/>
                <a:ext cx="28575" cy="28575"/>
              </a:xfrm>
              <a:custGeom>
                <a:avLst/>
                <a:gdLst>
                  <a:gd name="connsiteX0" fmla="*/ 7144 w 28575"/>
                  <a:gd name="connsiteY0" fmla="*/ 17244 h 28575"/>
                  <a:gd name="connsiteX1" fmla="*/ 17907 w 28575"/>
                  <a:gd name="connsiteY1" fmla="*/ 27627 h 28575"/>
                  <a:gd name="connsiteX2" fmla="*/ 28575 w 28575"/>
                  <a:gd name="connsiteY2" fmla="*/ 17538 h 28575"/>
                  <a:gd name="connsiteX3" fmla="*/ 28575 w 28575"/>
                  <a:gd name="connsiteY3" fmla="*/ 17530 h 28575"/>
                  <a:gd name="connsiteX4" fmla="*/ 17812 w 28575"/>
                  <a:gd name="connsiteY4" fmla="*/ 7148 h 28575"/>
                  <a:gd name="connsiteX5" fmla="*/ 7144 w 28575"/>
                  <a:gd name="connsiteY5" fmla="*/ 17236 h 28575"/>
                  <a:gd name="connsiteX6" fmla="*/ 7144 w 28575"/>
                  <a:gd name="connsiteY6" fmla="*/ 172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28575">
                    <a:moveTo>
                      <a:pt x="7144" y="17244"/>
                    </a:moveTo>
                    <a:cubicBezTo>
                      <a:pt x="7349" y="23039"/>
                      <a:pt x="12109" y="27630"/>
                      <a:pt x="17907" y="27627"/>
                    </a:cubicBezTo>
                    <a:cubicBezTo>
                      <a:pt x="23639" y="27786"/>
                      <a:pt x="28415" y="23270"/>
                      <a:pt x="28575" y="17538"/>
                    </a:cubicBezTo>
                    <a:cubicBezTo>
                      <a:pt x="28575" y="17535"/>
                      <a:pt x="28575" y="17533"/>
                      <a:pt x="28575" y="17530"/>
                    </a:cubicBezTo>
                    <a:cubicBezTo>
                      <a:pt x="28370" y="11735"/>
                      <a:pt x="23610" y="7144"/>
                      <a:pt x="17812" y="7148"/>
                    </a:cubicBezTo>
                    <a:cubicBezTo>
                      <a:pt x="12080" y="6988"/>
                      <a:pt x="7304" y="11505"/>
                      <a:pt x="7144" y="17236"/>
                    </a:cubicBezTo>
                    <a:cubicBezTo>
                      <a:pt x="7144" y="17239"/>
                      <a:pt x="7144" y="17242"/>
                      <a:pt x="7144" y="172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2" name="Полилиния: фигура 281">
                <a:extLst>
                  <a:ext uri="{FF2B5EF4-FFF2-40B4-BE49-F238E27FC236}">
                    <a16:creationId xmlns:a16="http://schemas.microsoft.com/office/drawing/2014/main" id="{29503676-B9A8-4B17-8FC7-CF01E206C575}"/>
                  </a:ext>
                </a:extLst>
              </p:cNvPr>
              <p:cNvSpPr/>
              <p:nvPr/>
            </p:nvSpPr>
            <p:spPr>
              <a:xfrm>
                <a:off x="6352127" y="3905278"/>
                <a:ext cx="47625" cy="19050"/>
              </a:xfrm>
              <a:custGeom>
                <a:avLst/>
                <a:gdLst>
                  <a:gd name="connsiteX0" fmla="*/ 7443 w 47625"/>
                  <a:gd name="connsiteY0" fmla="*/ 19282 h 19050"/>
                  <a:gd name="connsiteX1" fmla="*/ 28113 w 47625"/>
                  <a:gd name="connsiteY1" fmla="*/ 13853 h 19050"/>
                  <a:gd name="connsiteX2" fmla="*/ 49449 w 47625"/>
                  <a:gd name="connsiteY2" fmla="*/ 17282 h 19050"/>
                  <a:gd name="connsiteX3" fmla="*/ 44781 w 47625"/>
                  <a:gd name="connsiteY3" fmla="*/ 11662 h 19050"/>
                  <a:gd name="connsiteX4" fmla="*/ 27637 w 47625"/>
                  <a:gd name="connsiteY4" fmla="*/ 7185 h 19050"/>
                  <a:gd name="connsiteX5" fmla="*/ 11254 w 47625"/>
                  <a:gd name="connsiteY5" fmla="*/ 13281 h 19050"/>
                  <a:gd name="connsiteX6" fmla="*/ 7443 w 47625"/>
                  <a:gd name="connsiteY6" fmla="*/ 19282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7443" y="19282"/>
                    </a:moveTo>
                    <a:cubicBezTo>
                      <a:pt x="8777" y="20616"/>
                      <a:pt x="16968" y="14234"/>
                      <a:pt x="28113" y="13853"/>
                    </a:cubicBezTo>
                    <a:cubicBezTo>
                      <a:pt x="39257" y="13472"/>
                      <a:pt x="48306" y="18711"/>
                      <a:pt x="49449" y="17282"/>
                    </a:cubicBezTo>
                    <a:cubicBezTo>
                      <a:pt x="50592" y="15853"/>
                      <a:pt x="48591" y="14139"/>
                      <a:pt x="44781" y="11662"/>
                    </a:cubicBezTo>
                    <a:cubicBezTo>
                      <a:pt x="39670" y="8427"/>
                      <a:pt x="33677" y="6862"/>
                      <a:pt x="27637" y="7185"/>
                    </a:cubicBezTo>
                    <a:cubicBezTo>
                      <a:pt x="21660" y="7390"/>
                      <a:pt x="15911" y="9529"/>
                      <a:pt x="11254" y="13281"/>
                    </a:cubicBezTo>
                    <a:cubicBezTo>
                      <a:pt x="7824" y="16139"/>
                      <a:pt x="6491" y="18711"/>
                      <a:pt x="7443" y="1928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3" name="Полилиния: фигура 282">
                <a:extLst>
                  <a:ext uri="{FF2B5EF4-FFF2-40B4-BE49-F238E27FC236}">
                    <a16:creationId xmlns:a16="http://schemas.microsoft.com/office/drawing/2014/main" id="{CD3C01F9-2095-47B7-9717-D4E1A33D2A26}"/>
                  </a:ext>
                </a:extLst>
              </p:cNvPr>
              <p:cNvSpPr/>
              <p:nvPr/>
            </p:nvSpPr>
            <p:spPr>
              <a:xfrm>
                <a:off x="6467679" y="3924270"/>
                <a:ext cx="28575" cy="28575"/>
              </a:xfrm>
              <a:custGeom>
                <a:avLst/>
                <a:gdLst>
                  <a:gd name="connsiteX0" fmla="*/ 7144 w 28575"/>
                  <a:gd name="connsiteY0" fmla="*/ 17244 h 28575"/>
                  <a:gd name="connsiteX1" fmla="*/ 17907 w 28575"/>
                  <a:gd name="connsiteY1" fmla="*/ 27627 h 28575"/>
                  <a:gd name="connsiteX2" fmla="*/ 28570 w 28575"/>
                  <a:gd name="connsiteY2" fmla="*/ 17729 h 28575"/>
                  <a:gd name="connsiteX3" fmla="*/ 28575 w 28575"/>
                  <a:gd name="connsiteY3" fmla="*/ 17530 h 28575"/>
                  <a:gd name="connsiteX4" fmla="*/ 17812 w 28575"/>
                  <a:gd name="connsiteY4" fmla="*/ 7148 h 28575"/>
                  <a:gd name="connsiteX5" fmla="*/ 7144 w 28575"/>
                  <a:gd name="connsiteY5" fmla="*/ 17236 h 28575"/>
                  <a:gd name="connsiteX6" fmla="*/ 7144 w 28575"/>
                  <a:gd name="connsiteY6" fmla="*/ 172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28575">
                    <a:moveTo>
                      <a:pt x="7144" y="17244"/>
                    </a:moveTo>
                    <a:cubicBezTo>
                      <a:pt x="7349" y="23039"/>
                      <a:pt x="12109" y="27630"/>
                      <a:pt x="17907" y="27627"/>
                    </a:cubicBezTo>
                    <a:cubicBezTo>
                      <a:pt x="23585" y="27838"/>
                      <a:pt x="28358" y="23407"/>
                      <a:pt x="28570" y="17729"/>
                    </a:cubicBezTo>
                    <a:cubicBezTo>
                      <a:pt x="28572" y="17663"/>
                      <a:pt x="28574" y="17597"/>
                      <a:pt x="28575" y="17530"/>
                    </a:cubicBezTo>
                    <a:cubicBezTo>
                      <a:pt x="28370" y="11735"/>
                      <a:pt x="23610" y="7144"/>
                      <a:pt x="17812" y="7148"/>
                    </a:cubicBezTo>
                    <a:cubicBezTo>
                      <a:pt x="12080" y="6988"/>
                      <a:pt x="7304" y="11505"/>
                      <a:pt x="7144" y="17236"/>
                    </a:cubicBezTo>
                    <a:cubicBezTo>
                      <a:pt x="7144" y="17239"/>
                      <a:pt x="7144" y="17242"/>
                      <a:pt x="7144" y="172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4" name="Полилиния: фигура 283">
                <a:extLst>
                  <a:ext uri="{FF2B5EF4-FFF2-40B4-BE49-F238E27FC236}">
                    <a16:creationId xmlns:a16="http://schemas.microsoft.com/office/drawing/2014/main" id="{9309B4A0-74B4-4033-B9B0-C79EFA0531C3}"/>
                  </a:ext>
                </a:extLst>
              </p:cNvPr>
              <p:cNvSpPr/>
              <p:nvPr/>
            </p:nvSpPr>
            <p:spPr>
              <a:xfrm>
                <a:off x="6465431" y="3902517"/>
                <a:ext cx="47625" cy="19050"/>
              </a:xfrm>
              <a:custGeom>
                <a:avLst/>
                <a:gdLst>
                  <a:gd name="connsiteX0" fmla="*/ 7487 w 47625"/>
                  <a:gd name="connsiteY0" fmla="*/ 19281 h 19050"/>
                  <a:gd name="connsiteX1" fmla="*/ 28156 w 47625"/>
                  <a:gd name="connsiteY1" fmla="*/ 13852 h 19050"/>
                  <a:gd name="connsiteX2" fmla="*/ 49588 w 47625"/>
                  <a:gd name="connsiteY2" fmla="*/ 17281 h 19050"/>
                  <a:gd name="connsiteX3" fmla="*/ 44920 w 47625"/>
                  <a:gd name="connsiteY3" fmla="*/ 11661 h 19050"/>
                  <a:gd name="connsiteX4" fmla="*/ 27680 w 47625"/>
                  <a:gd name="connsiteY4" fmla="*/ 7184 h 19050"/>
                  <a:gd name="connsiteX5" fmla="*/ 11297 w 47625"/>
                  <a:gd name="connsiteY5" fmla="*/ 13280 h 19050"/>
                  <a:gd name="connsiteX6" fmla="*/ 7487 w 47625"/>
                  <a:gd name="connsiteY6" fmla="*/ 1928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7487" y="19281"/>
                    </a:moveTo>
                    <a:cubicBezTo>
                      <a:pt x="8821" y="20614"/>
                      <a:pt x="17012" y="14328"/>
                      <a:pt x="28156" y="13852"/>
                    </a:cubicBezTo>
                    <a:cubicBezTo>
                      <a:pt x="39301" y="13375"/>
                      <a:pt x="48349" y="18709"/>
                      <a:pt x="49588" y="17281"/>
                    </a:cubicBezTo>
                    <a:cubicBezTo>
                      <a:pt x="50826" y="15852"/>
                      <a:pt x="48731" y="14137"/>
                      <a:pt x="44920" y="11661"/>
                    </a:cubicBezTo>
                    <a:cubicBezTo>
                      <a:pt x="39771" y="8430"/>
                      <a:pt x="33751" y="6866"/>
                      <a:pt x="27680" y="7184"/>
                    </a:cubicBezTo>
                    <a:cubicBezTo>
                      <a:pt x="21717" y="7455"/>
                      <a:pt x="15987" y="9587"/>
                      <a:pt x="11297" y="13280"/>
                    </a:cubicBezTo>
                    <a:cubicBezTo>
                      <a:pt x="7487" y="16138"/>
                      <a:pt x="6535" y="18709"/>
                      <a:pt x="7487" y="1928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5" name="Полилиния: фигура 284">
                <a:extLst>
                  <a:ext uri="{FF2B5EF4-FFF2-40B4-BE49-F238E27FC236}">
                    <a16:creationId xmlns:a16="http://schemas.microsoft.com/office/drawing/2014/main" id="{94E9D2B6-0ABA-4D26-B994-EE13AB28AFA1}"/>
                  </a:ext>
                </a:extLst>
              </p:cNvPr>
              <p:cNvSpPr/>
              <p:nvPr/>
            </p:nvSpPr>
            <p:spPr>
              <a:xfrm>
                <a:off x="6397917" y="3905700"/>
                <a:ext cx="38100" cy="104775"/>
              </a:xfrm>
              <a:custGeom>
                <a:avLst/>
                <a:gdLst>
                  <a:gd name="connsiteX0" fmla="*/ 36901 w 38100"/>
                  <a:gd name="connsiteY0" fmla="*/ 103156 h 104775"/>
                  <a:gd name="connsiteX1" fmla="*/ 17851 w 38100"/>
                  <a:gd name="connsiteY1" fmla="*/ 100584 h 104775"/>
                  <a:gd name="connsiteX2" fmla="*/ 11565 w 38100"/>
                  <a:gd name="connsiteY2" fmla="*/ 98012 h 104775"/>
                  <a:gd name="connsiteX3" fmla="*/ 13089 w 38100"/>
                  <a:gd name="connsiteY3" fmla="*/ 89154 h 104775"/>
                  <a:gd name="connsiteX4" fmla="*/ 20804 w 38100"/>
                  <a:gd name="connsiteY4" fmla="*/ 66484 h 104775"/>
                  <a:gd name="connsiteX5" fmla="*/ 37759 w 38100"/>
                  <a:gd name="connsiteY5" fmla="*/ 7144 h 104775"/>
                  <a:gd name="connsiteX6" fmla="*/ 16137 w 38100"/>
                  <a:gd name="connsiteY6" fmla="*/ 64961 h 104775"/>
                  <a:gd name="connsiteX7" fmla="*/ 8707 w 38100"/>
                  <a:gd name="connsiteY7" fmla="*/ 87820 h 104775"/>
                  <a:gd name="connsiteX8" fmla="*/ 7755 w 38100"/>
                  <a:gd name="connsiteY8" fmla="*/ 99441 h 104775"/>
                  <a:gd name="connsiteX9" fmla="*/ 12708 w 38100"/>
                  <a:gd name="connsiteY9" fmla="*/ 103441 h 104775"/>
                  <a:gd name="connsiteX10" fmla="*/ 17756 w 38100"/>
                  <a:gd name="connsiteY10" fmla="*/ 103441 h 104775"/>
                  <a:gd name="connsiteX11" fmla="*/ 36902 w 38100"/>
                  <a:gd name="connsiteY11" fmla="*/ 103156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100" h="104775">
                    <a:moveTo>
                      <a:pt x="36901" y="103156"/>
                    </a:moveTo>
                    <a:cubicBezTo>
                      <a:pt x="30688" y="101482"/>
                      <a:pt x="24286" y="100618"/>
                      <a:pt x="17851" y="100584"/>
                    </a:cubicBezTo>
                    <a:cubicBezTo>
                      <a:pt x="14898" y="100584"/>
                      <a:pt x="12136" y="100013"/>
                      <a:pt x="11565" y="98012"/>
                    </a:cubicBezTo>
                    <a:cubicBezTo>
                      <a:pt x="11140" y="94973"/>
                      <a:pt x="11672" y="91877"/>
                      <a:pt x="13089" y="89154"/>
                    </a:cubicBezTo>
                    <a:cubicBezTo>
                      <a:pt x="15565" y="82010"/>
                      <a:pt x="18137" y="74390"/>
                      <a:pt x="20804" y="66484"/>
                    </a:cubicBezTo>
                    <a:cubicBezTo>
                      <a:pt x="28053" y="47196"/>
                      <a:pt x="33723" y="27351"/>
                      <a:pt x="37759" y="7144"/>
                    </a:cubicBezTo>
                    <a:cubicBezTo>
                      <a:pt x="29069" y="25829"/>
                      <a:pt x="21840" y="45159"/>
                      <a:pt x="16137" y="64961"/>
                    </a:cubicBezTo>
                    <a:lnTo>
                      <a:pt x="8707" y="87820"/>
                    </a:lnTo>
                    <a:cubicBezTo>
                      <a:pt x="7026" y="91459"/>
                      <a:pt x="6688" y="95577"/>
                      <a:pt x="7755" y="99441"/>
                    </a:cubicBezTo>
                    <a:cubicBezTo>
                      <a:pt x="8687" y="101477"/>
                      <a:pt x="10521" y="102958"/>
                      <a:pt x="12708" y="103441"/>
                    </a:cubicBezTo>
                    <a:cubicBezTo>
                      <a:pt x="14380" y="103702"/>
                      <a:pt x="16083" y="103702"/>
                      <a:pt x="17756" y="103441"/>
                    </a:cubicBezTo>
                    <a:cubicBezTo>
                      <a:pt x="24122" y="104205"/>
                      <a:pt x="30561" y="104108"/>
                      <a:pt x="36902" y="10315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6" name="Полилиния: фигура 285">
                <a:extLst>
                  <a:ext uri="{FF2B5EF4-FFF2-40B4-BE49-F238E27FC236}">
                    <a16:creationId xmlns:a16="http://schemas.microsoft.com/office/drawing/2014/main" id="{12B3AF20-E0B8-4C7B-809F-7AFA996453C4}"/>
                  </a:ext>
                </a:extLst>
              </p:cNvPr>
              <p:cNvSpPr/>
              <p:nvPr/>
            </p:nvSpPr>
            <p:spPr>
              <a:xfrm>
                <a:off x="6426341" y="4008187"/>
                <a:ext cx="47625" cy="47625"/>
              </a:xfrm>
              <a:custGeom>
                <a:avLst/>
                <a:gdLst>
                  <a:gd name="connsiteX0" fmla="*/ 42386 w 47625"/>
                  <a:gd name="connsiteY0" fmla="*/ 7146 h 47625"/>
                  <a:gd name="connsiteX1" fmla="*/ 30766 w 47625"/>
                  <a:gd name="connsiteY1" fmla="*/ 28958 h 47625"/>
                  <a:gd name="connsiteX2" fmla="*/ 7144 w 47625"/>
                  <a:gd name="connsiteY2" fmla="*/ 39245 h 47625"/>
                  <a:gd name="connsiteX3" fmla="*/ 15812 w 47625"/>
                  <a:gd name="connsiteY3" fmla="*/ 41436 h 47625"/>
                  <a:gd name="connsiteX4" fmla="*/ 35624 w 47625"/>
                  <a:gd name="connsiteY4" fmla="*/ 33530 h 47625"/>
                  <a:gd name="connsiteX5" fmla="*/ 44578 w 47625"/>
                  <a:gd name="connsiteY5" fmla="*/ 15337 h 47625"/>
                  <a:gd name="connsiteX6" fmla="*/ 42386 w 47625"/>
                  <a:gd name="connsiteY6" fmla="*/ 7146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47625">
                    <a:moveTo>
                      <a:pt x="42386" y="7146"/>
                    </a:moveTo>
                    <a:cubicBezTo>
                      <a:pt x="40577" y="7146"/>
                      <a:pt x="41053" y="19624"/>
                      <a:pt x="30766" y="28958"/>
                    </a:cubicBezTo>
                    <a:cubicBezTo>
                      <a:pt x="20479" y="38293"/>
                      <a:pt x="7144" y="37435"/>
                      <a:pt x="7144" y="39245"/>
                    </a:cubicBezTo>
                    <a:cubicBezTo>
                      <a:pt x="7144" y="41055"/>
                      <a:pt x="10192" y="41531"/>
                      <a:pt x="15812" y="41436"/>
                    </a:cubicBezTo>
                    <a:cubicBezTo>
                      <a:pt x="23134" y="41183"/>
                      <a:pt x="30139" y="38387"/>
                      <a:pt x="35624" y="33530"/>
                    </a:cubicBezTo>
                    <a:cubicBezTo>
                      <a:pt x="40871" y="28868"/>
                      <a:pt x="44085" y="22338"/>
                      <a:pt x="44578" y="15337"/>
                    </a:cubicBezTo>
                    <a:cubicBezTo>
                      <a:pt x="44768" y="10099"/>
                      <a:pt x="43244" y="7051"/>
                      <a:pt x="42386" y="714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7" name="Полилиния: фигура 286">
                <a:extLst>
                  <a:ext uri="{FF2B5EF4-FFF2-40B4-BE49-F238E27FC236}">
                    <a16:creationId xmlns:a16="http://schemas.microsoft.com/office/drawing/2014/main" id="{D48F88C0-6BCB-4FA9-8B72-0D91BE471C73}"/>
                  </a:ext>
                </a:extLst>
              </p:cNvPr>
              <p:cNvSpPr/>
              <p:nvPr/>
            </p:nvSpPr>
            <p:spPr>
              <a:xfrm>
                <a:off x="6460455" y="3860125"/>
                <a:ext cx="66675" cy="28575"/>
              </a:xfrm>
              <a:custGeom>
                <a:avLst/>
                <a:gdLst>
                  <a:gd name="connsiteX0" fmla="*/ 7225 w 66675"/>
                  <a:gd name="connsiteY0" fmla="*/ 16809 h 28575"/>
                  <a:gd name="connsiteX1" fmla="*/ 33514 w 66675"/>
                  <a:gd name="connsiteY1" fmla="*/ 18905 h 28575"/>
                  <a:gd name="connsiteX2" fmla="*/ 59802 w 66675"/>
                  <a:gd name="connsiteY2" fmla="*/ 20238 h 28575"/>
                  <a:gd name="connsiteX3" fmla="*/ 53992 w 66675"/>
                  <a:gd name="connsiteY3" fmla="*/ 13190 h 28575"/>
                  <a:gd name="connsiteX4" fmla="*/ 34275 w 66675"/>
                  <a:gd name="connsiteY4" fmla="*/ 7284 h 28575"/>
                  <a:gd name="connsiteX5" fmla="*/ 13987 w 66675"/>
                  <a:gd name="connsiteY5" fmla="*/ 10523 h 28575"/>
                  <a:gd name="connsiteX6" fmla="*/ 7225 w 66675"/>
                  <a:gd name="connsiteY6" fmla="*/ 1680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6675" h="28575">
                    <a:moveTo>
                      <a:pt x="7225" y="16809"/>
                    </a:moveTo>
                    <a:cubicBezTo>
                      <a:pt x="8558" y="19857"/>
                      <a:pt x="19893" y="17857"/>
                      <a:pt x="33514" y="18905"/>
                    </a:cubicBezTo>
                    <a:cubicBezTo>
                      <a:pt x="47134" y="19953"/>
                      <a:pt x="58088" y="23191"/>
                      <a:pt x="59802" y="20238"/>
                    </a:cubicBezTo>
                    <a:cubicBezTo>
                      <a:pt x="60564" y="18905"/>
                      <a:pt x="58469" y="16047"/>
                      <a:pt x="53992" y="13190"/>
                    </a:cubicBezTo>
                    <a:cubicBezTo>
                      <a:pt x="47999" y="9646"/>
                      <a:pt x="41230" y="7618"/>
                      <a:pt x="34275" y="7284"/>
                    </a:cubicBezTo>
                    <a:cubicBezTo>
                      <a:pt x="27351" y="6726"/>
                      <a:pt x="20394" y="7836"/>
                      <a:pt x="13987" y="10523"/>
                    </a:cubicBezTo>
                    <a:cubicBezTo>
                      <a:pt x="9130" y="12714"/>
                      <a:pt x="6653" y="15285"/>
                      <a:pt x="7225" y="1680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8" name="Полилиния: фигура 287">
                <a:extLst>
                  <a:ext uri="{FF2B5EF4-FFF2-40B4-BE49-F238E27FC236}">
                    <a16:creationId xmlns:a16="http://schemas.microsoft.com/office/drawing/2014/main" id="{C9BAA289-F4D4-45B5-B1EE-070E31FE15AD}"/>
                  </a:ext>
                </a:extLst>
              </p:cNvPr>
              <p:cNvSpPr/>
              <p:nvPr/>
            </p:nvSpPr>
            <p:spPr>
              <a:xfrm>
                <a:off x="6354826" y="3870737"/>
                <a:ext cx="47625" cy="19050"/>
              </a:xfrm>
              <a:custGeom>
                <a:avLst/>
                <a:gdLst>
                  <a:gd name="connsiteX0" fmla="*/ 7507 w 47625"/>
                  <a:gd name="connsiteY0" fmla="*/ 20009 h 19050"/>
                  <a:gd name="connsiteX1" fmla="*/ 26557 w 47625"/>
                  <a:gd name="connsiteY1" fmla="*/ 18961 h 19050"/>
                  <a:gd name="connsiteX2" fmla="*/ 45607 w 47625"/>
                  <a:gd name="connsiteY2" fmla="*/ 17151 h 19050"/>
                  <a:gd name="connsiteX3" fmla="*/ 41321 w 47625"/>
                  <a:gd name="connsiteY3" fmla="*/ 10865 h 19050"/>
                  <a:gd name="connsiteX4" fmla="*/ 25319 w 47625"/>
                  <a:gd name="connsiteY4" fmla="*/ 7245 h 19050"/>
                  <a:gd name="connsiteX5" fmla="*/ 9984 w 47625"/>
                  <a:gd name="connsiteY5" fmla="*/ 13151 h 19050"/>
                  <a:gd name="connsiteX6" fmla="*/ 7507 w 47625"/>
                  <a:gd name="connsiteY6" fmla="*/ 20009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7507" y="20009"/>
                    </a:moveTo>
                    <a:cubicBezTo>
                      <a:pt x="9602" y="22485"/>
                      <a:pt x="17032" y="19437"/>
                      <a:pt x="26557" y="18961"/>
                    </a:cubicBezTo>
                    <a:cubicBezTo>
                      <a:pt x="36082" y="18485"/>
                      <a:pt x="44274" y="19914"/>
                      <a:pt x="45607" y="17151"/>
                    </a:cubicBezTo>
                    <a:cubicBezTo>
                      <a:pt x="46941" y="14389"/>
                      <a:pt x="44940" y="13151"/>
                      <a:pt x="41321" y="10865"/>
                    </a:cubicBezTo>
                    <a:cubicBezTo>
                      <a:pt x="36493" y="8025"/>
                      <a:pt x="30899" y="6760"/>
                      <a:pt x="25319" y="7245"/>
                    </a:cubicBezTo>
                    <a:cubicBezTo>
                      <a:pt x="19723" y="7594"/>
                      <a:pt x="14369" y="9656"/>
                      <a:pt x="9984" y="13151"/>
                    </a:cubicBezTo>
                    <a:cubicBezTo>
                      <a:pt x="7507" y="16389"/>
                      <a:pt x="6554" y="19152"/>
                      <a:pt x="7507" y="2000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9" name="Полилиния: фигура 288">
                <a:extLst>
                  <a:ext uri="{FF2B5EF4-FFF2-40B4-BE49-F238E27FC236}">
                    <a16:creationId xmlns:a16="http://schemas.microsoft.com/office/drawing/2014/main" id="{ED6F2EF2-2A51-465E-A222-F152982B8B10}"/>
                  </a:ext>
                </a:extLst>
              </p:cNvPr>
              <p:cNvSpPr/>
              <p:nvPr/>
            </p:nvSpPr>
            <p:spPr>
              <a:xfrm>
                <a:off x="6583694" y="3945840"/>
                <a:ext cx="57150" cy="85725"/>
              </a:xfrm>
              <a:custGeom>
                <a:avLst/>
                <a:gdLst>
                  <a:gd name="connsiteX0" fmla="*/ 7144 w 57150"/>
                  <a:gd name="connsiteY0" fmla="*/ 10247 h 85725"/>
                  <a:gd name="connsiteX1" fmla="*/ 58484 w 57150"/>
                  <a:gd name="connsiteY1" fmla="*/ 44061 h 85725"/>
                  <a:gd name="connsiteX2" fmla="*/ 7429 w 57150"/>
                  <a:gd name="connsiteY2" fmla="*/ 83780 h 85725"/>
                  <a:gd name="connsiteX3" fmla="*/ 7144 w 57150"/>
                  <a:gd name="connsiteY3" fmla="*/ 10247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50" h="85725">
                    <a:moveTo>
                      <a:pt x="7144" y="10247"/>
                    </a:moveTo>
                    <a:cubicBezTo>
                      <a:pt x="8382" y="9676"/>
                      <a:pt x="57912" y="-7184"/>
                      <a:pt x="58484" y="44061"/>
                    </a:cubicBezTo>
                    <a:cubicBezTo>
                      <a:pt x="59055" y="95305"/>
                      <a:pt x="7525" y="85209"/>
                      <a:pt x="7429" y="83780"/>
                    </a:cubicBezTo>
                    <a:cubicBezTo>
                      <a:pt x="7334" y="82351"/>
                      <a:pt x="7144" y="10247"/>
                      <a:pt x="7144" y="10247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0" name="Полилиния: фигура 289">
                <a:extLst>
                  <a:ext uri="{FF2B5EF4-FFF2-40B4-BE49-F238E27FC236}">
                    <a16:creationId xmlns:a16="http://schemas.microsoft.com/office/drawing/2014/main" id="{A18B1B5E-87C0-461E-9085-8205DB755F81}"/>
                  </a:ext>
                </a:extLst>
              </p:cNvPr>
              <p:cNvSpPr/>
              <p:nvPr/>
            </p:nvSpPr>
            <p:spPr>
              <a:xfrm>
                <a:off x="6594879" y="3962327"/>
                <a:ext cx="28575" cy="57150"/>
              </a:xfrm>
              <a:custGeom>
                <a:avLst/>
                <a:gdLst>
                  <a:gd name="connsiteX0" fmla="*/ 7198 w 28575"/>
                  <a:gd name="connsiteY0" fmla="*/ 47863 h 57150"/>
                  <a:gd name="connsiteX1" fmla="*/ 9579 w 28575"/>
                  <a:gd name="connsiteY1" fmla="*/ 49196 h 57150"/>
                  <a:gd name="connsiteX2" fmla="*/ 16247 w 28575"/>
                  <a:gd name="connsiteY2" fmla="*/ 49196 h 57150"/>
                  <a:gd name="connsiteX3" fmla="*/ 25772 w 28575"/>
                  <a:gd name="connsiteY3" fmla="*/ 29194 h 57150"/>
                  <a:gd name="connsiteX4" fmla="*/ 23105 w 28575"/>
                  <a:gd name="connsiteY4" fmla="*/ 16525 h 57150"/>
                  <a:gd name="connsiteX5" fmla="*/ 16342 w 28575"/>
                  <a:gd name="connsiteY5" fmla="*/ 9763 h 57150"/>
                  <a:gd name="connsiteX6" fmla="*/ 11103 w 28575"/>
                  <a:gd name="connsiteY6" fmla="*/ 12239 h 57150"/>
                  <a:gd name="connsiteX7" fmla="*/ 10437 w 28575"/>
                  <a:gd name="connsiteY7" fmla="*/ 14811 h 57150"/>
                  <a:gd name="connsiteX8" fmla="*/ 9770 w 28575"/>
                  <a:gd name="connsiteY8" fmla="*/ 11858 h 57150"/>
                  <a:gd name="connsiteX9" fmla="*/ 11771 w 28575"/>
                  <a:gd name="connsiteY9" fmla="*/ 8620 h 57150"/>
                  <a:gd name="connsiteX10" fmla="*/ 16628 w 28575"/>
                  <a:gd name="connsiteY10" fmla="*/ 7191 h 57150"/>
                  <a:gd name="connsiteX11" fmla="*/ 26153 w 28575"/>
                  <a:gd name="connsiteY11" fmla="*/ 15097 h 57150"/>
                  <a:gd name="connsiteX12" fmla="*/ 29392 w 28575"/>
                  <a:gd name="connsiteY12" fmla="*/ 29289 h 57150"/>
                  <a:gd name="connsiteX13" fmla="*/ 16628 w 28575"/>
                  <a:gd name="connsiteY13" fmla="*/ 51578 h 57150"/>
                  <a:gd name="connsiteX14" fmla="*/ 8437 w 28575"/>
                  <a:gd name="connsiteY14" fmla="*/ 50339 h 57150"/>
                  <a:gd name="connsiteX15" fmla="*/ 7198 w 28575"/>
                  <a:gd name="connsiteY15" fmla="*/ 47863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75" h="57150">
                    <a:moveTo>
                      <a:pt x="7198" y="47863"/>
                    </a:moveTo>
                    <a:cubicBezTo>
                      <a:pt x="7198" y="47863"/>
                      <a:pt x="8056" y="48530"/>
                      <a:pt x="9579" y="49196"/>
                    </a:cubicBezTo>
                    <a:cubicBezTo>
                      <a:pt x="11729" y="50000"/>
                      <a:pt x="14097" y="50000"/>
                      <a:pt x="16247" y="49196"/>
                    </a:cubicBezTo>
                    <a:cubicBezTo>
                      <a:pt x="22715" y="44665"/>
                      <a:pt x="26331" y="37072"/>
                      <a:pt x="25772" y="29194"/>
                    </a:cubicBezTo>
                    <a:cubicBezTo>
                      <a:pt x="25864" y="24822"/>
                      <a:pt x="24952" y="20489"/>
                      <a:pt x="23105" y="16525"/>
                    </a:cubicBezTo>
                    <a:cubicBezTo>
                      <a:pt x="22099" y="13297"/>
                      <a:pt x="19571" y="10768"/>
                      <a:pt x="16342" y="9763"/>
                    </a:cubicBezTo>
                    <a:cubicBezTo>
                      <a:pt x="14221" y="9151"/>
                      <a:pt x="11976" y="10212"/>
                      <a:pt x="11103" y="12239"/>
                    </a:cubicBezTo>
                    <a:cubicBezTo>
                      <a:pt x="10437" y="13668"/>
                      <a:pt x="11103" y="14716"/>
                      <a:pt x="10437" y="14811"/>
                    </a:cubicBezTo>
                    <a:cubicBezTo>
                      <a:pt x="9770" y="14906"/>
                      <a:pt x="9389" y="13954"/>
                      <a:pt x="9770" y="11858"/>
                    </a:cubicBezTo>
                    <a:cubicBezTo>
                      <a:pt x="10007" y="10566"/>
                      <a:pt x="10721" y="9410"/>
                      <a:pt x="11771" y="8620"/>
                    </a:cubicBezTo>
                    <a:cubicBezTo>
                      <a:pt x="13123" y="7494"/>
                      <a:pt x="14881" y="6977"/>
                      <a:pt x="16628" y="7191"/>
                    </a:cubicBezTo>
                    <a:cubicBezTo>
                      <a:pt x="20979" y="7955"/>
                      <a:pt x="24602" y="10962"/>
                      <a:pt x="26153" y="15097"/>
                    </a:cubicBezTo>
                    <a:cubicBezTo>
                      <a:pt x="28393" y="19486"/>
                      <a:pt x="29506" y="24363"/>
                      <a:pt x="29392" y="29289"/>
                    </a:cubicBezTo>
                    <a:cubicBezTo>
                      <a:pt x="30028" y="38614"/>
                      <a:pt x="24993" y="47407"/>
                      <a:pt x="16628" y="51578"/>
                    </a:cubicBezTo>
                    <a:cubicBezTo>
                      <a:pt x="13852" y="52436"/>
                      <a:pt x="10836" y="51980"/>
                      <a:pt x="8437" y="50339"/>
                    </a:cubicBezTo>
                    <a:cubicBezTo>
                      <a:pt x="7294" y="49101"/>
                      <a:pt x="7008" y="47958"/>
                      <a:pt x="7198" y="47863"/>
                    </a:cubicBezTo>
                    <a:close/>
                  </a:path>
                </a:pathLst>
              </a:custGeom>
              <a:solidFill>
                <a:srgbClr val="723C3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1" name="Полилиния: фигура 290">
                <a:extLst>
                  <a:ext uri="{FF2B5EF4-FFF2-40B4-BE49-F238E27FC236}">
                    <a16:creationId xmlns:a16="http://schemas.microsoft.com/office/drawing/2014/main" id="{B56B4A13-E0CB-40DE-9EE1-E48340E3E8B7}"/>
                  </a:ext>
                </a:extLst>
              </p:cNvPr>
              <p:cNvSpPr/>
              <p:nvPr/>
            </p:nvSpPr>
            <p:spPr>
              <a:xfrm>
                <a:off x="6330805" y="3735034"/>
                <a:ext cx="285750" cy="247650"/>
              </a:xfrm>
              <a:custGeom>
                <a:avLst/>
                <a:gdLst>
                  <a:gd name="connsiteX0" fmla="*/ 220218 w 285750"/>
                  <a:gd name="connsiteY0" fmla="*/ 69987 h 247650"/>
                  <a:gd name="connsiteX1" fmla="*/ 7144 w 285750"/>
                  <a:gd name="connsiteY1" fmla="*/ 83512 h 247650"/>
                  <a:gd name="connsiteX2" fmla="*/ 36957 w 285750"/>
                  <a:gd name="connsiteY2" fmla="*/ 45984 h 247650"/>
                  <a:gd name="connsiteX3" fmla="*/ 132207 w 285750"/>
                  <a:gd name="connsiteY3" fmla="*/ 7217 h 247650"/>
                  <a:gd name="connsiteX4" fmla="*/ 265557 w 285750"/>
                  <a:gd name="connsiteY4" fmla="*/ 67606 h 247650"/>
                  <a:gd name="connsiteX5" fmla="*/ 287083 w 285750"/>
                  <a:gd name="connsiteY5" fmla="*/ 102562 h 247650"/>
                  <a:gd name="connsiteX6" fmla="*/ 272224 w 285750"/>
                  <a:gd name="connsiteY6" fmla="*/ 189526 h 247650"/>
                  <a:gd name="connsiteX7" fmla="*/ 265176 w 285750"/>
                  <a:gd name="connsiteY7" fmla="*/ 246676 h 247650"/>
                  <a:gd name="connsiteX8" fmla="*/ 265176 w 285750"/>
                  <a:gd name="connsiteY8" fmla="*/ 246676 h 247650"/>
                  <a:gd name="connsiteX9" fmla="*/ 250031 w 285750"/>
                  <a:gd name="connsiteY9" fmla="*/ 226292 h 247650"/>
                  <a:gd name="connsiteX10" fmla="*/ 250031 w 285750"/>
                  <a:gd name="connsiteY10" fmla="*/ 180572 h 247650"/>
                  <a:gd name="connsiteX11" fmla="*/ 225647 w 285750"/>
                  <a:gd name="connsiteY11" fmla="*/ 101038 h 247650"/>
                  <a:gd name="connsiteX12" fmla="*/ 220218 w 285750"/>
                  <a:gd name="connsiteY12" fmla="*/ 69987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5750" h="247650">
                    <a:moveTo>
                      <a:pt x="220218" y="69987"/>
                    </a:moveTo>
                    <a:lnTo>
                      <a:pt x="7144" y="83512"/>
                    </a:lnTo>
                    <a:cubicBezTo>
                      <a:pt x="13836" y="68737"/>
                      <a:pt x="24078" y="55845"/>
                      <a:pt x="36957" y="45984"/>
                    </a:cubicBezTo>
                    <a:cubicBezTo>
                      <a:pt x="63838" y="23363"/>
                      <a:pt x="97169" y="9797"/>
                      <a:pt x="132207" y="7217"/>
                    </a:cubicBezTo>
                    <a:cubicBezTo>
                      <a:pt x="166973" y="5217"/>
                      <a:pt x="239553" y="44650"/>
                      <a:pt x="265557" y="67606"/>
                    </a:cubicBezTo>
                    <a:cubicBezTo>
                      <a:pt x="286512" y="85894"/>
                      <a:pt x="287083" y="102562"/>
                      <a:pt x="287083" y="102562"/>
                    </a:cubicBezTo>
                    <a:cubicBezTo>
                      <a:pt x="291369" y="130090"/>
                      <a:pt x="277558" y="162189"/>
                      <a:pt x="272224" y="189526"/>
                    </a:cubicBezTo>
                    <a:cubicBezTo>
                      <a:pt x="269557" y="203718"/>
                      <a:pt x="265176" y="246676"/>
                      <a:pt x="265176" y="246676"/>
                    </a:cubicBezTo>
                    <a:lnTo>
                      <a:pt x="265176" y="246676"/>
                    </a:lnTo>
                    <a:cubicBezTo>
                      <a:pt x="253460" y="246676"/>
                      <a:pt x="248698" y="237913"/>
                      <a:pt x="250031" y="226292"/>
                    </a:cubicBezTo>
                    <a:lnTo>
                      <a:pt x="250031" y="180572"/>
                    </a:lnTo>
                    <a:cubicBezTo>
                      <a:pt x="225028" y="162500"/>
                      <a:pt x="215070" y="130019"/>
                      <a:pt x="225647" y="101038"/>
                    </a:cubicBezTo>
                    <a:cubicBezTo>
                      <a:pt x="228981" y="96847"/>
                      <a:pt x="234601" y="77512"/>
                      <a:pt x="220218" y="6998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2" name="Полилиния: фигура 291">
                <a:extLst>
                  <a:ext uri="{FF2B5EF4-FFF2-40B4-BE49-F238E27FC236}">
                    <a16:creationId xmlns:a16="http://schemas.microsoft.com/office/drawing/2014/main" id="{C2D40E6E-300C-45A2-B50D-61D92C5E5504}"/>
                  </a:ext>
                </a:extLst>
              </p:cNvPr>
              <p:cNvSpPr/>
              <p:nvPr/>
            </p:nvSpPr>
            <p:spPr>
              <a:xfrm>
                <a:off x="6289867" y="3700340"/>
                <a:ext cx="314325" cy="171450"/>
              </a:xfrm>
              <a:custGeom>
                <a:avLst/>
                <a:gdLst>
                  <a:gd name="connsiteX0" fmla="*/ 308114 w 314325"/>
                  <a:gd name="connsiteY0" fmla="*/ 105539 h 171450"/>
                  <a:gd name="connsiteX1" fmla="*/ 259385 w 314325"/>
                  <a:gd name="connsiteY1" fmla="*/ 30535 h 171450"/>
                  <a:gd name="connsiteX2" fmla="*/ 241439 w 314325"/>
                  <a:gd name="connsiteY2" fmla="*/ 29339 h 171450"/>
                  <a:gd name="connsiteX3" fmla="*/ 211817 w 314325"/>
                  <a:gd name="connsiteY3" fmla="*/ 32673 h 171450"/>
                  <a:gd name="connsiteX4" fmla="*/ 161048 w 314325"/>
                  <a:gd name="connsiteY4" fmla="*/ 10765 h 171450"/>
                  <a:gd name="connsiteX5" fmla="*/ 84848 w 314325"/>
                  <a:gd name="connsiteY5" fmla="*/ 36959 h 171450"/>
                  <a:gd name="connsiteX6" fmla="*/ 65798 w 314325"/>
                  <a:gd name="connsiteY6" fmla="*/ 65534 h 171450"/>
                  <a:gd name="connsiteX7" fmla="*/ 37223 w 314325"/>
                  <a:gd name="connsiteY7" fmla="*/ 74487 h 171450"/>
                  <a:gd name="connsiteX8" fmla="*/ 7315 w 314325"/>
                  <a:gd name="connsiteY8" fmla="*/ 122779 h 171450"/>
                  <a:gd name="connsiteX9" fmla="*/ 43319 w 314325"/>
                  <a:gd name="connsiteY9" fmla="*/ 168404 h 171450"/>
                  <a:gd name="connsiteX10" fmla="*/ 102088 w 314325"/>
                  <a:gd name="connsiteY10" fmla="*/ 161831 h 171450"/>
                  <a:gd name="connsiteX11" fmla="*/ 149713 w 314325"/>
                  <a:gd name="connsiteY11" fmla="*/ 136114 h 171450"/>
                  <a:gd name="connsiteX12" fmla="*/ 204768 w 314325"/>
                  <a:gd name="connsiteY12" fmla="*/ 148687 h 171450"/>
                  <a:gd name="connsiteX13" fmla="*/ 228581 w 314325"/>
                  <a:gd name="connsiteY13" fmla="*/ 131161 h 171450"/>
                  <a:gd name="connsiteX14" fmla="*/ 253441 w 314325"/>
                  <a:gd name="connsiteY14" fmla="*/ 115445 h 171450"/>
                  <a:gd name="connsiteX15" fmla="*/ 266014 w 314325"/>
                  <a:gd name="connsiteY15" fmla="*/ 137448 h 171450"/>
                  <a:gd name="connsiteX16" fmla="*/ 307733 w 314325"/>
                  <a:gd name="connsiteY16" fmla="*/ 105158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14325" h="171450">
                    <a:moveTo>
                      <a:pt x="308114" y="105539"/>
                    </a:moveTo>
                    <a:cubicBezTo>
                      <a:pt x="315370" y="71371"/>
                      <a:pt x="293553" y="37791"/>
                      <a:pt x="259385" y="30535"/>
                    </a:cubicBezTo>
                    <a:cubicBezTo>
                      <a:pt x="253490" y="29283"/>
                      <a:pt x="247448" y="28880"/>
                      <a:pt x="241439" y="29339"/>
                    </a:cubicBezTo>
                    <a:cubicBezTo>
                      <a:pt x="231671" y="31248"/>
                      <a:pt x="221764" y="32362"/>
                      <a:pt x="211817" y="32673"/>
                    </a:cubicBezTo>
                    <a:cubicBezTo>
                      <a:pt x="193243" y="31434"/>
                      <a:pt x="178384" y="17242"/>
                      <a:pt x="161048" y="10765"/>
                    </a:cubicBezTo>
                    <a:cubicBezTo>
                      <a:pt x="132647" y="896"/>
                      <a:pt x="101179" y="11713"/>
                      <a:pt x="84848" y="36959"/>
                    </a:cubicBezTo>
                    <a:cubicBezTo>
                      <a:pt x="78847" y="46484"/>
                      <a:pt x="75323" y="59057"/>
                      <a:pt x="65798" y="65534"/>
                    </a:cubicBezTo>
                    <a:cubicBezTo>
                      <a:pt x="56683" y="69696"/>
                      <a:pt x="47084" y="72703"/>
                      <a:pt x="37223" y="74487"/>
                    </a:cubicBezTo>
                    <a:cubicBezTo>
                      <a:pt x="17694" y="82227"/>
                      <a:pt x="5543" y="101847"/>
                      <a:pt x="7315" y="122779"/>
                    </a:cubicBezTo>
                    <a:cubicBezTo>
                      <a:pt x="9827" y="143529"/>
                      <a:pt x="23722" y="161136"/>
                      <a:pt x="43319" y="168404"/>
                    </a:cubicBezTo>
                    <a:cubicBezTo>
                      <a:pt x="62901" y="175164"/>
                      <a:pt x="84484" y="172750"/>
                      <a:pt x="102088" y="161831"/>
                    </a:cubicBezTo>
                    <a:cubicBezTo>
                      <a:pt x="117805" y="152306"/>
                      <a:pt x="131616" y="136305"/>
                      <a:pt x="149713" y="136114"/>
                    </a:cubicBezTo>
                    <a:cubicBezTo>
                      <a:pt x="167811" y="135923"/>
                      <a:pt x="186194" y="153164"/>
                      <a:pt x="204768" y="148687"/>
                    </a:cubicBezTo>
                    <a:cubicBezTo>
                      <a:pt x="214206" y="145219"/>
                      <a:pt x="222464" y="139141"/>
                      <a:pt x="228581" y="131161"/>
                    </a:cubicBezTo>
                    <a:cubicBezTo>
                      <a:pt x="234798" y="123202"/>
                      <a:pt x="243585" y="117648"/>
                      <a:pt x="253441" y="115445"/>
                    </a:cubicBezTo>
                    <a:cubicBezTo>
                      <a:pt x="263442" y="114492"/>
                      <a:pt x="269157" y="128018"/>
                      <a:pt x="266014" y="137448"/>
                    </a:cubicBezTo>
                    <a:lnTo>
                      <a:pt x="307733" y="105158"/>
                    </a:ln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3" name="Полилиния: фигура 292">
                <a:extLst>
                  <a:ext uri="{FF2B5EF4-FFF2-40B4-BE49-F238E27FC236}">
                    <a16:creationId xmlns:a16="http://schemas.microsoft.com/office/drawing/2014/main" id="{1345A059-4B8A-4332-A6AD-0FCEC3568A72}"/>
                  </a:ext>
                </a:extLst>
              </p:cNvPr>
              <p:cNvSpPr/>
              <p:nvPr/>
            </p:nvSpPr>
            <p:spPr>
              <a:xfrm>
                <a:off x="6333837" y="3749960"/>
                <a:ext cx="238125" cy="57150"/>
              </a:xfrm>
              <a:custGeom>
                <a:avLst/>
                <a:gdLst>
                  <a:gd name="connsiteX0" fmla="*/ 7160 w 238125"/>
                  <a:gd name="connsiteY0" fmla="*/ 41726 h 57150"/>
                  <a:gd name="connsiteX1" fmla="*/ 7160 w 238125"/>
                  <a:gd name="connsiteY1" fmla="*/ 42488 h 57150"/>
                  <a:gd name="connsiteX2" fmla="*/ 8494 w 238125"/>
                  <a:gd name="connsiteY2" fmla="*/ 44488 h 57150"/>
                  <a:gd name="connsiteX3" fmla="*/ 14876 w 238125"/>
                  <a:gd name="connsiteY3" fmla="*/ 51156 h 57150"/>
                  <a:gd name="connsiteX4" fmla="*/ 27829 w 238125"/>
                  <a:gd name="connsiteY4" fmla="*/ 58014 h 57150"/>
                  <a:gd name="connsiteX5" fmla="*/ 46879 w 238125"/>
                  <a:gd name="connsiteY5" fmla="*/ 58014 h 57150"/>
                  <a:gd name="connsiteX6" fmla="*/ 66787 w 238125"/>
                  <a:gd name="connsiteY6" fmla="*/ 45631 h 57150"/>
                  <a:gd name="connsiteX7" fmla="*/ 80598 w 238125"/>
                  <a:gd name="connsiteY7" fmla="*/ 22486 h 57150"/>
                  <a:gd name="connsiteX8" fmla="*/ 90123 w 238125"/>
                  <a:gd name="connsiteY8" fmla="*/ 12961 h 57150"/>
                  <a:gd name="connsiteX9" fmla="*/ 104125 w 238125"/>
                  <a:gd name="connsiteY9" fmla="*/ 9246 h 57150"/>
                  <a:gd name="connsiteX10" fmla="*/ 118793 w 238125"/>
                  <a:gd name="connsiteY10" fmla="*/ 12580 h 57150"/>
                  <a:gd name="connsiteX11" fmla="*/ 130032 w 238125"/>
                  <a:gd name="connsiteY11" fmla="*/ 23152 h 57150"/>
                  <a:gd name="connsiteX12" fmla="*/ 138128 w 238125"/>
                  <a:gd name="connsiteY12" fmla="*/ 37154 h 57150"/>
                  <a:gd name="connsiteX13" fmla="*/ 152130 w 238125"/>
                  <a:gd name="connsiteY13" fmla="*/ 44965 h 57150"/>
                  <a:gd name="connsiteX14" fmla="*/ 166798 w 238125"/>
                  <a:gd name="connsiteY14" fmla="*/ 40012 h 57150"/>
                  <a:gd name="connsiteX15" fmla="*/ 177752 w 238125"/>
                  <a:gd name="connsiteY15" fmla="*/ 30487 h 57150"/>
                  <a:gd name="connsiteX16" fmla="*/ 198231 w 238125"/>
                  <a:gd name="connsiteY16" fmla="*/ 14580 h 57150"/>
                  <a:gd name="connsiteX17" fmla="*/ 219949 w 238125"/>
                  <a:gd name="connsiteY17" fmla="*/ 18676 h 57150"/>
                  <a:gd name="connsiteX18" fmla="*/ 232236 w 238125"/>
                  <a:gd name="connsiteY18" fmla="*/ 32773 h 57150"/>
                  <a:gd name="connsiteX19" fmla="*/ 237284 w 238125"/>
                  <a:gd name="connsiteY19" fmla="*/ 46298 h 57150"/>
                  <a:gd name="connsiteX20" fmla="*/ 238999 w 238125"/>
                  <a:gd name="connsiteY20" fmla="*/ 55347 h 57150"/>
                  <a:gd name="connsiteX21" fmla="*/ 239570 w 238125"/>
                  <a:gd name="connsiteY21" fmla="*/ 58490 h 57150"/>
                  <a:gd name="connsiteX22" fmla="*/ 239570 w 238125"/>
                  <a:gd name="connsiteY22" fmla="*/ 57633 h 57150"/>
                  <a:gd name="connsiteX23" fmla="*/ 239570 w 238125"/>
                  <a:gd name="connsiteY23" fmla="*/ 55252 h 57150"/>
                  <a:gd name="connsiteX24" fmla="*/ 238142 w 238125"/>
                  <a:gd name="connsiteY24" fmla="*/ 45727 h 57150"/>
                  <a:gd name="connsiteX25" fmla="*/ 233379 w 238125"/>
                  <a:gd name="connsiteY25" fmla="*/ 31820 h 57150"/>
                  <a:gd name="connsiteX26" fmla="*/ 220806 w 238125"/>
                  <a:gd name="connsiteY26" fmla="*/ 17056 h 57150"/>
                  <a:gd name="connsiteX27" fmla="*/ 197946 w 238125"/>
                  <a:gd name="connsiteY27" fmla="*/ 12484 h 57150"/>
                  <a:gd name="connsiteX28" fmla="*/ 176419 w 238125"/>
                  <a:gd name="connsiteY28" fmla="*/ 28772 h 57150"/>
                  <a:gd name="connsiteX29" fmla="*/ 165847 w 238125"/>
                  <a:gd name="connsiteY29" fmla="*/ 38297 h 57150"/>
                  <a:gd name="connsiteX30" fmla="*/ 152226 w 238125"/>
                  <a:gd name="connsiteY30" fmla="*/ 42869 h 57150"/>
                  <a:gd name="connsiteX31" fmla="*/ 139844 w 238125"/>
                  <a:gd name="connsiteY31" fmla="*/ 35820 h 57150"/>
                  <a:gd name="connsiteX32" fmla="*/ 131842 w 238125"/>
                  <a:gd name="connsiteY32" fmla="*/ 21914 h 57150"/>
                  <a:gd name="connsiteX33" fmla="*/ 119841 w 238125"/>
                  <a:gd name="connsiteY33" fmla="*/ 10675 h 57150"/>
                  <a:gd name="connsiteX34" fmla="*/ 104220 w 238125"/>
                  <a:gd name="connsiteY34" fmla="*/ 7150 h 57150"/>
                  <a:gd name="connsiteX35" fmla="*/ 89265 w 238125"/>
                  <a:gd name="connsiteY35" fmla="*/ 11151 h 57150"/>
                  <a:gd name="connsiteX36" fmla="*/ 78693 w 238125"/>
                  <a:gd name="connsiteY36" fmla="*/ 21533 h 57150"/>
                  <a:gd name="connsiteX37" fmla="*/ 65167 w 238125"/>
                  <a:gd name="connsiteY37" fmla="*/ 44584 h 57150"/>
                  <a:gd name="connsiteX38" fmla="*/ 46117 w 238125"/>
                  <a:gd name="connsiteY38" fmla="*/ 56776 h 57150"/>
                  <a:gd name="connsiteX39" fmla="*/ 27067 w 238125"/>
                  <a:gd name="connsiteY39" fmla="*/ 56776 h 57150"/>
                  <a:gd name="connsiteX40" fmla="*/ 14209 w 238125"/>
                  <a:gd name="connsiteY40" fmla="*/ 50394 h 57150"/>
                  <a:gd name="connsiteX41" fmla="*/ 7160 w 238125"/>
                  <a:gd name="connsiteY41" fmla="*/ 41726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38125" h="57150">
                    <a:moveTo>
                      <a:pt x="7160" y="41726"/>
                    </a:moveTo>
                    <a:cubicBezTo>
                      <a:pt x="7138" y="41980"/>
                      <a:pt x="7138" y="42235"/>
                      <a:pt x="7160" y="42488"/>
                    </a:cubicBezTo>
                    <a:cubicBezTo>
                      <a:pt x="7559" y="43184"/>
                      <a:pt x="8004" y="43853"/>
                      <a:pt x="8494" y="44488"/>
                    </a:cubicBezTo>
                    <a:cubicBezTo>
                      <a:pt x="10322" y="46979"/>
                      <a:pt x="12468" y="49220"/>
                      <a:pt x="14876" y="51156"/>
                    </a:cubicBezTo>
                    <a:cubicBezTo>
                      <a:pt x="18709" y="54259"/>
                      <a:pt x="23108" y="56588"/>
                      <a:pt x="27829" y="58014"/>
                    </a:cubicBezTo>
                    <a:cubicBezTo>
                      <a:pt x="34064" y="59724"/>
                      <a:pt x="40644" y="59724"/>
                      <a:pt x="46879" y="58014"/>
                    </a:cubicBezTo>
                    <a:cubicBezTo>
                      <a:pt x="54652" y="56081"/>
                      <a:pt x="61617" y="51749"/>
                      <a:pt x="66787" y="45631"/>
                    </a:cubicBezTo>
                    <a:cubicBezTo>
                      <a:pt x="71815" y="38177"/>
                      <a:pt x="76425" y="30450"/>
                      <a:pt x="80598" y="22486"/>
                    </a:cubicBezTo>
                    <a:cubicBezTo>
                      <a:pt x="83041" y="18654"/>
                      <a:pt x="86292" y="15403"/>
                      <a:pt x="90123" y="12961"/>
                    </a:cubicBezTo>
                    <a:cubicBezTo>
                      <a:pt x="94410" y="10579"/>
                      <a:pt x="99222" y="9302"/>
                      <a:pt x="104125" y="9246"/>
                    </a:cubicBezTo>
                    <a:cubicBezTo>
                      <a:pt x="109212" y="9157"/>
                      <a:pt x="114244" y="10301"/>
                      <a:pt x="118793" y="12580"/>
                    </a:cubicBezTo>
                    <a:cubicBezTo>
                      <a:pt x="123500" y="14919"/>
                      <a:pt x="127410" y="18598"/>
                      <a:pt x="130032" y="23152"/>
                    </a:cubicBezTo>
                    <a:cubicBezTo>
                      <a:pt x="132474" y="27964"/>
                      <a:pt x="135177" y="32638"/>
                      <a:pt x="138128" y="37154"/>
                    </a:cubicBezTo>
                    <a:cubicBezTo>
                      <a:pt x="141272" y="41853"/>
                      <a:pt x="146480" y="44758"/>
                      <a:pt x="152130" y="44965"/>
                    </a:cubicBezTo>
                    <a:cubicBezTo>
                      <a:pt x="157406" y="44824"/>
                      <a:pt x="162517" y="43098"/>
                      <a:pt x="166798" y="40012"/>
                    </a:cubicBezTo>
                    <a:cubicBezTo>
                      <a:pt x="170839" y="37315"/>
                      <a:pt x="174520" y="34114"/>
                      <a:pt x="177752" y="30487"/>
                    </a:cubicBezTo>
                    <a:cubicBezTo>
                      <a:pt x="182939" y="23357"/>
                      <a:pt x="190039" y="17841"/>
                      <a:pt x="198231" y="14580"/>
                    </a:cubicBezTo>
                    <a:cubicBezTo>
                      <a:pt x="205723" y="12779"/>
                      <a:pt x="213627" y="14269"/>
                      <a:pt x="219949" y="18676"/>
                    </a:cubicBezTo>
                    <a:cubicBezTo>
                      <a:pt x="225152" y="22281"/>
                      <a:pt x="229375" y="27126"/>
                      <a:pt x="232236" y="32773"/>
                    </a:cubicBezTo>
                    <a:cubicBezTo>
                      <a:pt x="234440" y="37069"/>
                      <a:pt x="236134" y="41608"/>
                      <a:pt x="237284" y="46298"/>
                    </a:cubicBezTo>
                    <a:cubicBezTo>
                      <a:pt x="238015" y="49282"/>
                      <a:pt x="238587" y="52302"/>
                      <a:pt x="238999" y="55347"/>
                    </a:cubicBezTo>
                    <a:lnTo>
                      <a:pt x="239570" y="58490"/>
                    </a:lnTo>
                    <a:cubicBezTo>
                      <a:pt x="239570" y="58490"/>
                      <a:pt x="239570" y="58490"/>
                      <a:pt x="239570" y="57633"/>
                    </a:cubicBezTo>
                    <a:cubicBezTo>
                      <a:pt x="239570" y="56775"/>
                      <a:pt x="239570" y="56299"/>
                      <a:pt x="239570" y="55252"/>
                    </a:cubicBezTo>
                    <a:cubicBezTo>
                      <a:pt x="239570" y="54204"/>
                      <a:pt x="238999" y="50013"/>
                      <a:pt x="238142" y="45727"/>
                    </a:cubicBezTo>
                    <a:cubicBezTo>
                      <a:pt x="237128" y="40914"/>
                      <a:pt x="235529" y="36244"/>
                      <a:pt x="233379" y="31820"/>
                    </a:cubicBezTo>
                    <a:cubicBezTo>
                      <a:pt x="230532" y="25897"/>
                      <a:pt x="226200" y="20811"/>
                      <a:pt x="220806" y="17056"/>
                    </a:cubicBezTo>
                    <a:cubicBezTo>
                      <a:pt x="214183" y="12352"/>
                      <a:pt x="205870" y="10689"/>
                      <a:pt x="197946" y="12484"/>
                    </a:cubicBezTo>
                    <a:cubicBezTo>
                      <a:pt x="189413" y="15838"/>
                      <a:pt x="181966" y="21472"/>
                      <a:pt x="176419" y="28772"/>
                    </a:cubicBezTo>
                    <a:cubicBezTo>
                      <a:pt x="173364" y="32431"/>
                      <a:pt x="169803" y="35638"/>
                      <a:pt x="165847" y="38297"/>
                    </a:cubicBezTo>
                    <a:cubicBezTo>
                      <a:pt x="161850" y="41118"/>
                      <a:pt x="157115" y="42708"/>
                      <a:pt x="152226" y="42869"/>
                    </a:cubicBezTo>
                    <a:cubicBezTo>
                      <a:pt x="147218" y="42603"/>
                      <a:pt x="142629" y="39991"/>
                      <a:pt x="139844" y="35820"/>
                    </a:cubicBezTo>
                    <a:cubicBezTo>
                      <a:pt x="136795" y="31725"/>
                      <a:pt x="134700" y="26295"/>
                      <a:pt x="131842" y="21914"/>
                    </a:cubicBezTo>
                    <a:cubicBezTo>
                      <a:pt x="129030" y="17073"/>
                      <a:pt x="124856" y="13164"/>
                      <a:pt x="119841" y="10675"/>
                    </a:cubicBezTo>
                    <a:cubicBezTo>
                      <a:pt x="114996" y="8252"/>
                      <a:pt x="109635" y="7042"/>
                      <a:pt x="104220" y="7150"/>
                    </a:cubicBezTo>
                    <a:cubicBezTo>
                      <a:pt x="98977" y="7200"/>
                      <a:pt x="93832" y="8576"/>
                      <a:pt x="89265" y="11151"/>
                    </a:cubicBezTo>
                    <a:cubicBezTo>
                      <a:pt x="84986" y="13748"/>
                      <a:pt x="81367" y="17302"/>
                      <a:pt x="78693" y="21533"/>
                    </a:cubicBezTo>
                    <a:cubicBezTo>
                      <a:pt x="74597" y="29452"/>
                      <a:pt x="70083" y="37146"/>
                      <a:pt x="65167" y="44584"/>
                    </a:cubicBezTo>
                    <a:cubicBezTo>
                      <a:pt x="60243" y="50534"/>
                      <a:pt x="53582" y="54796"/>
                      <a:pt x="46117" y="56776"/>
                    </a:cubicBezTo>
                    <a:cubicBezTo>
                      <a:pt x="39887" y="58520"/>
                      <a:pt x="33298" y="58520"/>
                      <a:pt x="27067" y="56776"/>
                    </a:cubicBezTo>
                    <a:cubicBezTo>
                      <a:pt x="22415" y="55482"/>
                      <a:pt x="18052" y="53317"/>
                      <a:pt x="14209" y="50394"/>
                    </a:cubicBezTo>
                    <a:cubicBezTo>
                      <a:pt x="11521" y="47797"/>
                      <a:pt x="9155" y="44887"/>
                      <a:pt x="7160" y="41726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4" name="Полилиния: фигура 293">
                <a:extLst>
                  <a:ext uri="{FF2B5EF4-FFF2-40B4-BE49-F238E27FC236}">
                    <a16:creationId xmlns:a16="http://schemas.microsoft.com/office/drawing/2014/main" id="{F7B75A08-39B7-4C62-BB49-027FAE0596F2}"/>
                  </a:ext>
                </a:extLst>
              </p:cNvPr>
              <p:cNvSpPr/>
              <p:nvPr/>
            </p:nvSpPr>
            <p:spPr>
              <a:xfrm>
                <a:off x="6294480" y="3786924"/>
                <a:ext cx="85725" cy="57150"/>
              </a:xfrm>
              <a:custGeom>
                <a:avLst/>
                <a:gdLst>
                  <a:gd name="connsiteX0" fmla="*/ 7845 w 85725"/>
                  <a:gd name="connsiteY0" fmla="*/ 7144 h 57150"/>
                  <a:gd name="connsiteX1" fmla="*/ 7179 w 85725"/>
                  <a:gd name="connsiteY1" fmla="*/ 11239 h 57150"/>
                  <a:gd name="connsiteX2" fmla="*/ 8702 w 85725"/>
                  <a:gd name="connsiteY2" fmla="*/ 22669 h 57150"/>
                  <a:gd name="connsiteX3" fmla="*/ 17370 w 85725"/>
                  <a:gd name="connsiteY3" fmla="*/ 37338 h 57150"/>
                  <a:gd name="connsiteX4" fmla="*/ 34705 w 85725"/>
                  <a:gd name="connsiteY4" fmla="*/ 48958 h 57150"/>
                  <a:gd name="connsiteX5" fmla="*/ 72139 w 85725"/>
                  <a:gd name="connsiteY5" fmla="*/ 51625 h 57150"/>
                  <a:gd name="connsiteX6" fmla="*/ 83187 w 85725"/>
                  <a:gd name="connsiteY6" fmla="*/ 48958 h 57150"/>
                  <a:gd name="connsiteX7" fmla="*/ 87092 w 85725"/>
                  <a:gd name="connsiteY7" fmla="*/ 47434 h 57150"/>
                  <a:gd name="connsiteX8" fmla="*/ 71853 w 85725"/>
                  <a:gd name="connsiteY8" fmla="*/ 50197 h 57150"/>
                  <a:gd name="connsiteX9" fmla="*/ 35563 w 85725"/>
                  <a:gd name="connsiteY9" fmla="*/ 46672 h 57150"/>
                  <a:gd name="connsiteX10" fmla="*/ 18799 w 85725"/>
                  <a:gd name="connsiteY10" fmla="*/ 35719 h 57150"/>
                  <a:gd name="connsiteX11" fmla="*/ 10226 w 85725"/>
                  <a:gd name="connsiteY11" fmla="*/ 21812 h 57150"/>
                  <a:gd name="connsiteX12" fmla="*/ 7845 w 85725"/>
                  <a:gd name="connsiteY12" fmla="*/ 7144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5725" h="57150">
                    <a:moveTo>
                      <a:pt x="7845" y="7144"/>
                    </a:moveTo>
                    <a:cubicBezTo>
                      <a:pt x="7411" y="8466"/>
                      <a:pt x="7186" y="9848"/>
                      <a:pt x="7179" y="11239"/>
                    </a:cubicBezTo>
                    <a:cubicBezTo>
                      <a:pt x="6999" y="15110"/>
                      <a:pt x="7515" y="18981"/>
                      <a:pt x="8702" y="22669"/>
                    </a:cubicBezTo>
                    <a:cubicBezTo>
                      <a:pt x="10516" y="28120"/>
                      <a:pt x="13471" y="33120"/>
                      <a:pt x="17370" y="37338"/>
                    </a:cubicBezTo>
                    <a:cubicBezTo>
                      <a:pt x="22189" y="42480"/>
                      <a:pt x="28117" y="46455"/>
                      <a:pt x="34705" y="48958"/>
                    </a:cubicBezTo>
                    <a:cubicBezTo>
                      <a:pt x="46704" y="53257"/>
                      <a:pt x="59652" y="54179"/>
                      <a:pt x="72139" y="51625"/>
                    </a:cubicBezTo>
                    <a:cubicBezTo>
                      <a:pt x="75867" y="50935"/>
                      <a:pt x="79555" y="50044"/>
                      <a:pt x="83187" y="48958"/>
                    </a:cubicBezTo>
                    <a:cubicBezTo>
                      <a:pt x="84538" y="48588"/>
                      <a:pt x="85848" y="48077"/>
                      <a:pt x="87092" y="47434"/>
                    </a:cubicBezTo>
                    <a:cubicBezTo>
                      <a:pt x="87093" y="47434"/>
                      <a:pt x="81283" y="48768"/>
                      <a:pt x="71853" y="50197"/>
                    </a:cubicBezTo>
                    <a:cubicBezTo>
                      <a:pt x="59653" y="52091"/>
                      <a:pt x="47171" y="50879"/>
                      <a:pt x="35563" y="46672"/>
                    </a:cubicBezTo>
                    <a:cubicBezTo>
                      <a:pt x="29262" y="44250"/>
                      <a:pt x="23547" y="40517"/>
                      <a:pt x="18799" y="35719"/>
                    </a:cubicBezTo>
                    <a:cubicBezTo>
                      <a:pt x="15055" y="31692"/>
                      <a:pt x="12142" y="26966"/>
                      <a:pt x="10226" y="21812"/>
                    </a:cubicBezTo>
                    <a:cubicBezTo>
                      <a:pt x="8670" y="17077"/>
                      <a:pt x="7866" y="12128"/>
                      <a:pt x="7845" y="714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5" name="Полилиния: фигура 294">
                <a:extLst>
                  <a:ext uri="{FF2B5EF4-FFF2-40B4-BE49-F238E27FC236}">
                    <a16:creationId xmlns:a16="http://schemas.microsoft.com/office/drawing/2014/main" id="{607BAB56-AB48-4359-A6AD-C67FA44BAE20}"/>
                  </a:ext>
                </a:extLst>
              </p:cNvPr>
              <p:cNvSpPr/>
              <p:nvPr/>
            </p:nvSpPr>
            <p:spPr>
              <a:xfrm>
                <a:off x="6420769" y="6095688"/>
                <a:ext cx="285750" cy="304800"/>
              </a:xfrm>
              <a:custGeom>
                <a:avLst/>
                <a:gdLst>
                  <a:gd name="connsiteX0" fmla="*/ 92154 w 285750"/>
                  <a:gd name="connsiteY0" fmla="*/ 42005 h 304800"/>
                  <a:gd name="connsiteX1" fmla="*/ 133302 w 285750"/>
                  <a:gd name="connsiteY1" fmla="*/ 184880 h 304800"/>
                  <a:gd name="connsiteX2" fmla="*/ 7286 w 285750"/>
                  <a:gd name="connsiteY2" fmla="*/ 301562 h 304800"/>
                  <a:gd name="connsiteX3" fmla="*/ 286464 w 285750"/>
                  <a:gd name="connsiteY3" fmla="*/ 231743 h 304800"/>
                  <a:gd name="connsiteX4" fmla="*/ 231409 w 285750"/>
                  <a:gd name="connsiteY4" fmla="*/ 7144 h 304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0" h="304800">
                    <a:moveTo>
                      <a:pt x="92154" y="42005"/>
                    </a:moveTo>
                    <a:lnTo>
                      <a:pt x="133302" y="184880"/>
                    </a:lnTo>
                    <a:cubicBezTo>
                      <a:pt x="133302" y="184880"/>
                      <a:pt x="2238" y="274511"/>
                      <a:pt x="7286" y="301562"/>
                    </a:cubicBezTo>
                    <a:lnTo>
                      <a:pt x="286464" y="231743"/>
                    </a:lnTo>
                    <a:lnTo>
                      <a:pt x="231409" y="7144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6" name="Полилиния: фигура 295">
                <a:extLst>
                  <a:ext uri="{FF2B5EF4-FFF2-40B4-BE49-F238E27FC236}">
                    <a16:creationId xmlns:a16="http://schemas.microsoft.com/office/drawing/2014/main" id="{119233E5-AC56-49DA-BEA4-381B8F662166}"/>
                  </a:ext>
                </a:extLst>
              </p:cNvPr>
              <p:cNvSpPr/>
              <p:nvPr/>
            </p:nvSpPr>
            <p:spPr>
              <a:xfrm>
                <a:off x="6618746" y="6239325"/>
                <a:ext cx="28575" cy="28575"/>
              </a:xfrm>
              <a:custGeom>
                <a:avLst/>
                <a:gdLst>
                  <a:gd name="connsiteX0" fmla="*/ 18574 w 28575"/>
                  <a:gd name="connsiteY0" fmla="*/ 7144 h 28575"/>
                  <a:gd name="connsiteX1" fmla="*/ 29718 w 28575"/>
                  <a:gd name="connsiteY1" fmla="*/ 18193 h 28575"/>
                  <a:gd name="connsiteX2" fmla="*/ 18859 w 28575"/>
                  <a:gd name="connsiteY2" fmla="*/ 29337 h 28575"/>
                  <a:gd name="connsiteX3" fmla="*/ 7144 w 28575"/>
                  <a:gd name="connsiteY3" fmla="*/ 17526 h 28575"/>
                  <a:gd name="connsiteX4" fmla="*/ 19717 w 28575"/>
                  <a:gd name="connsiteY4" fmla="*/ 723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18574" y="7144"/>
                    </a:moveTo>
                    <a:cubicBezTo>
                      <a:pt x="24571" y="7427"/>
                      <a:pt x="29383" y="12198"/>
                      <a:pt x="29718" y="18193"/>
                    </a:cubicBezTo>
                    <a:cubicBezTo>
                      <a:pt x="29622" y="24198"/>
                      <a:pt x="24860" y="29085"/>
                      <a:pt x="18859" y="29337"/>
                    </a:cubicBezTo>
                    <a:cubicBezTo>
                      <a:pt x="12516" y="28958"/>
                      <a:pt x="7472" y="23872"/>
                      <a:pt x="7144" y="17526"/>
                    </a:cubicBezTo>
                    <a:cubicBezTo>
                      <a:pt x="7891" y="11277"/>
                      <a:pt x="13443" y="6734"/>
                      <a:pt x="19717" y="7239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7" name="Полилиния: фигура 296">
                <a:extLst>
                  <a:ext uri="{FF2B5EF4-FFF2-40B4-BE49-F238E27FC236}">
                    <a16:creationId xmlns:a16="http://schemas.microsoft.com/office/drawing/2014/main" id="{227173FA-6FC1-4355-B19E-38C0E8D8F000}"/>
                  </a:ext>
                </a:extLst>
              </p:cNvPr>
              <p:cNvSpPr/>
              <p:nvPr/>
            </p:nvSpPr>
            <p:spPr>
              <a:xfrm>
                <a:off x="6420188" y="6297523"/>
                <a:ext cx="285750" cy="104775"/>
              </a:xfrm>
              <a:custGeom>
                <a:avLst/>
                <a:gdLst>
                  <a:gd name="connsiteX0" fmla="*/ 287045 w 285750"/>
                  <a:gd name="connsiteY0" fmla="*/ 29528 h 104775"/>
                  <a:gd name="connsiteX1" fmla="*/ 280568 w 285750"/>
                  <a:gd name="connsiteY1" fmla="*/ 7144 h 104775"/>
                  <a:gd name="connsiteX2" fmla="*/ 15392 w 285750"/>
                  <a:gd name="connsiteY2" fmla="*/ 82487 h 104775"/>
                  <a:gd name="connsiteX3" fmla="*/ 7867 w 285750"/>
                  <a:gd name="connsiteY3" fmla="*/ 99346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0" h="104775">
                    <a:moveTo>
                      <a:pt x="287045" y="29528"/>
                    </a:moveTo>
                    <a:lnTo>
                      <a:pt x="280568" y="7144"/>
                    </a:lnTo>
                    <a:lnTo>
                      <a:pt x="15392" y="82487"/>
                    </a:lnTo>
                    <a:cubicBezTo>
                      <a:pt x="15392" y="82487"/>
                      <a:pt x="4247" y="90964"/>
                      <a:pt x="7867" y="99346"/>
                    </a:cubicBez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8" name="Полилиния: фигура 297">
                <a:extLst>
                  <a:ext uri="{FF2B5EF4-FFF2-40B4-BE49-F238E27FC236}">
                    <a16:creationId xmlns:a16="http://schemas.microsoft.com/office/drawing/2014/main" id="{43D92933-2C50-4FA2-ADEB-0FD1F1B6EE44}"/>
                  </a:ext>
                </a:extLst>
              </p:cNvPr>
              <p:cNvSpPr/>
              <p:nvPr/>
            </p:nvSpPr>
            <p:spPr>
              <a:xfrm>
                <a:off x="6541945" y="6269792"/>
                <a:ext cx="38100" cy="19050"/>
              </a:xfrm>
              <a:custGeom>
                <a:avLst/>
                <a:gdLst>
                  <a:gd name="connsiteX0" fmla="*/ 7173 w 38100"/>
                  <a:gd name="connsiteY0" fmla="*/ 10110 h 19050"/>
                  <a:gd name="connsiteX1" fmla="*/ 22413 w 38100"/>
                  <a:gd name="connsiteY1" fmla="*/ 13063 h 19050"/>
                  <a:gd name="connsiteX2" fmla="*/ 36320 w 38100"/>
                  <a:gd name="connsiteY2" fmla="*/ 19730 h 19050"/>
                  <a:gd name="connsiteX3" fmla="*/ 23937 w 38100"/>
                  <a:gd name="connsiteY3" fmla="*/ 8395 h 19050"/>
                  <a:gd name="connsiteX4" fmla="*/ 7173 w 38100"/>
                  <a:gd name="connsiteY4" fmla="*/ 1011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7173" y="10110"/>
                    </a:moveTo>
                    <a:cubicBezTo>
                      <a:pt x="7173" y="11443"/>
                      <a:pt x="14603" y="10110"/>
                      <a:pt x="22413" y="13063"/>
                    </a:cubicBezTo>
                    <a:cubicBezTo>
                      <a:pt x="30224" y="16015"/>
                      <a:pt x="35177" y="20587"/>
                      <a:pt x="36320" y="19730"/>
                    </a:cubicBezTo>
                    <a:cubicBezTo>
                      <a:pt x="37463" y="18873"/>
                      <a:pt x="33462" y="11538"/>
                      <a:pt x="23937" y="8395"/>
                    </a:cubicBezTo>
                    <a:cubicBezTo>
                      <a:pt x="14412" y="5252"/>
                      <a:pt x="6602" y="8872"/>
                      <a:pt x="7173" y="1011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9" name="Полилиния: фигура 298">
                <a:extLst>
                  <a:ext uri="{FF2B5EF4-FFF2-40B4-BE49-F238E27FC236}">
                    <a16:creationId xmlns:a16="http://schemas.microsoft.com/office/drawing/2014/main" id="{F9BDBCCA-CD18-4305-A4F9-4B17936D90FD}"/>
                  </a:ext>
                </a:extLst>
              </p:cNvPr>
              <p:cNvSpPr/>
              <p:nvPr/>
            </p:nvSpPr>
            <p:spPr>
              <a:xfrm>
                <a:off x="6515773" y="6290982"/>
                <a:ext cx="28575" cy="28575"/>
              </a:xfrm>
              <a:custGeom>
                <a:avLst/>
                <a:gdLst>
                  <a:gd name="connsiteX0" fmla="*/ 7151 w 28575"/>
                  <a:gd name="connsiteY0" fmla="*/ 8351 h 28575"/>
                  <a:gd name="connsiteX1" fmla="*/ 19724 w 28575"/>
                  <a:gd name="connsiteY1" fmla="*/ 15114 h 28575"/>
                  <a:gd name="connsiteX2" fmla="*/ 30011 w 28575"/>
                  <a:gd name="connsiteY2" fmla="*/ 25115 h 28575"/>
                  <a:gd name="connsiteX3" fmla="*/ 22581 w 28575"/>
                  <a:gd name="connsiteY3" fmla="*/ 11209 h 28575"/>
                  <a:gd name="connsiteX4" fmla="*/ 7151 w 28575"/>
                  <a:gd name="connsiteY4" fmla="*/ 835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7151" y="8351"/>
                    </a:moveTo>
                    <a:cubicBezTo>
                      <a:pt x="7151" y="9685"/>
                      <a:pt x="13628" y="10542"/>
                      <a:pt x="19724" y="15114"/>
                    </a:cubicBezTo>
                    <a:cubicBezTo>
                      <a:pt x="25820" y="19686"/>
                      <a:pt x="28678" y="25496"/>
                      <a:pt x="30011" y="25115"/>
                    </a:cubicBezTo>
                    <a:cubicBezTo>
                      <a:pt x="31344" y="24734"/>
                      <a:pt x="30011" y="16828"/>
                      <a:pt x="22581" y="11209"/>
                    </a:cubicBezTo>
                    <a:cubicBezTo>
                      <a:pt x="15152" y="5589"/>
                      <a:pt x="6865" y="7018"/>
                      <a:pt x="7151" y="835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0" name="Полилиния: фигура 299">
                <a:extLst>
                  <a:ext uri="{FF2B5EF4-FFF2-40B4-BE49-F238E27FC236}">
                    <a16:creationId xmlns:a16="http://schemas.microsoft.com/office/drawing/2014/main" id="{BFD0A0AC-4707-47C8-A23E-27B26654EBC1}"/>
                  </a:ext>
                </a:extLst>
              </p:cNvPr>
              <p:cNvSpPr/>
              <p:nvPr/>
            </p:nvSpPr>
            <p:spPr>
              <a:xfrm>
                <a:off x="6491289" y="6310538"/>
                <a:ext cx="28575" cy="28575"/>
              </a:xfrm>
              <a:custGeom>
                <a:avLst/>
                <a:gdLst>
                  <a:gd name="connsiteX0" fmla="*/ 23729 w 28575"/>
                  <a:gd name="connsiteY0" fmla="*/ 28133 h 28575"/>
                  <a:gd name="connsiteX1" fmla="*/ 19920 w 28575"/>
                  <a:gd name="connsiteY1" fmla="*/ 14227 h 28575"/>
                  <a:gd name="connsiteX2" fmla="*/ 7156 w 28575"/>
                  <a:gd name="connsiteY2" fmla="*/ 7559 h 28575"/>
                  <a:gd name="connsiteX3" fmla="*/ 16109 w 28575"/>
                  <a:gd name="connsiteY3" fmla="*/ 17084 h 28575"/>
                  <a:gd name="connsiteX4" fmla="*/ 23729 w 28575"/>
                  <a:gd name="connsiteY4" fmla="*/ 28133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23729" y="28133"/>
                    </a:moveTo>
                    <a:cubicBezTo>
                      <a:pt x="25063" y="28133"/>
                      <a:pt x="25253" y="20799"/>
                      <a:pt x="19920" y="14227"/>
                    </a:cubicBezTo>
                    <a:cubicBezTo>
                      <a:pt x="14586" y="7655"/>
                      <a:pt x="7442" y="6321"/>
                      <a:pt x="7156" y="7559"/>
                    </a:cubicBezTo>
                    <a:cubicBezTo>
                      <a:pt x="6870" y="8798"/>
                      <a:pt x="11728" y="11846"/>
                      <a:pt x="16109" y="17084"/>
                    </a:cubicBezTo>
                    <a:cubicBezTo>
                      <a:pt x="20491" y="22323"/>
                      <a:pt x="22396" y="28133"/>
                      <a:pt x="23729" y="2813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1" name="Полилиния: фигура 300">
                <a:extLst>
                  <a:ext uri="{FF2B5EF4-FFF2-40B4-BE49-F238E27FC236}">
                    <a16:creationId xmlns:a16="http://schemas.microsoft.com/office/drawing/2014/main" id="{14BA3C3B-4ACB-433D-911E-51E47648FE08}"/>
                  </a:ext>
                </a:extLst>
              </p:cNvPr>
              <p:cNvSpPr/>
              <p:nvPr/>
            </p:nvSpPr>
            <p:spPr>
              <a:xfrm>
                <a:off x="6536148" y="6230142"/>
                <a:ext cx="38100" cy="19050"/>
              </a:xfrm>
              <a:custGeom>
                <a:avLst/>
                <a:gdLst>
                  <a:gd name="connsiteX0" fmla="*/ 7255 w 38100"/>
                  <a:gd name="connsiteY0" fmla="*/ 16232 h 19050"/>
                  <a:gd name="connsiteX1" fmla="*/ 21732 w 38100"/>
                  <a:gd name="connsiteY1" fmla="*/ 12422 h 19050"/>
                  <a:gd name="connsiteX2" fmla="*/ 36591 w 38100"/>
                  <a:gd name="connsiteY2" fmla="*/ 10612 h 19050"/>
                  <a:gd name="connsiteX3" fmla="*/ 20780 w 38100"/>
                  <a:gd name="connsiteY3" fmla="*/ 7660 h 19050"/>
                  <a:gd name="connsiteX4" fmla="*/ 7255 w 38100"/>
                  <a:gd name="connsiteY4" fmla="*/ 16232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7255" y="16232"/>
                    </a:moveTo>
                    <a:cubicBezTo>
                      <a:pt x="8112" y="17280"/>
                      <a:pt x="13922" y="13851"/>
                      <a:pt x="21732" y="12422"/>
                    </a:cubicBezTo>
                    <a:cubicBezTo>
                      <a:pt x="29543" y="10993"/>
                      <a:pt x="36211" y="11946"/>
                      <a:pt x="36591" y="10612"/>
                    </a:cubicBezTo>
                    <a:cubicBezTo>
                      <a:pt x="36973" y="9279"/>
                      <a:pt x="30019" y="5850"/>
                      <a:pt x="20780" y="7660"/>
                    </a:cubicBezTo>
                    <a:cubicBezTo>
                      <a:pt x="11541" y="9469"/>
                      <a:pt x="6302" y="15280"/>
                      <a:pt x="7255" y="1623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2" name="Полилиния: фигура 301">
                <a:extLst>
                  <a:ext uri="{FF2B5EF4-FFF2-40B4-BE49-F238E27FC236}">
                    <a16:creationId xmlns:a16="http://schemas.microsoft.com/office/drawing/2014/main" id="{5CD1242F-9CF3-467D-9629-881281CDFFB1}"/>
                  </a:ext>
                </a:extLst>
              </p:cNvPr>
              <p:cNvSpPr/>
              <p:nvPr/>
            </p:nvSpPr>
            <p:spPr>
              <a:xfrm>
                <a:off x="6460154" y="6162554"/>
                <a:ext cx="295275" cy="247650"/>
              </a:xfrm>
              <a:custGeom>
                <a:avLst/>
                <a:gdLst>
                  <a:gd name="connsiteX0" fmla="*/ 150590 w 295275"/>
                  <a:gd name="connsiteY0" fmla="*/ 8668 h 247650"/>
                  <a:gd name="connsiteX1" fmla="*/ 157068 w 295275"/>
                  <a:gd name="connsiteY1" fmla="*/ 156781 h 247650"/>
                  <a:gd name="connsiteX2" fmla="*/ 7144 w 295275"/>
                  <a:gd name="connsiteY2" fmla="*/ 240697 h 247650"/>
                  <a:gd name="connsiteX3" fmla="*/ 294894 w 295275"/>
                  <a:gd name="connsiteY3" fmla="*/ 238411 h 247650"/>
                  <a:gd name="connsiteX4" fmla="*/ 294323 w 295275"/>
                  <a:gd name="connsiteY4" fmla="*/ 7144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5275" h="247650">
                    <a:moveTo>
                      <a:pt x="150590" y="8668"/>
                    </a:moveTo>
                    <a:lnTo>
                      <a:pt x="157068" y="156781"/>
                    </a:lnTo>
                    <a:cubicBezTo>
                      <a:pt x="157068" y="156781"/>
                      <a:pt x="8668" y="213170"/>
                      <a:pt x="7144" y="240697"/>
                    </a:cubicBezTo>
                    <a:lnTo>
                      <a:pt x="294894" y="238411"/>
                    </a:lnTo>
                    <a:lnTo>
                      <a:pt x="294323" y="7144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3" name="Полилиния: фигура 302">
                <a:extLst>
                  <a:ext uri="{FF2B5EF4-FFF2-40B4-BE49-F238E27FC236}">
                    <a16:creationId xmlns:a16="http://schemas.microsoft.com/office/drawing/2014/main" id="{566CA1DF-8924-4FD7-B036-63DD389E162C}"/>
                  </a:ext>
                </a:extLst>
              </p:cNvPr>
              <p:cNvSpPr/>
              <p:nvPr/>
            </p:nvSpPr>
            <p:spPr>
              <a:xfrm>
                <a:off x="6685195" y="6298835"/>
                <a:ext cx="28575" cy="28575"/>
              </a:xfrm>
              <a:custGeom>
                <a:avLst/>
                <a:gdLst>
                  <a:gd name="connsiteX0" fmla="*/ 20895 w 28575"/>
                  <a:gd name="connsiteY0" fmla="*/ 7356 h 28575"/>
                  <a:gd name="connsiteX1" fmla="*/ 29181 w 28575"/>
                  <a:gd name="connsiteY1" fmla="*/ 20691 h 28575"/>
                  <a:gd name="connsiteX2" fmla="*/ 15941 w 28575"/>
                  <a:gd name="connsiteY2" fmla="*/ 28977 h 28575"/>
                  <a:gd name="connsiteX3" fmla="*/ 7369 w 28575"/>
                  <a:gd name="connsiteY3" fmla="*/ 14785 h 28575"/>
                  <a:gd name="connsiteX4" fmla="*/ 21942 w 28575"/>
                  <a:gd name="connsiteY4" fmla="*/ 773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20895" y="7356"/>
                    </a:moveTo>
                    <a:cubicBezTo>
                      <a:pt x="26639" y="9056"/>
                      <a:pt x="30200" y="14788"/>
                      <a:pt x="29181" y="20691"/>
                    </a:cubicBezTo>
                    <a:cubicBezTo>
                      <a:pt x="27679" y="26538"/>
                      <a:pt x="21857" y="30182"/>
                      <a:pt x="15941" y="28977"/>
                    </a:cubicBezTo>
                    <a:cubicBezTo>
                      <a:pt x="9871" y="27140"/>
                      <a:pt x="6170" y="21013"/>
                      <a:pt x="7369" y="14785"/>
                    </a:cubicBezTo>
                    <a:cubicBezTo>
                      <a:pt x="9522" y="8882"/>
                      <a:pt x="15977" y="5760"/>
                      <a:pt x="21942" y="7737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4" name="Полилиния: фигура 303">
                <a:extLst>
                  <a:ext uri="{FF2B5EF4-FFF2-40B4-BE49-F238E27FC236}">
                    <a16:creationId xmlns:a16="http://schemas.microsoft.com/office/drawing/2014/main" id="{82989720-6B1C-4471-B2BC-9D34FBADEBED}"/>
                  </a:ext>
                </a:extLst>
              </p:cNvPr>
              <p:cNvSpPr/>
              <p:nvPr/>
            </p:nvSpPr>
            <p:spPr>
              <a:xfrm>
                <a:off x="6460043" y="6370484"/>
                <a:ext cx="295275" cy="38100"/>
              </a:xfrm>
              <a:custGeom>
                <a:avLst/>
                <a:gdLst>
                  <a:gd name="connsiteX0" fmla="*/ 295006 w 295275"/>
                  <a:gd name="connsiteY0" fmla="*/ 30480 h 38100"/>
                  <a:gd name="connsiteX1" fmla="*/ 294053 w 295275"/>
                  <a:gd name="connsiteY1" fmla="*/ 7144 h 38100"/>
                  <a:gd name="connsiteX2" fmla="*/ 18590 w 295275"/>
                  <a:gd name="connsiteY2" fmla="*/ 18002 h 38100"/>
                  <a:gd name="connsiteX3" fmla="*/ 7255 w 295275"/>
                  <a:gd name="connsiteY3" fmla="*/ 32766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5275" h="38100">
                    <a:moveTo>
                      <a:pt x="295006" y="30480"/>
                    </a:moveTo>
                    <a:lnTo>
                      <a:pt x="294053" y="7144"/>
                    </a:lnTo>
                    <a:lnTo>
                      <a:pt x="18590" y="18002"/>
                    </a:lnTo>
                    <a:cubicBezTo>
                      <a:pt x="18590" y="18002"/>
                      <a:pt x="5827" y="23717"/>
                      <a:pt x="7255" y="32766"/>
                    </a:cubicBez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5" name="Полилиния: фигура 304">
                <a:extLst>
                  <a:ext uri="{FF2B5EF4-FFF2-40B4-BE49-F238E27FC236}">
                    <a16:creationId xmlns:a16="http://schemas.microsoft.com/office/drawing/2014/main" id="{4C697F68-49CB-4FD4-A639-EFFF6E8CFADC}"/>
                  </a:ext>
                </a:extLst>
              </p:cNvPr>
              <p:cNvSpPr/>
              <p:nvPr/>
            </p:nvSpPr>
            <p:spPr>
              <a:xfrm>
                <a:off x="6605403" y="6309381"/>
                <a:ext cx="38100" cy="28575"/>
              </a:xfrm>
              <a:custGeom>
                <a:avLst/>
                <a:gdLst>
                  <a:gd name="connsiteX0" fmla="*/ 7151 w 38100"/>
                  <a:gd name="connsiteY0" fmla="*/ 8525 h 28575"/>
                  <a:gd name="connsiteX1" fmla="*/ 21153 w 38100"/>
                  <a:gd name="connsiteY1" fmla="*/ 15002 h 28575"/>
                  <a:gd name="connsiteX2" fmla="*/ 33155 w 38100"/>
                  <a:gd name="connsiteY2" fmla="*/ 24527 h 28575"/>
                  <a:gd name="connsiteX3" fmla="*/ 23630 w 38100"/>
                  <a:gd name="connsiteY3" fmla="*/ 10621 h 28575"/>
                  <a:gd name="connsiteX4" fmla="*/ 7151 w 38100"/>
                  <a:gd name="connsiteY4" fmla="*/ 852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7151" y="8525"/>
                    </a:moveTo>
                    <a:cubicBezTo>
                      <a:pt x="7151" y="9954"/>
                      <a:pt x="14200" y="10526"/>
                      <a:pt x="21153" y="15002"/>
                    </a:cubicBezTo>
                    <a:cubicBezTo>
                      <a:pt x="28106" y="19479"/>
                      <a:pt x="31916" y="25385"/>
                      <a:pt x="33155" y="24527"/>
                    </a:cubicBezTo>
                    <a:cubicBezTo>
                      <a:pt x="34393" y="23670"/>
                      <a:pt x="32297" y="15860"/>
                      <a:pt x="23630" y="10621"/>
                    </a:cubicBezTo>
                    <a:cubicBezTo>
                      <a:pt x="14962" y="5382"/>
                      <a:pt x="6866" y="7287"/>
                      <a:pt x="7151" y="8525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6" name="Полилиния: фигура 305">
                <a:extLst>
                  <a:ext uri="{FF2B5EF4-FFF2-40B4-BE49-F238E27FC236}">
                    <a16:creationId xmlns:a16="http://schemas.microsoft.com/office/drawing/2014/main" id="{95E32406-C4C8-4F86-962A-7EC06323FE8C}"/>
                  </a:ext>
                </a:extLst>
              </p:cNvPr>
              <p:cNvSpPr/>
              <p:nvPr/>
            </p:nvSpPr>
            <p:spPr>
              <a:xfrm>
                <a:off x="6575312" y="6322857"/>
                <a:ext cx="28575" cy="28575"/>
              </a:xfrm>
              <a:custGeom>
                <a:avLst/>
                <a:gdLst>
                  <a:gd name="connsiteX0" fmla="*/ 7144 w 28575"/>
                  <a:gd name="connsiteY0" fmla="*/ 7813 h 28575"/>
                  <a:gd name="connsiteX1" fmla="*/ 17812 w 28575"/>
                  <a:gd name="connsiteY1" fmla="*/ 17338 h 28575"/>
                  <a:gd name="connsiteX2" fmla="*/ 25432 w 28575"/>
                  <a:gd name="connsiteY2" fmla="*/ 29435 h 28575"/>
                  <a:gd name="connsiteX3" fmla="*/ 21527 w 28575"/>
                  <a:gd name="connsiteY3" fmla="*/ 14195 h 28575"/>
                  <a:gd name="connsiteX4" fmla="*/ 7144 w 28575"/>
                  <a:gd name="connsiteY4" fmla="*/ 7813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7144" y="7813"/>
                    </a:moveTo>
                    <a:cubicBezTo>
                      <a:pt x="7144" y="9146"/>
                      <a:pt x="12954" y="11528"/>
                      <a:pt x="17812" y="17338"/>
                    </a:cubicBezTo>
                    <a:cubicBezTo>
                      <a:pt x="22670" y="23148"/>
                      <a:pt x="24003" y="29530"/>
                      <a:pt x="25432" y="29435"/>
                    </a:cubicBezTo>
                    <a:cubicBezTo>
                      <a:pt x="26861" y="29340"/>
                      <a:pt x="27623" y="21434"/>
                      <a:pt x="21527" y="14195"/>
                    </a:cubicBezTo>
                    <a:cubicBezTo>
                      <a:pt x="15430" y="6956"/>
                      <a:pt x="7144" y="6289"/>
                      <a:pt x="7144" y="781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7" name="Полилиния: фигура 306">
                <a:extLst>
                  <a:ext uri="{FF2B5EF4-FFF2-40B4-BE49-F238E27FC236}">
                    <a16:creationId xmlns:a16="http://schemas.microsoft.com/office/drawing/2014/main" id="{26EA4219-9B6C-43B2-B83B-9AF67C082191}"/>
                  </a:ext>
                </a:extLst>
              </p:cNvPr>
              <p:cNvSpPr/>
              <p:nvPr/>
            </p:nvSpPr>
            <p:spPr>
              <a:xfrm>
                <a:off x="6547064" y="6335862"/>
                <a:ext cx="19050" cy="38100"/>
              </a:xfrm>
              <a:custGeom>
                <a:avLst/>
                <a:gdLst>
                  <a:gd name="connsiteX0" fmla="*/ 18532 w 19050"/>
                  <a:gd name="connsiteY0" fmla="*/ 31384 h 38100"/>
                  <a:gd name="connsiteX1" fmla="*/ 18056 w 19050"/>
                  <a:gd name="connsiteY1" fmla="*/ 16906 h 38100"/>
                  <a:gd name="connsiteX2" fmla="*/ 7198 w 19050"/>
                  <a:gd name="connsiteY2" fmla="*/ 7381 h 38100"/>
                  <a:gd name="connsiteX3" fmla="*/ 13675 w 19050"/>
                  <a:gd name="connsiteY3" fmla="*/ 19002 h 38100"/>
                  <a:gd name="connsiteX4" fmla="*/ 18532 w 19050"/>
                  <a:gd name="connsiteY4" fmla="*/ 3138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18532" y="31384"/>
                    </a:moveTo>
                    <a:cubicBezTo>
                      <a:pt x="19866" y="31384"/>
                      <a:pt x="21771" y="24622"/>
                      <a:pt x="18056" y="16906"/>
                    </a:cubicBezTo>
                    <a:cubicBezTo>
                      <a:pt x="14341" y="9191"/>
                      <a:pt x="7769" y="6238"/>
                      <a:pt x="7198" y="7381"/>
                    </a:cubicBezTo>
                    <a:cubicBezTo>
                      <a:pt x="6626" y="8524"/>
                      <a:pt x="10722" y="12715"/>
                      <a:pt x="13675" y="19002"/>
                    </a:cubicBezTo>
                    <a:cubicBezTo>
                      <a:pt x="16628" y="25288"/>
                      <a:pt x="17199" y="31384"/>
                      <a:pt x="18532" y="3138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8" name="Полилиния: фигура 307">
                <a:extLst>
                  <a:ext uri="{FF2B5EF4-FFF2-40B4-BE49-F238E27FC236}">
                    <a16:creationId xmlns:a16="http://schemas.microsoft.com/office/drawing/2014/main" id="{3587AE3A-C297-42CF-B60B-38C03F787A93}"/>
                  </a:ext>
                </a:extLst>
              </p:cNvPr>
              <p:cNvSpPr/>
              <p:nvPr/>
            </p:nvSpPr>
            <p:spPr>
              <a:xfrm>
                <a:off x="6607650" y="6271865"/>
                <a:ext cx="38100" cy="19050"/>
              </a:xfrm>
              <a:custGeom>
                <a:avLst/>
                <a:gdLst>
                  <a:gd name="connsiteX0" fmla="*/ 7190 w 38100"/>
                  <a:gd name="connsiteY0" fmla="*/ 12133 h 19050"/>
                  <a:gd name="connsiteX1" fmla="*/ 22144 w 38100"/>
                  <a:gd name="connsiteY1" fmla="*/ 12133 h 19050"/>
                  <a:gd name="connsiteX2" fmla="*/ 37004 w 38100"/>
                  <a:gd name="connsiteY2" fmla="*/ 13847 h 19050"/>
                  <a:gd name="connsiteX3" fmla="*/ 22430 w 38100"/>
                  <a:gd name="connsiteY3" fmla="*/ 7180 h 19050"/>
                  <a:gd name="connsiteX4" fmla="*/ 7190 w 38100"/>
                  <a:gd name="connsiteY4" fmla="*/ 12133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7190" y="12133"/>
                    </a:moveTo>
                    <a:cubicBezTo>
                      <a:pt x="7762" y="13466"/>
                      <a:pt x="14239" y="11466"/>
                      <a:pt x="22144" y="12133"/>
                    </a:cubicBezTo>
                    <a:cubicBezTo>
                      <a:pt x="30050" y="12799"/>
                      <a:pt x="36337" y="15086"/>
                      <a:pt x="37004" y="13847"/>
                    </a:cubicBezTo>
                    <a:cubicBezTo>
                      <a:pt x="37670" y="12609"/>
                      <a:pt x="31764" y="7656"/>
                      <a:pt x="22430" y="7180"/>
                    </a:cubicBezTo>
                    <a:cubicBezTo>
                      <a:pt x="13096" y="6704"/>
                      <a:pt x="6523" y="11085"/>
                      <a:pt x="7190" y="1213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9" name="Полилиния: фигура 308">
                <a:extLst>
                  <a:ext uri="{FF2B5EF4-FFF2-40B4-BE49-F238E27FC236}">
                    <a16:creationId xmlns:a16="http://schemas.microsoft.com/office/drawing/2014/main" id="{12690595-0133-4743-96F1-05A70F653F6D}"/>
                  </a:ext>
                </a:extLst>
              </p:cNvPr>
              <p:cNvSpPr/>
              <p:nvPr/>
            </p:nvSpPr>
            <p:spPr>
              <a:xfrm>
                <a:off x="6415006" y="5079942"/>
                <a:ext cx="381000" cy="1228725"/>
              </a:xfrm>
              <a:custGeom>
                <a:avLst/>
                <a:gdLst>
                  <a:gd name="connsiteX0" fmla="*/ 373761 w 381000"/>
                  <a:gd name="connsiteY0" fmla="*/ 7144 h 1228725"/>
                  <a:gd name="connsiteX1" fmla="*/ 373761 w 381000"/>
                  <a:gd name="connsiteY1" fmla="*/ 124206 h 1228725"/>
                  <a:gd name="connsiteX2" fmla="*/ 342329 w 381000"/>
                  <a:gd name="connsiteY2" fmla="*/ 580644 h 1228725"/>
                  <a:gd name="connsiteX3" fmla="*/ 373856 w 381000"/>
                  <a:gd name="connsiteY3" fmla="*/ 927068 h 1228725"/>
                  <a:gd name="connsiteX4" fmla="*/ 367284 w 381000"/>
                  <a:gd name="connsiteY4" fmla="*/ 1224629 h 1228725"/>
                  <a:gd name="connsiteX5" fmla="*/ 184118 w 381000"/>
                  <a:gd name="connsiteY5" fmla="*/ 1224629 h 1228725"/>
                  <a:gd name="connsiteX6" fmla="*/ 118586 w 381000"/>
                  <a:gd name="connsiteY6" fmla="*/ 594170 h 1228725"/>
                  <a:gd name="connsiteX7" fmla="*/ 77914 w 381000"/>
                  <a:gd name="connsiteY7" fmla="*/ 201454 h 1228725"/>
                  <a:gd name="connsiteX8" fmla="*/ 7144 w 381000"/>
                  <a:gd name="connsiteY8" fmla="*/ 22479 h 1228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1000" h="1228725">
                    <a:moveTo>
                      <a:pt x="373761" y="7144"/>
                    </a:moveTo>
                    <a:lnTo>
                      <a:pt x="373761" y="124206"/>
                    </a:lnTo>
                    <a:lnTo>
                      <a:pt x="342329" y="580644"/>
                    </a:lnTo>
                    <a:cubicBezTo>
                      <a:pt x="342329" y="580644"/>
                      <a:pt x="361379" y="802100"/>
                      <a:pt x="373856" y="927068"/>
                    </a:cubicBezTo>
                    <a:cubicBezTo>
                      <a:pt x="384334" y="1035558"/>
                      <a:pt x="367284" y="1224629"/>
                      <a:pt x="367284" y="1224629"/>
                    </a:cubicBezTo>
                    <a:lnTo>
                      <a:pt x="184118" y="1224629"/>
                    </a:lnTo>
                    <a:lnTo>
                      <a:pt x="118586" y="594170"/>
                    </a:lnTo>
                    <a:lnTo>
                      <a:pt x="77914" y="201454"/>
                    </a:lnTo>
                    <a:lnTo>
                      <a:pt x="7144" y="22479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0" name="Полилиния: фигура 309">
                <a:extLst>
                  <a:ext uri="{FF2B5EF4-FFF2-40B4-BE49-F238E27FC236}">
                    <a16:creationId xmlns:a16="http://schemas.microsoft.com/office/drawing/2014/main" id="{96A057F7-74E8-47CD-8F25-7DE02F29E701}"/>
                  </a:ext>
                </a:extLst>
              </p:cNvPr>
              <p:cNvSpPr/>
              <p:nvPr/>
            </p:nvSpPr>
            <p:spPr>
              <a:xfrm>
                <a:off x="6289752" y="5087943"/>
                <a:ext cx="361950" cy="1162050"/>
              </a:xfrm>
              <a:custGeom>
                <a:avLst/>
                <a:gdLst>
                  <a:gd name="connsiteX0" fmla="*/ 7144 w 361950"/>
                  <a:gd name="connsiteY0" fmla="*/ 20003 h 1162050"/>
                  <a:gd name="connsiteX1" fmla="*/ 51816 w 361950"/>
                  <a:gd name="connsiteY1" fmla="*/ 656272 h 1162050"/>
                  <a:gd name="connsiteX2" fmla="*/ 237077 w 361950"/>
                  <a:gd name="connsiteY2" fmla="*/ 1132999 h 1162050"/>
                  <a:gd name="connsiteX3" fmla="*/ 245554 w 361950"/>
                  <a:gd name="connsiteY3" fmla="*/ 1161669 h 1162050"/>
                  <a:gd name="connsiteX4" fmla="*/ 354996 w 361950"/>
                  <a:gd name="connsiteY4" fmla="*/ 1135285 h 1162050"/>
                  <a:gd name="connsiteX5" fmla="*/ 273653 w 361950"/>
                  <a:gd name="connsiteY5" fmla="*/ 7144 h 1162050"/>
                  <a:gd name="connsiteX6" fmla="*/ 7144 w 361950"/>
                  <a:gd name="connsiteY6" fmla="*/ 20003 h 1162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1950" h="1162050">
                    <a:moveTo>
                      <a:pt x="7144" y="20003"/>
                    </a:moveTo>
                    <a:lnTo>
                      <a:pt x="51816" y="656272"/>
                    </a:lnTo>
                    <a:lnTo>
                      <a:pt x="237077" y="1132999"/>
                    </a:lnTo>
                    <a:lnTo>
                      <a:pt x="245554" y="1161669"/>
                    </a:lnTo>
                    <a:lnTo>
                      <a:pt x="354996" y="1135285"/>
                    </a:lnTo>
                    <a:lnTo>
                      <a:pt x="273653" y="7144"/>
                    </a:lnTo>
                    <a:lnTo>
                      <a:pt x="7144" y="20003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1" name="Полилиния: фигура 310">
                <a:extLst>
                  <a:ext uri="{FF2B5EF4-FFF2-40B4-BE49-F238E27FC236}">
                    <a16:creationId xmlns:a16="http://schemas.microsoft.com/office/drawing/2014/main" id="{210A3D84-409A-4D09-AC7E-85EB64DDBA27}"/>
                  </a:ext>
                </a:extLst>
              </p:cNvPr>
              <p:cNvSpPr/>
              <p:nvPr/>
            </p:nvSpPr>
            <p:spPr>
              <a:xfrm>
                <a:off x="6486207" y="5278539"/>
                <a:ext cx="114300" cy="1028700"/>
              </a:xfrm>
              <a:custGeom>
                <a:avLst/>
                <a:gdLst>
                  <a:gd name="connsiteX0" fmla="*/ 7190 w 114300"/>
                  <a:gd name="connsiteY0" fmla="*/ 7144 h 1028700"/>
                  <a:gd name="connsiteX1" fmla="*/ 7190 w 114300"/>
                  <a:gd name="connsiteY1" fmla="*/ 9811 h 1028700"/>
                  <a:gd name="connsiteX2" fmla="*/ 7190 w 114300"/>
                  <a:gd name="connsiteY2" fmla="*/ 17621 h 1028700"/>
                  <a:gd name="connsiteX3" fmla="*/ 8143 w 114300"/>
                  <a:gd name="connsiteY3" fmla="*/ 47434 h 1028700"/>
                  <a:gd name="connsiteX4" fmla="*/ 13381 w 114300"/>
                  <a:gd name="connsiteY4" fmla="*/ 157163 h 1028700"/>
                  <a:gd name="connsiteX5" fmla="*/ 45290 w 114300"/>
                  <a:gd name="connsiteY5" fmla="*/ 518065 h 1028700"/>
                  <a:gd name="connsiteX6" fmla="*/ 91296 w 114300"/>
                  <a:gd name="connsiteY6" fmla="*/ 877443 h 1028700"/>
                  <a:gd name="connsiteX7" fmla="*/ 106726 w 114300"/>
                  <a:gd name="connsiteY7" fmla="*/ 986218 h 1028700"/>
                  <a:gd name="connsiteX8" fmla="*/ 111108 w 114300"/>
                  <a:gd name="connsiteY8" fmla="*/ 1015746 h 1028700"/>
                  <a:gd name="connsiteX9" fmla="*/ 112251 w 114300"/>
                  <a:gd name="connsiteY9" fmla="*/ 1023366 h 1028700"/>
                  <a:gd name="connsiteX10" fmla="*/ 112822 w 114300"/>
                  <a:gd name="connsiteY10" fmla="*/ 1026033 h 1028700"/>
                  <a:gd name="connsiteX11" fmla="*/ 112822 w 114300"/>
                  <a:gd name="connsiteY11" fmla="*/ 1023366 h 1028700"/>
                  <a:gd name="connsiteX12" fmla="*/ 111965 w 114300"/>
                  <a:gd name="connsiteY12" fmla="*/ 1015651 h 1028700"/>
                  <a:gd name="connsiteX13" fmla="*/ 108251 w 114300"/>
                  <a:gd name="connsiteY13" fmla="*/ 986028 h 1028700"/>
                  <a:gd name="connsiteX14" fmla="*/ 93868 w 114300"/>
                  <a:gd name="connsiteY14" fmla="*/ 877157 h 1028700"/>
                  <a:gd name="connsiteX15" fmla="*/ 48815 w 114300"/>
                  <a:gd name="connsiteY15" fmla="*/ 517684 h 1028700"/>
                  <a:gd name="connsiteX16" fmla="*/ 15953 w 114300"/>
                  <a:gd name="connsiteY16" fmla="*/ 156972 h 1028700"/>
                  <a:gd name="connsiteX17" fmla="*/ 9666 w 114300"/>
                  <a:gd name="connsiteY17" fmla="*/ 47339 h 1028700"/>
                  <a:gd name="connsiteX18" fmla="*/ 8047 w 114300"/>
                  <a:gd name="connsiteY18" fmla="*/ 17526 h 1028700"/>
                  <a:gd name="connsiteX19" fmla="*/ 7571 w 114300"/>
                  <a:gd name="connsiteY19" fmla="*/ 9811 h 1028700"/>
                  <a:gd name="connsiteX20" fmla="*/ 7190 w 114300"/>
                  <a:gd name="connsiteY20" fmla="*/ 7144 h 1028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4300" h="1028700">
                    <a:moveTo>
                      <a:pt x="7190" y="7144"/>
                    </a:moveTo>
                    <a:cubicBezTo>
                      <a:pt x="7128" y="8032"/>
                      <a:pt x="7128" y="8923"/>
                      <a:pt x="7190" y="9811"/>
                    </a:cubicBezTo>
                    <a:cubicBezTo>
                      <a:pt x="7190" y="11716"/>
                      <a:pt x="7190" y="14288"/>
                      <a:pt x="7190" y="17621"/>
                    </a:cubicBezTo>
                    <a:cubicBezTo>
                      <a:pt x="7190" y="24574"/>
                      <a:pt x="7762" y="34576"/>
                      <a:pt x="8143" y="47434"/>
                    </a:cubicBezTo>
                    <a:cubicBezTo>
                      <a:pt x="8905" y="73342"/>
                      <a:pt x="10715" y="110871"/>
                      <a:pt x="13381" y="157163"/>
                    </a:cubicBezTo>
                    <a:cubicBezTo>
                      <a:pt x="18906" y="249746"/>
                      <a:pt x="29193" y="377476"/>
                      <a:pt x="45290" y="518065"/>
                    </a:cubicBezTo>
                    <a:cubicBezTo>
                      <a:pt x="61388" y="658654"/>
                      <a:pt x="78533" y="785622"/>
                      <a:pt x="91296" y="877443"/>
                    </a:cubicBezTo>
                    <a:cubicBezTo>
                      <a:pt x="97773" y="923258"/>
                      <a:pt x="103107" y="960310"/>
                      <a:pt x="106726" y="986218"/>
                    </a:cubicBezTo>
                    <a:cubicBezTo>
                      <a:pt x="108631" y="998887"/>
                      <a:pt x="110060" y="1008793"/>
                      <a:pt x="111108" y="1015746"/>
                    </a:cubicBezTo>
                    <a:cubicBezTo>
                      <a:pt x="111108" y="1018984"/>
                      <a:pt x="111965" y="1021556"/>
                      <a:pt x="112251" y="1023366"/>
                    </a:cubicBezTo>
                    <a:cubicBezTo>
                      <a:pt x="112390" y="1024265"/>
                      <a:pt x="112582" y="1025155"/>
                      <a:pt x="112822" y="1026033"/>
                    </a:cubicBezTo>
                    <a:cubicBezTo>
                      <a:pt x="112928" y="1025147"/>
                      <a:pt x="112928" y="1024252"/>
                      <a:pt x="112822" y="1023366"/>
                    </a:cubicBezTo>
                    <a:lnTo>
                      <a:pt x="111965" y="1015651"/>
                    </a:lnTo>
                    <a:cubicBezTo>
                      <a:pt x="111108" y="1008697"/>
                      <a:pt x="109870" y="998696"/>
                      <a:pt x="108251" y="986028"/>
                    </a:cubicBezTo>
                    <a:cubicBezTo>
                      <a:pt x="104822" y="960120"/>
                      <a:pt x="99964" y="922972"/>
                      <a:pt x="93868" y="877157"/>
                    </a:cubicBezTo>
                    <a:cubicBezTo>
                      <a:pt x="81771" y="785241"/>
                      <a:pt x="64626" y="658082"/>
                      <a:pt x="48815" y="517684"/>
                    </a:cubicBezTo>
                    <a:cubicBezTo>
                      <a:pt x="33003" y="377285"/>
                      <a:pt x="22144" y="249460"/>
                      <a:pt x="15953" y="156972"/>
                    </a:cubicBezTo>
                    <a:cubicBezTo>
                      <a:pt x="13001" y="110680"/>
                      <a:pt x="10810" y="73247"/>
                      <a:pt x="9666" y="47339"/>
                    </a:cubicBezTo>
                    <a:cubicBezTo>
                      <a:pt x="9000" y="34576"/>
                      <a:pt x="8429" y="24574"/>
                      <a:pt x="8047" y="17526"/>
                    </a:cubicBezTo>
                    <a:lnTo>
                      <a:pt x="7571" y="9811"/>
                    </a:lnTo>
                    <a:cubicBezTo>
                      <a:pt x="7563" y="8909"/>
                      <a:pt x="7435" y="8012"/>
                      <a:pt x="7190" y="714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2" name="Полилиния: фигура 311">
                <a:extLst>
                  <a:ext uri="{FF2B5EF4-FFF2-40B4-BE49-F238E27FC236}">
                    <a16:creationId xmlns:a16="http://schemas.microsoft.com/office/drawing/2014/main" id="{8F9B1E2A-19EC-407D-9727-5329B3A8D775}"/>
                  </a:ext>
                </a:extLst>
              </p:cNvPr>
              <p:cNvSpPr/>
              <p:nvPr/>
            </p:nvSpPr>
            <p:spPr>
              <a:xfrm>
                <a:off x="6643391" y="5091560"/>
                <a:ext cx="133350" cy="104775"/>
              </a:xfrm>
              <a:custGeom>
                <a:avLst/>
                <a:gdLst>
                  <a:gd name="connsiteX0" fmla="*/ 7168 w 133350"/>
                  <a:gd name="connsiteY0" fmla="*/ 7147 h 104775"/>
                  <a:gd name="connsiteX1" fmla="*/ 7930 w 133350"/>
                  <a:gd name="connsiteY1" fmla="*/ 13814 h 104775"/>
                  <a:gd name="connsiteX2" fmla="*/ 13074 w 133350"/>
                  <a:gd name="connsiteY2" fmla="*/ 31531 h 104775"/>
                  <a:gd name="connsiteX3" fmla="*/ 104323 w 133350"/>
                  <a:gd name="connsiteY3" fmla="*/ 104873 h 104775"/>
                  <a:gd name="connsiteX4" fmla="*/ 122707 w 133350"/>
                  <a:gd name="connsiteY4" fmla="*/ 106111 h 104775"/>
                  <a:gd name="connsiteX5" fmla="*/ 129469 w 133350"/>
                  <a:gd name="connsiteY5" fmla="*/ 105350 h 104775"/>
                  <a:gd name="connsiteX6" fmla="*/ 104704 w 133350"/>
                  <a:gd name="connsiteY6" fmla="*/ 102492 h 104775"/>
                  <a:gd name="connsiteX7" fmla="*/ 50983 w 133350"/>
                  <a:gd name="connsiteY7" fmla="*/ 77727 h 104775"/>
                  <a:gd name="connsiteX8" fmla="*/ 15360 w 133350"/>
                  <a:gd name="connsiteY8" fmla="*/ 30102 h 104775"/>
                  <a:gd name="connsiteX9" fmla="*/ 7168 w 133350"/>
                  <a:gd name="connsiteY9" fmla="*/ 7147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3350" h="104775">
                    <a:moveTo>
                      <a:pt x="7168" y="7147"/>
                    </a:moveTo>
                    <a:cubicBezTo>
                      <a:pt x="7059" y="9396"/>
                      <a:pt x="7316" y="11647"/>
                      <a:pt x="7930" y="13814"/>
                    </a:cubicBezTo>
                    <a:cubicBezTo>
                      <a:pt x="9104" y="19863"/>
                      <a:pt x="10826" y="25793"/>
                      <a:pt x="13074" y="31531"/>
                    </a:cubicBezTo>
                    <a:cubicBezTo>
                      <a:pt x="28236" y="70500"/>
                      <a:pt x="63005" y="98445"/>
                      <a:pt x="104323" y="104873"/>
                    </a:cubicBezTo>
                    <a:cubicBezTo>
                      <a:pt x="110406" y="105797"/>
                      <a:pt x="116555" y="106211"/>
                      <a:pt x="122707" y="106111"/>
                    </a:cubicBezTo>
                    <a:cubicBezTo>
                      <a:pt x="124988" y="106236"/>
                      <a:pt x="127273" y="105979"/>
                      <a:pt x="129469" y="105350"/>
                    </a:cubicBezTo>
                    <a:cubicBezTo>
                      <a:pt x="129469" y="104778"/>
                      <a:pt x="119944" y="105349"/>
                      <a:pt x="104704" y="102492"/>
                    </a:cubicBezTo>
                    <a:cubicBezTo>
                      <a:pt x="85080" y="98634"/>
                      <a:pt x="66662" y="90143"/>
                      <a:pt x="50983" y="77727"/>
                    </a:cubicBezTo>
                    <a:cubicBezTo>
                      <a:pt x="35416" y="64981"/>
                      <a:pt x="23189" y="48635"/>
                      <a:pt x="15360" y="30102"/>
                    </a:cubicBezTo>
                    <a:cubicBezTo>
                      <a:pt x="9263" y="16576"/>
                      <a:pt x="7740" y="6956"/>
                      <a:pt x="7168" y="7147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3" name="Полилиния: фигура 312">
                <a:extLst>
                  <a:ext uri="{FF2B5EF4-FFF2-40B4-BE49-F238E27FC236}">
                    <a16:creationId xmlns:a16="http://schemas.microsoft.com/office/drawing/2014/main" id="{C38507D2-EF0B-40F0-86F8-4A50C48DC84C}"/>
                  </a:ext>
                </a:extLst>
              </p:cNvPr>
              <p:cNvSpPr/>
              <p:nvPr/>
            </p:nvSpPr>
            <p:spPr>
              <a:xfrm>
                <a:off x="6474632" y="5109756"/>
                <a:ext cx="28575" cy="28575"/>
              </a:xfrm>
              <a:custGeom>
                <a:avLst/>
                <a:gdLst>
                  <a:gd name="connsiteX0" fmla="*/ 7144 w 28575"/>
                  <a:gd name="connsiteY0" fmla="*/ 16669 h 28575"/>
                  <a:gd name="connsiteX1" fmla="*/ 16669 w 28575"/>
                  <a:gd name="connsiteY1" fmla="*/ 26194 h 28575"/>
                  <a:gd name="connsiteX2" fmla="*/ 26194 w 28575"/>
                  <a:gd name="connsiteY2" fmla="*/ 16669 h 28575"/>
                  <a:gd name="connsiteX3" fmla="*/ 16669 w 28575"/>
                  <a:gd name="connsiteY3" fmla="*/ 7144 h 28575"/>
                  <a:gd name="connsiteX4" fmla="*/ 7144 w 28575"/>
                  <a:gd name="connsiteY4" fmla="*/ 1666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7144" y="16669"/>
                    </a:moveTo>
                    <a:cubicBezTo>
                      <a:pt x="7144" y="21929"/>
                      <a:pt x="11408" y="26194"/>
                      <a:pt x="16669" y="26194"/>
                    </a:cubicBezTo>
                    <a:cubicBezTo>
                      <a:pt x="21929" y="26194"/>
                      <a:pt x="26194" y="21929"/>
                      <a:pt x="26194" y="16669"/>
                    </a:cubicBezTo>
                    <a:cubicBezTo>
                      <a:pt x="26194" y="11408"/>
                      <a:pt x="21929" y="7144"/>
                      <a:pt x="16669" y="7144"/>
                    </a:cubicBezTo>
                    <a:cubicBezTo>
                      <a:pt x="11408" y="7144"/>
                      <a:pt x="7144" y="11408"/>
                      <a:pt x="7144" y="16669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4" name="Полилиния: фигура 313">
                <a:extLst>
                  <a:ext uri="{FF2B5EF4-FFF2-40B4-BE49-F238E27FC236}">
                    <a16:creationId xmlns:a16="http://schemas.microsoft.com/office/drawing/2014/main" id="{3ED757A8-38C1-44A8-9CDD-F8525D89A142}"/>
                  </a:ext>
                </a:extLst>
              </p:cNvPr>
              <p:cNvSpPr/>
              <p:nvPr/>
            </p:nvSpPr>
            <p:spPr>
              <a:xfrm>
                <a:off x="6313374" y="5101183"/>
                <a:ext cx="57150" cy="114300"/>
              </a:xfrm>
              <a:custGeom>
                <a:avLst/>
                <a:gdLst>
                  <a:gd name="connsiteX0" fmla="*/ 7144 w 57150"/>
                  <a:gd name="connsiteY0" fmla="*/ 114205 h 114300"/>
                  <a:gd name="connsiteX1" fmla="*/ 20098 w 57150"/>
                  <a:gd name="connsiteY1" fmla="*/ 102108 h 114300"/>
                  <a:gd name="connsiteX2" fmla="*/ 43148 w 57150"/>
                  <a:gd name="connsiteY2" fmla="*/ 66008 h 114300"/>
                  <a:gd name="connsiteX3" fmla="*/ 54673 w 57150"/>
                  <a:gd name="connsiteY3" fmla="*/ 24860 h 114300"/>
                  <a:gd name="connsiteX4" fmla="*/ 54673 w 57150"/>
                  <a:gd name="connsiteY4" fmla="*/ 7144 h 114300"/>
                  <a:gd name="connsiteX5" fmla="*/ 51911 w 57150"/>
                  <a:gd name="connsiteY5" fmla="*/ 24479 h 114300"/>
                  <a:gd name="connsiteX6" fmla="*/ 39624 w 57150"/>
                  <a:gd name="connsiteY6" fmla="*/ 64675 h 114300"/>
                  <a:gd name="connsiteX7" fmla="*/ 17812 w 57150"/>
                  <a:gd name="connsiteY7" fmla="*/ 100489 h 114300"/>
                  <a:gd name="connsiteX8" fmla="*/ 7144 w 57150"/>
                  <a:gd name="connsiteY8" fmla="*/ 11420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150" h="114300">
                    <a:moveTo>
                      <a:pt x="7144" y="114205"/>
                    </a:moveTo>
                    <a:cubicBezTo>
                      <a:pt x="12038" y="110838"/>
                      <a:pt x="16404" y="106761"/>
                      <a:pt x="20098" y="102108"/>
                    </a:cubicBezTo>
                    <a:cubicBezTo>
                      <a:pt x="29481" y="91249"/>
                      <a:pt x="37245" y="79090"/>
                      <a:pt x="43148" y="66008"/>
                    </a:cubicBezTo>
                    <a:cubicBezTo>
                      <a:pt x="48926" y="52910"/>
                      <a:pt x="52807" y="39054"/>
                      <a:pt x="54673" y="24860"/>
                    </a:cubicBezTo>
                    <a:cubicBezTo>
                      <a:pt x="55554" y="18988"/>
                      <a:pt x="55554" y="13016"/>
                      <a:pt x="54673" y="7144"/>
                    </a:cubicBezTo>
                    <a:cubicBezTo>
                      <a:pt x="54102" y="7143"/>
                      <a:pt x="53721" y="13906"/>
                      <a:pt x="51911" y="24479"/>
                    </a:cubicBezTo>
                    <a:cubicBezTo>
                      <a:pt x="49411" y="38314"/>
                      <a:pt x="45287" y="51806"/>
                      <a:pt x="39624" y="64675"/>
                    </a:cubicBezTo>
                    <a:cubicBezTo>
                      <a:pt x="33856" y="77465"/>
                      <a:pt x="26530" y="89494"/>
                      <a:pt x="17812" y="100489"/>
                    </a:cubicBezTo>
                    <a:cubicBezTo>
                      <a:pt x="14031" y="104881"/>
                      <a:pt x="10471" y="109459"/>
                      <a:pt x="7144" y="114205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5" name="Полилиния: фигура 314">
                <a:extLst>
                  <a:ext uri="{FF2B5EF4-FFF2-40B4-BE49-F238E27FC236}">
                    <a16:creationId xmlns:a16="http://schemas.microsoft.com/office/drawing/2014/main" id="{9D17CA34-844E-4AD7-A070-3C7DFE4B568F}"/>
                  </a:ext>
                </a:extLst>
              </p:cNvPr>
              <p:cNvSpPr/>
              <p:nvPr/>
            </p:nvSpPr>
            <p:spPr>
              <a:xfrm>
                <a:off x="6384290" y="4232789"/>
                <a:ext cx="38100" cy="57150"/>
              </a:xfrm>
              <a:custGeom>
                <a:avLst/>
                <a:gdLst>
                  <a:gd name="connsiteX0" fmla="*/ 32812 w 38100"/>
                  <a:gd name="connsiteY0" fmla="*/ 7144 h 57150"/>
                  <a:gd name="connsiteX1" fmla="*/ 22620 w 38100"/>
                  <a:gd name="connsiteY1" fmla="*/ 32385 h 57150"/>
                  <a:gd name="connsiteX2" fmla="*/ 7189 w 38100"/>
                  <a:gd name="connsiteY2" fmla="*/ 55055 h 57150"/>
                  <a:gd name="connsiteX3" fmla="*/ 19286 w 38100"/>
                  <a:gd name="connsiteY3" fmla="*/ 30861 h 57150"/>
                  <a:gd name="connsiteX4" fmla="*/ 32811 w 38100"/>
                  <a:gd name="connsiteY4" fmla="*/ 7144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57150">
                    <a:moveTo>
                      <a:pt x="32812" y="7144"/>
                    </a:moveTo>
                    <a:cubicBezTo>
                      <a:pt x="30184" y="15848"/>
                      <a:pt x="26773" y="24296"/>
                      <a:pt x="22620" y="32385"/>
                    </a:cubicBezTo>
                    <a:cubicBezTo>
                      <a:pt x="19431" y="41102"/>
                      <a:pt x="14129" y="48891"/>
                      <a:pt x="7189" y="55055"/>
                    </a:cubicBezTo>
                    <a:cubicBezTo>
                      <a:pt x="6523" y="54388"/>
                      <a:pt x="13286" y="44577"/>
                      <a:pt x="19286" y="30861"/>
                    </a:cubicBezTo>
                    <a:cubicBezTo>
                      <a:pt x="22370" y="22224"/>
                      <a:pt x="26949" y="14196"/>
                      <a:pt x="32811" y="71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6" name="Полилиния: фигура 315">
                <a:extLst>
                  <a:ext uri="{FF2B5EF4-FFF2-40B4-BE49-F238E27FC236}">
                    <a16:creationId xmlns:a16="http://schemas.microsoft.com/office/drawing/2014/main" id="{DAA615FA-0639-474D-8B9A-CBD794AAB4A5}"/>
                  </a:ext>
                </a:extLst>
              </p:cNvPr>
              <p:cNvSpPr/>
              <p:nvPr/>
            </p:nvSpPr>
            <p:spPr>
              <a:xfrm>
                <a:off x="6287943" y="4095819"/>
                <a:ext cx="533400" cy="1143000"/>
              </a:xfrm>
              <a:custGeom>
                <a:avLst/>
                <a:gdLst>
                  <a:gd name="connsiteX0" fmla="*/ 158305 w 533400"/>
                  <a:gd name="connsiteY0" fmla="*/ 135350 h 1143000"/>
                  <a:gd name="connsiteX1" fmla="*/ 310705 w 533400"/>
                  <a:gd name="connsiteY1" fmla="*/ 7144 h 1143000"/>
                  <a:gd name="connsiteX2" fmla="*/ 342709 w 533400"/>
                  <a:gd name="connsiteY2" fmla="*/ 56388 h 1143000"/>
                  <a:gd name="connsiteX3" fmla="*/ 500729 w 533400"/>
                  <a:gd name="connsiteY3" fmla="*/ 181166 h 1143000"/>
                  <a:gd name="connsiteX4" fmla="*/ 467487 w 533400"/>
                  <a:gd name="connsiteY4" fmla="*/ 623030 h 1143000"/>
                  <a:gd name="connsiteX5" fmla="*/ 505587 w 533400"/>
                  <a:gd name="connsiteY5" fmla="*/ 873633 h 1143000"/>
                  <a:gd name="connsiteX6" fmla="*/ 528447 w 533400"/>
                  <a:gd name="connsiteY6" fmla="*/ 1052227 h 1143000"/>
                  <a:gd name="connsiteX7" fmla="*/ 501015 w 533400"/>
                  <a:gd name="connsiteY7" fmla="*/ 1119473 h 1143000"/>
                  <a:gd name="connsiteX8" fmla="*/ 447865 w 533400"/>
                  <a:gd name="connsiteY8" fmla="*/ 1090898 h 1143000"/>
                  <a:gd name="connsiteX9" fmla="*/ 233839 w 533400"/>
                  <a:gd name="connsiteY9" fmla="*/ 1143572 h 1143000"/>
                  <a:gd name="connsiteX10" fmla="*/ 7144 w 533400"/>
                  <a:gd name="connsiteY10" fmla="*/ 1093184 h 1143000"/>
                  <a:gd name="connsiteX11" fmla="*/ 31242 w 533400"/>
                  <a:gd name="connsiteY11" fmla="*/ 646747 h 1143000"/>
                  <a:gd name="connsiteX12" fmla="*/ 27051 w 533400"/>
                  <a:gd name="connsiteY12" fmla="*/ 358426 h 1143000"/>
                  <a:gd name="connsiteX13" fmla="*/ 59055 w 533400"/>
                  <a:gd name="connsiteY13" fmla="*/ 233648 h 1143000"/>
                  <a:gd name="connsiteX14" fmla="*/ 103727 w 533400"/>
                  <a:gd name="connsiteY14" fmla="*/ 189071 h 1143000"/>
                  <a:gd name="connsiteX15" fmla="*/ 130397 w 533400"/>
                  <a:gd name="connsiteY15" fmla="*/ 119253 h 1143000"/>
                  <a:gd name="connsiteX16" fmla="*/ 139922 w 533400"/>
                  <a:gd name="connsiteY16" fmla="*/ 204978 h 1143000"/>
                  <a:gd name="connsiteX17" fmla="*/ 158305 w 533400"/>
                  <a:gd name="connsiteY17" fmla="*/ 135350 h 1143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33400" h="1143000">
                    <a:moveTo>
                      <a:pt x="158305" y="135350"/>
                    </a:moveTo>
                    <a:lnTo>
                      <a:pt x="310705" y="7144"/>
                    </a:lnTo>
                    <a:lnTo>
                      <a:pt x="342709" y="56388"/>
                    </a:lnTo>
                    <a:cubicBezTo>
                      <a:pt x="342709" y="56388"/>
                      <a:pt x="475488" y="153638"/>
                      <a:pt x="500729" y="181166"/>
                    </a:cubicBezTo>
                    <a:lnTo>
                      <a:pt x="467487" y="623030"/>
                    </a:lnTo>
                    <a:cubicBezTo>
                      <a:pt x="467487" y="623030"/>
                      <a:pt x="503015" y="855345"/>
                      <a:pt x="505587" y="873633"/>
                    </a:cubicBezTo>
                    <a:cubicBezTo>
                      <a:pt x="508159" y="891921"/>
                      <a:pt x="528447" y="1052227"/>
                      <a:pt x="528447" y="1052227"/>
                    </a:cubicBezTo>
                    <a:cubicBezTo>
                      <a:pt x="531114" y="1082612"/>
                      <a:pt x="506158" y="1119473"/>
                      <a:pt x="501015" y="1119473"/>
                    </a:cubicBezTo>
                    <a:cubicBezTo>
                      <a:pt x="501015" y="1119473"/>
                      <a:pt x="475297" y="1088803"/>
                      <a:pt x="447865" y="1090898"/>
                    </a:cubicBezTo>
                    <a:cubicBezTo>
                      <a:pt x="420433" y="1092994"/>
                      <a:pt x="233839" y="1143572"/>
                      <a:pt x="233839" y="1143572"/>
                    </a:cubicBezTo>
                    <a:lnTo>
                      <a:pt x="7144" y="1093184"/>
                    </a:lnTo>
                    <a:lnTo>
                      <a:pt x="31242" y="646747"/>
                    </a:lnTo>
                    <a:lnTo>
                      <a:pt x="27051" y="358426"/>
                    </a:lnTo>
                    <a:lnTo>
                      <a:pt x="59055" y="233648"/>
                    </a:lnTo>
                    <a:lnTo>
                      <a:pt x="103727" y="189071"/>
                    </a:lnTo>
                    <a:lnTo>
                      <a:pt x="130397" y="119253"/>
                    </a:lnTo>
                    <a:cubicBezTo>
                      <a:pt x="130397" y="119253"/>
                      <a:pt x="138779" y="208312"/>
                      <a:pt x="139922" y="204978"/>
                    </a:cubicBezTo>
                    <a:cubicBezTo>
                      <a:pt x="141065" y="201644"/>
                      <a:pt x="158305" y="135350"/>
                      <a:pt x="158305" y="135350"/>
                    </a:cubicBez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7" name="Полилиния: фигура 316">
                <a:extLst>
                  <a:ext uri="{FF2B5EF4-FFF2-40B4-BE49-F238E27FC236}">
                    <a16:creationId xmlns:a16="http://schemas.microsoft.com/office/drawing/2014/main" id="{E3247133-1E86-4B36-B769-CE46968045CC}"/>
                  </a:ext>
                </a:extLst>
              </p:cNvPr>
              <p:cNvSpPr/>
              <p:nvPr/>
            </p:nvSpPr>
            <p:spPr>
              <a:xfrm>
                <a:off x="6441962" y="4152874"/>
                <a:ext cx="190500" cy="142875"/>
              </a:xfrm>
              <a:custGeom>
                <a:avLst/>
                <a:gdLst>
                  <a:gd name="connsiteX0" fmla="*/ 184499 w 190500"/>
                  <a:gd name="connsiteY0" fmla="*/ 7144 h 142875"/>
                  <a:gd name="connsiteX1" fmla="*/ 178403 w 190500"/>
                  <a:gd name="connsiteY1" fmla="*/ 15430 h 142875"/>
                  <a:gd name="connsiteX2" fmla="*/ 160115 w 190500"/>
                  <a:gd name="connsiteY2" fmla="*/ 36671 h 142875"/>
                  <a:gd name="connsiteX3" fmla="*/ 96393 w 190500"/>
                  <a:gd name="connsiteY3" fmla="*/ 103346 h 142875"/>
                  <a:gd name="connsiteX4" fmla="*/ 62484 w 190500"/>
                  <a:gd name="connsiteY4" fmla="*/ 140303 h 142875"/>
                  <a:gd name="connsiteX5" fmla="*/ 61246 w 190500"/>
                  <a:gd name="connsiteY5" fmla="*/ 141637 h 142875"/>
                  <a:gd name="connsiteX6" fmla="*/ 60007 w 190500"/>
                  <a:gd name="connsiteY6" fmla="*/ 140398 h 142875"/>
                  <a:gd name="connsiteX7" fmla="*/ 21907 w 190500"/>
                  <a:gd name="connsiteY7" fmla="*/ 96964 h 142875"/>
                  <a:gd name="connsiteX8" fmla="*/ 10954 w 190500"/>
                  <a:gd name="connsiteY8" fmla="*/ 84582 h 142875"/>
                  <a:gd name="connsiteX9" fmla="*/ 7144 w 190500"/>
                  <a:gd name="connsiteY9" fmla="*/ 80010 h 142875"/>
                  <a:gd name="connsiteX10" fmla="*/ 11811 w 190500"/>
                  <a:gd name="connsiteY10" fmla="*/ 83820 h 142875"/>
                  <a:gd name="connsiteX11" fmla="*/ 23432 w 190500"/>
                  <a:gd name="connsiteY11" fmla="*/ 95631 h 142875"/>
                  <a:gd name="connsiteX12" fmla="*/ 62579 w 190500"/>
                  <a:gd name="connsiteY12" fmla="*/ 138017 h 142875"/>
                  <a:gd name="connsiteX13" fmla="*/ 59531 w 190500"/>
                  <a:gd name="connsiteY13" fmla="*/ 138017 h 142875"/>
                  <a:gd name="connsiteX14" fmla="*/ 93345 w 190500"/>
                  <a:gd name="connsiteY14" fmla="*/ 100679 h 142875"/>
                  <a:gd name="connsiteX15" fmla="*/ 157829 w 190500"/>
                  <a:gd name="connsiteY15" fmla="*/ 34766 h 142875"/>
                  <a:gd name="connsiteX16" fmla="*/ 176879 w 190500"/>
                  <a:gd name="connsiteY16" fmla="*/ 14288 h 142875"/>
                  <a:gd name="connsiteX17" fmla="*/ 184499 w 190500"/>
                  <a:gd name="connsiteY17" fmla="*/ 7144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90500" h="142875">
                    <a:moveTo>
                      <a:pt x="184499" y="7144"/>
                    </a:moveTo>
                    <a:cubicBezTo>
                      <a:pt x="182741" y="10098"/>
                      <a:pt x="180700" y="12873"/>
                      <a:pt x="178403" y="15430"/>
                    </a:cubicBezTo>
                    <a:cubicBezTo>
                      <a:pt x="174212" y="20574"/>
                      <a:pt x="168021" y="27908"/>
                      <a:pt x="160115" y="36671"/>
                    </a:cubicBezTo>
                    <a:cubicBezTo>
                      <a:pt x="144399" y="54388"/>
                      <a:pt x="121348" y="77533"/>
                      <a:pt x="96393" y="103346"/>
                    </a:cubicBezTo>
                    <a:cubicBezTo>
                      <a:pt x="84011" y="116205"/>
                      <a:pt x="72485" y="128588"/>
                      <a:pt x="62484" y="140303"/>
                    </a:cubicBezTo>
                    <a:lnTo>
                      <a:pt x="61246" y="141637"/>
                    </a:lnTo>
                    <a:lnTo>
                      <a:pt x="60007" y="140398"/>
                    </a:lnTo>
                    <a:cubicBezTo>
                      <a:pt x="43149" y="123634"/>
                      <a:pt x="31432" y="107633"/>
                      <a:pt x="21907" y="96964"/>
                    </a:cubicBezTo>
                    <a:lnTo>
                      <a:pt x="10954" y="84582"/>
                    </a:lnTo>
                    <a:cubicBezTo>
                      <a:pt x="9519" y="83203"/>
                      <a:pt x="8241" y="81670"/>
                      <a:pt x="7144" y="80010"/>
                    </a:cubicBezTo>
                    <a:cubicBezTo>
                      <a:pt x="8847" y="81087"/>
                      <a:pt x="10414" y="82367"/>
                      <a:pt x="11811" y="83820"/>
                    </a:cubicBezTo>
                    <a:cubicBezTo>
                      <a:pt x="14574" y="86392"/>
                      <a:pt x="18574" y="90392"/>
                      <a:pt x="23432" y="95631"/>
                    </a:cubicBezTo>
                    <a:cubicBezTo>
                      <a:pt x="32957" y="105918"/>
                      <a:pt x="45815" y="121634"/>
                      <a:pt x="62579" y="138017"/>
                    </a:cubicBezTo>
                    <a:lnTo>
                      <a:pt x="59531" y="138017"/>
                    </a:lnTo>
                    <a:cubicBezTo>
                      <a:pt x="69532" y="126111"/>
                      <a:pt x="80963" y="113538"/>
                      <a:pt x="93345" y="100679"/>
                    </a:cubicBezTo>
                    <a:cubicBezTo>
                      <a:pt x="118396" y="74676"/>
                      <a:pt x="141637" y="51911"/>
                      <a:pt x="157829" y="34766"/>
                    </a:cubicBezTo>
                    <a:cubicBezTo>
                      <a:pt x="166021" y="26194"/>
                      <a:pt x="172402" y="19145"/>
                      <a:pt x="176879" y="14288"/>
                    </a:cubicBezTo>
                    <a:cubicBezTo>
                      <a:pt x="179187" y="11670"/>
                      <a:pt x="181739" y="9278"/>
                      <a:pt x="184499" y="71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8" name="Полилиния: фигура 317">
                <a:extLst>
                  <a:ext uri="{FF2B5EF4-FFF2-40B4-BE49-F238E27FC236}">
                    <a16:creationId xmlns:a16="http://schemas.microsoft.com/office/drawing/2014/main" id="{AC275727-0172-46B5-B9F9-E96E5DB19C18}"/>
                  </a:ext>
                </a:extLst>
              </p:cNvPr>
              <p:cNvSpPr/>
              <p:nvPr/>
            </p:nvSpPr>
            <p:spPr>
              <a:xfrm>
                <a:off x="6361832" y="4292034"/>
                <a:ext cx="66675" cy="676275"/>
              </a:xfrm>
              <a:custGeom>
                <a:avLst/>
                <a:gdLst>
                  <a:gd name="connsiteX0" fmla="*/ 7264 w 66675"/>
                  <a:gd name="connsiteY0" fmla="*/ 671513 h 676275"/>
                  <a:gd name="connsiteX1" fmla="*/ 7264 w 66675"/>
                  <a:gd name="connsiteY1" fmla="*/ 669798 h 676275"/>
                  <a:gd name="connsiteX2" fmla="*/ 7264 w 66675"/>
                  <a:gd name="connsiteY2" fmla="*/ 664750 h 676275"/>
                  <a:gd name="connsiteX3" fmla="*/ 8312 w 66675"/>
                  <a:gd name="connsiteY3" fmla="*/ 645700 h 676275"/>
                  <a:gd name="connsiteX4" fmla="*/ 12979 w 66675"/>
                  <a:gd name="connsiteY4" fmla="*/ 574357 h 676275"/>
                  <a:gd name="connsiteX5" fmla="*/ 30505 w 66675"/>
                  <a:gd name="connsiteY5" fmla="*/ 339090 h 676275"/>
                  <a:gd name="connsiteX6" fmla="*/ 50984 w 66675"/>
                  <a:gd name="connsiteY6" fmla="*/ 104013 h 676275"/>
                  <a:gd name="connsiteX7" fmla="*/ 58699 w 66675"/>
                  <a:gd name="connsiteY7" fmla="*/ 32861 h 676275"/>
                  <a:gd name="connsiteX8" fmla="*/ 61366 w 66675"/>
                  <a:gd name="connsiteY8" fmla="*/ 13811 h 676275"/>
                  <a:gd name="connsiteX9" fmla="*/ 62128 w 66675"/>
                  <a:gd name="connsiteY9" fmla="*/ 8763 h 676275"/>
                  <a:gd name="connsiteX10" fmla="*/ 62128 w 66675"/>
                  <a:gd name="connsiteY10" fmla="*/ 7144 h 676275"/>
                  <a:gd name="connsiteX11" fmla="*/ 62128 w 66675"/>
                  <a:gd name="connsiteY11" fmla="*/ 8858 h 676275"/>
                  <a:gd name="connsiteX12" fmla="*/ 62128 w 66675"/>
                  <a:gd name="connsiteY12" fmla="*/ 13906 h 676275"/>
                  <a:gd name="connsiteX13" fmla="*/ 60128 w 66675"/>
                  <a:gd name="connsiteY13" fmla="*/ 32956 h 676275"/>
                  <a:gd name="connsiteX14" fmla="*/ 53556 w 66675"/>
                  <a:gd name="connsiteY14" fmla="*/ 104108 h 676275"/>
                  <a:gd name="connsiteX15" fmla="*/ 34506 w 66675"/>
                  <a:gd name="connsiteY15" fmla="*/ 339280 h 676275"/>
                  <a:gd name="connsiteX16" fmla="*/ 15456 w 66675"/>
                  <a:gd name="connsiteY16" fmla="*/ 574453 h 676275"/>
                  <a:gd name="connsiteX17" fmla="*/ 9645 w 66675"/>
                  <a:gd name="connsiteY17" fmla="*/ 645700 h 676275"/>
                  <a:gd name="connsiteX18" fmla="*/ 7835 w 66675"/>
                  <a:gd name="connsiteY18" fmla="*/ 664750 h 676275"/>
                  <a:gd name="connsiteX19" fmla="*/ 7359 w 66675"/>
                  <a:gd name="connsiteY19" fmla="*/ 669798 h 676275"/>
                  <a:gd name="connsiteX20" fmla="*/ 7264 w 66675"/>
                  <a:gd name="connsiteY20" fmla="*/ 671513 h 676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6675" h="676275">
                    <a:moveTo>
                      <a:pt x="7264" y="671513"/>
                    </a:moveTo>
                    <a:lnTo>
                      <a:pt x="7264" y="669798"/>
                    </a:lnTo>
                    <a:cubicBezTo>
                      <a:pt x="7264" y="668464"/>
                      <a:pt x="7264" y="666845"/>
                      <a:pt x="7264" y="664750"/>
                    </a:cubicBezTo>
                    <a:cubicBezTo>
                      <a:pt x="7264" y="659987"/>
                      <a:pt x="7835" y="653510"/>
                      <a:pt x="8312" y="645700"/>
                    </a:cubicBezTo>
                    <a:cubicBezTo>
                      <a:pt x="9455" y="628555"/>
                      <a:pt x="11074" y="604266"/>
                      <a:pt x="12979" y="574357"/>
                    </a:cubicBezTo>
                    <a:cubicBezTo>
                      <a:pt x="17170" y="514159"/>
                      <a:pt x="23266" y="430911"/>
                      <a:pt x="30505" y="339090"/>
                    </a:cubicBezTo>
                    <a:cubicBezTo>
                      <a:pt x="37744" y="247269"/>
                      <a:pt x="45078" y="164116"/>
                      <a:pt x="50984" y="104013"/>
                    </a:cubicBezTo>
                    <a:cubicBezTo>
                      <a:pt x="53936" y="73914"/>
                      <a:pt x="56699" y="49625"/>
                      <a:pt x="58699" y="32861"/>
                    </a:cubicBezTo>
                    <a:cubicBezTo>
                      <a:pt x="59842" y="24765"/>
                      <a:pt x="60699" y="18288"/>
                      <a:pt x="61366" y="13811"/>
                    </a:cubicBezTo>
                    <a:cubicBezTo>
                      <a:pt x="61366" y="11811"/>
                      <a:pt x="61938" y="10096"/>
                      <a:pt x="62128" y="8763"/>
                    </a:cubicBezTo>
                    <a:cubicBezTo>
                      <a:pt x="62094" y="8224"/>
                      <a:pt x="62094" y="7683"/>
                      <a:pt x="62128" y="7144"/>
                    </a:cubicBezTo>
                    <a:cubicBezTo>
                      <a:pt x="62128" y="7144"/>
                      <a:pt x="62128" y="7715"/>
                      <a:pt x="62128" y="8858"/>
                    </a:cubicBezTo>
                    <a:cubicBezTo>
                      <a:pt x="62128" y="10001"/>
                      <a:pt x="62128" y="11811"/>
                      <a:pt x="62128" y="13906"/>
                    </a:cubicBezTo>
                    <a:cubicBezTo>
                      <a:pt x="62128" y="18574"/>
                      <a:pt x="60985" y="25051"/>
                      <a:pt x="60128" y="32956"/>
                    </a:cubicBezTo>
                    <a:cubicBezTo>
                      <a:pt x="58604" y="50101"/>
                      <a:pt x="56318" y="74295"/>
                      <a:pt x="53556" y="104108"/>
                    </a:cubicBezTo>
                    <a:cubicBezTo>
                      <a:pt x="48316" y="164306"/>
                      <a:pt x="41459" y="246983"/>
                      <a:pt x="34506" y="339280"/>
                    </a:cubicBezTo>
                    <a:cubicBezTo>
                      <a:pt x="27552" y="431578"/>
                      <a:pt x="20694" y="513969"/>
                      <a:pt x="15456" y="574453"/>
                    </a:cubicBezTo>
                    <a:cubicBezTo>
                      <a:pt x="13074" y="604361"/>
                      <a:pt x="11074" y="628555"/>
                      <a:pt x="9645" y="645700"/>
                    </a:cubicBezTo>
                    <a:cubicBezTo>
                      <a:pt x="8883" y="653891"/>
                      <a:pt x="8312" y="660368"/>
                      <a:pt x="7835" y="664750"/>
                    </a:cubicBezTo>
                    <a:cubicBezTo>
                      <a:pt x="7835" y="666750"/>
                      <a:pt x="7835" y="668369"/>
                      <a:pt x="7359" y="669798"/>
                    </a:cubicBezTo>
                    <a:cubicBezTo>
                      <a:pt x="6883" y="671227"/>
                      <a:pt x="7359" y="671513"/>
                      <a:pt x="7264" y="67151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9" name="Полилиния: фигура 318">
                <a:extLst>
                  <a:ext uri="{FF2B5EF4-FFF2-40B4-BE49-F238E27FC236}">
                    <a16:creationId xmlns:a16="http://schemas.microsoft.com/office/drawing/2014/main" id="{CB0E5A73-B4F9-47D5-84E9-8A3AC8BF0A83}"/>
                  </a:ext>
                </a:extLst>
              </p:cNvPr>
              <p:cNvSpPr/>
              <p:nvPr/>
            </p:nvSpPr>
            <p:spPr>
              <a:xfrm>
                <a:off x="6317466" y="4932279"/>
                <a:ext cx="219075" cy="123825"/>
              </a:xfrm>
              <a:custGeom>
                <a:avLst/>
                <a:gdLst>
                  <a:gd name="connsiteX0" fmla="*/ 215840 w 219075"/>
                  <a:gd name="connsiteY0" fmla="*/ 124327 h 123825"/>
                  <a:gd name="connsiteX1" fmla="*/ 110589 w 219075"/>
                  <a:gd name="connsiteY1" fmla="*/ 67177 h 123825"/>
                  <a:gd name="connsiteX2" fmla="*/ 7147 w 219075"/>
                  <a:gd name="connsiteY2" fmla="*/ 7170 h 123825"/>
                  <a:gd name="connsiteX3" fmla="*/ 112399 w 219075"/>
                  <a:gd name="connsiteY3" fmla="*/ 64320 h 123825"/>
                  <a:gd name="connsiteX4" fmla="*/ 215840 w 219075"/>
                  <a:gd name="connsiteY4" fmla="*/ 124327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9075" h="123825">
                    <a:moveTo>
                      <a:pt x="215840" y="124327"/>
                    </a:moveTo>
                    <a:cubicBezTo>
                      <a:pt x="215364" y="125280"/>
                      <a:pt x="168215" y="99848"/>
                      <a:pt x="110589" y="67177"/>
                    </a:cubicBezTo>
                    <a:cubicBezTo>
                      <a:pt x="52963" y="34506"/>
                      <a:pt x="6671" y="8122"/>
                      <a:pt x="7147" y="7170"/>
                    </a:cubicBezTo>
                    <a:cubicBezTo>
                      <a:pt x="7624" y="6217"/>
                      <a:pt x="54772" y="31744"/>
                      <a:pt x="112399" y="64320"/>
                    </a:cubicBezTo>
                    <a:cubicBezTo>
                      <a:pt x="170025" y="96895"/>
                      <a:pt x="216317" y="123470"/>
                      <a:pt x="215840" y="12432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0" name="Полилиния: фигура 319">
                <a:extLst>
                  <a:ext uri="{FF2B5EF4-FFF2-40B4-BE49-F238E27FC236}">
                    <a16:creationId xmlns:a16="http://schemas.microsoft.com/office/drawing/2014/main" id="{89CF7138-3E80-4749-99BF-6416E64D86D8}"/>
                  </a:ext>
                </a:extLst>
              </p:cNvPr>
              <p:cNvSpPr/>
              <p:nvPr/>
            </p:nvSpPr>
            <p:spPr>
              <a:xfrm>
                <a:off x="6376625" y="4968119"/>
                <a:ext cx="19050" cy="247650"/>
              </a:xfrm>
              <a:custGeom>
                <a:avLst/>
                <a:gdLst>
                  <a:gd name="connsiteX0" fmla="*/ 7424 w 19050"/>
                  <a:gd name="connsiteY0" fmla="*/ 241364 h 247650"/>
                  <a:gd name="connsiteX1" fmla="*/ 7424 w 19050"/>
                  <a:gd name="connsiteY1" fmla="*/ 231839 h 247650"/>
                  <a:gd name="connsiteX2" fmla="*/ 8758 w 19050"/>
                  <a:gd name="connsiteY2" fmla="*/ 206883 h 247650"/>
                  <a:gd name="connsiteX3" fmla="*/ 9520 w 19050"/>
                  <a:gd name="connsiteY3" fmla="*/ 124397 h 247650"/>
                  <a:gd name="connsiteX4" fmla="*/ 9520 w 19050"/>
                  <a:gd name="connsiteY4" fmla="*/ 41720 h 247650"/>
                  <a:gd name="connsiteX5" fmla="*/ 9520 w 19050"/>
                  <a:gd name="connsiteY5" fmla="*/ 16669 h 247650"/>
                  <a:gd name="connsiteX6" fmla="*/ 10187 w 19050"/>
                  <a:gd name="connsiteY6" fmla="*/ 7144 h 247650"/>
                  <a:gd name="connsiteX7" fmla="*/ 10949 w 19050"/>
                  <a:gd name="connsiteY7" fmla="*/ 16669 h 247650"/>
                  <a:gd name="connsiteX8" fmla="*/ 11901 w 19050"/>
                  <a:gd name="connsiteY8" fmla="*/ 41720 h 247650"/>
                  <a:gd name="connsiteX9" fmla="*/ 13330 w 19050"/>
                  <a:gd name="connsiteY9" fmla="*/ 124301 h 247650"/>
                  <a:gd name="connsiteX10" fmla="*/ 11615 w 19050"/>
                  <a:gd name="connsiteY10" fmla="*/ 206978 h 247650"/>
                  <a:gd name="connsiteX11" fmla="*/ 9044 w 19050"/>
                  <a:gd name="connsiteY11" fmla="*/ 232029 h 247650"/>
                  <a:gd name="connsiteX12" fmla="*/ 7425 w 19050"/>
                  <a:gd name="connsiteY12" fmla="*/ 241364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050" h="247650">
                    <a:moveTo>
                      <a:pt x="7424" y="241364"/>
                    </a:moveTo>
                    <a:cubicBezTo>
                      <a:pt x="7050" y="238200"/>
                      <a:pt x="7050" y="235003"/>
                      <a:pt x="7424" y="231839"/>
                    </a:cubicBezTo>
                    <a:cubicBezTo>
                      <a:pt x="7424" y="225171"/>
                      <a:pt x="8282" y="216884"/>
                      <a:pt x="8758" y="206883"/>
                    </a:cubicBezTo>
                    <a:cubicBezTo>
                      <a:pt x="9710" y="185738"/>
                      <a:pt x="9901" y="156591"/>
                      <a:pt x="9520" y="124397"/>
                    </a:cubicBezTo>
                    <a:cubicBezTo>
                      <a:pt x="9139" y="92202"/>
                      <a:pt x="8948" y="62865"/>
                      <a:pt x="9520" y="41720"/>
                    </a:cubicBezTo>
                    <a:cubicBezTo>
                      <a:pt x="9520" y="32195"/>
                      <a:pt x="9520" y="23336"/>
                      <a:pt x="9520" y="16669"/>
                    </a:cubicBezTo>
                    <a:cubicBezTo>
                      <a:pt x="9373" y="13479"/>
                      <a:pt x="9597" y="10282"/>
                      <a:pt x="10187" y="7144"/>
                    </a:cubicBezTo>
                    <a:cubicBezTo>
                      <a:pt x="10719" y="10290"/>
                      <a:pt x="10974" y="13478"/>
                      <a:pt x="10949" y="16669"/>
                    </a:cubicBezTo>
                    <a:cubicBezTo>
                      <a:pt x="10948" y="23336"/>
                      <a:pt x="11520" y="31718"/>
                      <a:pt x="11901" y="41720"/>
                    </a:cubicBezTo>
                    <a:cubicBezTo>
                      <a:pt x="12473" y="62865"/>
                      <a:pt x="13044" y="92012"/>
                      <a:pt x="13330" y="124301"/>
                    </a:cubicBezTo>
                    <a:cubicBezTo>
                      <a:pt x="13616" y="156591"/>
                      <a:pt x="13330" y="185928"/>
                      <a:pt x="11615" y="206978"/>
                    </a:cubicBezTo>
                    <a:cubicBezTo>
                      <a:pt x="10854" y="217551"/>
                      <a:pt x="9901" y="226028"/>
                      <a:pt x="9044" y="232029"/>
                    </a:cubicBezTo>
                    <a:cubicBezTo>
                      <a:pt x="8816" y="235187"/>
                      <a:pt x="8273" y="238314"/>
                      <a:pt x="7425" y="24136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1" name="Полилиния: фигура 320">
                <a:extLst>
                  <a:ext uri="{FF2B5EF4-FFF2-40B4-BE49-F238E27FC236}">
                    <a16:creationId xmlns:a16="http://schemas.microsoft.com/office/drawing/2014/main" id="{30584C4D-5D64-4354-ACC3-86156676CBB7}"/>
                  </a:ext>
                </a:extLst>
              </p:cNvPr>
              <p:cNvSpPr/>
              <p:nvPr/>
            </p:nvSpPr>
            <p:spPr>
              <a:xfrm>
                <a:off x="6602714" y="4485868"/>
                <a:ext cx="47625" cy="257175"/>
              </a:xfrm>
              <a:custGeom>
                <a:avLst/>
                <a:gdLst>
                  <a:gd name="connsiteX0" fmla="*/ 8316 w 47625"/>
                  <a:gd name="connsiteY0" fmla="*/ 171259 h 257175"/>
                  <a:gd name="connsiteX1" fmla="*/ 13365 w 47625"/>
                  <a:gd name="connsiteY1" fmla="*/ 7144 h 257175"/>
                  <a:gd name="connsiteX2" fmla="*/ 46988 w 47625"/>
                  <a:gd name="connsiteY2" fmla="*/ 174403 h 257175"/>
                  <a:gd name="connsiteX3" fmla="*/ 27938 w 47625"/>
                  <a:gd name="connsiteY3" fmla="*/ 258413 h 257175"/>
                  <a:gd name="connsiteX4" fmla="*/ 27938 w 47625"/>
                  <a:gd name="connsiteY4" fmla="*/ 258413 h 257175"/>
                  <a:gd name="connsiteX5" fmla="*/ 8316 w 47625"/>
                  <a:gd name="connsiteY5" fmla="*/ 171259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625" h="257175">
                    <a:moveTo>
                      <a:pt x="8316" y="171259"/>
                    </a:moveTo>
                    <a:cubicBezTo>
                      <a:pt x="14164" y="116762"/>
                      <a:pt x="15851" y="61898"/>
                      <a:pt x="13365" y="7144"/>
                    </a:cubicBezTo>
                    <a:cubicBezTo>
                      <a:pt x="29843" y="51435"/>
                      <a:pt x="37463" y="127635"/>
                      <a:pt x="46988" y="174403"/>
                    </a:cubicBezTo>
                    <a:lnTo>
                      <a:pt x="27938" y="258413"/>
                    </a:lnTo>
                    <a:lnTo>
                      <a:pt x="27938" y="258413"/>
                    </a:lnTo>
                    <a:cubicBezTo>
                      <a:pt x="11128" y="232667"/>
                      <a:pt x="4162" y="201725"/>
                      <a:pt x="8316" y="171259"/>
                    </a:cubicBez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2" name="Полилиния: фигура 321">
                <a:extLst>
                  <a:ext uri="{FF2B5EF4-FFF2-40B4-BE49-F238E27FC236}">
                    <a16:creationId xmlns:a16="http://schemas.microsoft.com/office/drawing/2014/main" id="{62C3F723-9B9E-43E7-8AB2-403EB7BB89BF}"/>
                  </a:ext>
                </a:extLst>
              </p:cNvPr>
              <p:cNvSpPr/>
              <p:nvPr/>
            </p:nvSpPr>
            <p:spPr>
              <a:xfrm>
                <a:off x="6423198" y="4172305"/>
                <a:ext cx="190500" cy="152400"/>
              </a:xfrm>
              <a:custGeom>
                <a:avLst/>
                <a:gdLst>
                  <a:gd name="connsiteX0" fmla="*/ 7144 w 190500"/>
                  <a:gd name="connsiteY0" fmla="*/ 126302 h 152400"/>
                  <a:gd name="connsiteX1" fmla="*/ 8763 w 190500"/>
                  <a:gd name="connsiteY1" fmla="*/ 122492 h 152400"/>
                  <a:gd name="connsiteX2" fmla="*/ 24955 w 190500"/>
                  <a:gd name="connsiteY2" fmla="*/ 92964 h 152400"/>
                  <a:gd name="connsiteX3" fmla="*/ 74581 w 190500"/>
                  <a:gd name="connsiteY3" fmla="*/ 145351 h 152400"/>
                  <a:gd name="connsiteX4" fmla="*/ 140684 w 190500"/>
                  <a:gd name="connsiteY4" fmla="*/ 72104 h 152400"/>
                  <a:gd name="connsiteX5" fmla="*/ 185547 w 190500"/>
                  <a:gd name="connsiteY5" fmla="*/ 7144 h 152400"/>
                  <a:gd name="connsiteX6" fmla="*/ 79914 w 190500"/>
                  <a:gd name="connsiteY6" fmla="*/ 119825 h 152400"/>
                  <a:gd name="connsiteX7" fmla="*/ 22764 w 190500"/>
                  <a:gd name="connsiteY7" fmla="*/ 58865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0500" h="152400">
                    <a:moveTo>
                      <a:pt x="7144" y="126302"/>
                    </a:moveTo>
                    <a:cubicBezTo>
                      <a:pt x="7715" y="125063"/>
                      <a:pt x="8191" y="123825"/>
                      <a:pt x="8763" y="122492"/>
                    </a:cubicBezTo>
                    <a:cubicBezTo>
                      <a:pt x="13253" y="112178"/>
                      <a:pt x="18673" y="102294"/>
                      <a:pt x="24955" y="92964"/>
                    </a:cubicBezTo>
                    <a:cubicBezTo>
                      <a:pt x="42676" y="109271"/>
                      <a:pt x="59257" y="126775"/>
                      <a:pt x="74581" y="145351"/>
                    </a:cubicBezTo>
                    <a:cubicBezTo>
                      <a:pt x="97345" y="121634"/>
                      <a:pt x="120110" y="97727"/>
                      <a:pt x="140684" y="72104"/>
                    </a:cubicBezTo>
                    <a:cubicBezTo>
                      <a:pt x="157173" y="51552"/>
                      <a:pt x="172166" y="29843"/>
                      <a:pt x="185547" y="7144"/>
                    </a:cubicBezTo>
                    <a:lnTo>
                      <a:pt x="79914" y="119825"/>
                    </a:lnTo>
                    <a:lnTo>
                      <a:pt x="22764" y="58865"/>
                    </a:ln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3" name="Полилиния: фигура 322">
                <a:extLst>
                  <a:ext uri="{FF2B5EF4-FFF2-40B4-BE49-F238E27FC236}">
                    <a16:creationId xmlns:a16="http://schemas.microsoft.com/office/drawing/2014/main" id="{B6531093-5665-422C-BA04-9C8618547708}"/>
                  </a:ext>
                </a:extLst>
              </p:cNvPr>
              <p:cNvSpPr/>
              <p:nvPr/>
            </p:nvSpPr>
            <p:spPr>
              <a:xfrm>
                <a:off x="6572168" y="4242163"/>
                <a:ext cx="180975" cy="76200"/>
              </a:xfrm>
              <a:custGeom>
                <a:avLst/>
                <a:gdLst>
                  <a:gd name="connsiteX0" fmla="*/ 7144 w 180975"/>
                  <a:gd name="connsiteY0" fmla="*/ 77208 h 76200"/>
                  <a:gd name="connsiteX1" fmla="*/ 10763 w 180975"/>
                  <a:gd name="connsiteY1" fmla="*/ 70350 h 76200"/>
                  <a:gd name="connsiteX2" fmla="*/ 23813 w 180975"/>
                  <a:gd name="connsiteY2" fmla="*/ 53776 h 76200"/>
                  <a:gd name="connsiteX3" fmla="*/ 46673 w 180975"/>
                  <a:gd name="connsiteY3" fmla="*/ 32440 h 76200"/>
                  <a:gd name="connsiteX4" fmla="*/ 79058 w 180975"/>
                  <a:gd name="connsiteY4" fmla="*/ 11580 h 76200"/>
                  <a:gd name="connsiteX5" fmla="*/ 117158 w 180975"/>
                  <a:gd name="connsiteY5" fmla="*/ 7675 h 76200"/>
                  <a:gd name="connsiteX6" fmla="*/ 148019 w 180975"/>
                  <a:gd name="connsiteY6" fmla="*/ 12342 h 76200"/>
                  <a:gd name="connsiteX7" fmla="*/ 168688 w 180975"/>
                  <a:gd name="connsiteY7" fmla="*/ 16438 h 76200"/>
                  <a:gd name="connsiteX8" fmla="*/ 176118 w 180975"/>
                  <a:gd name="connsiteY8" fmla="*/ 18343 h 76200"/>
                  <a:gd name="connsiteX9" fmla="*/ 168403 w 180975"/>
                  <a:gd name="connsiteY9" fmla="*/ 17772 h 76200"/>
                  <a:gd name="connsiteX10" fmla="*/ 147638 w 180975"/>
                  <a:gd name="connsiteY10" fmla="*/ 14914 h 76200"/>
                  <a:gd name="connsiteX11" fmla="*/ 116872 w 180975"/>
                  <a:gd name="connsiteY11" fmla="*/ 11009 h 76200"/>
                  <a:gd name="connsiteX12" fmla="*/ 80010 w 180975"/>
                  <a:gd name="connsiteY12" fmla="*/ 15009 h 76200"/>
                  <a:gd name="connsiteX13" fmla="*/ 48578 w 180975"/>
                  <a:gd name="connsiteY13" fmla="*/ 35012 h 76200"/>
                  <a:gd name="connsiteX14" fmla="*/ 25432 w 180975"/>
                  <a:gd name="connsiteY14" fmla="*/ 55586 h 76200"/>
                  <a:gd name="connsiteX15" fmla="*/ 7144 w 180975"/>
                  <a:gd name="connsiteY15" fmla="*/ 77208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80975" h="76200">
                    <a:moveTo>
                      <a:pt x="7144" y="77208"/>
                    </a:moveTo>
                    <a:cubicBezTo>
                      <a:pt x="8013" y="74759"/>
                      <a:pt x="9233" y="72449"/>
                      <a:pt x="10763" y="70350"/>
                    </a:cubicBezTo>
                    <a:cubicBezTo>
                      <a:pt x="14615" y="64451"/>
                      <a:pt x="18982" y="58904"/>
                      <a:pt x="23813" y="53776"/>
                    </a:cubicBezTo>
                    <a:cubicBezTo>
                      <a:pt x="30996" y="46210"/>
                      <a:pt x="38630" y="39086"/>
                      <a:pt x="46673" y="32440"/>
                    </a:cubicBezTo>
                    <a:cubicBezTo>
                      <a:pt x="56144" y="23620"/>
                      <a:pt x="67110" y="16557"/>
                      <a:pt x="79058" y="11580"/>
                    </a:cubicBezTo>
                    <a:cubicBezTo>
                      <a:pt x="91343" y="7621"/>
                      <a:pt x="104324" y="6290"/>
                      <a:pt x="117158" y="7675"/>
                    </a:cubicBezTo>
                    <a:cubicBezTo>
                      <a:pt x="127533" y="8582"/>
                      <a:pt x="137840" y="10141"/>
                      <a:pt x="148019" y="12342"/>
                    </a:cubicBezTo>
                    <a:cubicBezTo>
                      <a:pt x="156782" y="13962"/>
                      <a:pt x="163830" y="15390"/>
                      <a:pt x="168688" y="16438"/>
                    </a:cubicBezTo>
                    <a:cubicBezTo>
                      <a:pt x="171216" y="16852"/>
                      <a:pt x="173702" y="17490"/>
                      <a:pt x="176118" y="18343"/>
                    </a:cubicBezTo>
                    <a:cubicBezTo>
                      <a:pt x="173532" y="18534"/>
                      <a:pt x="170932" y="18342"/>
                      <a:pt x="168403" y="17772"/>
                    </a:cubicBezTo>
                    <a:cubicBezTo>
                      <a:pt x="163449" y="17200"/>
                      <a:pt x="156306" y="16248"/>
                      <a:pt x="147638" y="14914"/>
                    </a:cubicBezTo>
                    <a:cubicBezTo>
                      <a:pt x="138970" y="13581"/>
                      <a:pt x="128588" y="11676"/>
                      <a:pt x="116872" y="11009"/>
                    </a:cubicBezTo>
                    <a:cubicBezTo>
                      <a:pt x="104441" y="9830"/>
                      <a:pt x="91899" y="11191"/>
                      <a:pt x="80010" y="15009"/>
                    </a:cubicBezTo>
                    <a:cubicBezTo>
                      <a:pt x="68498" y="19891"/>
                      <a:pt x="57876" y="26651"/>
                      <a:pt x="48578" y="35012"/>
                    </a:cubicBezTo>
                    <a:cubicBezTo>
                      <a:pt x="39529" y="42442"/>
                      <a:pt x="31623" y="49395"/>
                      <a:pt x="25432" y="55586"/>
                    </a:cubicBezTo>
                    <a:cubicBezTo>
                      <a:pt x="13240" y="67683"/>
                      <a:pt x="7620" y="77208"/>
                      <a:pt x="7144" y="77208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4" name="Полилиния: фигура 323">
                <a:extLst>
                  <a:ext uri="{FF2B5EF4-FFF2-40B4-BE49-F238E27FC236}">
                    <a16:creationId xmlns:a16="http://schemas.microsoft.com/office/drawing/2014/main" id="{1D44C361-6363-4599-A51F-60E068FCF36D}"/>
                  </a:ext>
                </a:extLst>
              </p:cNvPr>
              <p:cNvSpPr/>
              <p:nvPr/>
            </p:nvSpPr>
            <p:spPr>
              <a:xfrm>
                <a:off x="6579671" y="4248208"/>
                <a:ext cx="285750" cy="638175"/>
              </a:xfrm>
              <a:custGeom>
                <a:avLst/>
                <a:gdLst>
                  <a:gd name="connsiteX0" fmla="*/ 208810 w 285750"/>
                  <a:gd name="connsiteY0" fmla="*/ 28777 h 638175"/>
                  <a:gd name="connsiteX1" fmla="*/ 254054 w 285750"/>
                  <a:gd name="connsiteY1" fmla="*/ 121550 h 638175"/>
                  <a:gd name="connsiteX2" fmla="*/ 269294 w 285750"/>
                  <a:gd name="connsiteY2" fmla="*/ 479024 h 638175"/>
                  <a:gd name="connsiteX3" fmla="*/ 252530 w 285750"/>
                  <a:gd name="connsiteY3" fmla="*/ 492644 h 638175"/>
                  <a:gd name="connsiteX4" fmla="*/ 276914 w 285750"/>
                  <a:gd name="connsiteY4" fmla="*/ 518552 h 638175"/>
                  <a:gd name="connsiteX5" fmla="*/ 255578 w 285750"/>
                  <a:gd name="connsiteY5" fmla="*/ 550461 h 638175"/>
                  <a:gd name="connsiteX6" fmla="*/ 243862 w 285750"/>
                  <a:gd name="connsiteY6" fmla="*/ 611326 h 638175"/>
                  <a:gd name="connsiteX7" fmla="*/ 200428 w 285750"/>
                  <a:gd name="connsiteY7" fmla="*/ 633710 h 638175"/>
                  <a:gd name="connsiteX8" fmla="*/ 70793 w 285750"/>
                  <a:gd name="connsiteY8" fmla="*/ 556843 h 638175"/>
                  <a:gd name="connsiteX9" fmla="*/ 50600 w 285750"/>
                  <a:gd name="connsiteY9" fmla="*/ 496073 h 638175"/>
                  <a:gd name="connsiteX10" fmla="*/ 59077 w 285750"/>
                  <a:gd name="connsiteY10" fmla="*/ 433113 h 638175"/>
                  <a:gd name="connsiteX11" fmla="*/ 57458 w 285750"/>
                  <a:gd name="connsiteY11" fmla="*/ 341673 h 638175"/>
                  <a:gd name="connsiteX12" fmla="*/ 15262 w 285750"/>
                  <a:gd name="connsiteY12" fmla="*/ 153554 h 638175"/>
                  <a:gd name="connsiteX13" fmla="*/ 38789 w 285750"/>
                  <a:gd name="connsiteY13" fmla="*/ 36968 h 638175"/>
                  <a:gd name="connsiteX14" fmla="*/ 208810 w 285750"/>
                  <a:gd name="connsiteY14" fmla="*/ 28777 h 638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5750" h="638175">
                    <a:moveTo>
                      <a:pt x="208810" y="28777"/>
                    </a:moveTo>
                    <a:cubicBezTo>
                      <a:pt x="208810" y="28777"/>
                      <a:pt x="247958" y="91166"/>
                      <a:pt x="254054" y="121550"/>
                    </a:cubicBezTo>
                    <a:cubicBezTo>
                      <a:pt x="260150" y="151935"/>
                      <a:pt x="275390" y="472928"/>
                      <a:pt x="269294" y="479024"/>
                    </a:cubicBezTo>
                    <a:cubicBezTo>
                      <a:pt x="264019" y="483936"/>
                      <a:pt x="258418" y="488487"/>
                      <a:pt x="252530" y="492644"/>
                    </a:cubicBezTo>
                    <a:cubicBezTo>
                      <a:pt x="252530" y="492644"/>
                      <a:pt x="287582" y="500264"/>
                      <a:pt x="276914" y="518552"/>
                    </a:cubicBezTo>
                    <a:cubicBezTo>
                      <a:pt x="270459" y="529613"/>
                      <a:pt x="263334" y="540269"/>
                      <a:pt x="255578" y="550461"/>
                    </a:cubicBezTo>
                    <a:cubicBezTo>
                      <a:pt x="255578" y="550461"/>
                      <a:pt x="250339" y="609802"/>
                      <a:pt x="243862" y="611326"/>
                    </a:cubicBezTo>
                    <a:cubicBezTo>
                      <a:pt x="237385" y="612850"/>
                      <a:pt x="200428" y="633710"/>
                      <a:pt x="200428" y="633710"/>
                    </a:cubicBezTo>
                    <a:cubicBezTo>
                      <a:pt x="200428" y="633710"/>
                      <a:pt x="113560" y="611421"/>
                      <a:pt x="70793" y="556843"/>
                    </a:cubicBezTo>
                    <a:cubicBezTo>
                      <a:pt x="54410" y="535888"/>
                      <a:pt x="50600" y="496073"/>
                      <a:pt x="50600" y="496073"/>
                    </a:cubicBezTo>
                    <a:lnTo>
                      <a:pt x="59077" y="433113"/>
                    </a:lnTo>
                    <a:cubicBezTo>
                      <a:pt x="63592" y="402753"/>
                      <a:pt x="63045" y="371854"/>
                      <a:pt x="57458" y="341673"/>
                    </a:cubicBezTo>
                    <a:lnTo>
                      <a:pt x="15262" y="153554"/>
                    </a:lnTo>
                    <a:cubicBezTo>
                      <a:pt x="15262" y="153554"/>
                      <a:pt x="-14075" y="70782"/>
                      <a:pt x="38789" y="36968"/>
                    </a:cubicBezTo>
                    <a:cubicBezTo>
                      <a:pt x="91653" y="3155"/>
                      <a:pt x="188522" y="-5037"/>
                      <a:pt x="208810" y="28777"/>
                    </a:cubicBez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5" name="Полилиния: фигура 324">
                <a:extLst>
                  <a:ext uri="{FF2B5EF4-FFF2-40B4-BE49-F238E27FC236}">
                    <a16:creationId xmlns:a16="http://schemas.microsoft.com/office/drawing/2014/main" id="{435B75DC-AF4A-4216-AB71-7DB8C21F193B}"/>
                  </a:ext>
                </a:extLst>
              </p:cNvPr>
              <p:cNvSpPr/>
              <p:nvPr/>
            </p:nvSpPr>
            <p:spPr>
              <a:xfrm>
                <a:off x="6699041" y="4670653"/>
                <a:ext cx="133350" cy="76200"/>
              </a:xfrm>
              <a:custGeom>
                <a:avLst/>
                <a:gdLst>
                  <a:gd name="connsiteX0" fmla="*/ 134874 w 133350"/>
                  <a:gd name="connsiteY0" fmla="*/ 68961 h 76200"/>
                  <a:gd name="connsiteX1" fmla="*/ 129540 w 133350"/>
                  <a:gd name="connsiteY1" fmla="*/ 71247 h 76200"/>
                  <a:gd name="connsiteX2" fmla="*/ 113634 w 133350"/>
                  <a:gd name="connsiteY2" fmla="*/ 73628 h 76200"/>
                  <a:gd name="connsiteX3" fmla="*/ 102680 w 133350"/>
                  <a:gd name="connsiteY3" fmla="*/ 70866 h 76200"/>
                  <a:gd name="connsiteX4" fmla="*/ 91631 w 133350"/>
                  <a:gd name="connsiteY4" fmla="*/ 64484 h 76200"/>
                  <a:gd name="connsiteX5" fmla="*/ 68389 w 133350"/>
                  <a:gd name="connsiteY5" fmla="*/ 47911 h 76200"/>
                  <a:gd name="connsiteX6" fmla="*/ 24955 w 133350"/>
                  <a:gd name="connsiteY6" fmla="*/ 19336 h 76200"/>
                  <a:gd name="connsiteX7" fmla="*/ 7144 w 133350"/>
                  <a:gd name="connsiteY7" fmla="*/ 7144 h 76200"/>
                  <a:gd name="connsiteX8" fmla="*/ 26194 w 133350"/>
                  <a:gd name="connsiteY8" fmla="*/ 16669 h 76200"/>
                  <a:gd name="connsiteX9" fmla="*/ 70390 w 133350"/>
                  <a:gd name="connsiteY9" fmla="*/ 44291 h 76200"/>
                  <a:gd name="connsiteX10" fmla="*/ 93440 w 133350"/>
                  <a:gd name="connsiteY10" fmla="*/ 61150 h 76200"/>
                  <a:gd name="connsiteX11" fmla="*/ 113729 w 133350"/>
                  <a:gd name="connsiteY11" fmla="*/ 70675 h 76200"/>
                  <a:gd name="connsiteX12" fmla="*/ 129064 w 133350"/>
                  <a:gd name="connsiteY12" fmla="*/ 69437 h 76200"/>
                  <a:gd name="connsiteX13" fmla="*/ 134874 w 133350"/>
                  <a:gd name="connsiteY13" fmla="*/ 68961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3350" h="76200">
                    <a:moveTo>
                      <a:pt x="134874" y="68961"/>
                    </a:moveTo>
                    <a:cubicBezTo>
                      <a:pt x="134874" y="68961"/>
                      <a:pt x="133065" y="70104"/>
                      <a:pt x="129540" y="71247"/>
                    </a:cubicBezTo>
                    <a:cubicBezTo>
                      <a:pt x="124392" y="72856"/>
                      <a:pt x="119027" y="73659"/>
                      <a:pt x="113634" y="73628"/>
                    </a:cubicBezTo>
                    <a:cubicBezTo>
                      <a:pt x="109835" y="73446"/>
                      <a:pt x="106111" y="72506"/>
                      <a:pt x="102680" y="70866"/>
                    </a:cubicBezTo>
                    <a:cubicBezTo>
                      <a:pt x="98848" y="69007"/>
                      <a:pt x="95156" y="66874"/>
                      <a:pt x="91631" y="64484"/>
                    </a:cubicBezTo>
                    <a:cubicBezTo>
                      <a:pt x="84201" y="59531"/>
                      <a:pt x="76676" y="53626"/>
                      <a:pt x="68389" y="47911"/>
                    </a:cubicBezTo>
                    <a:cubicBezTo>
                      <a:pt x="51721" y="36386"/>
                      <a:pt x="36195" y="26670"/>
                      <a:pt x="24955" y="19336"/>
                    </a:cubicBezTo>
                    <a:cubicBezTo>
                      <a:pt x="18687" y="15777"/>
                      <a:pt x="12729" y="11699"/>
                      <a:pt x="7144" y="7144"/>
                    </a:cubicBezTo>
                    <a:cubicBezTo>
                      <a:pt x="13761" y="9754"/>
                      <a:pt x="20135" y="12942"/>
                      <a:pt x="26194" y="16669"/>
                    </a:cubicBezTo>
                    <a:cubicBezTo>
                      <a:pt x="37815" y="23336"/>
                      <a:pt x="53626" y="32671"/>
                      <a:pt x="70390" y="44291"/>
                    </a:cubicBezTo>
                    <a:cubicBezTo>
                      <a:pt x="78772" y="50102"/>
                      <a:pt x="86392" y="56197"/>
                      <a:pt x="93440" y="61150"/>
                    </a:cubicBezTo>
                    <a:cubicBezTo>
                      <a:pt x="99272" y="66016"/>
                      <a:pt x="106260" y="69296"/>
                      <a:pt x="113729" y="70675"/>
                    </a:cubicBezTo>
                    <a:cubicBezTo>
                      <a:pt x="118871" y="70856"/>
                      <a:pt x="124017" y="70440"/>
                      <a:pt x="129064" y="69437"/>
                    </a:cubicBezTo>
                    <a:cubicBezTo>
                      <a:pt x="130977" y="69068"/>
                      <a:pt x="132926" y="68908"/>
                      <a:pt x="134874" y="6896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6" name="Полилиния: фигура 325">
                <a:extLst>
                  <a:ext uri="{FF2B5EF4-FFF2-40B4-BE49-F238E27FC236}">
                    <a16:creationId xmlns:a16="http://schemas.microsoft.com/office/drawing/2014/main" id="{FEF277C5-31A2-4841-BCD3-46487CC0BA11}"/>
                  </a:ext>
                </a:extLst>
              </p:cNvPr>
              <p:cNvSpPr/>
              <p:nvPr/>
            </p:nvSpPr>
            <p:spPr>
              <a:xfrm>
                <a:off x="6685421" y="4696085"/>
                <a:ext cx="152400" cy="104775"/>
              </a:xfrm>
              <a:custGeom>
                <a:avLst/>
                <a:gdLst>
                  <a:gd name="connsiteX0" fmla="*/ 149447 w 152400"/>
                  <a:gd name="connsiteY0" fmla="*/ 102584 h 104775"/>
                  <a:gd name="connsiteX1" fmla="*/ 142684 w 152400"/>
                  <a:gd name="connsiteY1" fmla="*/ 104204 h 104775"/>
                  <a:gd name="connsiteX2" fmla="*/ 123634 w 152400"/>
                  <a:gd name="connsiteY2" fmla="*/ 100775 h 104775"/>
                  <a:gd name="connsiteX3" fmla="*/ 70866 w 152400"/>
                  <a:gd name="connsiteY3" fmla="*/ 67533 h 104775"/>
                  <a:gd name="connsiteX4" fmla="*/ 24670 w 152400"/>
                  <a:gd name="connsiteY4" fmla="*/ 26004 h 104775"/>
                  <a:gd name="connsiteX5" fmla="*/ 11525 w 152400"/>
                  <a:gd name="connsiteY5" fmla="*/ 12478 h 104775"/>
                  <a:gd name="connsiteX6" fmla="*/ 7144 w 152400"/>
                  <a:gd name="connsiteY6" fmla="*/ 7144 h 104775"/>
                  <a:gd name="connsiteX7" fmla="*/ 26194 w 152400"/>
                  <a:gd name="connsiteY7" fmla="*/ 24098 h 104775"/>
                  <a:gd name="connsiteX8" fmla="*/ 72866 w 152400"/>
                  <a:gd name="connsiteY8" fmla="*/ 64675 h 104775"/>
                  <a:gd name="connsiteX9" fmla="*/ 124396 w 152400"/>
                  <a:gd name="connsiteY9" fmla="*/ 98488 h 104775"/>
                  <a:gd name="connsiteX10" fmla="*/ 142018 w 152400"/>
                  <a:gd name="connsiteY10" fmla="*/ 102775 h 104775"/>
                  <a:gd name="connsiteX11" fmla="*/ 149447 w 152400"/>
                  <a:gd name="connsiteY11" fmla="*/ 10258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2400" h="104775">
                    <a:moveTo>
                      <a:pt x="149447" y="102584"/>
                    </a:moveTo>
                    <a:cubicBezTo>
                      <a:pt x="147340" y="103616"/>
                      <a:pt x="145031" y="104169"/>
                      <a:pt x="142684" y="104204"/>
                    </a:cubicBezTo>
                    <a:cubicBezTo>
                      <a:pt x="136142" y="104792"/>
                      <a:pt x="129561" y="103608"/>
                      <a:pt x="123634" y="100775"/>
                    </a:cubicBezTo>
                    <a:cubicBezTo>
                      <a:pt x="104952" y="91532"/>
                      <a:pt x="87270" y="80392"/>
                      <a:pt x="70866" y="67533"/>
                    </a:cubicBezTo>
                    <a:cubicBezTo>
                      <a:pt x="54629" y="54651"/>
                      <a:pt x="39202" y="40782"/>
                      <a:pt x="24670" y="26004"/>
                    </a:cubicBezTo>
                    <a:cubicBezTo>
                      <a:pt x="19050" y="20384"/>
                      <a:pt x="14574" y="15716"/>
                      <a:pt x="11525" y="12478"/>
                    </a:cubicBezTo>
                    <a:cubicBezTo>
                      <a:pt x="9855" y="10883"/>
                      <a:pt x="8384" y="9092"/>
                      <a:pt x="7144" y="7144"/>
                    </a:cubicBezTo>
                    <a:cubicBezTo>
                      <a:pt x="13864" y="12365"/>
                      <a:pt x="20228" y="18029"/>
                      <a:pt x="26194" y="24098"/>
                    </a:cubicBezTo>
                    <a:cubicBezTo>
                      <a:pt x="37815" y="34862"/>
                      <a:pt x="53911" y="49816"/>
                      <a:pt x="72866" y="64675"/>
                    </a:cubicBezTo>
                    <a:cubicBezTo>
                      <a:pt x="89136" y="77271"/>
                      <a:pt x="106365" y="88577"/>
                      <a:pt x="124396" y="98488"/>
                    </a:cubicBezTo>
                    <a:cubicBezTo>
                      <a:pt x="129848" y="101290"/>
                      <a:pt x="135888" y="102759"/>
                      <a:pt x="142018" y="102775"/>
                    </a:cubicBezTo>
                    <a:cubicBezTo>
                      <a:pt x="144485" y="102514"/>
                      <a:pt x="146970" y="102450"/>
                      <a:pt x="149447" y="10258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7" name="Полилиния: фигура 326">
                <a:extLst>
                  <a:ext uri="{FF2B5EF4-FFF2-40B4-BE49-F238E27FC236}">
                    <a16:creationId xmlns:a16="http://schemas.microsoft.com/office/drawing/2014/main" id="{DD74C81D-A534-410E-9D16-3FB4DB6EEE4F}"/>
                  </a:ext>
                </a:extLst>
              </p:cNvPr>
              <p:cNvSpPr/>
              <p:nvPr/>
            </p:nvSpPr>
            <p:spPr>
              <a:xfrm>
                <a:off x="6700566" y="4672558"/>
                <a:ext cx="133350" cy="95250"/>
              </a:xfrm>
              <a:custGeom>
                <a:avLst/>
                <a:gdLst>
                  <a:gd name="connsiteX0" fmla="*/ 7144 w 133350"/>
                  <a:gd name="connsiteY0" fmla="*/ 7144 h 95250"/>
                  <a:gd name="connsiteX1" fmla="*/ 32957 w 133350"/>
                  <a:gd name="connsiteY1" fmla="*/ 34480 h 95250"/>
                  <a:gd name="connsiteX2" fmla="*/ 78200 w 133350"/>
                  <a:gd name="connsiteY2" fmla="*/ 74009 h 95250"/>
                  <a:gd name="connsiteX3" fmla="*/ 108585 w 133350"/>
                  <a:gd name="connsiteY3" fmla="*/ 88011 h 95250"/>
                  <a:gd name="connsiteX4" fmla="*/ 124396 w 133350"/>
                  <a:gd name="connsiteY4" fmla="*/ 80582 h 95250"/>
                  <a:gd name="connsiteX5" fmla="*/ 132397 w 133350"/>
                  <a:gd name="connsiteY5" fmla="*/ 67818 h 95250"/>
                  <a:gd name="connsiteX6" fmla="*/ 94297 w 133350"/>
                  <a:gd name="connsiteY6" fmla="*/ 63723 h 95250"/>
                  <a:gd name="connsiteX7" fmla="*/ 80486 w 133350"/>
                  <a:gd name="connsiteY7" fmla="*/ 52483 h 95250"/>
                  <a:gd name="connsiteX8" fmla="*/ 8001 w 133350"/>
                  <a:gd name="connsiteY8" fmla="*/ 8001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3350" h="95250">
                    <a:moveTo>
                      <a:pt x="7144" y="7144"/>
                    </a:moveTo>
                    <a:cubicBezTo>
                      <a:pt x="14351" y="17480"/>
                      <a:pt x="23050" y="26693"/>
                      <a:pt x="32957" y="34480"/>
                    </a:cubicBezTo>
                    <a:lnTo>
                      <a:pt x="78200" y="74009"/>
                    </a:lnTo>
                    <a:cubicBezTo>
                      <a:pt x="86868" y="81534"/>
                      <a:pt x="97250" y="89630"/>
                      <a:pt x="108585" y="88011"/>
                    </a:cubicBezTo>
                    <a:cubicBezTo>
                      <a:pt x="114359" y="86793"/>
                      <a:pt x="119772" y="84250"/>
                      <a:pt x="124396" y="80582"/>
                    </a:cubicBezTo>
                    <a:cubicBezTo>
                      <a:pt x="128778" y="77534"/>
                      <a:pt x="133921" y="73057"/>
                      <a:pt x="132397" y="67818"/>
                    </a:cubicBezTo>
                    <a:cubicBezTo>
                      <a:pt x="119725" y="72232"/>
                      <a:pt x="105741" y="70729"/>
                      <a:pt x="94297" y="63723"/>
                    </a:cubicBezTo>
                    <a:cubicBezTo>
                      <a:pt x="89400" y="60351"/>
                      <a:pt x="84782" y="56592"/>
                      <a:pt x="80486" y="52483"/>
                    </a:cubicBezTo>
                    <a:cubicBezTo>
                      <a:pt x="58269" y="34698"/>
                      <a:pt x="33919" y="19755"/>
                      <a:pt x="8001" y="8001"/>
                    </a:cubicBezTo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8" name="Полилиния: фигура 327">
                <a:extLst>
                  <a:ext uri="{FF2B5EF4-FFF2-40B4-BE49-F238E27FC236}">
                    <a16:creationId xmlns:a16="http://schemas.microsoft.com/office/drawing/2014/main" id="{51BAABB1-340E-42E0-ABA2-D026F435E878}"/>
                  </a:ext>
                </a:extLst>
              </p:cNvPr>
              <p:cNvSpPr/>
              <p:nvPr/>
            </p:nvSpPr>
            <p:spPr>
              <a:xfrm>
                <a:off x="6537974" y="4798002"/>
                <a:ext cx="238125" cy="600075"/>
              </a:xfrm>
              <a:custGeom>
                <a:avLst/>
                <a:gdLst>
                  <a:gd name="connsiteX0" fmla="*/ 112490 w 238125"/>
                  <a:gd name="connsiteY0" fmla="*/ 7144 h 600075"/>
                  <a:gd name="connsiteX1" fmla="*/ 83915 w 238125"/>
                  <a:gd name="connsiteY1" fmla="*/ 416719 h 600075"/>
                  <a:gd name="connsiteX2" fmla="*/ 50102 w 238125"/>
                  <a:gd name="connsiteY2" fmla="*/ 457105 h 600075"/>
                  <a:gd name="connsiteX3" fmla="*/ 7144 w 238125"/>
                  <a:gd name="connsiteY3" fmla="*/ 576739 h 600075"/>
                  <a:gd name="connsiteX4" fmla="*/ 32766 w 238125"/>
                  <a:gd name="connsiteY4" fmla="*/ 576739 h 600075"/>
                  <a:gd name="connsiteX5" fmla="*/ 43529 w 238125"/>
                  <a:gd name="connsiteY5" fmla="*/ 551974 h 600075"/>
                  <a:gd name="connsiteX6" fmla="*/ 57626 w 238125"/>
                  <a:gd name="connsiteY6" fmla="*/ 593312 h 600075"/>
                  <a:gd name="connsiteX7" fmla="*/ 75724 w 238125"/>
                  <a:gd name="connsiteY7" fmla="*/ 593312 h 600075"/>
                  <a:gd name="connsiteX8" fmla="*/ 78962 w 238125"/>
                  <a:gd name="connsiteY8" fmla="*/ 580930 h 600075"/>
                  <a:gd name="connsiteX9" fmla="*/ 92202 w 238125"/>
                  <a:gd name="connsiteY9" fmla="*/ 594360 h 600075"/>
                  <a:gd name="connsiteX10" fmla="*/ 108109 w 238125"/>
                  <a:gd name="connsiteY10" fmla="*/ 577596 h 600075"/>
                  <a:gd name="connsiteX11" fmla="*/ 120301 w 238125"/>
                  <a:gd name="connsiteY11" fmla="*/ 590836 h 600075"/>
                  <a:gd name="connsiteX12" fmla="*/ 134493 w 238125"/>
                  <a:gd name="connsiteY12" fmla="*/ 570643 h 600075"/>
                  <a:gd name="connsiteX13" fmla="*/ 163735 w 238125"/>
                  <a:gd name="connsiteY13" fmla="*/ 566833 h 600075"/>
                  <a:gd name="connsiteX14" fmla="*/ 178022 w 238125"/>
                  <a:gd name="connsiteY14" fmla="*/ 529685 h 600075"/>
                  <a:gd name="connsiteX15" fmla="*/ 178022 w 238125"/>
                  <a:gd name="connsiteY15" fmla="*/ 423291 h 600075"/>
                  <a:gd name="connsiteX16" fmla="*/ 235172 w 238125"/>
                  <a:gd name="connsiteY16" fmla="*/ 81344 h 600075"/>
                  <a:gd name="connsiteX17" fmla="*/ 112490 w 238125"/>
                  <a:gd name="connsiteY17" fmla="*/ 7144 h 600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38125" h="600075">
                    <a:moveTo>
                      <a:pt x="112490" y="7144"/>
                    </a:moveTo>
                    <a:cubicBezTo>
                      <a:pt x="112490" y="7144"/>
                      <a:pt x="86487" y="407861"/>
                      <a:pt x="83915" y="416719"/>
                    </a:cubicBezTo>
                    <a:cubicBezTo>
                      <a:pt x="81343" y="425577"/>
                      <a:pt x="55912" y="452152"/>
                      <a:pt x="50102" y="457105"/>
                    </a:cubicBezTo>
                    <a:cubicBezTo>
                      <a:pt x="44291" y="462058"/>
                      <a:pt x="7144" y="576739"/>
                      <a:pt x="7144" y="576739"/>
                    </a:cubicBezTo>
                    <a:cubicBezTo>
                      <a:pt x="7144" y="576739"/>
                      <a:pt x="22003" y="590836"/>
                      <a:pt x="32766" y="576739"/>
                    </a:cubicBezTo>
                    <a:cubicBezTo>
                      <a:pt x="38801" y="569778"/>
                      <a:pt x="42558" y="561135"/>
                      <a:pt x="43529" y="551974"/>
                    </a:cubicBezTo>
                    <a:cubicBezTo>
                      <a:pt x="43529" y="551974"/>
                      <a:pt x="52006" y="590836"/>
                      <a:pt x="57626" y="593312"/>
                    </a:cubicBezTo>
                    <a:cubicBezTo>
                      <a:pt x="63587" y="594624"/>
                      <a:pt x="69763" y="594624"/>
                      <a:pt x="75724" y="593312"/>
                    </a:cubicBezTo>
                    <a:lnTo>
                      <a:pt x="78962" y="580930"/>
                    </a:lnTo>
                    <a:cubicBezTo>
                      <a:pt x="78962" y="580930"/>
                      <a:pt x="82296" y="597122"/>
                      <a:pt x="92202" y="594360"/>
                    </a:cubicBezTo>
                    <a:cubicBezTo>
                      <a:pt x="102108" y="591598"/>
                      <a:pt x="108109" y="577596"/>
                      <a:pt x="108109" y="577596"/>
                    </a:cubicBezTo>
                    <a:cubicBezTo>
                      <a:pt x="108109" y="577596"/>
                      <a:pt x="109061" y="594741"/>
                      <a:pt x="120301" y="590836"/>
                    </a:cubicBezTo>
                    <a:cubicBezTo>
                      <a:pt x="131540" y="586930"/>
                      <a:pt x="134493" y="570643"/>
                      <a:pt x="134493" y="570643"/>
                    </a:cubicBezTo>
                    <a:cubicBezTo>
                      <a:pt x="134493" y="570643"/>
                      <a:pt x="161830" y="575120"/>
                      <a:pt x="163735" y="566833"/>
                    </a:cubicBezTo>
                    <a:cubicBezTo>
                      <a:pt x="165639" y="558546"/>
                      <a:pt x="178022" y="529685"/>
                      <a:pt x="178022" y="529685"/>
                    </a:cubicBezTo>
                    <a:lnTo>
                      <a:pt x="178022" y="423291"/>
                    </a:lnTo>
                    <a:lnTo>
                      <a:pt x="235172" y="81344"/>
                    </a:lnTo>
                    <a:cubicBezTo>
                      <a:pt x="235172" y="81344"/>
                      <a:pt x="146399" y="26194"/>
                      <a:pt x="112490" y="7144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9" name="Полилиния: фигура 328">
                <a:extLst>
                  <a:ext uri="{FF2B5EF4-FFF2-40B4-BE49-F238E27FC236}">
                    <a16:creationId xmlns:a16="http://schemas.microsoft.com/office/drawing/2014/main" id="{AC63EE5F-D0AD-483F-9ED3-4905A6B2C00A}"/>
                  </a:ext>
                </a:extLst>
              </p:cNvPr>
              <p:cNvSpPr/>
              <p:nvPr/>
            </p:nvSpPr>
            <p:spPr>
              <a:xfrm>
                <a:off x="6587694" y="4418717"/>
                <a:ext cx="247650" cy="466725"/>
              </a:xfrm>
              <a:custGeom>
                <a:avLst/>
                <a:gdLst>
                  <a:gd name="connsiteX0" fmla="*/ 247174 w 247650"/>
                  <a:gd name="connsiteY0" fmla="*/ 379952 h 466725"/>
                  <a:gd name="connsiteX1" fmla="*/ 247174 w 247650"/>
                  <a:gd name="connsiteY1" fmla="*/ 387763 h 466725"/>
                  <a:gd name="connsiteX2" fmla="*/ 244888 w 247650"/>
                  <a:gd name="connsiteY2" fmla="*/ 409956 h 466725"/>
                  <a:gd name="connsiteX3" fmla="*/ 243174 w 247650"/>
                  <a:gd name="connsiteY3" fmla="*/ 425863 h 466725"/>
                  <a:gd name="connsiteX4" fmla="*/ 241173 w 247650"/>
                  <a:gd name="connsiteY4" fmla="*/ 435388 h 466725"/>
                  <a:gd name="connsiteX5" fmla="*/ 234029 w 247650"/>
                  <a:gd name="connsiteY5" fmla="*/ 443198 h 466725"/>
                  <a:gd name="connsiteX6" fmla="*/ 193263 w 247650"/>
                  <a:gd name="connsiteY6" fmla="*/ 465106 h 466725"/>
                  <a:gd name="connsiteX7" fmla="*/ 192500 w 247650"/>
                  <a:gd name="connsiteY7" fmla="*/ 465106 h 466725"/>
                  <a:gd name="connsiteX8" fmla="*/ 191738 w 247650"/>
                  <a:gd name="connsiteY8" fmla="*/ 465106 h 466725"/>
                  <a:gd name="connsiteX9" fmla="*/ 129730 w 247650"/>
                  <a:gd name="connsiteY9" fmla="*/ 432340 h 466725"/>
                  <a:gd name="connsiteX10" fmla="*/ 61341 w 247650"/>
                  <a:gd name="connsiteY10" fmla="*/ 388429 h 466725"/>
                  <a:gd name="connsiteX11" fmla="*/ 61341 w 247650"/>
                  <a:gd name="connsiteY11" fmla="*/ 388429 h 466725"/>
                  <a:gd name="connsiteX12" fmla="*/ 44958 w 247650"/>
                  <a:gd name="connsiteY12" fmla="*/ 359854 h 466725"/>
                  <a:gd name="connsiteX13" fmla="*/ 42101 w 247650"/>
                  <a:gd name="connsiteY13" fmla="*/ 326803 h 466725"/>
                  <a:gd name="connsiteX14" fmla="*/ 46768 w 247650"/>
                  <a:gd name="connsiteY14" fmla="*/ 293465 h 466725"/>
                  <a:gd name="connsiteX15" fmla="*/ 51245 w 247650"/>
                  <a:gd name="connsiteY15" fmla="*/ 261557 h 466725"/>
                  <a:gd name="connsiteX16" fmla="*/ 51245 w 247650"/>
                  <a:gd name="connsiteY16" fmla="*/ 200787 h 466725"/>
                  <a:gd name="connsiteX17" fmla="*/ 33147 w 247650"/>
                  <a:gd name="connsiteY17" fmla="*/ 99060 h 466725"/>
                  <a:gd name="connsiteX18" fmla="*/ 14097 w 247650"/>
                  <a:gd name="connsiteY18" fmla="*/ 31909 h 466725"/>
                  <a:gd name="connsiteX19" fmla="*/ 8763 w 247650"/>
                  <a:gd name="connsiteY19" fmla="*/ 13621 h 466725"/>
                  <a:gd name="connsiteX20" fmla="*/ 7144 w 247650"/>
                  <a:gd name="connsiteY20" fmla="*/ 7144 h 466725"/>
                  <a:gd name="connsiteX21" fmla="*/ 9716 w 247650"/>
                  <a:gd name="connsiteY21" fmla="*/ 13335 h 466725"/>
                  <a:gd name="connsiteX22" fmla="*/ 16002 w 247650"/>
                  <a:gd name="connsiteY22" fmla="*/ 31337 h 466725"/>
                  <a:gd name="connsiteX23" fmla="*/ 36672 w 247650"/>
                  <a:gd name="connsiteY23" fmla="*/ 98012 h 466725"/>
                  <a:gd name="connsiteX24" fmla="*/ 55722 w 247650"/>
                  <a:gd name="connsiteY24" fmla="*/ 200215 h 466725"/>
                  <a:gd name="connsiteX25" fmla="*/ 55722 w 247650"/>
                  <a:gd name="connsiteY25" fmla="*/ 261842 h 466725"/>
                  <a:gd name="connsiteX26" fmla="*/ 46197 w 247650"/>
                  <a:gd name="connsiteY26" fmla="*/ 326898 h 466725"/>
                  <a:gd name="connsiteX27" fmla="*/ 48864 w 247650"/>
                  <a:gd name="connsiteY27" fmla="*/ 358521 h 466725"/>
                  <a:gd name="connsiteX28" fmla="*/ 62865 w 247650"/>
                  <a:gd name="connsiteY28" fmla="*/ 384048 h 466725"/>
                  <a:gd name="connsiteX29" fmla="*/ 62865 w 247650"/>
                  <a:gd name="connsiteY29" fmla="*/ 384048 h 466725"/>
                  <a:gd name="connsiteX30" fmla="*/ 130873 w 247650"/>
                  <a:gd name="connsiteY30" fmla="*/ 428149 h 466725"/>
                  <a:gd name="connsiteX31" fmla="*/ 191738 w 247650"/>
                  <a:gd name="connsiteY31" fmla="*/ 461200 h 466725"/>
                  <a:gd name="connsiteX32" fmla="*/ 190310 w 247650"/>
                  <a:gd name="connsiteY32" fmla="*/ 461200 h 466725"/>
                  <a:gd name="connsiteX33" fmla="*/ 231267 w 247650"/>
                  <a:gd name="connsiteY33" fmla="*/ 439960 h 466725"/>
                  <a:gd name="connsiteX34" fmla="*/ 237459 w 247650"/>
                  <a:gd name="connsiteY34" fmla="*/ 433673 h 466725"/>
                  <a:gd name="connsiteX35" fmla="*/ 239364 w 247650"/>
                  <a:gd name="connsiteY35" fmla="*/ 425196 h 466725"/>
                  <a:gd name="connsiteX36" fmla="*/ 241554 w 247650"/>
                  <a:gd name="connsiteY36" fmla="*/ 409289 h 466725"/>
                  <a:gd name="connsiteX37" fmla="*/ 244793 w 247650"/>
                  <a:gd name="connsiteY37" fmla="*/ 387286 h 466725"/>
                  <a:gd name="connsiteX38" fmla="*/ 247174 w 247650"/>
                  <a:gd name="connsiteY38" fmla="*/ 379952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47650" h="466725">
                    <a:moveTo>
                      <a:pt x="247174" y="379952"/>
                    </a:moveTo>
                    <a:cubicBezTo>
                      <a:pt x="247448" y="382549"/>
                      <a:pt x="247448" y="385166"/>
                      <a:pt x="247174" y="387763"/>
                    </a:cubicBezTo>
                    <a:lnTo>
                      <a:pt x="244888" y="409956"/>
                    </a:lnTo>
                    <a:cubicBezTo>
                      <a:pt x="244316" y="414814"/>
                      <a:pt x="243745" y="420052"/>
                      <a:pt x="243174" y="425863"/>
                    </a:cubicBezTo>
                    <a:cubicBezTo>
                      <a:pt x="243040" y="429127"/>
                      <a:pt x="242364" y="432346"/>
                      <a:pt x="241173" y="435388"/>
                    </a:cubicBezTo>
                    <a:cubicBezTo>
                      <a:pt x="239675" y="438679"/>
                      <a:pt x="237174" y="441413"/>
                      <a:pt x="234029" y="443198"/>
                    </a:cubicBezTo>
                    <a:lnTo>
                      <a:pt x="193263" y="465106"/>
                    </a:lnTo>
                    <a:lnTo>
                      <a:pt x="192500" y="465106"/>
                    </a:lnTo>
                    <a:lnTo>
                      <a:pt x="191738" y="465106"/>
                    </a:lnTo>
                    <a:cubicBezTo>
                      <a:pt x="170227" y="455858"/>
                      <a:pt x="149491" y="444901"/>
                      <a:pt x="129730" y="432340"/>
                    </a:cubicBezTo>
                    <a:cubicBezTo>
                      <a:pt x="108014" y="419195"/>
                      <a:pt x="85058" y="404527"/>
                      <a:pt x="61341" y="388429"/>
                    </a:cubicBezTo>
                    <a:lnTo>
                      <a:pt x="61341" y="388429"/>
                    </a:lnTo>
                    <a:cubicBezTo>
                      <a:pt x="52792" y="381042"/>
                      <a:pt x="47014" y="370964"/>
                      <a:pt x="44958" y="359854"/>
                    </a:cubicBezTo>
                    <a:cubicBezTo>
                      <a:pt x="42192" y="349070"/>
                      <a:pt x="41226" y="337902"/>
                      <a:pt x="42101" y="326803"/>
                    </a:cubicBezTo>
                    <a:cubicBezTo>
                      <a:pt x="43056" y="315614"/>
                      <a:pt x="44614" y="304486"/>
                      <a:pt x="46768" y="293465"/>
                    </a:cubicBezTo>
                    <a:cubicBezTo>
                      <a:pt x="48863" y="282702"/>
                      <a:pt x="50102" y="272129"/>
                      <a:pt x="51245" y="261557"/>
                    </a:cubicBezTo>
                    <a:cubicBezTo>
                      <a:pt x="53006" y="241338"/>
                      <a:pt x="53006" y="221005"/>
                      <a:pt x="51245" y="200787"/>
                    </a:cubicBezTo>
                    <a:cubicBezTo>
                      <a:pt x="48194" y="166415"/>
                      <a:pt x="42138" y="132376"/>
                      <a:pt x="33147" y="99060"/>
                    </a:cubicBezTo>
                    <a:cubicBezTo>
                      <a:pt x="25718" y="70485"/>
                      <a:pt x="18669" y="47720"/>
                      <a:pt x="14097" y="31909"/>
                    </a:cubicBezTo>
                    <a:lnTo>
                      <a:pt x="8763" y="13621"/>
                    </a:lnTo>
                    <a:cubicBezTo>
                      <a:pt x="7972" y="11532"/>
                      <a:pt x="7429" y="9359"/>
                      <a:pt x="7144" y="7144"/>
                    </a:cubicBezTo>
                    <a:cubicBezTo>
                      <a:pt x="8203" y="9118"/>
                      <a:pt x="9065" y="11192"/>
                      <a:pt x="9716" y="13335"/>
                    </a:cubicBezTo>
                    <a:cubicBezTo>
                      <a:pt x="11335" y="17907"/>
                      <a:pt x="13335" y="23908"/>
                      <a:pt x="16002" y="31337"/>
                    </a:cubicBezTo>
                    <a:cubicBezTo>
                      <a:pt x="21241" y="46958"/>
                      <a:pt x="28861" y="69437"/>
                      <a:pt x="36672" y="98012"/>
                    </a:cubicBezTo>
                    <a:cubicBezTo>
                      <a:pt x="46157" y="131420"/>
                      <a:pt x="52534" y="165634"/>
                      <a:pt x="55722" y="200215"/>
                    </a:cubicBezTo>
                    <a:cubicBezTo>
                      <a:pt x="57488" y="220720"/>
                      <a:pt x="57488" y="241338"/>
                      <a:pt x="55722" y="261842"/>
                    </a:cubicBezTo>
                    <a:cubicBezTo>
                      <a:pt x="54102" y="283274"/>
                      <a:pt x="48387" y="304895"/>
                      <a:pt x="46197" y="326898"/>
                    </a:cubicBezTo>
                    <a:cubicBezTo>
                      <a:pt x="45397" y="337514"/>
                      <a:pt x="46297" y="348189"/>
                      <a:pt x="48864" y="358521"/>
                    </a:cubicBezTo>
                    <a:cubicBezTo>
                      <a:pt x="50709" y="368299"/>
                      <a:pt x="55612" y="377237"/>
                      <a:pt x="62865" y="384048"/>
                    </a:cubicBezTo>
                    <a:lnTo>
                      <a:pt x="62865" y="384048"/>
                    </a:lnTo>
                    <a:cubicBezTo>
                      <a:pt x="86392" y="400145"/>
                      <a:pt x="109347" y="414909"/>
                      <a:pt x="130873" y="428149"/>
                    </a:cubicBezTo>
                    <a:cubicBezTo>
                      <a:pt x="150261" y="440750"/>
                      <a:pt x="170612" y="451802"/>
                      <a:pt x="191738" y="461200"/>
                    </a:cubicBezTo>
                    <a:lnTo>
                      <a:pt x="190310" y="461200"/>
                    </a:lnTo>
                    <a:lnTo>
                      <a:pt x="231267" y="439960"/>
                    </a:lnTo>
                    <a:cubicBezTo>
                      <a:pt x="233951" y="438581"/>
                      <a:pt x="236120" y="436377"/>
                      <a:pt x="237459" y="433673"/>
                    </a:cubicBezTo>
                    <a:cubicBezTo>
                      <a:pt x="238538" y="430966"/>
                      <a:pt x="239181" y="428105"/>
                      <a:pt x="239364" y="425196"/>
                    </a:cubicBezTo>
                    <a:cubicBezTo>
                      <a:pt x="240221" y="419386"/>
                      <a:pt x="240888" y="414147"/>
                      <a:pt x="241554" y="409289"/>
                    </a:cubicBezTo>
                    <a:cubicBezTo>
                      <a:pt x="242888" y="399764"/>
                      <a:pt x="244030" y="392811"/>
                      <a:pt x="244793" y="387286"/>
                    </a:cubicBezTo>
                    <a:cubicBezTo>
                      <a:pt x="245391" y="384783"/>
                      <a:pt x="246188" y="382330"/>
                      <a:pt x="247174" y="37995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0" name="Полилиния: фигура 329">
                <a:extLst>
                  <a:ext uri="{FF2B5EF4-FFF2-40B4-BE49-F238E27FC236}">
                    <a16:creationId xmlns:a16="http://schemas.microsoft.com/office/drawing/2014/main" id="{2DC660FE-561E-4429-B70A-E7B1D4B2420E}"/>
                  </a:ext>
                </a:extLst>
              </p:cNvPr>
              <p:cNvSpPr/>
              <p:nvPr/>
            </p:nvSpPr>
            <p:spPr>
              <a:xfrm>
                <a:off x="6305795" y="4402143"/>
                <a:ext cx="19050" cy="428625"/>
              </a:xfrm>
              <a:custGeom>
                <a:avLst/>
                <a:gdLst>
                  <a:gd name="connsiteX0" fmla="*/ 9198 w 19050"/>
                  <a:gd name="connsiteY0" fmla="*/ 7144 h 428625"/>
                  <a:gd name="connsiteX1" fmla="*/ 12151 w 19050"/>
                  <a:gd name="connsiteY1" fmla="*/ 216694 h 428625"/>
                  <a:gd name="connsiteX2" fmla="*/ 10151 w 19050"/>
                  <a:gd name="connsiteY2" fmla="*/ 426244 h 428625"/>
                  <a:gd name="connsiteX3" fmla="*/ 7199 w 19050"/>
                  <a:gd name="connsiteY3" fmla="*/ 216694 h 428625"/>
                  <a:gd name="connsiteX4" fmla="*/ 9198 w 19050"/>
                  <a:gd name="connsiteY4" fmla="*/ 7144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428625">
                    <a:moveTo>
                      <a:pt x="9198" y="7144"/>
                    </a:moveTo>
                    <a:cubicBezTo>
                      <a:pt x="10532" y="7144"/>
                      <a:pt x="11866" y="100870"/>
                      <a:pt x="12151" y="216694"/>
                    </a:cubicBezTo>
                    <a:cubicBezTo>
                      <a:pt x="12437" y="332518"/>
                      <a:pt x="11484" y="426244"/>
                      <a:pt x="10151" y="426244"/>
                    </a:cubicBezTo>
                    <a:cubicBezTo>
                      <a:pt x="8818" y="426244"/>
                      <a:pt x="7484" y="332613"/>
                      <a:pt x="7199" y="216694"/>
                    </a:cubicBezTo>
                    <a:cubicBezTo>
                      <a:pt x="6913" y="100775"/>
                      <a:pt x="7770" y="7144"/>
                      <a:pt x="9198" y="71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1" name="Полилиния: фигура 330">
                <a:extLst>
                  <a:ext uri="{FF2B5EF4-FFF2-40B4-BE49-F238E27FC236}">
                    <a16:creationId xmlns:a16="http://schemas.microsoft.com/office/drawing/2014/main" id="{0CF64E65-328D-4AC7-8975-76688AD3A660}"/>
                  </a:ext>
                </a:extLst>
              </p:cNvPr>
              <p:cNvSpPr/>
              <p:nvPr/>
            </p:nvSpPr>
            <p:spPr>
              <a:xfrm>
                <a:off x="6386145" y="4241361"/>
                <a:ext cx="38100" cy="57150"/>
              </a:xfrm>
              <a:custGeom>
                <a:avLst/>
                <a:gdLst>
                  <a:gd name="connsiteX0" fmla="*/ 31146 w 38100"/>
                  <a:gd name="connsiteY0" fmla="*/ 57817 h 57150"/>
                  <a:gd name="connsiteX1" fmla="*/ 21621 w 38100"/>
                  <a:gd name="connsiteY1" fmla="*/ 20384 h 57150"/>
                  <a:gd name="connsiteX2" fmla="*/ 20955 w 38100"/>
                  <a:gd name="connsiteY2" fmla="*/ 15240 h 57150"/>
                  <a:gd name="connsiteX3" fmla="*/ 25527 w 38100"/>
                  <a:gd name="connsiteY3" fmla="*/ 16192 h 57150"/>
                  <a:gd name="connsiteX4" fmla="*/ 7144 w 38100"/>
                  <a:gd name="connsiteY4" fmla="*/ 44101 h 57150"/>
                  <a:gd name="connsiteX5" fmla="*/ 21241 w 38100"/>
                  <a:gd name="connsiteY5" fmla="*/ 13716 h 57150"/>
                  <a:gd name="connsiteX6" fmla="*/ 24860 w 38100"/>
                  <a:gd name="connsiteY6" fmla="*/ 7144 h 57150"/>
                  <a:gd name="connsiteX7" fmla="*/ 25908 w 38100"/>
                  <a:gd name="connsiteY7" fmla="*/ 14669 h 57150"/>
                  <a:gd name="connsiteX8" fmla="*/ 26479 w 38100"/>
                  <a:gd name="connsiteY8" fmla="*/ 19717 h 57150"/>
                  <a:gd name="connsiteX9" fmla="*/ 31146 w 38100"/>
                  <a:gd name="connsiteY9" fmla="*/ 57817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" h="57150">
                    <a:moveTo>
                      <a:pt x="31146" y="57817"/>
                    </a:moveTo>
                    <a:cubicBezTo>
                      <a:pt x="25601" y="46065"/>
                      <a:pt x="22367" y="33357"/>
                      <a:pt x="21621" y="20384"/>
                    </a:cubicBezTo>
                    <a:lnTo>
                      <a:pt x="20955" y="15240"/>
                    </a:lnTo>
                    <a:lnTo>
                      <a:pt x="25527" y="16192"/>
                    </a:lnTo>
                    <a:cubicBezTo>
                      <a:pt x="20688" y="26283"/>
                      <a:pt x="14504" y="35671"/>
                      <a:pt x="7144" y="44101"/>
                    </a:cubicBezTo>
                    <a:cubicBezTo>
                      <a:pt x="10469" y="33390"/>
                      <a:pt x="15210" y="23171"/>
                      <a:pt x="21241" y="13716"/>
                    </a:cubicBezTo>
                    <a:lnTo>
                      <a:pt x="24860" y="7144"/>
                    </a:lnTo>
                    <a:lnTo>
                      <a:pt x="25908" y="14669"/>
                    </a:lnTo>
                    <a:lnTo>
                      <a:pt x="26479" y="19717"/>
                    </a:lnTo>
                    <a:cubicBezTo>
                      <a:pt x="28871" y="32300"/>
                      <a:pt x="30430" y="45028"/>
                      <a:pt x="31146" y="5781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2" name="Полилиния: фигура 331">
                <a:extLst>
                  <a:ext uri="{FF2B5EF4-FFF2-40B4-BE49-F238E27FC236}">
                    <a16:creationId xmlns:a16="http://schemas.microsoft.com/office/drawing/2014/main" id="{900BAEC2-57E2-42B3-B865-65F89924A378}"/>
                  </a:ext>
                </a:extLst>
              </p:cNvPr>
              <p:cNvSpPr/>
              <p:nvPr/>
            </p:nvSpPr>
            <p:spPr>
              <a:xfrm>
                <a:off x="5174184" y="3900781"/>
                <a:ext cx="238125" cy="352425"/>
              </a:xfrm>
              <a:custGeom>
                <a:avLst/>
                <a:gdLst>
                  <a:gd name="connsiteX0" fmla="*/ 120491 w 238125"/>
                  <a:gd name="connsiteY0" fmla="*/ 7205 h 352425"/>
                  <a:gd name="connsiteX1" fmla="*/ 153257 w 238125"/>
                  <a:gd name="connsiteY1" fmla="*/ 39971 h 352425"/>
                  <a:gd name="connsiteX2" fmla="*/ 170497 w 238125"/>
                  <a:gd name="connsiteY2" fmla="*/ 86548 h 352425"/>
                  <a:gd name="connsiteX3" fmla="*/ 218122 w 238125"/>
                  <a:gd name="connsiteY3" fmla="*/ 113695 h 352425"/>
                  <a:gd name="connsiteX4" fmla="*/ 230981 w 238125"/>
                  <a:gd name="connsiteY4" fmla="*/ 147413 h 352425"/>
                  <a:gd name="connsiteX5" fmla="*/ 221456 w 238125"/>
                  <a:gd name="connsiteY5" fmla="*/ 183037 h 352425"/>
                  <a:gd name="connsiteX6" fmla="*/ 211073 w 238125"/>
                  <a:gd name="connsiteY6" fmla="*/ 211040 h 352425"/>
                  <a:gd name="connsiteX7" fmla="*/ 215740 w 238125"/>
                  <a:gd name="connsiteY7" fmla="*/ 241711 h 352425"/>
                  <a:gd name="connsiteX8" fmla="*/ 170401 w 238125"/>
                  <a:gd name="connsiteY8" fmla="*/ 326674 h 352425"/>
                  <a:gd name="connsiteX9" fmla="*/ 193452 w 238125"/>
                  <a:gd name="connsiteY9" fmla="*/ 340294 h 352425"/>
                  <a:gd name="connsiteX10" fmla="*/ 145828 w 238125"/>
                  <a:gd name="connsiteY10" fmla="*/ 349819 h 352425"/>
                  <a:gd name="connsiteX11" fmla="*/ 7144 w 238125"/>
                  <a:gd name="connsiteY11" fmla="*/ 293241 h 35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8125" h="352425">
                    <a:moveTo>
                      <a:pt x="120491" y="7205"/>
                    </a:moveTo>
                    <a:cubicBezTo>
                      <a:pt x="137255" y="5967"/>
                      <a:pt x="149066" y="23683"/>
                      <a:pt x="153257" y="39971"/>
                    </a:cubicBezTo>
                    <a:cubicBezTo>
                      <a:pt x="157448" y="56259"/>
                      <a:pt x="158877" y="74547"/>
                      <a:pt x="170497" y="86548"/>
                    </a:cubicBezTo>
                    <a:cubicBezTo>
                      <a:pt x="182118" y="98550"/>
                      <a:pt x="204406" y="101122"/>
                      <a:pt x="218122" y="113695"/>
                    </a:cubicBezTo>
                    <a:cubicBezTo>
                      <a:pt x="226851" y="122696"/>
                      <a:pt x="231499" y="134886"/>
                      <a:pt x="230981" y="147413"/>
                    </a:cubicBezTo>
                    <a:cubicBezTo>
                      <a:pt x="230348" y="159826"/>
                      <a:pt x="227102" y="171965"/>
                      <a:pt x="221456" y="183037"/>
                    </a:cubicBezTo>
                    <a:cubicBezTo>
                      <a:pt x="216401" y="191700"/>
                      <a:pt x="212888" y="201175"/>
                      <a:pt x="211073" y="211040"/>
                    </a:cubicBezTo>
                    <a:cubicBezTo>
                      <a:pt x="211258" y="221426"/>
                      <a:pt x="212828" y="231740"/>
                      <a:pt x="215740" y="241711"/>
                    </a:cubicBezTo>
                    <a:cubicBezTo>
                      <a:pt x="221009" y="276930"/>
                      <a:pt x="202591" y="311444"/>
                      <a:pt x="170401" y="326674"/>
                    </a:cubicBezTo>
                    <a:cubicBezTo>
                      <a:pt x="176759" y="333155"/>
                      <a:pt x="184708" y="337852"/>
                      <a:pt x="193452" y="340294"/>
                    </a:cubicBezTo>
                    <a:cubicBezTo>
                      <a:pt x="183070" y="354106"/>
                      <a:pt x="162306" y="352963"/>
                      <a:pt x="145828" y="349819"/>
                    </a:cubicBezTo>
                    <a:cubicBezTo>
                      <a:pt x="96596" y="339381"/>
                      <a:pt x="49628" y="320220"/>
                      <a:pt x="7144" y="293241"/>
                    </a:cubicBez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3" name="Полилиния: фигура 332">
                <a:extLst>
                  <a:ext uri="{FF2B5EF4-FFF2-40B4-BE49-F238E27FC236}">
                    <a16:creationId xmlns:a16="http://schemas.microsoft.com/office/drawing/2014/main" id="{E14E2828-7FAF-4F42-9654-4B2406DEA803}"/>
                  </a:ext>
                </a:extLst>
              </p:cNvPr>
              <p:cNvSpPr/>
              <p:nvPr/>
            </p:nvSpPr>
            <p:spPr>
              <a:xfrm>
                <a:off x="5039119" y="3933351"/>
                <a:ext cx="276225" cy="485775"/>
              </a:xfrm>
              <a:custGeom>
                <a:avLst/>
                <a:gdLst>
                  <a:gd name="connsiteX0" fmla="*/ 270320 w 276225"/>
                  <a:gd name="connsiteY0" fmla="*/ 102080 h 485775"/>
                  <a:gd name="connsiteX1" fmla="*/ 167260 w 276225"/>
                  <a:gd name="connsiteY1" fmla="*/ 7401 h 485775"/>
                  <a:gd name="connsiteX2" fmla="*/ 8382 w 276225"/>
                  <a:gd name="connsiteY2" fmla="*/ 34738 h 485775"/>
                  <a:gd name="connsiteX3" fmla="*/ 8382 w 276225"/>
                  <a:gd name="connsiteY3" fmla="*/ 61122 h 485775"/>
                  <a:gd name="connsiteX4" fmla="*/ 7144 w 276225"/>
                  <a:gd name="connsiteY4" fmla="*/ 401451 h 485775"/>
                  <a:gd name="connsiteX5" fmla="*/ 192024 w 276225"/>
                  <a:gd name="connsiteY5" fmla="*/ 482127 h 485775"/>
                  <a:gd name="connsiteX6" fmla="*/ 189167 w 276225"/>
                  <a:gd name="connsiteY6" fmla="*/ 354397 h 485775"/>
                  <a:gd name="connsiteX7" fmla="*/ 266415 w 276225"/>
                  <a:gd name="connsiteY7" fmla="*/ 263719 h 485775"/>
                  <a:gd name="connsiteX8" fmla="*/ 270320 w 276225"/>
                  <a:gd name="connsiteY8" fmla="*/ 102080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6225" h="485775">
                    <a:moveTo>
                      <a:pt x="270320" y="102080"/>
                    </a:moveTo>
                    <a:cubicBezTo>
                      <a:pt x="268129" y="53026"/>
                      <a:pt x="216218" y="3115"/>
                      <a:pt x="167260" y="7401"/>
                    </a:cubicBezTo>
                    <a:lnTo>
                      <a:pt x="8382" y="34738"/>
                    </a:lnTo>
                    <a:lnTo>
                      <a:pt x="8382" y="61122"/>
                    </a:lnTo>
                    <a:lnTo>
                      <a:pt x="7144" y="401451"/>
                    </a:lnTo>
                    <a:lnTo>
                      <a:pt x="192024" y="482127"/>
                    </a:lnTo>
                    <a:lnTo>
                      <a:pt x="189167" y="354397"/>
                    </a:lnTo>
                    <a:cubicBezTo>
                      <a:pt x="189167" y="354397"/>
                      <a:pt x="251936" y="344872"/>
                      <a:pt x="266415" y="263719"/>
                    </a:cubicBezTo>
                    <a:cubicBezTo>
                      <a:pt x="273654" y="223143"/>
                      <a:pt x="272796" y="156563"/>
                      <a:pt x="270320" y="102080"/>
                    </a:cubicBezTo>
                    <a:close/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4" name="Полилиния: фигура 333">
                <a:extLst>
                  <a:ext uri="{FF2B5EF4-FFF2-40B4-BE49-F238E27FC236}">
                    <a16:creationId xmlns:a16="http://schemas.microsoft.com/office/drawing/2014/main" id="{306F6D36-8D98-490F-AAFF-F1716B0055FD}"/>
                  </a:ext>
                </a:extLst>
              </p:cNvPr>
              <p:cNvSpPr/>
              <p:nvPr/>
            </p:nvSpPr>
            <p:spPr>
              <a:xfrm>
                <a:off x="5262385" y="4072234"/>
                <a:ext cx="28575" cy="28575"/>
              </a:xfrm>
              <a:custGeom>
                <a:avLst/>
                <a:gdLst>
                  <a:gd name="connsiteX0" fmla="*/ 28004 w 28575"/>
                  <a:gd name="connsiteY0" fmla="*/ 16727 h 28575"/>
                  <a:gd name="connsiteX1" fmla="*/ 17716 w 28575"/>
                  <a:gd name="connsiteY1" fmla="*/ 27110 h 28575"/>
                  <a:gd name="connsiteX2" fmla="*/ 7150 w 28575"/>
                  <a:gd name="connsiteY2" fmla="*/ 17707 h 28575"/>
                  <a:gd name="connsiteX3" fmla="*/ 7144 w 28575"/>
                  <a:gd name="connsiteY3" fmla="*/ 17585 h 28575"/>
                  <a:gd name="connsiteX4" fmla="*/ 17431 w 28575"/>
                  <a:gd name="connsiteY4" fmla="*/ 7202 h 28575"/>
                  <a:gd name="connsiteX5" fmla="*/ 27946 w 28575"/>
                  <a:gd name="connsiteY5" fmla="*/ 15622 h 28575"/>
                  <a:gd name="connsiteX6" fmla="*/ 28004 w 28575"/>
                  <a:gd name="connsiteY6" fmla="*/ 1672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28575">
                    <a:moveTo>
                      <a:pt x="28004" y="16727"/>
                    </a:moveTo>
                    <a:cubicBezTo>
                      <a:pt x="27953" y="22403"/>
                      <a:pt x="23392" y="27007"/>
                      <a:pt x="17716" y="27110"/>
                    </a:cubicBezTo>
                    <a:cubicBezTo>
                      <a:pt x="12202" y="27431"/>
                      <a:pt x="7472" y="23221"/>
                      <a:pt x="7150" y="17707"/>
                    </a:cubicBezTo>
                    <a:cubicBezTo>
                      <a:pt x="7148" y="17667"/>
                      <a:pt x="7145" y="17626"/>
                      <a:pt x="7144" y="17585"/>
                    </a:cubicBezTo>
                    <a:cubicBezTo>
                      <a:pt x="7194" y="11909"/>
                      <a:pt x="11756" y="7305"/>
                      <a:pt x="17431" y="7202"/>
                    </a:cubicBezTo>
                    <a:cubicBezTo>
                      <a:pt x="22660" y="6624"/>
                      <a:pt x="27368" y="10393"/>
                      <a:pt x="27946" y="15622"/>
                    </a:cubicBezTo>
                    <a:cubicBezTo>
                      <a:pt x="27987" y="15989"/>
                      <a:pt x="28006" y="16358"/>
                      <a:pt x="28004" y="1672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5" name="Полилиния: фигура 334">
                <a:extLst>
                  <a:ext uri="{FF2B5EF4-FFF2-40B4-BE49-F238E27FC236}">
                    <a16:creationId xmlns:a16="http://schemas.microsoft.com/office/drawing/2014/main" id="{12316399-017E-44C8-A1C6-A49D65CC06B5}"/>
                  </a:ext>
                </a:extLst>
              </p:cNvPr>
              <p:cNvSpPr/>
              <p:nvPr/>
            </p:nvSpPr>
            <p:spPr>
              <a:xfrm>
                <a:off x="5245672" y="4051236"/>
                <a:ext cx="47625" cy="19050"/>
              </a:xfrm>
              <a:custGeom>
                <a:avLst/>
                <a:gdLst>
                  <a:gd name="connsiteX0" fmla="*/ 48718 w 47625"/>
                  <a:gd name="connsiteY0" fmla="*/ 18580 h 19050"/>
                  <a:gd name="connsiteX1" fmla="*/ 28239 w 47625"/>
                  <a:gd name="connsiteY1" fmla="*/ 13722 h 19050"/>
                  <a:gd name="connsiteX2" fmla="*/ 7475 w 47625"/>
                  <a:gd name="connsiteY2" fmla="*/ 17628 h 19050"/>
                  <a:gd name="connsiteX3" fmla="*/ 11856 w 47625"/>
                  <a:gd name="connsiteY3" fmla="*/ 12008 h 19050"/>
                  <a:gd name="connsiteX4" fmla="*/ 28620 w 47625"/>
                  <a:gd name="connsiteY4" fmla="*/ 7150 h 19050"/>
                  <a:gd name="connsiteX5" fmla="*/ 44813 w 47625"/>
                  <a:gd name="connsiteY5" fmla="*/ 12770 h 19050"/>
                  <a:gd name="connsiteX6" fmla="*/ 48718 w 47625"/>
                  <a:gd name="connsiteY6" fmla="*/ 1858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48718" y="18580"/>
                    </a:moveTo>
                    <a:cubicBezTo>
                      <a:pt x="47384" y="19914"/>
                      <a:pt x="39193" y="13913"/>
                      <a:pt x="28239" y="13722"/>
                    </a:cubicBezTo>
                    <a:cubicBezTo>
                      <a:pt x="17285" y="13532"/>
                      <a:pt x="8618" y="19056"/>
                      <a:pt x="7475" y="17628"/>
                    </a:cubicBezTo>
                    <a:cubicBezTo>
                      <a:pt x="6332" y="16199"/>
                      <a:pt x="8237" y="14580"/>
                      <a:pt x="11856" y="12008"/>
                    </a:cubicBezTo>
                    <a:cubicBezTo>
                      <a:pt x="16819" y="8720"/>
                      <a:pt x="22668" y="7025"/>
                      <a:pt x="28620" y="7150"/>
                    </a:cubicBezTo>
                    <a:cubicBezTo>
                      <a:pt x="34479" y="7246"/>
                      <a:pt x="40154" y="9215"/>
                      <a:pt x="44813" y="12770"/>
                    </a:cubicBezTo>
                    <a:cubicBezTo>
                      <a:pt x="48241" y="15437"/>
                      <a:pt x="49385" y="17913"/>
                      <a:pt x="48718" y="1858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6" name="Полилиния: фигура 335">
                <a:extLst>
                  <a:ext uri="{FF2B5EF4-FFF2-40B4-BE49-F238E27FC236}">
                    <a16:creationId xmlns:a16="http://schemas.microsoft.com/office/drawing/2014/main" id="{03CD7A73-47AC-4C0C-88FA-D1B3759E7721}"/>
                  </a:ext>
                </a:extLst>
              </p:cNvPr>
              <p:cNvSpPr/>
              <p:nvPr/>
            </p:nvSpPr>
            <p:spPr>
              <a:xfrm>
                <a:off x="5156849" y="4071888"/>
                <a:ext cx="28575" cy="28575"/>
              </a:xfrm>
              <a:custGeom>
                <a:avLst/>
                <a:gdLst>
                  <a:gd name="connsiteX0" fmla="*/ 28099 w 28575"/>
                  <a:gd name="connsiteY0" fmla="*/ 16597 h 28575"/>
                  <a:gd name="connsiteX1" fmla="*/ 17812 w 28575"/>
                  <a:gd name="connsiteY1" fmla="*/ 27075 h 28575"/>
                  <a:gd name="connsiteX2" fmla="*/ 7157 w 28575"/>
                  <a:gd name="connsiteY2" fmla="*/ 17773 h 28575"/>
                  <a:gd name="connsiteX3" fmla="*/ 7144 w 28575"/>
                  <a:gd name="connsiteY3" fmla="*/ 17550 h 28575"/>
                  <a:gd name="connsiteX4" fmla="*/ 17431 w 28575"/>
                  <a:gd name="connsiteY4" fmla="*/ 7167 h 28575"/>
                  <a:gd name="connsiteX5" fmla="*/ 28091 w 28575"/>
                  <a:gd name="connsiteY5" fmla="*/ 16464 h 28575"/>
                  <a:gd name="connsiteX6" fmla="*/ 28099 w 28575"/>
                  <a:gd name="connsiteY6" fmla="*/ 1659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28575">
                    <a:moveTo>
                      <a:pt x="28099" y="16597"/>
                    </a:moveTo>
                    <a:cubicBezTo>
                      <a:pt x="28049" y="22289"/>
                      <a:pt x="23503" y="26921"/>
                      <a:pt x="17812" y="27075"/>
                    </a:cubicBezTo>
                    <a:cubicBezTo>
                      <a:pt x="12301" y="27449"/>
                      <a:pt x="7530" y="23284"/>
                      <a:pt x="7157" y="17773"/>
                    </a:cubicBezTo>
                    <a:cubicBezTo>
                      <a:pt x="7151" y="17699"/>
                      <a:pt x="7147" y="17624"/>
                      <a:pt x="7144" y="17550"/>
                    </a:cubicBezTo>
                    <a:cubicBezTo>
                      <a:pt x="7194" y="11874"/>
                      <a:pt x="11756" y="7270"/>
                      <a:pt x="17431" y="7167"/>
                    </a:cubicBezTo>
                    <a:cubicBezTo>
                      <a:pt x="22942" y="6791"/>
                      <a:pt x="27714" y="10953"/>
                      <a:pt x="28091" y="16464"/>
                    </a:cubicBezTo>
                    <a:cubicBezTo>
                      <a:pt x="28094" y="16508"/>
                      <a:pt x="28097" y="16553"/>
                      <a:pt x="28099" y="1659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7" name="Полилиния: фигура 336">
                <a:extLst>
                  <a:ext uri="{FF2B5EF4-FFF2-40B4-BE49-F238E27FC236}">
                    <a16:creationId xmlns:a16="http://schemas.microsoft.com/office/drawing/2014/main" id="{F5E00B48-8F19-4752-9FF0-9D3028462883}"/>
                  </a:ext>
                </a:extLst>
              </p:cNvPr>
              <p:cNvSpPr/>
              <p:nvPr/>
            </p:nvSpPr>
            <p:spPr>
              <a:xfrm>
                <a:off x="5134765" y="4051420"/>
                <a:ext cx="47625" cy="19050"/>
              </a:xfrm>
              <a:custGeom>
                <a:avLst/>
                <a:gdLst>
                  <a:gd name="connsiteX0" fmla="*/ 48754 w 47625"/>
                  <a:gd name="connsiteY0" fmla="*/ 18491 h 19050"/>
                  <a:gd name="connsiteX1" fmla="*/ 28370 w 47625"/>
                  <a:gd name="connsiteY1" fmla="*/ 13634 h 19050"/>
                  <a:gd name="connsiteX2" fmla="*/ 7510 w 47625"/>
                  <a:gd name="connsiteY2" fmla="*/ 17539 h 19050"/>
                  <a:gd name="connsiteX3" fmla="*/ 11987 w 47625"/>
                  <a:gd name="connsiteY3" fmla="*/ 11919 h 19050"/>
                  <a:gd name="connsiteX4" fmla="*/ 28656 w 47625"/>
                  <a:gd name="connsiteY4" fmla="*/ 7157 h 19050"/>
                  <a:gd name="connsiteX5" fmla="*/ 44849 w 47625"/>
                  <a:gd name="connsiteY5" fmla="*/ 12681 h 19050"/>
                  <a:gd name="connsiteX6" fmla="*/ 48754 w 47625"/>
                  <a:gd name="connsiteY6" fmla="*/ 1849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48754" y="18491"/>
                    </a:moveTo>
                    <a:cubicBezTo>
                      <a:pt x="47420" y="19825"/>
                      <a:pt x="39229" y="13824"/>
                      <a:pt x="28370" y="13634"/>
                    </a:cubicBezTo>
                    <a:cubicBezTo>
                      <a:pt x="17511" y="13443"/>
                      <a:pt x="8749" y="18968"/>
                      <a:pt x="7510" y="17539"/>
                    </a:cubicBezTo>
                    <a:cubicBezTo>
                      <a:pt x="6272" y="16110"/>
                      <a:pt x="8272" y="14491"/>
                      <a:pt x="11987" y="11919"/>
                    </a:cubicBezTo>
                    <a:cubicBezTo>
                      <a:pt x="16916" y="8644"/>
                      <a:pt x="22741" y="6980"/>
                      <a:pt x="28656" y="7157"/>
                    </a:cubicBezTo>
                    <a:cubicBezTo>
                      <a:pt x="34508" y="7204"/>
                      <a:pt x="40188" y="9142"/>
                      <a:pt x="44849" y="12681"/>
                    </a:cubicBezTo>
                    <a:cubicBezTo>
                      <a:pt x="48278" y="15443"/>
                      <a:pt x="49421" y="17920"/>
                      <a:pt x="48754" y="1849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8" name="Полилиния: фигура 337">
                <a:extLst>
                  <a:ext uri="{FF2B5EF4-FFF2-40B4-BE49-F238E27FC236}">
                    <a16:creationId xmlns:a16="http://schemas.microsoft.com/office/drawing/2014/main" id="{C3B10F71-B9E2-46E2-B582-E6E6A8F24330}"/>
                  </a:ext>
                </a:extLst>
              </p:cNvPr>
              <p:cNvSpPr/>
              <p:nvPr/>
            </p:nvSpPr>
            <p:spPr>
              <a:xfrm>
                <a:off x="5212379" y="4053052"/>
                <a:ext cx="38100" cy="104775"/>
              </a:xfrm>
              <a:custGeom>
                <a:avLst/>
                <a:gdLst>
                  <a:gd name="connsiteX0" fmla="*/ 10573 w 38100"/>
                  <a:gd name="connsiteY0" fmla="*/ 101155 h 104775"/>
                  <a:gd name="connsiteX1" fmla="*/ 28956 w 38100"/>
                  <a:gd name="connsiteY1" fmla="*/ 98203 h 104775"/>
                  <a:gd name="connsiteX2" fmla="*/ 35053 w 38100"/>
                  <a:gd name="connsiteY2" fmla="*/ 95440 h 104775"/>
                  <a:gd name="connsiteX3" fmla="*/ 33338 w 38100"/>
                  <a:gd name="connsiteY3" fmla="*/ 86963 h 104775"/>
                  <a:gd name="connsiteX4" fmla="*/ 25241 w 38100"/>
                  <a:gd name="connsiteY4" fmla="*/ 64865 h 104775"/>
                  <a:gd name="connsiteX5" fmla="*/ 7144 w 38100"/>
                  <a:gd name="connsiteY5" fmla="*/ 7144 h 104775"/>
                  <a:gd name="connsiteX6" fmla="*/ 29813 w 38100"/>
                  <a:gd name="connsiteY6" fmla="*/ 63246 h 104775"/>
                  <a:gd name="connsiteX7" fmla="*/ 37529 w 38100"/>
                  <a:gd name="connsiteY7" fmla="*/ 85439 h 104775"/>
                  <a:gd name="connsiteX8" fmla="*/ 38862 w 38100"/>
                  <a:gd name="connsiteY8" fmla="*/ 96774 h 104775"/>
                  <a:gd name="connsiteX9" fmla="*/ 34004 w 38100"/>
                  <a:gd name="connsiteY9" fmla="*/ 100870 h 104775"/>
                  <a:gd name="connsiteX10" fmla="*/ 29146 w 38100"/>
                  <a:gd name="connsiteY10" fmla="*/ 101441 h 104775"/>
                  <a:gd name="connsiteX11" fmla="*/ 10573 w 38100"/>
                  <a:gd name="connsiteY11" fmla="*/ 10115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100" h="104775">
                    <a:moveTo>
                      <a:pt x="10573" y="101155"/>
                    </a:moveTo>
                    <a:cubicBezTo>
                      <a:pt x="16566" y="99466"/>
                      <a:pt x="22735" y="98475"/>
                      <a:pt x="28956" y="98203"/>
                    </a:cubicBezTo>
                    <a:cubicBezTo>
                      <a:pt x="31814" y="98203"/>
                      <a:pt x="34576" y="97441"/>
                      <a:pt x="35053" y="95440"/>
                    </a:cubicBezTo>
                    <a:cubicBezTo>
                      <a:pt x="35390" y="92505"/>
                      <a:pt x="34790" y="89537"/>
                      <a:pt x="33338" y="86963"/>
                    </a:cubicBezTo>
                    <a:cubicBezTo>
                      <a:pt x="30766" y="79915"/>
                      <a:pt x="28004" y="72580"/>
                      <a:pt x="25241" y="64865"/>
                    </a:cubicBezTo>
                    <a:cubicBezTo>
                      <a:pt x="17594" y="46169"/>
                      <a:pt x="11540" y="26860"/>
                      <a:pt x="7144" y="7144"/>
                    </a:cubicBezTo>
                    <a:cubicBezTo>
                      <a:pt x="16165" y="25219"/>
                      <a:pt x="23746" y="43978"/>
                      <a:pt x="29813" y="63246"/>
                    </a:cubicBezTo>
                    <a:lnTo>
                      <a:pt x="37529" y="85439"/>
                    </a:lnTo>
                    <a:cubicBezTo>
                      <a:pt x="39285" y="88945"/>
                      <a:pt x="39757" y="92956"/>
                      <a:pt x="38862" y="96774"/>
                    </a:cubicBezTo>
                    <a:cubicBezTo>
                      <a:pt x="37938" y="98798"/>
                      <a:pt x="36155" y="100301"/>
                      <a:pt x="34004" y="100870"/>
                    </a:cubicBezTo>
                    <a:cubicBezTo>
                      <a:pt x="32427" y="101320"/>
                      <a:pt x="30786" y="101513"/>
                      <a:pt x="29146" y="101441"/>
                    </a:cubicBezTo>
                    <a:cubicBezTo>
                      <a:pt x="22971" y="102183"/>
                      <a:pt x="16723" y="102087"/>
                      <a:pt x="10573" y="101155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9" name="Полилиния: фигура 338">
                <a:extLst>
                  <a:ext uri="{FF2B5EF4-FFF2-40B4-BE49-F238E27FC236}">
                    <a16:creationId xmlns:a16="http://schemas.microsoft.com/office/drawing/2014/main" id="{B072C3E1-EC93-4816-A4CE-46EEB31EF181}"/>
                  </a:ext>
                </a:extLst>
              </p:cNvPr>
              <p:cNvSpPr/>
              <p:nvPr/>
            </p:nvSpPr>
            <p:spPr>
              <a:xfrm>
                <a:off x="5112367" y="4249457"/>
                <a:ext cx="123825" cy="57150"/>
              </a:xfrm>
              <a:custGeom>
                <a:avLst/>
                <a:gdLst>
                  <a:gd name="connsiteX0" fmla="*/ 116014 w 123825"/>
                  <a:gd name="connsiteY0" fmla="*/ 38291 h 57150"/>
                  <a:gd name="connsiteX1" fmla="*/ 7144 w 123825"/>
                  <a:gd name="connsiteY1" fmla="*/ 7144 h 57150"/>
                  <a:gd name="connsiteX2" fmla="*/ 117062 w 123825"/>
                  <a:gd name="connsiteY2" fmla="*/ 58579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825" h="57150">
                    <a:moveTo>
                      <a:pt x="116014" y="38291"/>
                    </a:moveTo>
                    <a:cubicBezTo>
                      <a:pt x="77540" y="38190"/>
                      <a:pt x="39849" y="27407"/>
                      <a:pt x="7144" y="7144"/>
                    </a:cubicBezTo>
                    <a:cubicBezTo>
                      <a:pt x="7143" y="7144"/>
                      <a:pt x="35147" y="64770"/>
                      <a:pt x="117062" y="58579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0" name="Полилиния: фигура 339">
                <a:extLst>
                  <a:ext uri="{FF2B5EF4-FFF2-40B4-BE49-F238E27FC236}">
                    <a16:creationId xmlns:a16="http://schemas.microsoft.com/office/drawing/2014/main" id="{512E4B0D-9FBC-4497-9D82-79A7C1CC9AAD}"/>
                  </a:ext>
                </a:extLst>
              </p:cNvPr>
              <p:cNvSpPr/>
              <p:nvPr/>
            </p:nvSpPr>
            <p:spPr>
              <a:xfrm>
                <a:off x="5176875" y="4166214"/>
                <a:ext cx="47625" cy="38100"/>
              </a:xfrm>
              <a:custGeom>
                <a:avLst/>
                <a:gdLst>
                  <a:gd name="connsiteX0" fmla="*/ 40838 w 47625"/>
                  <a:gd name="connsiteY0" fmla="*/ 15139 h 38100"/>
                  <a:gd name="connsiteX1" fmla="*/ 22741 w 47625"/>
                  <a:gd name="connsiteY1" fmla="*/ 7234 h 38100"/>
                  <a:gd name="connsiteX2" fmla="*/ 9882 w 47625"/>
                  <a:gd name="connsiteY2" fmla="*/ 13901 h 38100"/>
                  <a:gd name="connsiteX3" fmla="*/ 8739 w 47625"/>
                  <a:gd name="connsiteY3" fmla="*/ 27331 h 38100"/>
                  <a:gd name="connsiteX4" fmla="*/ 23408 w 47625"/>
                  <a:gd name="connsiteY4" fmla="*/ 31332 h 38100"/>
                  <a:gd name="connsiteX5" fmla="*/ 37981 w 47625"/>
                  <a:gd name="connsiteY5" fmla="*/ 22950 h 38100"/>
                  <a:gd name="connsiteX6" fmla="*/ 41220 w 47625"/>
                  <a:gd name="connsiteY6" fmla="*/ 19711 h 38100"/>
                  <a:gd name="connsiteX7" fmla="*/ 41220 w 47625"/>
                  <a:gd name="connsiteY7" fmla="*/ 1552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625" h="38100">
                    <a:moveTo>
                      <a:pt x="40838" y="15139"/>
                    </a:moveTo>
                    <a:cubicBezTo>
                      <a:pt x="36571" y="9563"/>
                      <a:pt x="29733" y="6576"/>
                      <a:pt x="22741" y="7234"/>
                    </a:cubicBezTo>
                    <a:cubicBezTo>
                      <a:pt x="17722" y="7603"/>
                      <a:pt x="13075" y="10013"/>
                      <a:pt x="9882" y="13901"/>
                    </a:cubicBezTo>
                    <a:cubicBezTo>
                      <a:pt x="6706" y="17689"/>
                      <a:pt x="6249" y="23062"/>
                      <a:pt x="8739" y="27331"/>
                    </a:cubicBezTo>
                    <a:cubicBezTo>
                      <a:pt x="12361" y="31524"/>
                      <a:pt x="18160" y="33105"/>
                      <a:pt x="23408" y="31332"/>
                    </a:cubicBezTo>
                    <a:cubicBezTo>
                      <a:pt x="28769" y="29523"/>
                      <a:pt x="33721" y="26674"/>
                      <a:pt x="37981" y="22950"/>
                    </a:cubicBezTo>
                    <a:cubicBezTo>
                      <a:pt x="39265" y="22096"/>
                      <a:pt x="40366" y="20995"/>
                      <a:pt x="41220" y="19711"/>
                    </a:cubicBezTo>
                    <a:cubicBezTo>
                      <a:pt x="42111" y="18457"/>
                      <a:pt x="42111" y="16775"/>
                      <a:pt x="41220" y="15520"/>
                    </a:cubicBezTo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1" name="Полилиния: фигура 340">
                <a:extLst>
                  <a:ext uri="{FF2B5EF4-FFF2-40B4-BE49-F238E27FC236}">
                    <a16:creationId xmlns:a16="http://schemas.microsoft.com/office/drawing/2014/main" id="{4A7FEF2D-EF66-4AF2-8BAE-994BCB3D3AA9}"/>
                  </a:ext>
                </a:extLst>
              </p:cNvPr>
              <p:cNvSpPr/>
              <p:nvPr/>
            </p:nvSpPr>
            <p:spPr>
              <a:xfrm>
                <a:off x="5180297" y="4154301"/>
                <a:ext cx="47625" cy="38100"/>
              </a:xfrm>
              <a:custGeom>
                <a:avLst/>
                <a:gdLst>
                  <a:gd name="connsiteX0" fmla="*/ 9318 w 47625"/>
                  <a:gd name="connsiteY0" fmla="*/ 7146 h 38100"/>
                  <a:gd name="connsiteX1" fmla="*/ 21320 w 47625"/>
                  <a:gd name="connsiteY1" fmla="*/ 28196 h 38100"/>
                  <a:gd name="connsiteX2" fmla="*/ 44751 w 47625"/>
                  <a:gd name="connsiteY2" fmla="*/ 37721 h 38100"/>
                  <a:gd name="connsiteX3" fmla="*/ 36274 w 47625"/>
                  <a:gd name="connsiteY3" fmla="*/ 40102 h 38100"/>
                  <a:gd name="connsiteX4" fmla="*/ 16747 w 47625"/>
                  <a:gd name="connsiteY4" fmla="*/ 32864 h 38100"/>
                  <a:gd name="connsiteX5" fmla="*/ 7222 w 47625"/>
                  <a:gd name="connsiteY5" fmla="*/ 15242 h 38100"/>
                  <a:gd name="connsiteX6" fmla="*/ 9318 w 47625"/>
                  <a:gd name="connsiteY6" fmla="*/ 7146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38100">
                    <a:moveTo>
                      <a:pt x="9318" y="7146"/>
                    </a:moveTo>
                    <a:cubicBezTo>
                      <a:pt x="11223" y="7146"/>
                      <a:pt x="11033" y="19338"/>
                      <a:pt x="21320" y="28196"/>
                    </a:cubicBezTo>
                    <a:cubicBezTo>
                      <a:pt x="31606" y="37054"/>
                      <a:pt x="44656" y="35911"/>
                      <a:pt x="44751" y="37721"/>
                    </a:cubicBezTo>
                    <a:cubicBezTo>
                      <a:pt x="44846" y="39531"/>
                      <a:pt x="41798" y="40102"/>
                      <a:pt x="36274" y="40102"/>
                    </a:cubicBezTo>
                    <a:cubicBezTo>
                      <a:pt x="29114" y="40073"/>
                      <a:pt x="22196" y="37508"/>
                      <a:pt x="16747" y="32864"/>
                    </a:cubicBezTo>
                    <a:cubicBezTo>
                      <a:pt x="11372" y="28477"/>
                      <a:pt x="7947" y="22143"/>
                      <a:pt x="7222" y="15242"/>
                    </a:cubicBezTo>
                    <a:cubicBezTo>
                      <a:pt x="6746" y="10099"/>
                      <a:pt x="8556" y="7051"/>
                      <a:pt x="9318" y="714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2" name="Полилиния: фигура 341">
                <a:extLst>
                  <a:ext uri="{FF2B5EF4-FFF2-40B4-BE49-F238E27FC236}">
                    <a16:creationId xmlns:a16="http://schemas.microsoft.com/office/drawing/2014/main" id="{D8A9D58B-5547-44E4-844D-9BB44F098C7E}"/>
                  </a:ext>
                </a:extLst>
              </p:cNvPr>
              <p:cNvSpPr/>
              <p:nvPr/>
            </p:nvSpPr>
            <p:spPr>
              <a:xfrm>
                <a:off x="5128055" y="4009790"/>
                <a:ext cx="57150" cy="28575"/>
              </a:xfrm>
              <a:custGeom>
                <a:avLst/>
                <a:gdLst>
                  <a:gd name="connsiteX0" fmla="*/ 58988 w 57150"/>
                  <a:gd name="connsiteY0" fmla="*/ 16021 h 28575"/>
                  <a:gd name="connsiteX1" fmla="*/ 33366 w 57150"/>
                  <a:gd name="connsiteY1" fmla="*/ 18783 h 28575"/>
                  <a:gd name="connsiteX2" fmla="*/ 7648 w 57150"/>
                  <a:gd name="connsiteY2" fmla="*/ 20783 h 28575"/>
                  <a:gd name="connsiteX3" fmla="*/ 13173 w 57150"/>
                  <a:gd name="connsiteY3" fmla="*/ 13735 h 28575"/>
                  <a:gd name="connsiteX4" fmla="*/ 32223 w 57150"/>
                  <a:gd name="connsiteY4" fmla="*/ 7353 h 28575"/>
                  <a:gd name="connsiteX5" fmla="*/ 52225 w 57150"/>
                  <a:gd name="connsiteY5" fmla="*/ 10115 h 28575"/>
                  <a:gd name="connsiteX6" fmla="*/ 58988 w 57150"/>
                  <a:gd name="connsiteY6" fmla="*/ 1602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150" h="28575">
                    <a:moveTo>
                      <a:pt x="58988" y="16021"/>
                    </a:moveTo>
                    <a:cubicBezTo>
                      <a:pt x="57845" y="19069"/>
                      <a:pt x="46606" y="17449"/>
                      <a:pt x="33366" y="18783"/>
                    </a:cubicBezTo>
                    <a:cubicBezTo>
                      <a:pt x="20126" y="20116"/>
                      <a:pt x="9363" y="23545"/>
                      <a:pt x="7648" y="20783"/>
                    </a:cubicBezTo>
                    <a:cubicBezTo>
                      <a:pt x="5934" y="18021"/>
                      <a:pt x="8791" y="16592"/>
                      <a:pt x="13173" y="13735"/>
                    </a:cubicBezTo>
                    <a:cubicBezTo>
                      <a:pt x="18911" y="10094"/>
                      <a:pt x="25449" y="7904"/>
                      <a:pt x="32223" y="7353"/>
                    </a:cubicBezTo>
                    <a:cubicBezTo>
                      <a:pt x="39015" y="6682"/>
                      <a:pt x="45869" y="7629"/>
                      <a:pt x="52225" y="10115"/>
                    </a:cubicBezTo>
                    <a:cubicBezTo>
                      <a:pt x="57274" y="12116"/>
                      <a:pt x="59655" y="14306"/>
                      <a:pt x="58988" y="1602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3" name="Полилиния: фигура 342">
                <a:extLst>
                  <a:ext uri="{FF2B5EF4-FFF2-40B4-BE49-F238E27FC236}">
                    <a16:creationId xmlns:a16="http://schemas.microsoft.com/office/drawing/2014/main" id="{69A17388-7F29-45D9-9560-6B2277EEA26C}"/>
                  </a:ext>
                </a:extLst>
              </p:cNvPr>
              <p:cNvSpPr/>
              <p:nvPr/>
            </p:nvSpPr>
            <p:spPr>
              <a:xfrm>
                <a:off x="5244904" y="4017933"/>
                <a:ext cx="47625" cy="19050"/>
              </a:xfrm>
              <a:custGeom>
                <a:avLst/>
                <a:gdLst>
                  <a:gd name="connsiteX0" fmla="*/ 45866 w 47625"/>
                  <a:gd name="connsiteY0" fmla="*/ 19117 h 19050"/>
                  <a:gd name="connsiteX1" fmla="*/ 26816 w 47625"/>
                  <a:gd name="connsiteY1" fmla="*/ 18641 h 19050"/>
                  <a:gd name="connsiteX2" fmla="*/ 7766 w 47625"/>
                  <a:gd name="connsiteY2" fmla="*/ 17307 h 19050"/>
                  <a:gd name="connsiteX3" fmla="*/ 11766 w 47625"/>
                  <a:gd name="connsiteY3" fmla="*/ 11116 h 19050"/>
                  <a:gd name="connsiteX4" fmla="*/ 27388 w 47625"/>
                  <a:gd name="connsiteY4" fmla="*/ 7211 h 19050"/>
                  <a:gd name="connsiteX5" fmla="*/ 42533 w 47625"/>
                  <a:gd name="connsiteY5" fmla="*/ 12545 h 19050"/>
                  <a:gd name="connsiteX6" fmla="*/ 45866 w 47625"/>
                  <a:gd name="connsiteY6" fmla="*/ 19117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45866" y="19117"/>
                    </a:moveTo>
                    <a:cubicBezTo>
                      <a:pt x="43866" y="21689"/>
                      <a:pt x="36341" y="19117"/>
                      <a:pt x="26816" y="18641"/>
                    </a:cubicBezTo>
                    <a:cubicBezTo>
                      <a:pt x="17291" y="18165"/>
                      <a:pt x="9576" y="19974"/>
                      <a:pt x="7766" y="17307"/>
                    </a:cubicBezTo>
                    <a:cubicBezTo>
                      <a:pt x="5956" y="14641"/>
                      <a:pt x="8338" y="13402"/>
                      <a:pt x="11766" y="11116"/>
                    </a:cubicBezTo>
                    <a:cubicBezTo>
                      <a:pt x="16424" y="8182"/>
                      <a:pt x="21897" y="6814"/>
                      <a:pt x="27388" y="7211"/>
                    </a:cubicBezTo>
                    <a:cubicBezTo>
                      <a:pt x="32866" y="7379"/>
                      <a:pt x="38158" y="9242"/>
                      <a:pt x="42533" y="12545"/>
                    </a:cubicBezTo>
                    <a:cubicBezTo>
                      <a:pt x="45771" y="15688"/>
                      <a:pt x="46914" y="17974"/>
                      <a:pt x="45866" y="1911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4" name="Полилиния: фигура 343">
                <a:extLst>
                  <a:ext uri="{FF2B5EF4-FFF2-40B4-BE49-F238E27FC236}">
                    <a16:creationId xmlns:a16="http://schemas.microsoft.com/office/drawing/2014/main" id="{73B1734C-9188-4DD8-A72A-40207D6203E9}"/>
                  </a:ext>
                </a:extLst>
              </p:cNvPr>
              <p:cNvSpPr/>
              <p:nvPr/>
            </p:nvSpPr>
            <p:spPr>
              <a:xfrm>
                <a:off x="4942844" y="3862753"/>
                <a:ext cx="428625" cy="400050"/>
              </a:xfrm>
              <a:custGeom>
                <a:avLst/>
                <a:gdLst>
                  <a:gd name="connsiteX0" fmla="*/ 396600 w 428625"/>
                  <a:gd name="connsiteY0" fmla="*/ 144293 h 400050"/>
                  <a:gd name="connsiteX1" fmla="*/ 388217 w 428625"/>
                  <a:gd name="connsiteY1" fmla="*/ 110003 h 400050"/>
                  <a:gd name="connsiteX2" fmla="*/ 389265 w 428625"/>
                  <a:gd name="connsiteY2" fmla="*/ 74094 h 400050"/>
                  <a:gd name="connsiteX3" fmla="*/ 324400 w 428625"/>
                  <a:gd name="connsiteY3" fmla="*/ 7419 h 400050"/>
                  <a:gd name="connsiteX4" fmla="*/ 248200 w 428625"/>
                  <a:gd name="connsiteY4" fmla="*/ 38851 h 400050"/>
                  <a:gd name="connsiteX5" fmla="*/ 248200 w 428625"/>
                  <a:gd name="connsiteY5" fmla="*/ 38851 h 400050"/>
                  <a:gd name="connsiteX6" fmla="*/ 244676 w 428625"/>
                  <a:gd name="connsiteY6" fmla="*/ 33994 h 400050"/>
                  <a:gd name="connsiteX7" fmla="*/ 218101 w 428625"/>
                  <a:gd name="connsiteY7" fmla="*/ 18563 h 400050"/>
                  <a:gd name="connsiteX8" fmla="*/ 175715 w 428625"/>
                  <a:gd name="connsiteY8" fmla="*/ 19611 h 400050"/>
                  <a:gd name="connsiteX9" fmla="*/ 144854 w 428625"/>
                  <a:gd name="connsiteY9" fmla="*/ 38661 h 400050"/>
                  <a:gd name="connsiteX10" fmla="*/ 104277 w 428625"/>
                  <a:gd name="connsiteY10" fmla="*/ 42185 h 400050"/>
                  <a:gd name="connsiteX11" fmla="*/ 40555 w 428625"/>
                  <a:gd name="connsiteY11" fmla="*/ 98002 h 400050"/>
                  <a:gd name="connsiteX12" fmla="*/ 25124 w 428625"/>
                  <a:gd name="connsiteY12" fmla="*/ 195633 h 400050"/>
                  <a:gd name="connsiteX13" fmla="*/ 8646 w 428625"/>
                  <a:gd name="connsiteY13" fmla="*/ 223160 h 400050"/>
                  <a:gd name="connsiteX14" fmla="*/ 22076 w 428625"/>
                  <a:gd name="connsiteY14" fmla="*/ 278691 h 400050"/>
                  <a:gd name="connsiteX15" fmla="*/ 31601 w 428625"/>
                  <a:gd name="connsiteY15" fmla="*/ 299932 h 400050"/>
                  <a:gd name="connsiteX16" fmla="*/ 31601 w 428625"/>
                  <a:gd name="connsiteY16" fmla="*/ 312600 h 400050"/>
                  <a:gd name="connsiteX17" fmla="*/ 11504 w 428625"/>
                  <a:gd name="connsiteY17" fmla="*/ 337365 h 400050"/>
                  <a:gd name="connsiteX18" fmla="*/ 78750 w 428625"/>
                  <a:gd name="connsiteY18" fmla="*/ 365940 h 400050"/>
                  <a:gd name="connsiteX19" fmla="*/ 60272 w 428625"/>
                  <a:gd name="connsiteY19" fmla="*/ 396706 h 400050"/>
                  <a:gd name="connsiteX20" fmla="*/ 157194 w 428625"/>
                  <a:gd name="connsiteY20" fmla="*/ 349599 h 400050"/>
                  <a:gd name="connsiteX21" fmla="*/ 161237 w 428625"/>
                  <a:gd name="connsiteY21" fmla="*/ 320029 h 400050"/>
                  <a:gd name="connsiteX22" fmla="*/ 154570 w 428625"/>
                  <a:gd name="connsiteY22" fmla="*/ 264594 h 400050"/>
                  <a:gd name="connsiteX23" fmla="*/ 175524 w 428625"/>
                  <a:gd name="connsiteY23" fmla="*/ 215445 h 400050"/>
                  <a:gd name="connsiteX24" fmla="*/ 181429 w 428625"/>
                  <a:gd name="connsiteY24" fmla="*/ 186108 h 400050"/>
                  <a:gd name="connsiteX25" fmla="*/ 189526 w 428625"/>
                  <a:gd name="connsiteY25" fmla="*/ 165534 h 400050"/>
                  <a:gd name="connsiteX26" fmla="*/ 184001 w 428625"/>
                  <a:gd name="connsiteY26" fmla="*/ 105526 h 400050"/>
                  <a:gd name="connsiteX27" fmla="*/ 187335 w 428625"/>
                  <a:gd name="connsiteY27" fmla="*/ 100002 h 400050"/>
                  <a:gd name="connsiteX28" fmla="*/ 213433 w 428625"/>
                  <a:gd name="connsiteY28" fmla="*/ 89334 h 400050"/>
                  <a:gd name="connsiteX29" fmla="*/ 241151 w 428625"/>
                  <a:gd name="connsiteY29" fmla="*/ 86476 h 400050"/>
                  <a:gd name="connsiteX30" fmla="*/ 268678 w 428625"/>
                  <a:gd name="connsiteY30" fmla="*/ 100192 h 400050"/>
                  <a:gd name="connsiteX31" fmla="*/ 329353 w 428625"/>
                  <a:gd name="connsiteY31" fmla="*/ 117052 h 400050"/>
                  <a:gd name="connsiteX32" fmla="*/ 354689 w 428625"/>
                  <a:gd name="connsiteY32" fmla="*/ 161533 h 400050"/>
                  <a:gd name="connsiteX33" fmla="*/ 394218 w 428625"/>
                  <a:gd name="connsiteY33" fmla="*/ 179154 h 400050"/>
                  <a:gd name="connsiteX34" fmla="*/ 428413 w 428625"/>
                  <a:gd name="connsiteY34" fmla="*/ 154104 h 400050"/>
                  <a:gd name="connsiteX35" fmla="*/ 396600 w 428625"/>
                  <a:gd name="connsiteY35" fmla="*/ 144293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28625" h="400050">
                    <a:moveTo>
                      <a:pt x="396600" y="144293"/>
                    </a:moveTo>
                    <a:cubicBezTo>
                      <a:pt x="390144" y="134082"/>
                      <a:pt x="387201" y="122041"/>
                      <a:pt x="388217" y="110003"/>
                    </a:cubicBezTo>
                    <a:cubicBezTo>
                      <a:pt x="389233" y="98062"/>
                      <a:pt x="389582" y="86074"/>
                      <a:pt x="389265" y="74094"/>
                    </a:cubicBezTo>
                    <a:cubicBezTo>
                      <a:pt x="385291" y="39719"/>
                      <a:pt x="358653" y="12337"/>
                      <a:pt x="324400" y="7419"/>
                    </a:cubicBezTo>
                    <a:cubicBezTo>
                      <a:pt x="282395" y="3704"/>
                      <a:pt x="248200" y="38851"/>
                      <a:pt x="248200" y="38851"/>
                    </a:cubicBezTo>
                    <a:lnTo>
                      <a:pt x="248200" y="38851"/>
                    </a:lnTo>
                    <a:cubicBezTo>
                      <a:pt x="247189" y="37119"/>
                      <a:pt x="246009" y="35492"/>
                      <a:pt x="244676" y="33994"/>
                    </a:cubicBezTo>
                    <a:cubicBezTo>
                      <a:pt x="237471" y="26419"/>
                      <a:pt x="228250" y="21065"/>
                      <a:pt x="218101" y="18563"/>
                    </a:cubicBezTo>
                    <a:cubicBezTo>
                      <a:pt x="204292" y="13896"/>
                      <a:pt x="189277" y="14268"/>
                      <a:pt x="175715" y="19611"/>
                    </a:cubicBezTo>
                    <a:cubicBezTo>
                      <a:pt x="164761" y="24564"/>
                      <a:pt x="156665" y="34089"/>
                      <a:pt x="144854" y="38661"/>
                    </a:cubicBezTo>
                    <a:cubicBezTo>
                      <a:pt x="133043" y="43233"/>
                      <a:pt x="117803" y="40566"/>
                      <a:pt x="104277" y="42185"/>
                    </a:cubicBezTo>
                    <a:cubicBezTo>
                      <a:pt x="74845" y="45614"/>
                      <a:pt x="51318" y="70760"/>
                      <a:pt x="40555" y="98002"/>
                    </a:cubicBezTo>
                    <a:cubicBezTo>
                      <a:pt x="30256" y="129518"/>
                      <a:pt x="25047" y="162476"/>
                      <a:pt x="25124" y="195633"/>
                    </a:cubicBezTo>
                    <a:cubicBezTo>
                      <a:pt x="18023" y="203744"/>
                      <a:pt x="12440" y="213069"/>
                      <a:pt x="8646" y="223160"/>
                    </a:cubicBezTo>
                    <a:cubicBezTo>
                      <a:pt x="3312" y="242210"/>
                      <a:pt x="13218" y="261260"/>
                      <a:pt x="22076" y="278691"/>
                    </a:cubicBezTo>
                    <a:cubicBezTo>
                      <a:pt x="25853" y="285486"/>
                      <a:pt x="29040" y="292592"/>
                      <a:pt x="31601" y="299932"/>
                    </a:cubicBezTo>
                    <a:cubicBezTo>
                      <a:pt x="32078" y="304141"/>
                      <a:pt x="32078" y="308391"/>
                      <a:pt x="31601" y="312600"/>
                    </a:cubicBezTo>
                    <a:cubicBezTo>
                      <a:pt x="31346" y="324476"/>
                      <a:pt x="23073" y="334670"/>
                      <a:pt x="11504" y="337365"/>
                    </a:cubicBezTo>
                    <a:cubicBezTo>
                      <a:pt x="29941" y="354379"/>
                      <a:pt x="53705" y="364477"/>
                      <a:pt x="78750" y="365940"/>
                    </a:cubicBezTo>
                    <a:cubicBezTo>
                      <a:pt x="76477" y="378078"/>
                      <a:pt x="69919" y="388996"/>
                      <a:pt x="60272" y="396706"/>
                    </a:cubicBezTo>
                    <a:cubicBezTo>
                      <a:pt x="100044" y="410462"/>
                      <a:pt x="143438" y="389371"/>
                      <a:pt x="157194" y="349599"/>
                    </a:cubicBezTo>
                    <a:cubicBezTo>
                      <a:pt x="160477" y="340105"/>
                      <a:pt x="161852" y="330056"/>
                      <a:pt x="161237" y="320029"/>
                    </a:cubicBezTo>
                    <a:cubicBezTo>
                      <a:pt x="159998" y="300979"/>
                      <a:pt x="151712" y="283072"/>
                      <a:pt x="154570" y="264594"/>
                    </a:cubicBezTo>
                    <a:cubicBezTo>
                      <a:pt x="157427" y="246115"/>
                      <a:pt x="168857" y="232113"/>
                      <a:pt x="175524" y="215445"/>
                    </a:cubicBezTo>
                    <a:cubicBezTo>
                      <a:pt x="179198" y="206088"/>
                      <a:pt x="181196" y="196157"/>
                      <a:pt x="181429" y="186108"/>
                    </a:cubicBezTo>
                    <a:cubicBezTo>
                      <a:pt x="185530" y="179888"/>
                      <a:pt x="188288" y="172880"/>
                      <a:pt x="189526" y="165534"/>
                    </a:cubicBezTo>
                    <a:cubicBezTo>
                      <a:pt x="192764" y="145627"/>
                      <a:pt x="182858" y="125433"/>
                      <a:pt x="184001" y="105526"/>
                    </a:cubicBezTo>
                    <a:cubicBezTo>
                      <a:pt x="184906" y="103568"/>
                      <a:pt x="186024" y="101715"/>
                      <a:pt x="187335" y="100002"/>
                    </a:cubicBezTo>
                    <a:cubicBezTo>
                      <a:pt x="194253" y="93092"/>
                      <a:pt x="203656" y="89248"/>
                      <a:pt x="213433" y="89334"/>
                    </a:cubicBezTo>
                    <a:cubicBezTo>
                      <a:pt x="222744" y="89293"/>
                      <a:pt x="232028" y="88336"/>
                      <a:pt x="241151" y="86476"/>
                    </a:cubicBezTo>
                    <a:cubicBezTo>
                      <a:pt x="247992" y="94713"/>
                      <a:pt x="257983" y="99691"/>
                      <a:pt x="268678" y="100192"/>
                    </a:cubicBezTo>
                    <a:cubicBezTo>
                      <a:pt x="287729" y="100192"/>
                      <a:pt x="322685" y="97049"/>
                      <a:pt x="329353" y="117052"/>
                    </a:cubicBezTo>
                    <a:cubicBezTo>
                      <a:pt x="333805" y="133823"/>
                      <a:pt x="342535" y="149150"/>
                      <a:pt x="354689" y="161533"/>
                    </a:cubicBezTo>
                    <a:cubicBezTo>
                      <a:pt x="367358" y="172868"/>
                      <a:pt x="377169" y="179917"/>
                      <a:pt x="394218" y="179154"/>
                    </a:cubicBezTo>
                    <a:cubicBezTo>
                      <a:pt x="411268" y="178392"/>
                      <a:pt x="429366" y="171154"/>
                      <a:pt x="428413" y="154104"/>
                    </a:cubicBezTo>
                    <a:cubicBezTo>
                      <a:pt x="416829" y="158900"/>
                      <a:pt x="403471" y="154781"/>
                      <a:pt x="396600" y="14429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5" name="Полилиния: фигура 344">
                <a:extLst>
                  <a:ext uri="{FF2B5EF4-FFF2-40B4-BE49-F238E27FC236}">
                    <a16:creationId xmlns:a16="http://schemas.microsoft.com/office/drawing/2014/main" id="{87D3EA84-FBE1-4C57-9FAE-6E0B28A9F0CA}"/>
                  </a:ext>
                </a:extLst>
              </p:cNvPr>
              <p:cNvSpPr/>
              <p:nvPr/>
            </p:nvSpPr>
            <p:spPr>
              <a:xfrm>
                <a:off x="5180852" y="3899418"/>
                <a:ext cx="200025" cy="123825"/>
              </a:xfrm>
              <a:custGeom>
                <a:avLst/>
                <a:gdLst>
                  <a:gd name="connsiteX0" fmla="*/ 200216 w 200025"/>
                  <a:gd name="connsiteY0" fmla="*/ 109247 h 123825"/>
                  <a:gd name="connsiteX1" fmla="*/ 198692 w 200025"/>
                  <a:gd name="connsiteY1" fmla="*/ 111724 h 123825"/>
                  <a:gd name="connsiteX2" fmla="*/ 192500 w 200025"/>
                  <a:gd name="connsiteY2" fmla="*/ 117344 h 123825"/>
                  <a:gd name="connsiteX3" fmla="*/ 162496 w 200025"/>
                  <a:gd name="connsiteY3" fmla="*/ 120868 h 123825"/>
                  <a:gd name="connsiteX4" fmla="*/ 145923 w 200025"/>
                  <a:gd name="connsiteY4" fmla="*/ 107057 h 123825"/>
                  <a:gd name="connsiteX5" fmla="*/ 138303 w 200025"/>
                  <a:gd name="connsiteY5" fmla="*/ 83720 h 123825"/>
                  <a:gd name="connsiteX6" fmla="*/ 136017 w 200025"/>
                  <a:gd name="connsiteY6" fmla="*/ 57431 h 123825"/>
                  <a:gd name="connsiteX7" fmla="*/ 128016 w 200025"/>
                  <a:gd name="connsiteY7" fmla="*/ 31904 h 123825"/>
                  <a:gd name="connsiteX8" fmla="*/ 82296 w 200025"/>
                  <a:gd name="connsiteY8" fmla="*/ 11807 h 123825"/>
                  <a:gd name="connsiteX9" fmla="*/ 41339 w 200025"/>
                  <a:gd name="connsiteY9" fmla="*/ 25332 h 123825"/>
                  <a:gd name="connsiteX10" fmla="*/ 16669 w 200025"/>
                  <a:gd name="connsiteY10" fmla="*/ 42096 h 123825"/>
                  <a:gd name="connsiteX11" fmla="*/ 7144 w 200025"/>
                  <a:gd name="connsiteY11" fmla="*/ 48287 h 123825"/>
                  <a:gd name="connsiteX12" fmla="*/ 15145 w 200025"/>
                  <a:gd name="connsiteY12" fmla="*/ 40572 h 123825"/>
                  <a:gd name="connsiteX13" fmla="*/ 39244 w 200025"/>
                  <a:gd name="connsiteY13" fmla="*/ 22284 h 123825"/>
                  <a:gd name="connsiteX14" fmla="*/ 81820 w 200025"/>
                  <a:gd name="connsiteY14" fmla="*/ 7235 h 123825"/>
                  <a:gd name="connsiteX15" fmla="*/ 108585 w 200025"/>
                  <a:gd name="connsiteY15" fmla="*/ 11235 h 123825"/>
                  <a:gd name="connsiteX16" fmla="*/ 131826 w 200025"/>
                  <a:gd name="connsiteY16" fmla="*/ 29142 h 123825"/>
                  <a:gd name="connsiteX17" fmla="*/ 140589 w 200025"/>
                  <a:gd name="connsiteY17" fmla="*/ 56955 h 123825"/>
                  <a:gd name="connsiteX18" fmla="*/ 142590 w 200025"/>
                  <a:gd name="connsiteY18" fmla="*/ 83149 h 123825"/>
                  <a:gd name="connsiteX19" fmla="*/ 149162 w 200025"/>
                  <a:gd name="connsiteY19" fmla="*/ 104961 h 123825"/>
                  <a:gd name="connsiteX20" fmla="*/ 163449 w 200025"/>
                  <a:gd name="connsiteY20" fmla="*/ 117629 h 123825"/>
                  <a:gd name="connsiteX21" fmla="*/ 191262 w 200025"/>
                  <a:gd name="connsiteY21" fmla="*/ 115724 h 123825"/>
                  <a:gd name="connsiteX22" fmla="*/ 200216 w 200025"/>
                  <a:gd name="connsiteY22" fmla="*/ 109247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00025" h="123825">
                    <a:moveTo>
                      <a:pt x="200216" y="109247"/>
                    </a:moveTo>
                    <a:cubicBezTo>
                      <a:pt x="200216" y="109247"/>
                      <a:pt x="200216" y="110200"/>
                      <a:pt x="198692" y="111724"/>
                    </a:cubicBezTo>
                    <a:cubicBezTo>
                      <a:pt x="196988" y="113959"/>
                      <a:pt x="194890" y="115863"/>
                      <a:pt x="192500" y="117344"/>
                    </a:cubicBezTo>
                    <a:cubicBezTo>
                      <a:pt x="183599" y="123140"/>
                      <a:pt x="172499" y="124444"/>
                      <a:pt x="162496" y="120868"/>
                    </a:cubicBezTo>
                    <a:cubicBezTo>
                      <a:pt x="155507" y="118378"/>
                      <a:pt x="149632" y="113482"/>
                      <a:pt x="145923" y="107057"/>
                    </a:cubicBezTo>
                    <a:cubicBezTo>
                      <a:pt x="141822" y="99877"/>
                      <a:pt x="139229" y="91936"/>
                      <a:pt x="138303" y="83720"/>
                    </a:cubicBezTo>
                    <a:cubicBezTo>
                      <a:pt x="137065" y="75243"/>
                      <a:pt x="137065" y="66385"/>
                      <a:pt x="136017" y="57431"/>
                    </a:cubicBezTo>
                    <a:cubicBezTo>
                      <a:pt x="135489" y="48394"/>
                      <a:pt x="132741" y="39626"/>
                      <a:pt x="128016" y="31904"/>
                    </a:cubicBezTo>
                    <a:cubicBezTo>
                      <a:pt x="117167" y="17890"/>
                      <a:pt x="99957" y="10325"/>
                      <a:pt x="82296" y="11807"/>
                    </a:cubicBezTo>
                    <a:cubicBezTo>
                      <a:pt x="67748" y="12922"/>
                      <a:pt x="53690" y="17564"/>
                      <a:pt x="41339" y="25332"/>
                    </a:cubicBezTo>
                    <a:cubicBezTo>
                      <a:pt x="32813" y="30461"/>
                      <a:pt x="24577" y="36058"/>
                      <a:pt x="16669" y="42096"/>
                    </a:cubicBezTo>
                    <a:cubicBezTo>
                      <a:pt x="13761" y="44544"/>
                      <a:pt x="10562" y="46623"/>
                      <a:pt x="7144" y="48287"/>
                    </a:cubicBezTo>
                    <a:cubicBezTo>
                      <a:pt x="9501" y="45412"/>
                      <a:pt x="12186" y="42823"/>
                      <a:pt x="15145" y="40572"/>
                    </a:cubicBezTo>
                    <a:cubicBezTo>
                      <a:pt x="22721" y="33897"/>
                      <a:pt x="30776" y="27785"/>
                      <a:pt x="39244" y="22284"/>
                    </a:cubicBezTo>
                    <a:cubicBezTo>
                      <a:pt x="51945" y="13768"/>
                      <a:pt x="66588" y="8593"/>
                      <a:pt x="81820" y="7235"/>
                    </a:cubicBezTo>
                    <a:cubicBezTo>
                      <a:pt x="90919" y="6764"/>
                      <a:pt x="100021" y="8125"/>
                      <a:pt x="108585" y="11235"/>
                    </a:cubicBezTo>
                    <a:cubicBezTo>
                      <a:pt x="118024" y="14610"/>
                      <a:pt x="126157" y="20876"/>
                      <a:pt x="131826" y="29142"/>
                    </a:cubicBezTo>
                    <a:cubicBezTo>
                      <a:pt x="137049" y="37524"/>
                      <a:pt x="140064" y="47093"/>
                      <a:pt x="140589" y="56955"/>
                    </a:cubicBezTo>
                    <a:cubicBezTo>
                      <a:pt x="141542" y="66480"/>
                      <a:pt x="141542" y="74957"/>
                      <a:pt x="142590" y="83149"/>
                    </a:cubicBezTo>
                    <a:cubicBezTo>
                      <a:pt x="143294" y="90787"/>
                      <a:pt x="145529" y="98205"/>
                      <a:pt x="149162" y="104961"/>
                    </a:cubicBezTo>
                    <a:cubicBezTo>
                      <a:pt x="152331" y="110697"/>
                      <a:pt x="157375" y="115170"/>
                      <a:pt x="163449" y="117629"/>
                    </a:cubicBezTo>
                    <a:cubicBezTo>
                      <a:pt x="172556" y="121074"/>
                      <a:pt x="182711" y="120379"/>
                      <a:pt x="191262" y="115724"/>
                    </a:cubicBezTo>
                    <a:cubicBezTo>
                      <a:pt x="194417" y="113811"/>
                      <a:pt x="197411" y="111645"/>
                      <a:pt x="200216" y="109247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6" name="Полилиния: фигура 345">
                <a:extLst>
                  <a:ext uri="{FF2B5EF4-FFF2-40B4-BE49-F238E27FC236}">
                    <a16:creationId xmlns:a16="http://schemas.microsoft.com/office/drawing/2014/main" id="{65ECFC92-6AC1-483C-99D9-7A085FF0A8BF}"/>
                  </a:ext>
                </a:extLst>
              </p:cNvPr>
              <p:cNvSpPr/>
              <p:nvPr/>
            </p:nvSpPr>
            <p:spPr>
              <a:xfrm>
                <a:off x="4954347" y="3902493"/>
                <a:ext cx="228600" cy="304800"/>
              </a:xfrm>
              <a:custGeom>
                <a:avLst/>
                <a:gdLst>
                  <a:gd name="connsiteX0" fmla="*/ 7144 w 228600"/>
                  <a:gd name="connsiteY0" fmla="*/ 305340 h 304800"/>
                  <a:gd name="connsiteX1" fmla="*/ 23622 w 228600"/>
                  <a:gd name="connsiteY1" fmla="*/ 299244 h 304800"/>
                  <a:gd name="connsiteX2" fmla="*/ 33147 w 228600"/>
                  <a:gd name="connsiteY2" fmla="*/ 281718 h 304800"/>
                  <a:gd name="connsiteX3" fmla="*/ 31052 w 228600"/>
                  <a:gd name="connsiteY3" fmla="*/ 269526 h 304800"/>
                  <a:gd name="connsiteX4" fmla="*/ 23241 w 228600"/>
                  <a:gd name="connsiteY4" fmla="*/ 257143 h 304800"/>
                  <a:gd name="connsiteX5" fmla="*/ 16097 w 228600"/>
                  <a:gd name="connsiteY5" fmla="*/ 241522 h 304800"/>
                  <a:gd name="connsiteX6" fmla="*/ 20669 w 228600"/>
                  <a:gd name="connsiteY6" fmla="*/ 223329 h 304800"/>
                  <a:gd name="connsiteX7" fmla="*/ 27717 w 228600"/>
                  <a:gd name="connsiteY7" fmla="*/ 206280 h 304800"/>
                  <a:gd name="connsiteX8" fmla="*/ 27241 w 228600"/>
                  <a:gd name="connsiteY8" fmla="*/ 187230 h 304800"/>
                  <a:gd name="connsiteX9" fmla="*/ 23908 w 228600"/>
                  <a:gd name="connsiteY9" fmla="*/ 165989 h 304800"/>
                  <a:gd name="connsiteX10" fmla="*/ 25527 w 228600"/>
                  <a:gd name="connsiteY10" fmla="*/ 143224 h 304800"/>
                  <a:gd name="connsiteX11" fmla="*/ 48387 w 228600"/>
                  <a:gd name="connsiteY11" fmla="*/ 101600 h 304800"/>
                  <a:gd name="connsiteX12" fmla="*/ 89440 w 228600"/>
                  <a:gd name="connsiteY12" fmla="*/ 78073 h 304800"/>
                  <a:gd name="connsiteX13" fmla="*/ 126778 w 228600"/>
                  <a:gd name="connsiteY13" fmla="*/ 57976 h 304800"/>
                  <a:gd name="connsiteX14" fmla="*/ 147923 w 228600"/>
                  <a:gd name="connsiteY14" fmla="*/ 25591 h 304800"/>
                  <a:gd name="connsiteX15" fmla="*/ 177927 w 228600"/>
                  <a:gd name="connsiteY15" fmla="*/ 7683 h 304800"/>
                  <a:gd name="connsiteX16" fmla="*/ 206502 w 228600"/>
                  <a:gd name="connsiteY16" fmla="*/ 13303 h 304800"/>
                  <a:gd name="connsiteX17" fmla="*/ 221647 w 228600"/>
                  <a:gd name="connsiteY17" fmla="*/ 28829 h 304800"/>
                  <a:gd name="connsiteX18" fmla="*/ 226505 w 228600"/>
                  <a:gd name="connsiteY18" fmla="*/ 41688 h 304800"/>
                  <a:gd name="connsiteX19" fmla="*/ 226505 w 228600"/>
                  <a:gd name="connsiteY19" fmla="*/ 46450 h 304800"/>
                  <a:gd name="connsiteX20" fmla="*/ 219647 w 228600"/>
                  <a:gd name="connsiteY20" fmla="*/ 29877 h 304800"/>
                  <a:gd name="connsiteX21" fmla="*/ 204693 w 228600"/>
                  <a:gd name="connsiteY21" fmla="*/ 15684 h 304800"/>
                  <a:gd name="connsiteX22" fmla="*/ 178404 w 228600"/>
                  <a:gd name="connsiteY22" fmla="*/ 11112 h 304800"/>
                  <a:gd name="connsiteX23" fmla="*/ 151258 w 228600"/>
                  <a:gd name="connsiteY23" fmla="*/ 27972 h 304800"/>
                  <a:gd name="connsiteX24" fmla="*/ 129921 w 228600"/>
                  <a:gd name="connsiteY24" fmla="*/ 61309 h 304800"/>
                  <a:gd name="connsiteX25" fmla="*/ 51816 w 228600"/>
                  <a:gd name="connsiteY25" fmla="*/ 105220 h 304800"/>
                  <a:gd name="connsiteX26" fmla="*/ 30289 w 228600"/>
                  <a:gd name="connsiteY26" fmla="*/ 144272 h 304800"/>
                  <a:gd name="connsiteX27" fmla="*/ 28670 w 228600"/>
                  <a:gd name="connsiteY27" fmla="*/ 165608 h 304800"/>
                  <a:gd name="connsiteX28" fmla="*/ 31814 w 228600"/>
                  <a:gd name="connsiteY28" fmla="*/ 186468 h 304800"/>
                  <a:gd name="connsiteX29" fmla="*/ 31814 w 228600"/>
                  <a:gd name="connsiteY29" fmla="*/ 207423 h 304800"/>
                  <a:gd name="connsiteX30" fmla="*/ 24194 w 228600"/>
                  <a:gd name="connsiteY30" fmla="*/ 225520 h 304800"/>
                  <a:gd name="connsiteX31" fmla="*/ 19717 w 228600"/>
                  <a:gd name="connsiteY31" fmla="*/ 241427 h 304800"/>
                  <a:gd name="connsiteX32" fmla="*/ 25909 w 228600"/>
                  <a:gd name="connsiteY32" fmla="*/ 255429 h 304800"/>
                  <a:gd name="connsiteX33" fmla="*/ 33815 w 228600"/>
                  <a:gd name="connsiteY33" fmla="*/ 268478 h 304800"/>
                  <a:gd name="connsiteX34" fmla="*/ 35720 w 228600"/>
                  <a:gd name="connsiteY34" fmla="*/ 282289 h 304800"/>
                  <a:gd name="connsiteX35" fmla="*/ 11907 w 228600"/>
                  <a:gd name="connsiteY35" fmla="*/ 305911 h 304800"/>
                  <a:gd name="connsiteX36" fmla="*/ 7144 w 228600"/>
                  <a:gd name="connsiteY36" fmla="*/ 305340 h 304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28600" h="304800">
                    <a:moveTo>
                      <a:pt x="7144" y="305340"/>
                    </a:moveTo>
                    <a:cubicBezTo>
                      <a:pt x="13118" y="304980"/>
                      <a:pt x="18852" y="302859"/>
                      <a:pt x="23622" y="299244"/>
                    </a:cubicBezTo>
                    <a:cubicBezTo>
                      <a:pt x="29113" y="294995"/>
                      <a:pt x="32569" y="288637"/>
                      <a:pt x="33147" y="281718"/>
                    </a:cubicBezTo>
                    <a:cubicBezTo>
                      <a:pt x="33562" y="277539"/>
                      <a:pt x="32839" y="273326"/>
                      <a:pt x="31052" y="269526"/>
                    </a:cubicBezTo>
                    <a:cubicBezTo>
                      <a:pt x="28833" y="265168"/>
                      <a:pt x="26218" y="261023"/>
                      <a:pt x="23241" y="257143"/>
                    </a:cubicBezTo>
                    <a:cubicBezTo>
                      <a:pt x="19573" y="252627"/>
                      <a:pt x="17115" y="247251"/>
                      <a:pt x="16097" y="241522"/>
                    </a:cubicBezTo>
                    <a:cubicBezTo>
                      <a:pt x="15875" y="235148"/>
                      <a:pt x="17460" y="228841"/>
                      <a:pt x="20669" y="223329"/>
                    </a:cubicBezTo>
                    <a:cubicBezTo>
                      <a:pt x="23767" y="217985"/>
                      <a:pt x="26137" y="212251"/>
                      <a:pt x="27717" y="206280"/>
                    </a:cubicBezTo>
                    <a:cubicBezTo>
                      <a:pt x="28708" y="199953"/>
                      <a:pt x="28547" y="193499"/>
                      <a:pt x="27241" y="187230"/>
                    </a:cubicBezTo>
                    <a:cubicBezTo>
                      <a:pt x="26194" y="180467"/>
                      <a:pt x="24479" y="173514"/>
                      <a:pt x="23908" y="165989"/>
                    </a:cubicBezTo>
                    <a:cubicBezTo>
                      <a:pt x="23313" y="158363"/>
                      <a:pt x="23859" y="150690"/>
                      <a:pt x="25527" y="143224"/>
                    </a:cubicBezTo>
                    <a:cubicBezTo>
                      <a:pt x="28907" y="127411"/>
                      <a:pt x="36856" y="112937"/>
                      <a:pt x="48387" y="101600"/>
                    </a:cubicBezTo>
                    <a:cubicBezTo>
                      <a:pt x="60335" y="91056"/>
                      <a:pt x="74302" y="83052"/>
                      <a:pt x="89440" y="78073"/>
                    </a:cubicBezTo>
                    <a:cubicBezTo>
                      <a:pt x="102983" y="73651"/>
                      <a:pt x="115628" y="66845"/>
                      <a:pt x="126778" y="57976"/>
                    </a:cubicBezTo>
                    <a:cubicBezTo>
                      <a:pt x="137065" y="49212"/>
                      <a:pt x="140398" y="36068"/>
                      <a:pt x="147923" y="25591"/>
                    </a:cubicBezTo>
                    <a:cubicBezTo>
                      <a:pt x="155078" y="15795"/>
                      <a:pt x="165909" y="9331"/>
                      <a:pt x="177927" y="7683"/>
                    </a:cubicBezTo>
                    <a:cubicBezTo>
                      <a:pt x="187818" y="6081"/>
                      <a:pt x="197955" y="8074"/>
                      <a:pt x="206502" y="13303"/>
                    </a:cubicBezTo>
                    <a:cubicBezTo>
                      <a:pt x="212749" y="17156"/>
                      <a:pt x="217951" y="22488"/>
                      <a:pt x="221647" y="28829"/>
                    </a:cubicBezTo>
                    <a:cubicBezTo>
                      <a:pt x="223994" y="32804"/>
                      <a:pt x="225637" y="37154"/>
                      <a:pt x="226505" y="41688"/>
                    </a:cubicBezTo>
                    <a:cubicBezTo>
                      <a:pt x="226779" y="43263"/>
                      <a:pt x="226779" y="44875"/>
                      <a:pt x="226505" y="46450"/>
                    </a:cubicBezTo>
                    <a:cubicBezTo>
                      <a:pt x="225066" y="40612"/>
                      <a:pt x="222754" y="35025"/>
                      <a:pt x="219647" y="29877"/>
                    </a:cubicBezTo>
                    <a:cubicBezTo>
                      <a:pt x="215857" y="24029"/>
                      <a:pt x="210731" y="19164"/>
                      <a:pt x="204693" y="15684"/>
                    </a:cubicBezTo>
                    <a:cubicBezTo>
                      <a:pt x="196722" y="11167"/>
                      <a:pt x="187432" y="9551"/>
                      <a:pt x="178404" y="11112"/>
                    </a:cubicBezTo>
                    <a:cubicBezTo>
                      <a:pt x="167472" y="12897"/>
                      <a:pt x="157703" y="18964"/>
                      <a:pt x="151258" y="27972"/>
                    </a:cubicBezTo>
                    <a:cubicBezTo>
                      <a:pt x="144494" y="37497"/>
                      <a:pt x="141065" y="51403"/>
                      <a:pt x="129921" y="61309"/>
                    </a:cubicBezTo>
                    <a:cubicBezTo>
                      <a:pt x="108395" y="81502"/>
                      <a:pt x="74295" y="83122"/>
                      <a:pt x="51816" y="105220"/>
                    </a:cubicBezTo>
                    <a:cubicBezTo>
                      <a:pt x="40949" y="115831"/>
                      <a:pt x="33460" y="129417"/>
                      <a:pt x="30289" y="144272"/>
                    </a:cubicBezTo>
                    <a:cubicBezTo>
                      <a:pt x="28672" y="151261"/>
                      <a:pt x="28126" y="158455"/>
                      <a:pt x="28670" y="165608"/>
                    </a:cubicBezTo>
                    <a:cubicBezTo>
                      <a:pt x="29338" y="172613"/>
                      <a:pt x="30387" y="179577"/>
                      <a:pt x="31814" y="186468"/>
                    </a:cubicBezTo>
                    <a:cubicBezTo>
                      <a:pt x="33051" y="193398"/>
                      <a:pt x="33051" y="200493"/>
                      <a:pt x="31814" y="207423"/>
                    </a:cubicBezTo>
                    <a:cubicBezTo>
                      <a:pt x="30085" y="213766"/>
                      <a:pt x="27522" y="219851"/>
                      <a:pt x="24194" y="225520"/>
                    </a:cubicBezTo>
                    <a:cubicBezTo>
                      <a:pt x="21198" y="230280"/>
                      <a:pt x="19644" y="235804"/>
                      <a:pt x="19717" y="241427"/>
                    </a:cubicBezTo>
                    <a:cubicBezTo>
                      <a:pt x="20576" y="246539"/>
                      <a:pt x="22705" y="251353"/>
                      <a:pt x="25909" y="255429"/>
                    </a:cubicBezTo>
                    <a:cubicBezTo>
                      <a:pt x="28916" y="259542"/>
                      <a:pt x="31561" y="263908"/>
                      <a:pt x="33815" y="268478"/>
                    </a:cubicBezTo>
                    <a:cubicBezTo>
                      <a:pt x="35580" y="272854"/>
                      <a:pt x="36235" y="277599"/>
                      <a:pt x="35720" y="282289"/>
                    </a:cubicBezTo>
                    <a:cubicBezTo>
                      <a:pt x="34347" y="294794"/>
                      <a:pt x="24422" y="304639"/>
                      <a:pt x="11907" y="305911"/>
                    </a:cubicBezTo>
                    <a:cubicBezTo>
                      <a:pt x="8763" y="305911"/>
                      <a:pt x="7144" y="305530"/>
                      <a:pt x="7144" y="305340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7" name="Полилиния: фигура 346">
                <a:extLst>
                  <a:ext uri="{FF2B5EF4-FFF2-40B4-BE49-F238E27FC236}">
                    <a16:creationId xmlns:a16="http://schemas.microsoft.com/office/drawing/2014/main" id="{393C0230-FFB0-4E3E-8CD1-B5F4A894DB4F}"/>
                  </a:ext>
                </a:extLst>
              </p:cNvPr>
              <p:cNvSpPr/>
              <p:nvPr/>
            </p:nvSpPr>
            <p:spPr>
              <a:xfrm>
                <a:off x="5183328" y="3872232"/>
                <a:ext cx="123825" cy="66675"/>
              </a:xfrm>
              <a:custGeom>
                <a:avLst/>
                <a:gdLst>
                  <a:gd name="connsiteX0" fmla="*/ 125730 w 123825"/>
                  <a:gd name="connsiteY0" fmla="*/ 23467 h 66675"/>
                  <a:gd name="connsiteX1" fmla="*/ 106680 w 123825"/>
                  <a:gd name="connsiteY1" fmla="*/ 15656 h 66675"/>
                  <a:gd name="connsiteX2" fmla="*/ 18479 w 123825"/>
                  <a:gd name="connsiteY2" fmla="*/ 43184 h 66675"/>
                  <a:gd name="connsiteX3" fmla="*/ 7144 w 123825"/>
                  <a:gd name="connsiteY3" fmla="*/ 60710 h 66675"/>
                  <a:gd name="connsiteX4" fmla="*/ 15621 w 123825"/>
                  <a:gd name="connsiteY4" fmla="*/ 41183 h 66675"/>
                  <a:gd name="connsiteX5" fmla="*/ 107823 w 123825"/>
                  <a:gd name="connsiteY5" fmla="*/ 12608 h 66675"/>
                  <a:gd name="connsiteX6" fmla="*/ 125730 w 123825"/>
                  <a:gd name="connsiteY6" fmla="*/ 23467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66675">
                    <a:moveTo>
                      <a:pt x="125730" y="23467"/>
                    </a:moveTo>
                    <a:cubicBezTo>
                      <a:pt x="125730" y="24229"/>
                      <a:pt x="118682" y="19467"/>
                      <a:pt x="106680" y="15656"/>
                    </a:cubicBezTo>
                    <a:cubicBezTo>
                      <a:pt x="74419" y="4878"/>
                      <a:pt x="38882" y="15969"/>
                      <a:pt x="18479" y="43184"/>
                    </a:cubicBezTo>
                    <a:cubicBezTo>
                      <a:pt x="10668" y="53280"/>
                      <a:pt x="8001" y="60996"/>
                      <a:pt x="7144" y="60710"/>
                    </a:cubicBezTo>
                    <a:cubicBezTo>
                      <a:pt x="8294" y="53595"/>
                      <a:pt x="11209" y="46882"/>
                      <a:pt x="15621" y="41183"/>
                    </a:cubicBezTo>
                    <a:cubicBezTo>
                      <a:pt x="35774" y="11112"/>
                      <a:pt x="74196" y="-796"/>
                      <a:pt x="107823" y="12608"/>
                    </a:cubicBezTo>
                    <a:cubicBezTo>
                      <a:pt x="114595" y="14699"/>
                      <a:pt x="120746" y="18429"/>
                      <a:pt x="125730" y="23467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4" name="Полилиния: фигура 353">
                <a:extLst>
                  <a:ext uri="{FF2B5EF4-FFF2-40B4-BE49-F238E27FC236}">
                    <a16:creationId xmlns:a16="http://schemas.microsoft.com/office/drawing/2014/main" id="{E8D023F8-8F08-4F7A-A872-2DA39EA54BE7}"/>
                  </a:ext>
                </a:extLst>
              </p:cNvPr>
              <p:cNvSpPr/>
              <p:nvPr/>
            </p:nvSpPr>
            <p:spPr>
              <a:xfrm>
                <a:off x="5241240" y="5137759"/>
                <a:ext cx="266700" cy="1257300"/>
              </a:xfrm>
              <a:custGeom>
                <a:avLst/>
                <a:gdLst>
                  <a:gd name="connsiteX0" fmla="*/ 178498 w 266700"/>
                  <a:gd name="connsiteY0" fmla="*/ 7144 h 1257300"/>
                  <a:gd name="connsiteX1" fmla="*/ 260890 w 266700"/>
                  <a:gd name="connsiteY1" fmla="*/ 667036 h 1257300"/>
                  <a:gd name="connsiteX2" fmla="*/ 191548 w 266700"/>
                  <a:gd name="connsiteY2" fmla="*/ 1252347 h 1257300"/>
                  <a:gd name="connsiteX3" fmla="*/ 73914 w 266700"/>
                  <a:gd name="connsiteY3" fmla="*/ 1200912 h 1257300"/>
                  <a:gd name="connsiteX4" fmla="*/ 97441 w 266700"/>
                  <a:gd name="connsiteY4" fmla="*/ 679132 h 1257300"/>
                  <a:gd name="connsiteX5" fmla="*/ 7144 w 266700"/>
                  <a:gd name="connsiteY5" fmla="*/ 56483 h 1257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6700" h="1257300">
                    <a:moveTo>
                      <a:pt x="178498" y="7144"/>
                    </a:moveTo>
                    <a:cubicBezTo>
                      <a:pt x="178498" y="7144"/>
                      <a:pt x="260890" y="621887"/>
                      <a:pt x="260890" y="667036"/>
                    </a:cubicBezTo>
                    <a:cubicBezTo>
                      <a:pt x="260890" y="712184"/>
                      <a:pt x="191548" y="1252347"/>
                      <a:pt x="191548" y="1252347"/>
                    </a:cubicBezTo>
                    <a:lnTo>
                      <a:pt x="73914" y="1200912"/>
                    </a:lnTo>
                    <a:lnTo>
                      <a:pt x="97441" y="679132"/>
                    </a:lnTo>
                    <a:lnTo>
                      <a:pt x="7144" y="56483"/>
                    </a:lnTo>
                    <a:close/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5" name="Полилиния: фигура 354">
                <a:extLst>
                  <a:ext uri="{FF2B5EF4-FFF2-40B4-BE49-F238E27FC236}">
                    <a16:creationId xmlns:a16="http://schemas.microsoft.com/office/drawing/2014/main" id="{774B5E4E-FE4A-4E75-9B69-0C1EBC47D426}"/>
                  </a:ext>
                </a:extLst>
              </p:cNvPr>
              <p:cNvSpPr/>
              <p:nvPr/>
            </p:nvSpPr>
            <p:spPr>
              <a:xfrm>
                <a:off x="5306010" y="6307203"/>
                <a:ext cx="266700" cy="95250"/>
              </a:xfrm>
              <a:custGeom>
                <a:avLst/>
                <a:gdLst>
                  <a:gd name="connsiteX0" fmla="*/ 131445 w 266700"/>
                  <a:gd name="connsiteY0" fmla="*/ 7525 h 95250"/>
                  <a:gd name="connsiteX1" fmla="*/ 131445 w 266700"/>
                  <a:gd name="connsiteY1" fmla="*/ 15145 h 95250"/>
                  <a:gd name="connsiteX2" fmla="*/ 263557 w 266700"/>
                  <a:gd name="connsiteY2" fmla="*/ 88678 h 95250"/>
                  <a:gd name="connsiteX3" fmla="*/ 7144 w 266700"/>
                  <a:gd name="connsiteY3" fmla="*/ 92869 h 95250"/>
                  <a:gd name="connsiteX4" fmla="*/ 9240 w 266700"/>
                  <a:gd name="connsiteY4" fmla="*/ 7144 h 95250"/>
                  <a:gd name="connsiteX5" fmla="*/ 131445 w 266700"/>
                  <a:gd name="connsiteY5" fmla="*/ 7525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6700" h="95250">
                    <a:moveTo>
                      <a:pt x="131445" y="7525"/>
                    </a:moveTo>
                    <a:lnTo>
                      <a:pt x="131445" y="15145"/>
                    </a:lnTo>
                    <a:cubicBezTo>
                      <a:pt x="131445" y="15145"/>
                      <a:pt x="261652" y="64199"/>
                      <a:pt x="263557" y="88678"/>
                    </a:cubicBezTo>
                    <a:lnTo>
                      <a:pt x="7144" y="92869"/>
                    </a:lnTo>
                    <a:lnTo>
                      <a:pt x="9240" y="7144"/>
                    </a:lnTo>
                    <a:cubicBezTo>
                      <a:pt x="47977" y="25054"/>
                      <a:pt x="92597" y="25193"/>
                      <a:pt x="131445" y="7525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6" name="Полилиния: фигура 355">
                <a:extLst>
                  <a:ext uri="{FF2B5EF4-FFF2-40B4-BE49-F238E27FC236}">
                    <a16:creationId xmlns:a16="http://schemas.microsoft.com/office/drawing/2014/main" id="{0896219C-D92F-4640-8A56-E29A77A711AE}"/>
                  </a:ext>
                </a:extLst>
              </p:cNvPr>
              <p:cNvSpPr/>
              <p:nvPr/>
            </p:nvSpPr>
            <p:spPr>
              <a:xfrm>
                <a:off x="5327508" y="6334198"/>
                <a:ext cx="28575" cy="28575"/>
              </a:xfrm>
              <a:custGeom>
                <a:avLst/>
                <a:gdLst>
                  <a:gd name="connsiteX0" fmla="*/ 14411 w 28575"/>
                  <a:gd name="connsiteY0" fmla="*/ 7391 h 28575"/>
                  <a:gd name="connsiteX1" fmla="*/ 7363 w 28575"/>
                  <a:gd name="connsiteY1" fmla="*/ 19487 h 28575"/>
                  <a:gd name="connsiteX2" fmla="*/ 19269 w 28575"/>
                  <a:gd name="connsiteY2" fmla="*/ 26536 h 28575"/>
                  <a:gd name="connsiteX3" fmla="*/ 26603 w 28575"/>
                  <a:gd name="connsiteY3" fmla="*/ 13772 h 28575"/>
                  <a:gd name="connsiteX4" fmla="*/ 13459 w 28575"/>
                  <a:gd name="connsiteY4" fmla="*/ 777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14411" y="7391"/>
                    </a:moveTo>
                    <a:cubicBezTo>
                      <a:pt x="9317" y="9031"/>
                      <a:pt x="6278" y="14247"/>
                      <a:pt x="7363" y="19487"/>
                    </a:cubicBezTo>
                    <a:cubicBezTo>
                      <a:pt x="8845" y="24614"/>
                      <a:pt x="14061" y="27702"/>
                      <a:pt x="19269" y="26536"/>
                    </a:cubicBezTo>
                    <a:cubicBezTo>
                      <a:pt x="24634" y="24803"/>
                      <a:pt x="27807" y="19280"/>
                      <a:pt x="26603" y="13772"/>
                    </a:cubicBezTo>
                    <a:cubicBezTo>
                      <a:pt x="24601" y="8514"/>
                      <a:pt x="18744" y="5840"/>
                      <a:pt x="13459" y="7771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7" name="Полилиния: фигура 356">
                <a:extLst>
                  <a:ext uri="{FF2B5EF4-FFF2-40B4-BE49-F238E27FC236}">
                    <a16:creationId xmlns:a16="http://schemas.microsoft.com/office/drawing/2014/main" id="{FB05EED0-2078-429B-9F11-19538D1612B8}"/>
                  </a:ext>
                </a:extLst>
              </p:cNvPr>
              <p:cNvSpPr/>
              <p:nvPr/>
            </p:nvSpPr>
            <p:spPr>
              <a:xfrm>
                <a:off x="5306201" y="6372449"/>
                <a:ext cx="266700" cy="28575"/>
              </a:xfrm>
              <a:custGeom>
                <a:avLst/>
                <a:gdLst>
                  <a:gd name="connsiteX0" fmla="*/ 7144 w 266700"/>
                  <a:gd name="connsiteY0" fmla="*/ 27622 h 28575"/>
                  <a:gd name="connsiteX1" fmla="*/ 7715 w 266700"/>
                  <a:gd name="connsiteY1" fmla="*/ 7144 h 28575"/>
                  <a:gd name="connsiteX2" fmla="*/ 253269 w 266700"/>
                  <a:gd name="connsiteY2" fmla="*/ 10573 h 28575"/>
                  <a:gd name="connsiteX3" fmla="*/ 263557 w 266700"/>
                  <a:gd name="connsiteY3" fmla="*/ 2343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700" h="28575">
                    <a:moveTo>
                      <a:pt x="7144" y="27622"/>
                    </a:moveTo>
                    <a:lnTo>
                      <a:pt x="7715" y="7144"/>
                    </a:lnTo>
                    <a:lnTo>
                      <a:pt x="253269" y="10573"/>
                    </a:lnTo>
                    <a:cubicBezTo>
                      <a:pt x="253269" y="10573"/>
                      <a:pt x="264795" y="15430"/>
                      <a:pt x="263557" y="2343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8" name="Полилиния: фигура 357">
                <a:extLst>
                  <a:ext uri="{FF2B5EF4-FFF2-40B4-BE49-F238E27FC236}">
                    <a16:creationId xmlns:a16="http://schemas.microsoft.com/office/drawing/2014/main" id="{172A164E-07EB-4EBD-A4D0-1D1087932519}"/>
                  </a:ext>
                </a:extLst>
              </p:cNvPr>
              <p:cNvSpPr/>
              <p:nvPr/>
            </p:nvSpPr>
            <p:spPr>
              <a:xfrm>
                <a:off x="5408341" y="6314848"/>
                <a:ext cx="28575" cy="28575"/>
              </a:xfrm>
              <a:custGeom>
                <a:avLst/>
                <a:gdLst>
                  <a:gd name="connsiteX0" fmla="*/ 30257 w 28575"/>
                  <a:gd name="connsiteY0" fmla="*/ 8260 h 28575"/>
                  <a:gd name="connsiteX1" fmla="*/ 17875 w 28575"/>
                  <a:gd name="connsiteY1" fmla="*/ 14261 h 28575"/>
                  <a:gd name="connsiteX2" fmla="*/ 7398 w 28575"/>
                  <a:gd name="connsiteY2" fmla="*/ 23214 h 28575"/>
                  <a:gd name="connsiteX3" fmla="*/ 15494 w 28575"/>
                  <a:gd name="connsiteY3" fmla="*/ 10641 h 28575"/>
                  <a:gd name="connsiteX4" fmla="*/ 30257 w 28575"/>
                  <a:gd name="connsiteY4" fmla="*/ 826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30257" y="8260"/>
                    </a:moveTo>
                    <a:cubicBezTo>
                      <a:pt x="30257" y="9498"/>
                      <a:pt x="23971" y="10165"/>
                      <a:pt x="17875" y="14261"/>
                    </a:cubicBezTo>
                    <a:cubicBezTo>
                      <a:pt x="11779" y="18356"/>
                      <a:pt x="8350" y="23786"/>
                      <a:pt x="7398" y="23214"/>
                    </a:cubicBezTo>
                    <a:cubicBezTo>
                      <a:pt x="6445" y="22643"/>
                      <a:pt x="7969" y="15499"/>
                      <a:pt x="15494" y="10641"/>
                    </a:cubicBezTo>
                    <a:cubicBezTo>
                      <a:pt x="23019" y="5783"/>
                      <a:pt x="30448" y="7022"/>
                      <a:pt x="30257" y="826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9" name="Полилиния: фигура 358">
                <a:extLst>
                  <a:ext uri="{FF2B5EF4-FFF2-40B4-BE49-F238E27FC236}">
                    <a16:creationId xmlns:a16="http://schemas.microsoft.com/office/drawing/2014/main" id="{6853A206-956C-4AF3-9483-409050DE3A14}"/>
                  </a:ext>
                </a:extLst>
              </p:cNvPr>
              <p:cNvSpPr/>
              <p:nvPr/>
            </p:nvSpPr>
            <p:spPr>
              <a:xfrm>
                <a:off x="5441443" y="6345877"/>
                <a:ext cx="28575" cy="28575"/>
              </a:xfrm>
              <a:custGeom>
                <a:avLst/>
                <a:gdLst>
                  <a:gd name="connsiteX0" fmla="*/ 24206 w 28575"/>
                  <a:gd name="connsiteY0" fmla="*/ 7653 h 28575"/>
                  <a:gd name="connsiteX1" fmla="*/ 14681 w 28575"/>
                  <a:gd name="connsiteY1" fmla="*/ 16416 h 28575"/>
                  <a:gd name="connsiteX2" fmla="*/ 8109 w 28575"/>
                  <a:gd name="connsiteY2" fmla="*/ 27370 h 28575"/>
                  <a:gd name="connsiteX3" fmla="*/ 11252 w 28575"/>
                  <a:gd name="connsiteY3" fmla="*/ 13654 h 28575"/>
                  <a:gd name="connsiteX4" fmla="*/ 24206 w 28575"/>
                  <a:gd name="connsiteY4" fmla="*/ 7653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24206" y="7653"/>
                    </a:moveTo>
                    <a:cubicBezTo>
                      <a:pt x="24206" y="8796"/>
                      <a:pt x="19158" y="11082"/>
                      <a:pt x="14681" y="16416"/>
                    </a:cubicBezTo>
                    <a:cubicBezTo>
                      <a:pt x="10205" y="21750"/>
                      <a:pt x="9347" y="27370"/>
                      <a:pt x="8109" y="27370"/>
                    </a:cubicBezTo>
                    <a:cubicBezTo>
                      <a:pt x="6871" y="27370"/>
                      <a:pt x="5919" y="20226"/>
                      <a:pt x="11252" y="13654"/>
                    </a:cubicBezTo>
                    <a:cubicBezTo>
                      <a:pt x="16586" y="7082"/>
                      <a:pt x="24111" y="6415"/>
                      <a:pt x="24206" y="765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0" name="Полилиния: фигура 359">
                <a:extLst>
                  <a:ext uri="{FF2B5EF4-FFF2-40B4-BE49-F238E27FC236}">
                    <a16:creationId xmlns:a16="http://schemas.microsoft.com/office/drawing/2014/main" id="{7AD6F8E8-A3F6-4BE5-8E44-5FF0A0CC8A33}"/>
                  </a:ext>
                </a:extLst>
              </p:cNvPr>
              <p:cNvSpPr/>
              <p:nvPr/>
            </p:nvSpPr>
            <p:spPr>
              <a:xfrm>
                <a:off x="5472712" y="6336857"/>
                <a:ext cx="19050" cy="28575"/>
              </a:xfrm>
              <a:custGeom>
                <a:avLst/>
                <a:gdLst>
                  <a:gd name="connsiteX0" fmla="*/ 8749 w 19050"/>
                  <a:gd name="connsiteY0" fmla="*/ 28829 h 28575"/>
                  <a:gd name="connsiteX1" fmla="*/ 8749 w 19050"/>
                  <a:gd name="connsiteY1" fmla="*/ 15970 h 28575"/>
                  <a:gd name="connsiteX2" fmla="*/ 18274 w 19050"/>
                  <a:gd name="connsiteY2" fmla="*/ 7303 h 28575"/>
                  <a:gd name="connsiteX3" fmla="*/ 12749 w 19050"/>
                  <a:gd name="connsiteY3" fmla="*/ 17780 h 28575"/>
                  <a:gd name="connsiteX4" fmla="*/ 8749 w 19050"/>
                  <a:gd name="connsiteY4" fmla="*/ 2882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8749" y="28829"/>
                    </a:moveTo>
                    <a:cubicBezTo>
                      <a:pt x="7606" y="28829"/>
                      <a:pt x="5796" y="22924"/>
                      <a:pt x="8749" y="15970"/>
                    </a:cubicBezTo>
                    <a:cubicBezTo>
                      <a:pt x="11701" y="9017"/>
                      <a:pt x="17702" y="6445"/>
                      <a:pt x="18274" y="7303"/>
                    </a:cubicBezTo>
                    <a:cubicBezTo>
                      <a:pt x="18845" y="8160"/>
                      <a:pt x="15226" y="12065"/>
                      <a:pt x="12749" y="17780"/>
                    </a:cubicBezTo>
                    <a:cubicBezTo>
                      <a:pt x="10273" y="23495"/>
                      <a:pt x="9606" y="28639"/>
                      <a:pt x="8749" y="2882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1" name="Полилиния: фигура 360">
                <a:extLst>
                  <a:ext uri="{FF2B5EF4-FFF2-40B4-BE49-F238E27FC236}">
                    <a16:creationId xmlns:a16="http://schemas.microsoft.com/office/drawing/2014/main" id="{346EC0EC-131E-42B9-915A-2B806C8BC862}"/>
                  </a:ext>
                </a:extLst>
              </p:cNvPr>
              <p:cNvSpPr/>
              <p:nvPr/>
            </p:nvSpPr>
            <p:spPr>
              <a:xfrm>
                <a:off x="5057408" y="5713736"/>
                <a:ext cx="363855" cy="548397"/>
              </a:xfrm>
              <a:custGeom>
                <a:avLst/>
                <a:gdLst>
                  <a:gd name="connsiteX0" fmla="*/ 156115 w 371475"/>
                  <a:gd name="connsiteY0" fmla="*/ 7144 h 571500"/>
                  <a:gd name="connsiteX1" fmla="*/ 168593 w 371475"/>
                  <a:gd name="connsiteY1" fmla="*/ 73438 h 571500"/>
                  <a:gd name="connsiteX2" fmla="*/ 125635 w 371475"/>
                  <a:gd name="connsiteY2" fmla="*/ 138589 h 571500"/>
                  <a:gd name="connsiteX3" fmla="*/ 7144 w 371475"/>
                  <a:gd name="connsiteY3" fmla="*/ 504444 h 571500"/>
                  <a:gd name="connsiteX4" fmla="*/ 101727 w 371475"/>
                  <a:gd name="connsiteY4" fmla="*/ 570357 h 571500"/>
                  <a:gd name="connsiteX5" fmla="*/ 370999 w 371475"/>
                  <a:gd name="connsiteY5" fmla="*/ 91249 h 571500"/>
                  <a:gd name="connsiteX6" fmla="*/ 156115 w 371475"/>
                  <a:gd name="connsiteY6" fmla="*/ 7144 h 571500"/>
                  <a:gd name="connsiteX0" fmla="*/ 148971 w 363855"/>
                  <a:gd name="connsiteY0" fmla="*/ 0 h 548397"/>
                  <a:gd name="connsiteX1" fmla="*/ 161449 w 363855"/>
                  <a:gd name="connsiteY1" fmla="*/ 66294 h 548397"/>
                  <a:gd name="connsiteX2" fmla="*/ 118491 w 363855"/>
                  <a:gd name="connsiteY2" fmla="*/ 131445 h 548397"/>
                  <a:gd name="connsiteX3" fmla="*/ 0 w 363855"/>
                  <a:gd name="connsiteY3" fmla="*/ 497300 h 548397"/>
                  <a:gd name="connsiteX4" fmla="*/ 90467 w 363855"/>
                  <a:gd name="connsiteY4" fmla="*/ 548397 h 548397"/>
                  <a:gd name="connsiteX5" fmla="*/ 363855 w 363855"/>
                  <a:gd name="connsiteY5" fmla="*/ 84105 h 548397"/>
                  <a:gd name="connsiteX6" fmla="*/ 148971 w 363855"/>
                  <a:gd name="connsiteY6" fmla="*/ 0 h 548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3855" h="548397">
                    <a:moveTo>
                      <a:pt x="148971" y="0"/>
                    </a:moveTo>
                    <a:lnTo>
                      <a:pt x="161449" y="66294"/>
                    </a:lnTo>
                    <a:lnTo>
                      <a:pt x="118491" y="131445"/>
                    </a:lnTo>
                    <a:lnTo>
                      <a:pt x="0" y="497300"/>
                    </a:lnTo>
                    <a:lnTo>
                      <a:pt x="90467" y="548397"/>
                    </a:lnTo>
                    <a:lnTo>
                      <a:pt x="363855" y="84105"/>
                    </a:lnTo>
                    <a:lnTo>
                      <a:pt x="148971" y="0"/>
                    </a:lnTo>
                    <a:close/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2" name="Полилиния: фигура 361">
                <a:extLst>
                  <a:ext uri="{FF2B5EF4-FFF2-40B4-BE49-F238E27FC236}">
                    <a16:creationId xmlns:a16="http://schemas.microsoft.com/office/drawing/2014/main" id="{03C756DC-3FAE-45F0-A6DE-567DBEB680E9}"/>
                  </a:ext>
                </a:extLst>
              </p:cNvPr>
              <p:cNvSpPr/>
              <p:nvPr/>
            </p:nvSpPr>
            <p:spPr>
              <a:xfrm>
                <a:off x="5023147" y="4944687"/>
                <a:ext cx="495300" cy="876300"/>
              </a:xfrm>
              <a:custGeom>
                <a:avLst/>
                <a:gdLst>
                  <a:gd name="connsiteX0" fmla="*/ 49596 w 495300"/>
                  <a:gd name="connsiteY0" fmla="*/ 31909 h 876300"/>
                  <a:gd name="connsiteX1" fmla="*/ 49596 w 495300"/>
                  <a:gd name="connsiteY1" fmla="*/ 51911 h 876300"/>
                  <a:gd name="connsiteX2" fmla="*/ 7209 w 495300"/>
                  <a:gd name="connsiteY2" fmla="*/ 281464 h 876300"/>
                  <a:gd name="connsiteX3" fmla="*/ 125605 w 495300"/>
                  <a:gd name="connsiteY3" fmla="*/ 549307 h 876300"/>
                  <a:gd name="connsiteX4" fmla="*/ 160181 w 495300"/>
                  <a:gd name="connsiteY4" fmla="*/ 875919 h 876300"/>
                  <a:gd name="connsiteX5" fmla="*/ 494127 w 495300"/>
                  <a:gd name="connsiteY5" fmla="*/ 878014 h 876300"/>
                  <a:gd name="connsiteX6" fmla="*/ 396401 w 495300"/>
                  <a:gd name="connsiteY6" fmla="*/ 177070 h 876300"/>
                  <a:gd name="connsiteX7" fmla="*/ 380876 w 495300"/>
                  <a:gd name="connsiteY7" fmla="*/ 7144 h 876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5300" h="876300">
                    <a:moveTo>
                      <a:pt x="49596" y="31909"/>
                    </a:moveTo>
                    <a:lnTo>
                      <a:pt x="49596" y="51911"/>
                    </a:lnTo>
                    <a:cubicBezTo>
                      <a:pt x="49596" y="51911"/>
                      <a:pt x="5209" y="191643"/>
                      <a:pt x="7209" y="281464"/>
                    </a:cubicBezTo>
                    <a:cubicBezTo>
                      <a:pt x="9210" y="371285"/>
                      <a:pt x="125605" y="549307"/>
                      <a:pt x="125605" y="549307"/>
                    </a:cubicBezTo>
                    <a:lnTo>
                      <a:pt x="160181" y="875919"/>
                    </a:lnTo>
                    <a:lnTo>
                      <a:pt x="494127" y="878014"/>
                    </a:lnTo>
                    <a:lnTo>
                      <a:pt x="396401" y="177070"/>
                    </a:lnTo>
                    <a:lnTo>
                      <a:pt x="380876" y="7144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3" name="Полилиния: фигура 362">
                <a:extLst>
                  <a:ext uri="{FF2B5EF4-FFF2-40B4-BE49-F238E27FC236}">
                    <a16:creationId xmlns:a16="http://schemas.microsoft.com/office/drawing/2014/main" id="{325532A2-2B1A-48B6-9152-A4C9BDACD1BA}"/>
                  </a:ext>
                </a:extLst>
              </p:cNvPr>
              <p:cNvSpPr/>
              <p:nvPr/>
            </p:nvSpPr>
            <p:spPr>
              <a:xfrm>
                <a:off x="4966043" y="4305177"/>
                <a:ext cx="514350" cy="676275"/>
              </a:xfrm>
              <a:custGeom>
                <a:avLst/>
                <a:gdLst>
                  <a:gd name="connsiteX0" fmla="*/ 74220 w 514350"/>
                  <a:gd name="connsiteY0" fmla="*/ 15623 h 676275"/>
                  <a:gd name="connsiteX1" fmla="*/ 75077 w 514350"/>
                  <a:gd name="connsiteY1" fmla="*/ 37339 h 676275"/>
                  <a:gd name="connsiteX2" fmla="*/ 17927 w 514350"/>
                  <a:gd name="connsiteY2" fmla="*/ 125541 h 676275"/>
                  <a:gd name="connsiteX3" fmla="*/ 7545 w 514350"/>
                  <a:gd name="connsiteY3" fmla="*/ 565406 h 676275"/>
                  <a:gd name="connsiteX4" fmla="*/ 104510 w 514350"/>
                  <a:gd name="connsiteY4" fmla="*/ 672848 h 676275"/>
                  <a:gd name="connsiteX5" fmla="*/ 475127 w 514350"/>
                  <a:gd name="connsiteY5" fmla="*/ 645130 h 676275"/>
                  <a:gd name="connsiteX6" fmla="*/ 514941 w 514350"/>
                  <a:gd name="connsiteY6" fmla="*/ 591409 h 676275"/>
                  <a:gd name="connsiteX7" fmla="*/ 284342 w 514350"/>
                  <a:gd name="connsiteY7" fmla="*/ 86012 h 676275"/>
                  <a:gd name="connsiteX8" fmla="*/ 261672 w 514350"/>
                  <a:gd name="connsiteY8" fmla="*/ 32006 h 676275"/>
                  <a:gd name="connsiteX9" fmla="*/ 74220 w 514350"/>
                  <a:gd name="connsiteY9" fmla="*/ 15623 h 676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14350" h="676275">
                    <a:moveTo>
                      <a:pt x="74220" y="15623"/>
                    </a:moveTo>
                    <a:lnTo>
                      <a:pt x="75077" y="37339"/>
                    </a:lnTo>
                    <a:cubicBezTo>
                      <a:pt x="75077" y="37339"/>
                      <a:pt x="31929" y="80488"/>
                      <a:pt x="17927" y="125541"/>
                    </a:cubicBezTo>
                    <a:cubicBezTo>
                      <a:pt x="3926" y="170594"/>
                      <a:pt x="12688" y="523877"/>
                      <a:pt x="7545" y="565406"/>
                    </a:cubicBezTo>
                    <a:cubicBezTo>
                      <a:pt x="2401" y="606935"/>
                      <a:pt x="47360" y="667609"/>
                      <a:pt x="104510" y="672848"/>
                    </a:cubicBezTo>
                    <a:lnTo>
                      <a:pt x="475127" y="645130"/>
                    </a:lnTo>
                    <a:cubicBezTo>
                      <a:pt x="496750" y="635256"/>
                      <a:pt x="511785" y="614969"/>
                      <a:pt x="514941" y="591409"/>
                    </a:cubicBezTo>
                    <a:cubicBezTo>
                      <a:pt x="521895" y="549880"/>
                      <a:pt x="276816" y="68963"/>
                      <a:pt x="284342" y="86012"/>
                    </a:cubicBezTo>
                    <a:lnTo>
                      <a:pt x="261672" y="32006"/>
                    </a:lnTo>
                    <a:cubicBezTo>
                      <a:pt x="261672" y="32006"/>
                      <a:pt x="144800" y="-10476"/>
                      <a:pt x="74220" y="15623"/>
                    </a:cubicBez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4" name="Полилиния: фигура 363">
                <a:extLst>
                  <a:ext uri="{FF2B5EF4-FFF2-40B4-BE49-F238E27FC236}">
                    <a16:creationId xmlns:a16="http://schemas.microsoft.com/office/drawing/2014/main" id="{DD333FB3-0C1A-40EC-ACA5-3CA77755FB70}"/>
                  </a:ext>
                </a:extLst>
              </p:cNvPr>
              <p:cNvSpPr/>
              <p:nvPr/>
            </p:nvSpPr>
            <p:spPr>
              <a:xfrm>
                <a:off x="5291232" y="4963070"/>
                <a:ext cx="114300" cy="114300"/>
              </a:xfrm>
              <a:custGeom>
                <a:avLst/>
                <a:gdLst>
                  <a:gd name="connsiteX0" fmla="*/ 111743 w 114300"/>
                  <a:gd name="connsiteY0" fmla="*/ 7144 h 114300"/>
                  <a:gd name="connsiteX1" fmla="*/ 113838 w 114300"/>
                  <a:gd name="connsiteY1" fmla="*/ 14002 h 114300"/>
                  <a:gd name="connsiteX2" fmla="*/ 115457 w 114300"/>
                  <a:gd name="connsiteY2" fmla="*/ 33623 h 114300"/>
                  <a:gd name="connsiteX3" fmla="*/ 110409 w 114300"/>
                  <a:gd name="connsiteY3" fmla="*/ 62198 h 114300"/>
                  <a:gd name="connsiteX4" fmla="*/ 91359 w 114300"/>
                  <a:gd name="connsiteY4" fmla="*/ 92869 h 114300"/>
                  <a:gd name="connsiteX5" fmla="*/ 60212 w 114300"/>
                  <a:gd name="connsiteY5" fmla="*/ 111252 h 114300"/>
                  <a:gd name="connsiteX6" fmla="*/ 30685 w 114300"/>
                  <a:gd name="connsiteY6" fmla="*/ 111728 h 114300"/>
                  <a:gd name="connsiteX7" fmla="*/ 12492 w 114300"/>
                  <a:gd name="connsiteY7" fmla="*/ 103822 h 114300"/>
                  <a:gd name="connsiteX8" fmla="*/ 7159 w 114300"/>
                  <a:gd name="connsiteY8" fmla="*/ 98965 h 114300"/>
                  <a:gd name="connsiteX9" fmla="*/ 31352 w 114300"/>
                  <a:gd name="connsiteY9" fmla="*/ 108490 h 114300"/>
                  <a:gd name="connsiteX10" fmla="*/ 58975 w 114300"/>
                  <a:gd name="connsiteY10" fmla="*/ 106966 h 114300"/>
                  <a:gd name="connsiteX11" fmla="*/ 87550 w 114300"/>
                  <a:gd name="connsiteY11" fmla="*/ 89535 h 114300"/>
                  <a:gd name="connsiteX12" fmla="*/ 111553 w 114300"/>
                  <a:gd name="connsiteY12" fmla="*/ 33338 h 114300"/>
                  <a:gd name="connsiteX13" fmla="*/ 111743 w 114300"/>
                  <a:gd name="connsiteY13" fmla="*/ 7144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4300" h="114300">
                    <a:moveTo>
                      <a:pt x="111743" y="7144"/>
                    </a:moveTo>
                    <a:cubicBezTo>
                      <a:pt x="112890" y="9268"/>
                      <a:pt x="113602" y="11599"/>
                      <a:pt x="113838" y="14002"/>
                    </a:cubicBezTo>
                    <a:cubicBezTo>
                      <a:pt x="115019" y="20473"/>
                      <a:pt x="115561" y="27045"/>
                      <a:pt x="115457" y="33623"/>
                    </a:cubicBezTo>
                    <a:cubicBezTo>
                      <a:pt x="115278" y="43353"/>
                      <a:pt x="113574" y="52995"/>
                      <a:pt x="110409" y="62198"/>
                    </a:cubicBezTo>
                    <a:cubicBezTo>
                      <a:pt x="106472" y="73737"/>
                      <a:pt x="99958" y="84226"/>
                      <a:pt x="91359" y="92869"/>
                    </a:cubicBezTo>
                    <a:cubicBezTo>
                      <a:pt x="82769" y="101622"/>
                      <a:pt x="72027" y="107962"/>
                      <a:pt x="60212" y="111252"/>
                    </a:cubicBezTo>
                    <a:cubicBezTo>
                      <a:pt x="50550" y="113779"/>
                      <a:pt x="40422" y="113942"/>
                      <a:pt x="30685" y="111728"/>
                    </a:cubicBezTo>
                    <a:cubicBezTo>
                      <a:pt x="24157" y="110322"/>
                      <a:pt x="17974" y="107635"/>
                      <a:pt x="12492" y="103822"/>
                    </a:cubicBezTo>
                    <a:cubicBezTo>
                      <a:pt x="8588" y="101156"/>
                      <a:pt x="6968" y="99155"/>
                      <a:pt x="7159" y="98965"/>
                    </a:cubicBezTo>
                    <a:cubicBezTo>
                      <a:pt x="14692" y="103352"/>
                      <a:pt x="22850" y="106564"/>
                      <a:pt x="31352" y="108490"/>
                    </a:cubicBezTo>
                    <a:cubicBezTo>
                      <a:pt x="40557" y="110072"/>
                      <a:pt x="50000" y="109551"/>
                      <a:pt x="58975" y="106966"/>
                    </a:cubicBezTo>
                    <a:cubicBezTo>
                      <a:pt x="69810" y="103642"/>
                      <a:pt x="79636" y="97648"/>
                      <a:pt x="87550" y="89535"/>
                    </a:cubicBezTo>
                    <a:cubicBezTo>
                      <a:pt x="102042" y="74295"/>
                      <a:pt x="110562" y="54346"/>
                      <a:pt x="111553" y="33338"/>
                    </a:cubicBezTo>
                    <a:cubicBezTo>
                      <a:pt x="112981" y="17336"/>
                      <a:pt x="110886" y="7239"/>
                      <a:pt x="111743" y="71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5" name="Полилиния: фигура 364">
                <a:extLst>
                  <a:ext uri="{FF2B5EF4-FFF2-40B4-BE49-F238E27FC236}">
                    <a16:creationId xmlns:a16="http://schemas.microsoft.com/office/drawing/2014/main" id="{CCC2F57F-CB6A-45CB-8891-598868576AA3}"/>
                  </a:ext>
                </a:extLst>
              </p:cNvPr>
              <p:cNvSpPr/>
              <p:nvPr/>
            </p:nvSpPr>
            <p:spPr>
              <a:xfrm>
                <a:off x="5281364" y="4967071"/>
                <a:ext cx="95250" cy="847725"/>
              </a:xfrm>
              <a:custGeom>
                <a:avLst/>
                <a:gdLst>
                  <a:gd name="connsiteX0" fmla="*/ 89703 w 95250"/>
                  <a:gd name="connsiteY0" fmla="*/ 847725 h 847725"/>
                  <a:gd name="connsiteX1" fmla="*/ 89226 w 95250"/>
                  <a:gd name="connsiteY1" fmla="*/ 845630 h 847725"/>
                  <a:gd name="connsiteX2" fmla="*/ 88274 w 95250"/>
                  <a:gd name="connsiteY2" fmla="*/ 839248 h 847725"/>
                  <a:gd name="connsiteX3" fmla="*/ 85131 w 95250"/>
                  <a:gd name="connsiteY3" fmla="*/ 814864 h 847725"/>
                  <a:gd name="connsiteX4" fmla="*/ 74558 w 95250"/>
                  <a:gd name="connsiteY4" fmla="*/ 724948 h 847725"/>
                  <a:gd name="connsiteX5" fmla="*/ 43125 w 95250"/>
                  <a:gd name="connsiteY5" fmla="*/ 427958 h 847725"/>
                  <a:gd name="connsiteX6" fmla="*/ 15884 w 95250"/>
                  <a:gd name="connsiteY6" fmla="*/ 130588 h 847725"/>
                  <a:gd name="connsiteX7" fmla="*/ 8835 w 95250"/>
                  <a:gd name="connsiteY7" fmla="*/ 40291 h 847725"/>
                  <a:gd name="connsiteX8" fmla="*/ 7216 w 95250"/>
                  <a:gd name="connsiteY8" fmla="*/ 15812 h 847725"/>
                  <a:gd name="connsiteX9" fmla="*/ 7216 w 95250"/>
                  <a:gd name="connsiteY9" fmla="*/ 9335 h 847725"/>
                  <a:gd name="connsiteX10" fmla="*/ 7216 w 95250"/>
                  <a:gd name="connsiteY10" fmla="*/ 7144 h 847725"/>
                  <a:gd name="connsiteX11" fmla="*/ 7692 w 95250"/>
                  <a:gd name="connsiteY11" fmla="*/ 9335 h 847725"/>
                  <a:gd name="connsiteX12" fmla="*/ 8454 w 95250"/>
                  <a:gd name="connsiteY12" fmla="*/ 15716 h 847725"/>
                  <a:gd name="connsiteX13" fmla="*/ 10931 w 95250"/>
                  <a:gd name="connsiteY13" fmla="*/ 40196 h 847725"/>
                  <a:gd name="connsiteX14" fmla="*/ 19503 w 95250"/>
                  <a:gd name="connsiteY14" fmla="*/ 130302 h 847725"/>
                  <a:gd name="connsiteX15" fmla="*/ 48078 w 95250"/>
                  <a:gd name="connsiteY15" fmla="*/ 427482 h 847725"/>
                  <a:gd name="connsiteX16" fmla="*/ 77987 w 95250"/>
                  <a:gd name="connsiteY16" fmla="*/ 724567 h 847725"/>
                  <a:gd name="connsiteX17" fmla="*/ 87035 w 95250"/>
                  <a:gd name="connsiteY17" fmla="*/ 814673 h 847725"/>
                  <a:gd name="connsiteX18" fmla="*/ 89226 w 95250"/>
                  <a:gd name="connsiteY18" fmla="*/ 839153 h 847725"/>
                  <a:gd name="connsiteX19" fmla="*/ 89703 w 95250"/>
                  <a:gd name="connsiteY19" fmla="*/ 845534 h 847725"/>
                  <a:gd name="connsiteX20" fmla="*/ 89703 w 95250"/>
                  <a:gd name="connsiteY20" fmla="*/ 847725 h 847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95250" h="847725">
                    <a:moveTo>
                      <a:pt x="89703" y="847725"/>
                    </a:moveTo>
                    <a:cubicBezTo>
                      <a:pt x="89419" y="847061"/>
                      <a:pt x="89258" y="846351"/>
                      <a:pt x="89226" y="845630"/>
                    </a:cubicBezTo>
                    <a:cubicBezTo>
                      <a:pt x="89226" y="843820"/>
                      <a:pt x="88655" y="841820"/>
                      <a:pt x="88274" y="839248"/>
                    </a:cubicBezTo>
                    <a:lnTo>
                      <a:pt x="85131" y="814864"/>
                    </a:lnTo>
                    <a:cubicBezTo>
                      <a:pt x="82559" y="793147"/>
                      <a:pt x="78939" y="762572"/>
                      <a:pt x="74558" y="724948"/>
                    </a:cubicBezTo>
                    <a:cubicBezTo>
                      <a:pt x="65890" y="648748"/>
                      <a:pt x="54651" y="543973"/>
                      <a:pt x="43125" y="427958"/>
                    </a:cubicBezTo>
                    <a:cubicBezTo>
                      <a:pt x="31600" y="311944"/>
                      <a:pt x="22170" y="206788"/>
                      <a:pt x="15884" y="130588"/>
                    </a:cubicBezTo>
                    <a:cubicBezTo>
                      <a:pt x="12931" y="92488"/>
                      <a:pt x="10550" y="62103"/>
                      <a:pt x="8835" y="40291"/>
                    </a:cubicBezTo>
                    <a:cubicBezTo>
                      <a:pt x="8169" y="30004"/>
                      <a:pt x="7597" y="21812"/>
                      <a:pt x="7216" y="15812"/>
                    </a:cubicBezTo>
                    <a:cubicBezTo>
                      <a:pt x="7216" y="13240"/>
                      <a:pt x="7216" y="11144"/>
                      <a:pt x="7216" y="9335"/>
                    </a:cubicBezTo>
                    <a:cubicBezTo>
                      <a:pt x="7120" y="8608"/>
                      <a:pt x="7120" y="7871"/>
                      <a:pt x="7216" y="7144"/>
                    </a:cubicBezTo>
                    <a:cubicBezTo>
                      <a:pt x="7448" y="7856"/>
                      <a:pt x="7608" y="8590"/>
                      <a:pt x="7692" y="9335"/>
                    </a:cubicBezTo>
                    <a:lnTo>
                      <a:pt x="8454" y="15716"/>
                    </a:lnTo>
                    <a:cubicBezTo>
                      <a:pt x="9025" y="21717"/>
                      <a:pt x="9883" y="29909"/>
                      <a:pt x="10931" y="40196"/>
                    </a:cubicBezTo>
                    <a:cubicBezTo>
                      <a:pt x="13026" y="61913"/>
                      <a:pt x="15979" y="92583"/>
                      <a:pt x="19503" y="130302"/>
                    </a:cubicBezTo>
                    <a:cubicBezTo>
                      <a:pt x="26933" y="206502"/>
                      <a:pt x="37029" y="311277"/>
                      <a:pt x="48078" y="427482"/>
                    </a:cubicBezTo>
                    <a:cubicBezTo>
                      <a:pt x="59127" y="543687"/>
                      <a:pt x="70272" y="648176"/>
                      <a:pt x="77987" y="724567"/>
                    </a:cubicBezTo>
                    <a:cubicBezTo>
                      <a:pt x="81797" y="762667"/>
                      <a:pt x="84845" y="792861"/>
                      <a:pt x="87035" y="814673"/>
                    </a:cubicBezTo>
                    <a:cubicBezTo>
                      <a:pt x="87988" y="824960"/>
                      <a:pt x="88750" y="833152"/>
                      <a:pt x="89226" y="839153"/>
                    </a:cubicBezTo>
                    <a:lnTo>
                      <a:pt x="89703" y="845534"/>
                    </a:lnTo>
                    <a:cubicBezTo>
                      <a:pt x="89827" y="846259"/>
                      <a:pt x="89827" y="847000"/>
                      <a:pt x="89703" y="847725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6" name="Полилиния: фигура 365">
                <a:extLst>
                  <a:ext uri="{FF2B5EF4-FFF2-40B4-BE49-F238E27FC236}">
                    <a16:creationId xmlns:a16="http://schemas.microsoft.com/office/drawing/2014/main" id="{DD5134B4-844C-4971-912A-A406F3B9AB79}"/>
                  </a:ext>
                </a:extLst>
              </p:cNvPr>
              <p:cNvSpPr/>
              <p:nvPr/>
            </p:nvSpPr>
            <p:spPr>
              <a:xfrm>
                <a:off x="5044359" y="5090176"/>
                <a:ext cx="161925" cy="257175"/>
              </a:xfrm>
              <a:custGeom>
                <a:avLst/>
                <a:gdLst>
                  <a:gd name="connsiteX0" fmla="*/ 30099 w 161925"/>
                  <a:gd name="connsiteY0" fmla="*/ 248846 h 257175"/>
                  <a:gd name="connsiteX1" fmla="*/ 47530 w 161925"/>
                  <a:gd name="connsiteY1" fmla="*/ 247131 h 257175"/>
                  <a:gd name="connsiteX2" fmla="*/ 66580 w 161925"/>
                  <a:gd name="connsiteY2" fmla="*/ 241988 h 257175"/>
                  <a:gd name="connsiteX3" fmla="*/ 91344 w 161925"/>
                  <a:gd name="connsiteY3" fmla="*/ 230844 h 257175"/>
                  <a:gd name="connsiteX4" fmla="*/ 141637 w 161925"/>
                  <a:gd name="connsiteY4" fmla="*/ 184457 h 257175"/>
                  <a:gd name="connsiteX5" fmla="*/ 151162 w 161925"/>
                  <a:gd name="connsiteY5" fmla="*/ 145214 h 257175"/>
                  <a:gd name="connsiteX6" fmla="*/ 149257 w 161925"/>
                  <a:gd name="connsiteY6" fmla="*/ 100637 h 257175"/>
                  <a:gd name="connsiteX7" fmla="*/ 145732 w 161925"/>
                  <a:gd name="connsiteY7" fmla="*/ 55870 h 257175"/>
                  <a:gd name="connsiteX8" fmla="*/ 144208 w 161925"/>
                  <a:gd name="connsiteY8" fmla="*/ 34533 h 257175"/>
                  <a:gd name="connsiteX9" fmla="*/ 138779 w 161925"/>
                  <a:gd name="connsiteY9" fmla="*/ 16531 h 257175"/>
                  <a:gd name="connsiteX10" fmla="*/ 123634 w 161925"/>
                  <a:gd name="connsiteY10" fmla="*/ 10244 h 257175"/>
                  <a:gd name="connsiteX11" fmla="*/ 105251 w 161925"/>
                  <a:gd name="connsiteY11" fmla="*/ 10245 h 257175"/>
                  <a:gd name="connsiteX12" fmla="*/ 72294 w 161925"/>
                  <a:gd name="connsiteY12" fmla="*/ 10245 h 257175"/>
                  <a:gd name="connsiteX13" fmla="*/ 24669 w 161925"/>
                  <a:gd name="connsiteY13" fmla="*/ 9388 h 257175"/>
                  <a:gd name="connsiteX14" fmla="*/ 11716 w 161925"/>
                  <a:gd name="connsiteY14" fmla="*/ 8911 h 257175"/>
                  <a:gd name="connsiteX15" fmla="*/ 7144 w 161925"/>
                  <a:gd name="connsiteY15" fmla="*/ 8340 h 257175"/>
                  <a:gd name="connsiteX16" fmla="*/ 11716 w 161925"/>
                  <a:gd name="connsiteY16" fmla="*/ 8340 h 257175"/>
                  <a:gd name="connsiteX17" fmla="*/ 24669 w 161925"/>
                  <a:gd name="connsiteY17" fmla="*/ 7863 h 257175"/>
                  <a:gd name="connsiteX18" fmla="*/ 72294 w 161925"/>
                  <a:gd name="connsiteY18" fmla="*/ 7197 h 257175"/>
                  <a:gd name="connsiteX19" fmla="*/ 105251 w 161925"/>
                  <a:gd name="connsiteY19" fmla="*/ 7197 h 257175"/>
                  <a:gd name="connsiteX20" fmla="*/ 123634 w 161925"/>
                  <a:gd name="connsiteY20" fmla="*/ 7197 h 257175"/>
                  <a:gd name="connsiteX21" fmla="*/ 142684 w 161925"/>
                  <a:gd name="connsiteY21" fmla="*/ 14722 h 257175"/>
                  <a:gd name="connsiteX22" fmla="*/ 149161 w 161925"/>
                  <a:gd name="connsiteY22" fmla="*/ 35200 h 257175"/>
                  <a:gd name="connsiteX23" fmla="*/ 150876 w 161925"/>
                  <a:gd name="connsiteY23" fmla="*/ 56536 h 257175"/>
                  <a:gd name="connsiteX24" fmla="*/ 154495 w 161925"/>
                  <a:gd name="connsiteY24" fmla="*/ 101304 h 257175"/>
                  <a:gd name="connsiteX25" fmla="*/ 156305 w 161925"/>
                  <a:gd name="connsiteY25" fmla="*/ 146547 h 257175"/>
                  <a:gd name="connsiteX26" fmla="*/ 145732 w 161925"/>
                  <a:gd name="connsiteY26" fmla="*/ 187696 h 257175"/>
                  <a:gd name="connsiteX27" fmla="*/ 92964 w 161925"/>
                  <a:gd name="connsiteY27" fmla="*/ 235321 h 257175"/>
                  <a:gd name="connsiteX28" fmla="*/ 67723 w 161925"/>
                  <a:gd name="connsiteY28" fmla="*/ 245893 h 257175"/>
                  <a:gd name="connsiteX29" fmla="*/ 47434 w 161925"/>
                  <a:gd name="connsiteY29" fmla="*/ 250465 h 257175"/>
                  <a:gd name="connsiteX30" fmla="*/ 34385 w 161925"/>
                  <a:gd name="connsiteY30" fmla="*/ 250465 h 257175"/>
                  <a:gd name="connsiteX31" fmla="*/ 30099 w 161925"/>
                  <a:gd name="connsiteY31" fmla="*/ 248846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61925" h="257175">
                    <a:moveTo>
                      <a:pt x="30099" y="248846"/>
                    </a:moveTo>
                    <a:cubicBezTo>
                      <a:pt x="30099" y="248370"/>
                      <a:pt x="36386" y="248370"/>
                      <a:pt x="47530" y="247131"/>
                    </a:cubicBezTo>
                    <a:cubicBezTo>
                      <a:pt x="54103" y="246385"/>
                      <a:pt x="60525" y="244651"/>
                      <a:pt x="66580" y="241988"/>
                    </a:cubicBezTo>
                    <a:lnTo>
                      <a:pt x="91344" y="230844"/>
                    </a:lnTo>
                    <a:cubicBezTo>
                      <a:pt x="112605" y="221109"/>
                      <a:pt x="130218" y="204863"/>
                      <a:pt x="141637" y="184457"/>
                    </a:cubicBezTo>
                    <a:cubicBezTo>
                      <a:pt x="147706" y="172253"/>
                      <a:pt x="150961" y="158843"/>
                      <a:pt x="151162" y="145214"/>
                    </a:cubicBezTo>
                    <a:cubicBezTo>
                      <a:pt x="151406" y="130330"/>
                      <a:pt x="150770" y="115446"/>
                      <a:pt x="149257" y="100637"/>
                    </a:cubicBezTo>
                    <a:cubicBezTo>
                      <a:pt x="148018" y="85302"/>
                      <a:pt x="146875" y="70347"/>
                      <a:pt x="145732" y="55870"/>
                    </a:cubicBezTo>
                    <a:cubicBezTo>
                      <a:pt x="145732" y="48630"/>
                      <a:pt x="144685" y="41582"/>
                      <a:pt x="144208" y="34533"/>
                    </a:cubicBezTo>
                    <a:cubicBezTo>
                      <a:pt x="144169" y="28135"/>
                      <a:pt x="142283" y="21884"/>
                      <a:pt x="138779" y="16531"/>
                    </a:cubicBezTo>
                    <a:cubicBezTo>
                      <a:pt x="134937" y="12259"/>
                      <a:pt x="129372" y="9949"/>
                      <a:pt x="123634" y="10244"/>
                    </a:cubicBezTo>
                    <a:lnTo>
                      <a:pt x="105251" y="10245"/>
                    </a:lnTo>
                    <a:lnTo>
                      <a:pt x="72294" y="10245"/>
                    </a:lnTo>
                    <a:lnTo>
                      <a:pt x="24669" y="9388"/>
                    </a:lnTo>
                    <a:lnTo>
                      <a:pt x="11716" y="8911"/>
                    </a:lnTo>
                    <a:cubicBezTo>
                      <a:pt x="10171" y="8956"/>
                      <a:pt x="8629" y="8764"/>
                      <a:pt x="7144" y="8340"/>
                    </a:cubicBezTo>
                    <a:cubicBezTo>
                      <a:pt x="8665" y="8204"/>
                      <a:pt x="10195" y="8204"/>
                      <a:pt x="11716" y="8340"/>
                    </a:cubicBezTo>
                    <a:lnTo>
                      <a:pt x="24669" y="7863"/>
                    </a:lnTo>
                    <a:lnTo>
                      <a:pt x="72294" y="7197"/>
                    </a:lnTo>
                    <a:lnTo>
                      <a:pt x="105251" y="7197"/>
                    </a:lnTo>
                    <a:lnTo>
                      <a:pt x="123634" y="7197"/>
                    </a:lnTo>
                    <a:cubicBezTo>
                      <a:pt x="130791" y="6720"/>
                      <a:pt x="137785" y="9482"/>
                      <a:pt x="142684" y="14722"/>
                    </a:cubicBezTo>
                    <a:cubicBezTo>
                      <a:pt x="146797" y="20769"/>
                      <a:pt x="149049" y="27888"/>
                      <a:pt x="149161" y="35200"/>
                    </a:cubicBezTo>
                    <a:cubicBezTo>
                      <a:pt x="149733" y="42154"/>
                      <a:pt x="150304" y="49297"/>
                      <a:pt x="150876" y="56536"/>
                    </a:cubicBezTo>
                    <a:cubicBezTo>
                      <a:pt x="152019" y="71014"/>
                      <a:pt x="153257" y="85969"/>
                      <a:pt x="154495" y="101304"/>
                    </a:cubicBezTo>
                    <a:cubicBezTo>
                      <a:pt x="156038" y="116333"/>
                      <a:pt x="156642" y="131443"/>
                      <a:pt x="156305" y="146547"/>
                    </a:cubicBezTo>
                    <a:cubicBezTo>
                      <a:pt x="155953" y="160889"/>
                      <a:pt x="152337" y="174961"/>
                      <a:pt x="145732" y="187696"/>
                    </a:cubicBezTo>
                    <a:cubicBezTo>
                      <a:pt x="133780" y="208879"/>
                      <a:pt x="115258" y="225596"/>
                      <a:pt x="92964" y="235321"/>
                    </a:cubicBezTo>
                    <a:cubicBezTo>
                      <a:pt x="83439" y="239321"/>
                      <a:pt x="75247" y="242940"/>
                      <a:pt x="67723" y="245893"/>
                    </a:cubicBezTo>
                    <a:cubicBezTo>
                      <a:pt x="61245" y="248481"/>
                      <a:pt x="54397" y="250024"/>
                      <a:pt x="47434" y="250465"/>
                    </a:cubicBezTo>
                    <a:cubicBezTo>
                      <a:pt x="41720" y="250465"/>
                      <a:pt x="37338" y="250465"/>
                      <a:pt x="34385" y="250465"/>
                    </a:cubicBezTo>
                    <a:cubicBezTo>
                      <a:pt x="32883" y="250143"/>
                      <a:pt x="31438" y="249597"/>
                      <a:pt x="30099" y="24884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7" name="Полилиния: фигура 366">
                <a:extLst>
                  <a:ext uri="{FF2B5EF4-FFF2-40B4-BE49-F238E27FC236}">
                    <a16:creationId xmlns:a16="http://schemas.microsoft.com/office/drawing/2014/main" id="{C08E5314-C8A1-4096-8C6F-C82487B67E51}"/>
                  </a:ext>
                </a:extLst>
              </p:cNvPr>
              <p:cNvSpPr/>
              <p:nvPr/>
            </p:nvSpPr>
            <p:spPr>
              <a:xfrm>
                <a:off x="5092349" y="4381569"/>
                <a:ext cx="619125" cy="571500"/>
              </a:xfrm>
              <a:custGeom>
                <a:avLst/>
                <a:gdLst>
                  <a:gd name="connsiteX0" fmla="*/ 83931 w 619125"/>
                  <a:gd name="connsiteY0" fmla="*/ 7144 h 571500"/>
                  <a:gd name="connsiteX1" fmla="*/ 11922 w 619125"/>
                  <a:gd name="connsiteY1" fmla="*/ 92869 h 571500"/>
                  <a:gd name="connsiteX2" fmla="*/ 38782 w 619125"/>
                  <a:gd name="connsiteY2" fmla="*/ 274511 h 571500"/>
                  <a:gd name="connsiteX3" fmla="*/ 199469 w 619125"/>
                  <a:gd name="connsiteY3" fmla="*/ 471869 h 571500"/>
                  <a:gd name="connsiteX4" fmla="*/ 366919 w 619125"/>
                  <a:gd name="connsiteY4" fmla="*/ 567119 h 571500"/>
                  <a:gd name="connsiteX5" fmla="*/ 615330 w 619125"/>
                  <a:gd name="connsiteY5" fmla="*/ 546259 h 571500"/>
                  <a:gd name="connsiteX6" fmla="*/ 615330 w 619125"/>
                  <a:gd name="connsiteY6" fmla="*/ 421100 h 571500"/>
                  <a:gd name="connsiteX7" fmla="*/ 366919 w 619125"/>
                  <a:gd name="connsiteY7" fmla="*/ 391763 h 571500"/>
                  <a:gd name="connsiteX8" fmla="*/ 154606 w 619125"/>
                  <a:gd name="connsiteY8" fmla="*/ 41910 h 571500"/>
                  <a:gd name="connsiteX9" fmla="*/ 83931 w 619125"/>
                  <a:gd name="connsiteY9" fmla="*/ 7144 h 57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9125" h="571500">
                    <a:moveTo>
                      <a:pt x="83931" y="7144"/>
                    </a:moveTo>
                    <a:cubicBezTo>
                      <a:pt x="83931" y="7144"/>
                      <a:pt x="25257" y="31147"/>
                      <a:pt x="11922" y="92869"/>
                    </a:cubicBezTo>
                    <a:cubicBezTo>
                      <a:pt x="-1413" y="154591"/>
                      <a:pt x="14970" y="229076"/>
                      <a:pt x="38782" y="274511"/>
                    </a:cubicBezTo>
                    <a:cubicBezTo>
                      <a:pt x="62595" y="319945"/>
                      <a:pt x="199469" y="471869"/>
                      <a:pt x="199469" y="471869"/>
                    </a:cubicBezTo>
                    <a:cubicBezTo>
                      <a:pt x="199469" y="471869"/>
                      <a:pt x="345583" y="572357"/>
                      <a:pt x="366919" y="567119"/>
                    </a:cubicBezTo>
                    <a:cubicBezTo>
                      <a:pt x="388255" y="561880"/>
                      <a:pt x="615330" y="546259"/>
                      <a:pt x="615330" y="546259"/>
                    </a:cubicBezTo>
                    <a:lnTo>
                      <a:pt x="615330" y="421100"/>
                    </a:lnTo>
                    <a:lnTo>
                      <a:pt x="366919" y="391763"/>
                    </a:lnTo>
                    <a:cubicBezTo>
                      <a:pt x="366919" y="391763"/>
                      <a:pt x="185086" y="71152"/>
                      <a:pt x="154606" y="41910"/>
                    </a:cubicBezTo>
                    <a:cubicBezTo>
                      <a:pt x="134872" y="23779"/>
                      <a:pt x="110337" y="11710"/>
                      <a:pt x="83931" y="7144"/>
                    </a:cubicBez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8" name="Полилиния: фигура 367">
                <a:extLst>
                  <a:ext uri="{FF2B5EF4-FFF2-40B4-BE49-F238E27FC236}">
                    <a16:creationId xmlns:a16="http://schemas.microsoft.com/office/drawing/2014/main" id="{5DCC8637-F351-478A-BE0D-CF8C8BE2E201}"/>
                  </a:ext>
                </a:extLst>
              </p:cNvPr>
              <p:cNvSpPr/>
              <p:nvPr/>
            </p:nvSpPr>
            <p:spPr>
              <a:xfrm>
                <a:off x="5696535" y="4816195"/>
                <a:ext cx="219075" cy="171450"/>
              </a:xfrm>
              <a:custGeom>
                <a:avLst/>
                <a:gdLst>
                  <a:gd name="connsiteX0" fmla="*/ 7144 w 219075"/>
                  <a:gd name="connsiteY0" fmla="*/ 7144 h 171450"/>
                  <a:gd name="connsiteX1" fmla="*/ 88773 w 219075"/>
                  <a:gd name="connsiteY1" fmla="*/ 15049 h 171450"/>
                  <a:gd name="connsiteX2" fmla="*/ 154686 w 219075"/>
                  <a:gd name="connsiteY2" fmla="*/ 25813 h 171450"/>
                  <a:gd name="connsiteX3" fmla="*/ 213550 w 219075"/>
                  <a:gd name="connsiteY3" fmla="*/ 93536 h 171450"/>
                  <a:gd name="connsiteX4" fmla="*/ 217075 w 219075"/>
                  <a:gd name="connsiteY4" fmla="*/ 127730 h 171450"/>
                  <a:gd name="connsiteX5" fmla="*/ 199644 w 219075"/>
                  <a:gd name="connsiteY5" fmla="*/ 125349 h 171450"/>
                  <a:gd name="connsiteX6" fmla="*/ 191643 w 219075"/>
                  <a:gd name="connsiteY6" fmla="*/ 146113 h 171450"/>
                  <a:gd name="connsiteX7" fmla="*/ 173736 w 219075"/>
                  <a:gd name="connsiteY7" fmla="*/ 142685 h 171450"/>
                  <a:gd name="connsiteX8" fmla="*/ 170783 w 219075"/>
                  <a:gd name="connsiteY8" fmla="*/ 159448 h 171450"/>
                  <a:gd name="connsiteX9" fmla="*/ 147257 w 219075"/>
                  <a:gd name="connsiteY9" fmla="*/ 155162 h 171450"/>
                  <a:gd name="connsiteX10" fmla="*/ 141351 w 219075"/>
                  <a:gd name="connsiteY10" fmla="*/ 165830 h 171450"/>
                  <a:gd name="connsiteX11" fmla="*/ 64389 w 219075"/>
                  <a:gd name="connsiteY11" fmla="*/ 93536 h 171450"/>
                  <a:gd name="connsiteX12" fmla="*/ 20384 w 219075"/>
                  <a:gd name="connsiteY12" fmla="*/ 87725 h 171450"/>
                  <a:gd name="connsiteX13" fmla="*/ 7144 w 219075"/>
                  <a:gd name="connsiteY13" fmla="*/ 92012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9075" h="171450">
                    <a:moveTo>
                      <a:pt x="7144" y="7144"/>
                    </a:moveTo>
                    <a:lnTo>
                      <a:pt x="88773" y="15049"/>
                    </a:lnTo>
                    <a:lnTo>
                      <a:pt x="154686" y="25813"/>
                    </a:lnTo>
                    <a:lnTo>
                      <a:pt x="213550" y="93536"/>
                    </a:lnTo>
                    <a:cubicBezTo>
                      <a:pt x="213550" y="93536"/>
                      <a:pt x="226790" y="122111"/>
                      <a:pt x="217075" y="127730"/>
                    </a:cubicBezTo>
                    <a:cubicBezTo>
                      <a:pt x="212884" y="129921"/>
                      <a:pt x="199644" y="125349"/>
                      <a:pt x="199644" y="125349"/>
                    </a:cubicBezTo>
                    <a:cubicBezTo>
                      <a:pt x="199644" y="125349"/>
                      <a:pt x="198691" y="141446"/>
                      <a:pt x="191643" y="146113"/>
                    </a:cubicBezTo>
                    <a:cubicBezTo>
                      <a:pt x="184595" y="150781"/>
                      <a:pt x="173736" y="142685"/>
                      <a:pt x="173736" y="142685"/>
                    </a:cubicBezTo>
                    <a:cubicBezTo>
                      <a:pt x="173736" y="142685"/>
                      <a:pt x="177927" y="154210"/>
                      <a:pt x="170783" y="159448"/>
                    </a:cubicBezTo>
                    <a:cubicBezTo>
                      <a:pt x="163639" y="164687"/>
                      <a:pt x="147257" y="155162"/>
                      <a:pt x="147257" y="155162"/>
                    </a:cubicBezTo>
                    <a:cubicBezTo>
                      <a:pt x="147257" y="155162"/>
                      <a:pt x="145256" y="167354"/>
                      <a:pt x="141351" y="165830"/>
                    </a:cubicBezTo>
                    <a:cubicBezTo>
                      <a:pt x="137446" y="164306"/>
                      <a:pt x="64389" y="93536"/>
                      <a:pt x="64389" y="93536"/>
                    </a:cubicBezTo>
                    <a:lnTo>
                      <a:pt x="20384" y="87725"/>
                    </a:lnTo>
                    <a:lnTo>
                      <a:pt x="7144" y="92012"/>
                    </a:lnTo>
                    <a:close/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9" name="Полилиния: фигура 368">
                <a:extLst>
                  <a:ext uri="{FF2B5EF4-FFF2-40B4-BE49-F238E27FC236}">
                    <a16:creationId xmlns:a16="http://schemas.microsoft.com/office/drawing/2014/main" id="{D3C7B0E0-633E-4364-B4B1-E3792EB2B82F}"/>
                  </a:ext>
                </a:extLst>
              </p:cNvPr>
              <p:cNvSpPr/>
              <p:nvPr/>
            </p:nvSpPr>
            <p:spPr>
              <a:xfrm>
                <a:off x="5746210" y="4904968"/>
                <a:ext cx="104775" cy="95250"/>
              </a:xfrm>
              <a:custGeom>
                <a:avLst/>
                <a:gdLst>
                  <a:gd name="connsiteX0" fmla="*/ 89485 w 104775"/>
                  <a:gd name="connsiteY0" fmla="*/ 67151 h 95250"/>
                  <a:gd name="connsiteX1" fmla="*/ 72912 w 104775"/>
                  <a:gd name="connsiteY1" fmla="*/ 65437 h 95250"/>
                  <a:gd name="connsiteX2" fmla="*/ 80341 w 104775"/>
                  <a:gd name="connsiteY2" fmla="*/ 50197 h 95250"/>
                  <a:gd name="connsiteX3" fmla="*/ 66816 w 104775"/>
                  <a:gd name="connsiteY3" fmla="*/ 38195 h 95250"/>
                  <a:gd name="connsiteX4" fmla="*/ 47766 w 104775"/>
                  <a:gd name="connsiteY4" fmla="*/ 37719 h 95250"/>
                  <a:gd name="connsiteX5" fmla="*/ 48718 w 104775"/>
                  <a:gd name="connsiteY5" fmla="*/ 23813 h 95250"/>
                  <a:gd name="connsiteX6" fmla="*/ 35860 w 104775"/>
                  <a:gd name="connsiteY6" fmla="*/ 15335 h 95250"/>
                  <a:gd name="connsiteX7" fmla="*/ 23953 w 104775"/>
                  <a:gd name="connsiteY7" fmla="*/ 14002 h 95250"/>
                  <a:gd name="connsiteX8" fmla="*/ 16809 w 104775"/>
                  <a:gd name="connsiteY8" fmla="*/ 7144 h 95250"/>
                  <a:gd name="connsiteX9" fmla="*/ 8618 w 104775"/>
                  <a:gd name="connsiteY9" fmla="*/ 34671 h 95250"/>
                  <a:gd name="connsiteX10" fmla="*/ 30621 w 104775"/>
                  <a:gd name="connsiteY10" fmla="*/ 42196 h 95250"/>
                  <a:gd name="connsiteX11" fmla="*/ 50740 w 104775"/>
                  <a:gd name="connsiteY11" fmla="*/ 72978 h 95250"/>
                  <a:gd name="connsiteX12" fmla="*/ 59196 w 104775"/>
                  <a:gd name="connsiteY12" fmla="*/ 73343 h 95250"/>
                  <a:gd name="connsiteX13" fmla="*/ 63100 w 104775"/>
                  <a:gd name="connsiteY13" fmla="*/ 84773 h 95250"/>
                  <a:gd name="connsiteX14" fmla="*/ 74340 w 104775"/>
                  <a:gd name="connsiteY14" fmla="*/ 90392 h 95250"/>
                  <a:gd name="connsiteX15" fmla="*/ 89390 w 104775"/>
                  <a:gd name="connsiteY15" fmla="*/ 90392 h 95250"/>
                  <a:gd name="connsiteX16" fmla="*/ 98915 w 104775"/>
                  <a:gd name="connsiteY16" fmla="*/ 79439 h 95250"/>
                  <a:gd name="connsiteX17" fmla="*/ 89485 w 104775"/>
                  <a:gd name="connsiteY17" fmla="*/ 67151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4775" h="95250">
                    <a:moveTo>
                      <a:pt x="89485" y="67151"/>
                    </a:moveTo>
                    <a:cubicBezTo>
                      <a:pt x="84139" y="65439"/>
                      <a:pt x="78495" y="64856"/>
                      <a:pt x="72912" y="65437"/>
                    </a:cubicBezTo>
                    <a:cubicBezTo>
                      <a:pt x="79058" y="63153"/>
                      <a:pt x="82327" y="56445"/>
                      <a:pt x="80341" y="50197"/>
                    </a:cubicBezTo>
                    <a:cubicBezTo>
                      <a:pt x="78140" y="44175"/>
                      <a:pt x="73057" y="39665"/>
                      <a:pt x="66816" y="38195"/>
                    </a:cubicBezTo>
                    <a:cubicBezTo>
                      <a:pt x="60563" y="36754"/>
                      <a:pt x="54083" y="36593"/>
                      <a:pt x="47766" y="37719"/>
                    </a:cubicBezTo>
                    <a:cubicBezTo>
                      <a:pt x="51699" y="34059"/>
                      <a:pt x="52116" y="27974"/>
                      <a:pt x="48718" y="23813"/>
                    </a:cubicBezTo>
                    <a:cubicBezTo>
                      <a:pt x="45289" y="19863"/>
                      <a:pt x="40841" y="16931"/>
                      <a:pt x="35860" y="15335"/>
                    </a:cubicBezTo>
                    <a:lnTo>
                      <a:pt x="23953" y="14002"/>
                    </a:lnTo>
                    <a:lnTo>
                      <a:pt x="16809" y="7144"/>
                    </a:lnTo>
                    <a:cubicBezTo>
                      <a:pt x="11380" y="13430"/>
                      <a:pt x="3951" y="27718"/>
                      <a:pt x="8618" y="34671"/>
                    </a:cubicBezTo>
                    <a:cubicBezTo>
                      <a:pt x="13535" y="41697"/>
                      <a:pt x="22430" y="44740"/>
                      <a:pt x="30621" y="42196"/>
                    </a:cubicBezTo>
                    <a:cubicBezTo>
                      <a:pt x="27676" y="56252"/>
                      <a:pt x="36684" y="70034"/>
                      <a:pt x="50740" y="72978"/>
                    </a:cubicBezTo>
                    <a:cubicBezTo>
                      <a:pt x="53520" y="73561"/>
                      <a:pt x="56376" y="73684"/>
                      <a:pt x="59196" y="73343"/>
                    </a:cubicBezTo>
                    <a:cubicBezTo>
                      <a:pt x="58386" y="77575"/>
                      <a:pt x="59870" y="81921"/>
                      <a:pt x="63100" y="84773"/>
                    </a:cubicBezTo>
                    <a:cubicBezTo>
                      <a:pt x="66299" y="87585"/>
                      <a:pt x="70171" y="89521"/>
                      <a:pt x="74340" y="90392"/>
                    </a:cubicBezTo>
                    <a:cubicBezTo>
                      <a:pt x="79248" y="91870"/>
                      <a:pt x="84482" y="91870"/>
                      <a:pt x="89390" y="90392"/>
                    </a:cubicBezTo>
                    <a:cubicBezTo>
                      <a:pt x="94519" y="89054"/>
                      <a:pt x="98301" y="84704"/>
                      <a:pt x="98915" y="79439"/>
                    </a:cubicBezTo>
                    <a:cubicBezTo>
                      <a:pt x="98606" y="73790"/>
                      <a:pt x="94861" y="68911"/>
                      <a:pt x="89485" y="67151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0" name="Полилиния: фигура 369">
                <a:extLst>
                  <a:ext uri="{FF2B5EF4-FFF2-40B4-BE49-F238E27FC236}">
                    <a16:creationId xmlns:a16="http://schemas.microsoft.com/office/drawing/2014/main" id="{724D2B2B-4006-47EF-AA2D-15E48ACFA0A2}"/>
                  </a:ext>
                </a:extLst>
              </p:cNvPr>
              <p:cNvSpPr/>
              <p:nvPr/>
            </p:nvSpPr>
            <p:spPr>
              <a:xfrm>
                <a:off x="5850795" y="4886013"/>
                <a:ext cx="47625" cy="66675"/>
              </a:xfrm>
              <a:custGeom>
                <a:avLst/>
                <a:gdLst>
                  <a:gd name="connsiteX0" fmla="*/ 7189 w 47625"/>
                  <a:gd name="connsiteY0" fmla="*/ 7144 h 66675"/>
                  <a:gd name="connsiteX1" fmla="*/ 45860 w 47625"/>
                  <a:gd name="connsiteY1" fmla="*/ 59627 h 66675"/>
                  <a:gd name="connsiteX2" fmla="*/ 28620 w 47625"/>
                  <a:gd name="connsiteY2" fmla="*/ 31813 h 66675"/>
                  <a:gd name="connsiteX3" fmla="*/ 7189 w 47625"/>
                  <a:gd name="connsiteY3" fmla="*/ 7144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66675">
                    <a:moveTo>
                      <a:pt x="7189" y="7144"/>
                    </a:moveTo>
                    <a:cubicBezTo>
                      <a:pt x="27524" y="17690"/>
                      <a:pt x="41811" y="37080"/>
                      <a:pt x="45860" y="59627"/>
                    </a:cubicBezTo>
                    <a:cubicBezTo>
                      <a:pt x="44527" y="60103"/>
                      <a:pt x="39383" y="46196"/>
                      <a:pt x="28620" y="31813"/>
                    </a:cubicBezTo>
                    <a:cubicBezTo>
                      <a:pt x="17857" y="17431"/>
                      <a:pt x="6331" y="8382"/>
                      <a:pt x="7189" y="7144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1" name="Полилиния: фигура 370">
                <a:extLst>
                  <a:ext uri="{FF2B5EF4-FFF2-40B4-BE49-F238E27FC236}">
                    <a16:creationId xmlns:a16="http://schemas.microsoft.com/office/drawing/2014/main" id="{EC76759C-5D24-48F8-8ED7-7E65E044B471}"/>
                  </a:ext>
                </a:extLst>
              </p:cNvPr>
              <p:cNvSpPr/>
              <p:nvPr/>
            </p:nvSpPr>
            <p:spPr>
              <a:xfrm>
                <a:off x="5811765" y="4924118"/>
                <a:ext cx="38100" cy="47625"/>
              </a:xfrm>
              <a:custGeom>
                <a:avLst/>
                <a:gdLst>
                  <a:gd name="connsiteX0" fmla="*/ 7262 w 38100"/>
                  <a:gd name="connsiteY0" fmla="*/ 7234 h 47625"/>
                  <a:gd name="connsiteX1" fmla="*/ 13739 w 38100"/>
                  <a:gd name="connsiteY1" fmla="*/ 10949 h 47625"/>
                  <a:gd name="connsiteX2" fmla="*/ 25932 w 38100"/>
                  <a:gd name="connsiteY2" fmla="*/ 24094 h 47625"/>
                  <a:gd name="connsiteX3" fmla="*/ 32599 w 38100"/>
                  <a:gd name="connsiteY3" fmla="*/ 40762 h 47625"/>
                  <a:gd name="connsiteX4" fmla="*/ 32599 w 38100"/>
                  <a:gd name="connsiteY4" fmla="*/ 48192 h 47625"/>
                  <a:gd name="connsiteX5" fmla="*/ 21264 w 38100"/>
                  <a:gd name="connsiteY5" fmla="*/ 26760 h 47625"/>
                  <a:gd name="connsiteX6" fmla="*/ 7262 w 38100"/>
                  <a:gd name="connsiteY6" fmla="*/ 7234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100" h="47625">
                    <a:moveTo>
                      <a:pt x="7262" y="7234"/>
                    </a:moveTo>
                    <a:cubicBezTo>
                      <a:pt x="7262" y="6758"/>
                      <a:pt x="10120" y="8187"/>
                      <a:pt x="13739" y="10949"/>
                    </a:cubicBezTo>
                    <a:cubicBezTo>
                      <a:pt x="18469" y="14662"/>
                      <a:pt x="22584" y="19098"/>
                      <a:pt x="25932" y="24094"/>
                    </a:cubicBezTo>
                    <a:cubicBezTo>
                      <a:pt x="29045" y="29251"/>
                      <a:pt x="31297" y="34881"/>
                      <a:pt x="32599" y="40762"/>
                    </a:cubicBezTo>
                    <a:cubicBezTo>
                      <a:pt x="33551" y="45144"/>
                      <a:pt x="33742" y="48001"/>
                      <a:pt x="32599" y="48192"/>
                    </a:cubicBezTo>
                    <a:cubicBezTo>
                      <a:pt x="31456" y="48382"/>
                      <a:pt x="27741" y="37809"/>
                      <a:pt x="21264" y="26760"/>
                    </a:cubicBezTo>
                    <a:cubicBezTo>
                      <a:pt x="14787" y="15712"/>
                      <a:pt x="6024" y="8377"/>
                      <a:pt x="7262" y="7234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2" name="Полилиния: фигура 371">
                <a:extLst>
                  <a:ext uri="{FF2B5EF4-FFF2-40B4-BE49-F238E27FC236}">
                    <a16:creationId xmlns:a16="http://schemas.microsoft.com/office/drawing/2014/main" id="{0CE9EDEA-6732-4DCA-845E-7BCEB3495E5B}"/>
                  </a:ext>
                </a:extLst>
              </p:cNvPr>
              <p:cNvSpPr/>
              <p:nvPr/>
            </p:nvSpPr>
            <p:spPr>
              <a:xfrm>
                <a:off x="5779838" y="4779238"/>
                <a:ext cx="209550" cy="142875"/>
              </a:xfrm>
              <a:custGeom>
                <a:avLst/>
                <a:gdLst>
                  <a:gd name="connsiteX0" fmla="*/ 50238 w 209550"/>
                  <a:gd name="connsiteY0" fmla="*/ 59341 h 142875"/>
                  <a:gd name="connsiteX1" fmla="*/ 12138 w 209550"/>
                  <a:gd name="connsiteY1" fmla="*/ 31813 h 142875"/>
                  <a:gd name="connsiteX2" fmla="*/ 12138 w 209550"/>
                  <a:gd name="connsiteY2" fmla="*/ 7144 h 142875"/>
                  <a:gd name="connsiteX3" fmla="*/ 69288 w 209550"/>
                  <a:gd name="connsiteY3" fmla="*/ 29146 h 142875"/>
                  <a:gd name="connsiteX4" fmla="*/ 112722 w 209550"/>
                  <a:gd name="connsiteY4" fmla="*/ 57721 h 142875"/>
                  <a:gd name="connsiteX5" fmla="*/ 174063 w 209550"/>
                  <a:gd name="connsiteY5" fmla="*/ 32099 h 142875"/>
                  <a:gd name="connsiteX6" fmla="*/ 205400 w 209550"/>
                  <a:gd name="connsiteY6" fmla="*/ 93440 h 142875"/>
                  <a:gd name="connsiteX7" fmla="*/ 205971 w 209550"/>
                  <a:gd name="connsiteY7" fmla="*/ 130683 h 142875"/>
                  <a:gd name="connsiteX8" fmla="*/ 137487 w 209550"/>
                  <a:gd name="connsiteY8" fmla="*/ 145066 h 142875"/>
                  <a:gd name="connsiteX9" fmla="*/ 71574 w 209550"/>
                  <a:gd name="connsiteY9" fmla="*/ 63055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9550" h="142875">
                    <a:moveTo>
                      <a:pt x="50238" y="59341"/>
                    </a:moveTo>
                    <a:cubicBezTo>
                      <a:pt x="36718" y="51357"/>
                      <a:pt x="23964" y="42142"/>
                      <a:pt x="12138" y="31813"/>
                    </a:cubicBezTo>
                    <a:cubicBezTo>
                      <a:pt x="7089" y="25051"/>
                      <a:pt x="4041" y="13526"/>
                      <a:pt x="12138" y="7144"/>
                    </a:cubicBezTo>
                    <a:lnTo>
                      <a:pt x="69288" y="29146"/>
                    </a:lnTo>
                    <a:lnTo>
                      <a:pt x="112722" y="57721"/>
                    </a:lnTo>
                    <a:lnTo>
                      <a:pt x="174063" y="32099"/>
                    </a:lnTo>
                    <a:cubicBezTo>
                      <a:pt x="174063" y="32099"/>
                      <a:pt x="205400" y="78391"/>
                      <a:pt x="205400" y="93440"/>
                    </a:cubicBezTo>
                    <a:cubicBezTo>
                      <a:pt x="205400" y="108490"/>
                      <a:pt x="210544" y="122015"/>
                      <a:pt x="205971" y="130683"/>
                    </a:cubicBezTo>
                    <a:lnTo>
                      <a:pt x="137487" y="145066"/>
                    </a:lnTo>
                    <a:lnTo>
                      <a:pt x="71574" y="63055"/>
                    </a:ln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3" name="Полилиния: фигура 372">
                <a:extLst>
                  <a:ext uri="{FF2B5EF4-FFF2-40B4-BE49-F238E27FC236}">
                    <a16:creationId xmlns:a16="http://schemas.microsoft.com/office/drawing/2014/main" id="{F0DAABD9-1ED2-475F-B2EF-6872990CD0FB}"/>
                  </a:ext>
                </a:extLst>
              </p:cNvPr>
              <p:cNvSpPr/>
              <p:nvPr/>
            </p:nvSpPr>
            <p:spPr>
              <a:xfrm>
                <a:off x="5077516" y="4383093"/>
                <a:ext cx="95250" cy="266700"/>
              </a:xfrm>
              <a:custGeom>
                <a:avLst/>
                <a:gdLst>
                  <a:gd name="connsiteX0" fmla="*/ 40757 w 95250"/>
                  <a:gd name="connsiteY0" fmla="*/ 268510 h 266700"/>
                  <a:gd name="connsiteX1" fmla="*/ 36185 w 95250"/>
                  <a:gd name="connsiteY1" fmla="*/ 257556 h 266700"/>
                  <a:gd name="connsiteX2" fmla="*/ 25231 w 95250"/>
                  <a:gd name="connsiteY2" fmla="*/ 227362 h 266700"/>
                  <a:gd name="connsiteX3" fmla="*/ 11896 w 95250"/>
                  <a:gd name="connsiteY3" fmla="*/ 181356 h 266700"/>
                  <a:gd name="connsiteX4" fmla="*/ 7991 w 95250"/>
                  <a:gd name="connsiteY4" fmla="*/ 122587 h 266700"/>
                  <a:gd name="connsiteX5" fmla="*/ 27708 w 95250"/>
                  <a:gd name="connsiteY5" fmla="*/ 66961 h 266700"/>
                  <a:gd name="connsiteX6" fmla="*/ 58474 w 95250"/>
                  <a:gd name="connsiteY6" fmla="*/ 30099 h 266700"/>
                  <a:gd name="connsiteX7" fmla="*/ 85143 w 95250"/>
                  <a:gd name="connsiteY7" fmla="*/ 11716 h 266700"/>
                  <a:gd name="connsiteX8" fmla="*/ 96097 w 95250"/>
                  <a:gd name="connsiteY8" fmla="*/ 7144 h 266700"/>
                  <a:gd name="connsiteX9" fmla="*/ 60855 w 95250"/>
                  <a:gd name="connsiteY9" fmla="*/ 32671 h 266700"/>
                  <a:gd name="connsiteX10" fmla="*/ 31613 w 95250"/>
                  <a:gd name="connsiteY10" fmla="*/ 69342 h 266700"/>
                  <a:gd name="connsiteX11" fmla="*/ 12563 w 95250"/>
                  <a:gd name="connsiteY11" fmla="*/ 123158 h 266700"/>
                  <a:gd name="connsiteX12" fmla="*/ 15992 w 95250"/>
                  <a:gd name="connsiteY12" fmla="*/ 180308 h 266700"/>
                  <a:gd name="connsiteX13" fmla="*/ 28184 w 95250"/>
                  <a:gd name="connsiteY13" fmla="*/ 226123 h 266700"/>
                  <a:gd name="connsiteX14" fmla="*/ 37709 w 95250"/>
                  <a:gd name="connsiteY14" fmla="*/ 256889 h 266700"/>
                  <a:gd name="connsiteX15" fmla="*/ 40757 w 95250"/>
                  <a:gd name="connsiteY15" fmla="*/ 268510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5250" h="266700">
                    <a:moveTo>
                      <a:pt x="40757" y="268510"/>
                    </a:moveTo>
                    <a:cubicBezTo>
                      <a:pt x="38883" y="265015"/>
                      <a:pt x="37352" y="261346"/>
                      <a:pt x="36185" y="257556"/>
                    </a:cubicBezTo>
                    <a:cubicBezTo>
                      <a:pt x="33518" y="250507"/>
                      <a:pt x="29613" y="240220"/>
                      <a:pt x="25231" y="227362"/>
                    </a:cubicBezTo>
                    <a:cubicBezTo>
                      <a:pt x="19829" y="212320"/>
                      <a:pt x="15375" y="196955"/>
                      <a:pt x="11896" y="181356"/>
                    </a:cubicBezTo>
                    <a:cubicBezTo>
                      <a:pt x="7402" y="162109"/>
                      <a:pt x="6083" y="142258"/>
                      <a:pt x="7991" y="122587"/>
                    </a:cubicBezTo>
                    <a:cubicBezTo>
                      <a:pt x="10568" y="102862"/>
                      <a:pt x="17287" y="83905"/>
                      <a:pt x="27708" y="66961"/>
                    </a:cubicBezTo>
                    <a:cubicBezTo>
                      <a:pt x="35966" y="53135"/>
                      <a:pt x="46348" y="40696"/>
                      <a:pt x="58474" y="30099"/>
                    </a:cubicBezTo>
                    <a:cubicBezTo>
                      <a:pt x="66543" y="22859"/>
                      <a:pt x="75506" y="16681"/>
                      <a:pt x="85143" y="11716"/>
                    </a:cubicBezTo>
                    <a:cubicBezTo>
                      <a:pt x="88571" y="9703"/>
                      <a:pt x="92256" y="8165"/>
                      <a:pt x="96097" y="7144"/>
                    </a:cubicBezTo>
                    <a:cubicBezTo>
                      <a:pt x="83555" y="14496"/>
                      <a:pt x="71752" y="23045"/>
                      <a:pt x="60855" y="32671"/>
                    </a:cubicBezTo>
                    <a:cubicBezTo>
                      <a:pt x="49379" y="43410"/>
                      <a:pt x="39529" y="55764"/>
                      <a:pt x="31613" y="69342"/>
                    </a:cubicBezTo>
                    <a:cubicBezTo>
                      <a:pt x="21659" y="85794"/>
                      <a:pt x="15176" y="104108"/>
                      <a:pt x="12563" y="123158"/>
                    </a:cubicBezTo>
                    <a:cubicBezTo>
                      <a:pt x="10725" y="142271"/>
                      <a:pt x="11882" y="161553"/>
                      <a:pt x="15992" y="180308"/>
                    </a:cubicBezTo>
                    <a:cubicBezTo>
                      <a:pt x="19259" y="195781"/>
                      <a:pt x="23329" y="211073"/>
                      <a:pt x="28184" y="226123"/>
                    </a:cubicBezTo>
                    <a:cubicBezTo>
                      <a:pt x="31898" y="238411"/>
                      <a:pt x="35042" y="248698"/>
                      <a:pt x="37709" y="256889"/>
                    </a:cubicBezTo>
                    <a:cubicBezTo>
                      <a:pt x="39131" y="260645"/>
                      <a:pt x="40152" y="264540"/>
                      <a:pt x="40757" y="268510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4" name="Полилиния: фигура 373">
                <a:extLst>
                  <a:ext uri="{FF2B5EF4-FFF2-40B4-BE49-F238E27FC236}">
                    <a16:creationId xmlns:a16="http://schemas.microsoft.com/office/drawing/2014/main" id="{F71A4280-4DDA-436D-AD2D-2C57E3FC2FF1}"/>
                  </a:ext>
                </a:extLst>
              </p:cNvPr>
              <p:cNvSpPr/>
              <p:nvPr/>
            </p:nvSpPr>
            <p:spPr>
              <a:xfrm>
                <a:off x="5159992" y="4449863"/>
                <a:ext cx="552450" cy="485775"/>
              </a:xfrm>
              <a:custGeom>
                <a:avLst/>
                <a:gdLst>
                  <a:gd name="connsiteX0" fmla="*/ 106680 w 552450"/>
                  <a:gd name="connsiteY0" fmla="*/ 7144 h 485775"/>
                  <a:gd name="connsiteX1" fmla="*/ 107728 w 552450"/>
                  <a:gd name="connsiteY1" fmla="*/ 8477 h 485775"/>
                  <a:gd name="connsiteX2" fmla="*/ 110490 w 552450"/>
                  <a:gd name="connsiteY2" fmla="*/ 12763 h 485775"/>
                  <a:gd name="connsiteX3" fmla="*/ 121158 w 552450"/>
                  <a:gd name="connsiteY3" fmla="*/ 29718 h 485775"/>
                  <a:gd name="connsiteX4" fmla="*/ 161068 w 552450"/>
                  <a:gd name="connsiteY4" fmla="*/ 93917 h 485775"/>
                  <a:gd name="connsiteX5" fmla="*/ 301371 w 552450"/>
                  <a:gd name="connsiteY5" fmla="*/ 322517 h 485775"/>
                  <a:gd name="connsiteX6" fmla="*/ 299752 w 552450"/>
                  <a:gd name="connsiteY6" fmla="*/ 321469 h 485775"/>
                  <a:gd name="connsiteX7" fmla="*/ 548164 w 552450"/>
                  <a:gd name="connsiteY7" fmla="*/ 350615 h 485775"/>
                  <a:gd name="connsiteX8" fmla="*/ 550355 w 552450"/>
                  <a:gd name="connsiteY8" fmla="*/ 350615 h 485775"/>
                  <a:gd name="connsiteX9" fmla="*/ 550355 w 552450"/>
                  <a:gd name="connsiteY9" fmla="*/ 480822 h 485775"/>
                  <a:gd name="connsiteX10" fmla="*/ 547878 w 552450"/>
                  <a:gd name="connsiteY10" fmla="*/ 480822 h 485775"/>
                  <a:gd name="connsiteX11" fmla="*/ 236030 w 552450"/>
                  <a:gd name="connsiteY11" fmla="*/ 476250 h 485775"/>
                  <a:gd name="connsiteX12" fmla="*/ 235554 w 552450"/>
                  <a:gd name="connsiteY12" fmla="*/ 476250 h 485775"/>
                  <a:gd name="connsiteX13" fmla="*/ 164688 w 552450"/>
                  <a:gd name="connsiteY13" fmla="*/ 458248 h 485775"/>
                  <a:gd name="connsiteX14" fmla="*/ 148400 w 552450"/>
                  <a:gd name="connsiteY14" fmla="*/ 451009 h 485775"/>
                  <a:gd name="connsiteX15" fmla="*/ 136589 w 552450"/>
                  <a:gd name="connsiteY15" fmla="*/ 438626 h 485775"/>
                  <a:gd name="connsiteX16" fmla="*/ 116967 w 552450"/>
                  <a:gd name="connsiteY16" fmla="*/ 413194 h 485775"/>
                  <a:gd name="connsiteX17" fmla="*/ 57627 w 552450"/>
                  <a:gd name="connsiteY17" fmla="*/ 323945 h 485775"/>
                  <a:gd name="connsiteX18" fmla="*/ 20479 w 552450"/>
                  <a:gd name="connsiteY18" fmla="*/ 265938 h 485775"/>
                  <a:gd name="connsiteX19" fmla="*/ 10383 w 552450"/>
                  <a:gd name="connsiteY19" fmla="*/ 250508 h 485775"/>
                  <a:gd name="connsiteX20" fmla="*/ 7144 w 552450"/>
                  <a:gd name="connsiteY20" fmla="*/ 245269 h 485775"/>
                  <a:gd name="connsiteX21" fmla="*/ 10954 w 552450"/>
                  <a:gd name="connsiteY21" fmla="*/ 250126 h 485775"/>
                  <a:gd name="connsiteX22" fmla="*/ 21527 w 552450"/>
                  <a:gd name="connsiteY22" fmla="*/ 264795 h 485775"/>
                  <a:gd name="connsiteX23" fmla="*/ 59627 w 552450"/>
                  <a:gd name="connsiteY23" fmla="*/ 321945 h 485775"/>
                  <a:gd name="connsiteX24" fmla="*/ 119634 w 552450"/>
                  <a:gd name="connsiteY24" fmla="*/ 410432 h 485775"/>
                  <a:gd name="connsiteX25" fmla="*/ 139256 w 552450"/>
                  <a:gd name="connsiteY25" fmla="*/ 435578 h 485775"/>
                  <a:gd name="connsiteX26" fmla="*/ 150495 w 552450"/>
                  <a:gd name="connsiteY26" fmla="*/ 447294 h 485775"/>
                  <a:gd name="connsiteX27" fmla="*/ 165545 w 552450"/>
                  <a:gd name="connsiteY27" fmla="*/ 453866 h 485775"/>
                  <a:gd name="connsiteX28" fmla="*/ 236506 w 552450"/>
                  <a:gd name="connsiteY28" fmla="*/ 471392 h 485775"/>
                  <a:gd name="connsiteX29" fmla="*/ 236506 w 552450"/>
                  <a:gd name="connsiteY29" fmla="*/ 471392 h 485775"/>
                  <a:gd name="connsiteX30" fmla="*/ 548259 w 552450"/>
                  <a:gd name="connsiteY30" fmla="*/ 475202 h 485775"/>
                  <a:gd name="connsiteX31" fmla="*/ 545783 w 552450"/>
                  <a:gd name="connsiteY31" fmla="*/ 477679 h 485775"/>
                  <a:gd name="connsiteX32" fmla="*/ 545783 w 552450"/>
                  <a:gd name="connsiteY32" fmla="*/ 352806 h 485775"/>
                  <a:gd name="connsiteX33" fmla="*/ 547974 w 552450"/>
                  <a:gd name="connsiteY33" fmla="*/ 355283 h 485775"/>
                  <a:gd name="connsiteX34" fmla="*/ 299561 w 552450"/>
                  <a:gd name="connsiteY34" fmla="*/ 325660 h 485775"/>
                  <a:gd name="connsiteX35" fmla="*/ 298514 w 552450"/>
                  <a:gd name="connsiteY35" fmla="*/ 325660 h 485775"/>
                  <a:gd name="connsiteX36" fmla="*/ 298038 w 552450"/>
                  <a:gd name="connsiteY36" fmla="*/ 324802 h 485775"/>
                  <a:gd name="connsiteX37" fmla="*/ 158878 w 552450"/>
                  <a:gd name="connsiteY37" fmla="*/ 95250 h 485775"/>
                  <a:gd name="connsiteX38" fmla="*/ 120015 w 552450"/>
                  <a:gd name="connsiteY38" fmla="*/ 30385 h 485775"/>
                  <a:gd name="connsiteX39" fmla="*/ 109919 w 552450"/>
                  <a:gd name="connsiteY39" fmla="*/ 13145 h 485775"/>
                  <a:gd name="connsiteX40" fmla="*/ 107442 w 552450"/>
                  <a:gd name="connsiteY40" fmla="*/ 8668 h 485775"/>
                  <a:gd name="connsiteX41" fmla="*/ 106680 w 552450"/>
                  <a:gd name="connsiteY41" fmla="*/ 7144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552450" h="485775">
                    <a:moveTo>
                      <a:pt x="106680" y="7144"/>
                    </a:moveTo>
                    <a:cubicBezTo>
                      <a:pt x="107063" y="7561"/>
                      <a:pt x="107413" y="8007"/>
                      <a:pt x="107728" y="8477"/>
                    </a:cubicBezTo>
                    <a:lnTo>
                      <a:pt x="110490" y="12763"/>
                    </a:lnTo>
                    <a:cubicBezTo>
                      <a:pt x="113062" y="16859"/>
                      <a:pt x="116681" y="22288"/>
                      <a:pt x="121158" y="29718"/>
                    </a:cubicBezTo>
                    <a:cubicBezTo>
                      <a:pt x="130683" y="44767"/>
                      <a:pt x="144019" y="66484"/>
                      <a:pt x="161068" y="93917"/>
                    </a:cubicBezTo>
                    <a:lnTo>
                      <a:pt x="301371" y="322517"/>
                    </a:lnTo>
                    <a:lnTo>
                      <a:pt x="299752" y="321469"/>
                    </a:lnTo>
                    <a:lnTo>
                      <a:pt x="548164" y="350615"/>
                    </a:lnTo>
                    <a:lnTo>
                      <a:pt x="550355" y="350615"/>
                    </a:lnTo>
                    <a:lnTo>
                      <a:pt x="550355" y="480822"/>
                    </a:lnTo>
                    <a:lnTo>
                      <a:pt x="547878" y="480822"/>
                    </a:lnTo>
                    <a:lnTo>
                      <a:pt x="236030" y="476250"/>
                    </a:lnTo>
                    <a:lnTo>
                      <a:pt x="235554" y="476250"/>
                    </a:lnTo>
                    <a:lnTo>
                      <a:pt x="164688" y="458248"/>
                    </a:lnTo>
                    <a:cubicBezTo>
                      <a:pt x="158836" y="456927"/>
                      <a:pt x="153302" y="454467"/>
                      <a:pt x="148400" y="451009"/>
                    </a:cubicBezTo>
                    <a:cubicBezTo>
                      <a:pt x="143893" y="447465"/>
                      <a:pt x="139916" y="443295"/>
                      <a:pt x="136589" y="438626"/>
                    </a:cubicBezTo>
                    <a:cubicBezTo>
                      <a:pt x="129540" y="430149"/>
                      <a:pt x="123063" y="421576"/>
                      <a:pt x="116967" y="413194"/>
                    </a:cubicBezTo>
                    <a:cubicBezTo>
                      <a:pt x="92488" y="379667"/>
                      <a:pt x="73533" y="348996"/>
                      <a:pt x="57627" y="323945"/>
                    </a:cubicBezTo>
                    <a:cubicBezTo>
                      <a:pt x="41720" y="298894"/>
                      <a:pt x="29052" y="279178"/>
                      <a:pt x="20479" y="265938"/>
                    </a:cubicBezTo>
                    <a:lnTo>
                      <a:pt x="10383" y="250508"/>
                    </a:lnTo>
                    <a:cubicBezTo>
                      <a:pt x="8097" y="247079"/>
                      <a:pt x="7144" y="245269"/>
                      <a:pt x="7144" y="245269"/>
                    </a:cubicBezTo>
                    <a:cubicBezTo>
                      <a:pt x="7144" y="245269"/>
                      <a:pt x="8477" y="246793"/>
                      <a:pt x="10954" y="250126"/>
                    </a:cubicBezTo>
                    <a:cubicBezTo>
                      <a:pt x="13431" y="253460"/>
                      <a:pt x="17050" y="258318"/>
                      <a:pt x="21527" y="264795"/>
                    </a:cubicBezTo>
                    <a:cubicBezTo>
                      <a:pt x="31052" y="277844"/>
                      <a:pt x="43529" y="297275"/>
                      <a:pt x="59627" y="321945"/>
                    </a:cubicBezTo>
                    <a:cubicBezTo>
                      <a:pt x="75724" y="346615"/>
                      <a:pt x="95060" y="377285"/>
                      <a:pt x="119634" y="410432"/>
                    </a:cubicBezTo>
                    <a:cubicBezTo>
                      <a:pt x="125825" y="418719"/>
                      <a:pt x="132302" y="427196"/>
                      <a:pt x="139256" y="435578"/>
                    </a:cubicBezTo>
                    <a:cubicBezTo>
                      <a:pt x="142479" y="439954"/>
                      <a:pt x="146257" y="443893"/>
                      <a:pt x="150495" y="447294"/>
                    </a:cubicBezTo>
                    <a:cubicBezTo>
                      <a:pt x="155029" y="450456"/>
                      <a:pt x="160144" y="452689"/>
                      <a:pt x="165545" y="453866"/>
                    </a:cubicBezTo>
                    <a:lnTo>
                      <a:pt x="236506" y="471392"/>
                    </a:lnTo>
                    <a:lnTo>
                      <a:pt x="236506" y="471392"/>
                    </a:lnTo>
                    <a:lnTo>
                      <a:pt x="548259" y="475202"/>
                    </a:lnTo>
                    <a:lnTo>
                      <a:pt x="545783" y="477679"/>
                    </a:lnTo>
                    <a:lnTo>
                      <a:pt x="545783" y="352806"/>
                    </a:lnTo>
                    <a:lnTo>
                      <a:pt x="547974" y="355283"/>
                    </a:lnTo>
                    <a:lnTo>
                      <a:pt x="299561" y="325660"/>
                    </a:lnTo>
                    <a:lnTo>
                      <a:pt x="298514" y="325660"/>
                    </a:lnTo>
                    <a:lnTo>
                      <a:pt x="298038" y="324802"/>
                    </a:lnTo>
                    <a:lnTo>
                      <a:pt x="158878" y="95250"/>
                    </a:lnTo>
                    <a:lnTo>
                      <a:pt x="120015" y="30385"/>
                    </a:lnTo>
                    <a:lnTo>
                      <a:pt x="109919" y="13145"/>
                    </a:lnTo>
                    <a:lnTo>
                      <a:pt x="107442" y="8668"/>
                    </a:lnTo>
                    <a:cubicBezTo>
                      <a:pt x="106871" y="7715"/>
                      <a:pt x="106585" y="7144"/>
                      <a:pt x="106680" y="714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5" name="Полилиния: фигура 374">
                <a:extLst>
                  <a:ext uri="{FF2B5EF4-FFF2-40B4-BE49-F238E27FC236}">
                    <a16:creationId xmlns:a16="http://schemas.microsoft.com/office/drawing/2014/main" id="{EBCB82C6-441C-4F0A-94A8-6A011D369B49}"/>
                  </a:ext>
                </a:extLst>
              </p:cNvPr>
              <p:cNvSpPr/>
              <p:nvPr/>
            </p:nvSpPr>
            <p:spPr>
              <a:xfrm>
                <a:off x="5029594" y="4328981"/>
                <a:ext cx="219075" cy="57150"/>
              </a:xfrm>
              <a:custGeom>
                <a:avLst/>
                <a:gdLst>
                  <a:gd name="connsiteX0" fmla="*/ 215837 w 219075"/>
                  <a:gd name="connsiteY0" fmla="*/ 51064 h 57150"/>
                  <a:gd name="connsiteX1" fmla="*/ 187262 w 219075"/>
                  <a:gd name="connsiteY1" fmla="*/ 36491 h 57150"/>
                  <a:gd name="connsiteX2" fmla="*/ 38386 w 219075"/>
                  <a:gd name="connsiteY2" fmla="*/ 14869 h 57150"/>
                  <a:gd name="connsiteX3" fmla="*/ 7144 w 219075"/>
                  <a:gd name="connsiteY3" fmla="*/ 20775 h 57150"/>
                  <a:gd name="connsiteX4" fmla="*/ 15145 w 219075"/>
                  <a:gd name="connsiteY4" fmla="*/ 17441 h 57150"/>
                  <a:gd name="connsiteX5" fmla="*/ 37815 w 219075"/>
                  <a:gd name="connsiteY5" fmla="*/ 11440 h 57150"/>
                  <a:gd name="connsiteX6" fmla="*/ 188881 w 219075"/>
                  <a:gd name="connsiteY6" fmla="*/ 33347 h 57150"/>
                  <a:gd name="connsiteX7" fmla="*/ 208883 w 219075"/>
                  <a:gd name="connsiteY7" fmla="*/ 45539 h 57150"/>
                  <a:gd name="connsiteX8" fmla="*/ 215837 w 219075"/>
                  <a:gd name="connsiteY8" fmla="*/ 51064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9075" h="57150">
                    <a:moveTo>
                      <a:pt x="215837" y="51064"/>
                    </a:moveTo>
                    <a:cubicBezTo>
                      <a:pt x="215837" y="51826"/>
                      <a:pt x="205264" y="44873"/>
                      <a:pt x="187262" y="36491"/>
                    </a:cubicBezTo>
                    <a:cubicBezTo>
                      <a:pt x="140965" y="14395"/>
                      <a:pt x="89056" y="6856"/>
                      <a:pt x="38386" y="14869"/>
                    </a:cubicBezTo>
                    <a:cubicBezTo>
                      <a:pt x="19336" y="17917"/>
                      <a:pt x="7430" y="21632"/>
                      <a:pt x="7144" y="20775"/>
                    </a:cubicBezTo>
                    <a:cubicBezTo>
                      <a:pt x="9661" y="19334"/>
                      <a:pt x="12349" y="18214"/>
                      <a:pt x="15145" y="17441"/>
                    </a:cubicBezTo>
                    <a:cubicBezTo>
                      <a:pt x="22552" y="14911"/>
                      <a:pt x="30127" y="12906"/>
                      <a:pt x="37815" y="11440"/>
                    </a:cubicBezTo>
                    <a:cubicBezTo>
                      <a:pt x="89197" y="1381"/>
                      <a:pt x="142473" y="9107"/>
                      <a:pt x="188881" y="33347"/>
                    </a:cubicBezTo>
                    <a:cubicBezTo>
                      <a:pt x="195822" y="36944"/>
                      <a:pt x="202506" y="41018"/>
                      <a:pt x="208883" y="45539"/>
                    </a:cubicBezTo>
                    <a:cubicBezTo>
                      <a:pt x="213646" y="48873"/>
                      <a:pt x="216028" y="50778"/>
                      <a:pt x="215837" y="5106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6" name="Полилиния: фигура 375">
                <a:extLst>
                  <a:ext uri="{FF2B5EF4-FFF2-40B4-BE49-F238E27FC236}">
                    <a16:creationId xmlns:a16="http://schemas.microsoft.com/office/drawing/2014/main" id="{4A99D110-AB39-4DE6-B8A4-D30F2C28BEF1}"/>
                  </a:ext>
                </a:extLst>
              </p:cNvPr>
              <p:cNvSpPr/>
              <p:nvPr/>
            </p:nvSpPr>
            <p:spPr>
              <a:xfrm>
                <a:off x="5835314" y="4910774"/>
                <a:ext cx="38100" cy="57150"/>
              </a:xfrm>
              <a:custGeom>
                <a:avLst/>
                <a:gdLst>
                  <a:gd name="connsiteX0" fmla="*/ 37529 w 38100"/>
                  <a:gd name="connsiteY0" fmla="*/ 51439 h 57150"/>
                  <a:gd name="connsiteX1" fmla="*/ 22765 w 38100"/>
                  <a:gd name="connsiteY1" fmla="*/ 29055 h 57150"/>
                  <a:gd name="connsiteX2" fmla="*/ 7144 w 38100"/>
                  <a:gd name="connsiteY2" fmla="*/ 7243 h 57150"/>
                  <a:gd name="connsiteX3" fmla="*/ 26861 w 38100"/>
                  <a:gd name="connsiteY3" fmla="*/ 26293 h 57150"/>
                  <a:gd name="connsiteX4" fmla="*/ 37529 w 38100"/>
                  <a:gd name="connsiteY4" fmla="*/ 51439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57150">
                    <a:moveTo>
                      <a:pt x="37529" y="51439"/>
                    </a:moveTo>
                    <a:cubicBezTo>
                      <a:pt x="32085" y="44336"/>
                      <a:pt x="27151" y="36856"/>
                      <a:pt x="22765" y="29055"/>
                    </a:cubicBezTo>
                    <a:cubicBezTo>
                      <a:pt x="17042" y="22168"/>
                      <a:pt x="11821" y="14878"/>
                      <a:pt x="7144" y="7243"/>
                    </a:cubicBezTo>
                    <a:cubicBezTo>
                      <a:pt x="8001" y="6195"/>
                      <a:pt x="18192" y="13530"/>
                      <a:pt x="26861" y="26293"/>
                    </a:cubicBezTo>
                    <a:cubicBezTo>
                      <a:pt x="32735" y="33491"/>
                      <a:pt x="36436" y="42213"/>
                      <a:pt x="37529" y="51439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7" name="Полилиния: фигура 376">
                <a:extLst>
                  <a:ext uri="{FF2B5EF4-FFF2-40B4-BE49-F238E27FC236}">
                    <a16:creationId xmlns:a16="http://schemas.microsoft.com/office/drawing/2014/main" id="{2538FF56-E658-47EC-8B5F-FBFB0A149AB6}"/>
                  </a:ext>
                </a:extLst>
              </p:cNvPr>
              <p:cNvSpPr/>
              <p:nvPr/>
            </p:nvSpPr>
            <p:spPr>
              <a:xfrm>
                <a:off x="3633039" y="6153981"/>
                <a:ext cx="304800" cy="257175"/>
              </a:xfrm>
              <a:custGeom>
                <a:avLst/>
                <a:gdLst>
                  <a:gd name="connsiteX0" fmla="*/ 302990 w 304800"/>
                  <a:gd name="connsiteY0" fmla="*/ 7144 h 257175"/>
                  <a:gd name="connsiteX1" fmla="*/ 306324 w 304800"/>
                  <a:gd name="connsiteY1" fmla="*/ 247650 h 257175"/>
                  <a:gd name="connsiteX2" fmla="*/ 7144 w 304800"/>
                  <a:gd name="connsiteY2" fmla="*/ 253365 h 257175"/>
                  <a:gd name="connsiteX3" fmla="*/ 162020 w 304800"/>
                  <a:gd name="connsiteY3" fmla="*/ 164402 h 257175"/>
                  <a:gd name="connsiteX4" fmla="*/ 153829 w 304800"/>
                  <a:gd name="connsiteY4" fmla="*/ 1038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4800" h="257175">
                    <a:moveTo>
                      <a:pt x="302990" y="7144"/>
                    </a:moveTo>
                    <a:lnTo>
                      <a:pt x="306324" y="247650"/>
                    </a:lnTo>
                    <a:lnTo>
                      <a:pt x="7144" y="253365"/>
                    </a:lnTo>
                    <a:cubicBezTo>
                      <a:pt x="8287" y="224790"/>
                      <a:pt x="162020" y="164402"/>
                      <a:pt x="162020" y="164402"/>
                    </a:cubicBezTo>
                    <a:lnTo>
                      <a:pt x="153829" y="10383"/>
                    </a:ln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8" name="Полилиния: фигура 377">
                <a:extLst>
                  <a:ext uri="{FF2B5EF4-FFF2-40B4-BE49-F238E27FC236}">
                    <a16:creationId xmlns:a16="http://schemas.microsoft.com/office/drawing/2014/main" id="{09B197DA-9D02-42F5-88E1-5C5F3D9B3AA1}"/>
                  </a:ext>
                </a:extLst>
              </p:cNvPr>
              <p:cNvSpPr/>
              <p:nvPr/>
            </p:nvSpPr>
            <p:spPr>
              <a:xfrm>
                <a:off x="3865639" y="6296266"/>
                <a:ext cx="28575" cy="28575"/>
              </a:xfrm>
              <a:custGeom>
                <a:avLst/>
                <a:gdLst>
                  <a:gd name="connsiteX0" fmla="*/ 21718 w 28575"/>
                  <a:gd name="connsiteY0" fmla="*/ 7353 h 28575"/>
                  <a:gd name="connsiteX1" fmla="*/ 30386 w 28575"/>
                  <a:gd name="connsiteY1" fmla="*/ 21164 h 28575"/>
                  <a:gd name="connsiteX2" fmla="*/ 16860 w 28575"/>
                  <a:gd name="connsiteY2" fmla="*/ 29927 h 28575"/>
                  <a:gd name="connsiteX3" fmla="*/ 7335 w 28575"/>
                  <a:gd name="connsiteY3" fmla="*/ 15259 h 28575"/>
                  <a:gd name="connsiteX4" fmla="*/ 22480 w 28575"/>
                  <a:gd name="connsiteY4" fmla="*/ 773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21718" y="7353"/>
                    </a:moveTo>
                    <a:cubicBezTo>
                      <a:pt x="27713" y="9063"/>
                      <a:pt x="31453" y="15021"/>
                      <a:pt x="30386" y="21164"/>
                    </a:cubicBezTo>
                    <a:cubicBezTo>
                      <a:pt x="28921" y="27215"/>
                      <a:pt x="22981" y="31064"/>
                      <a:pt x="16860" y="29927"/>
                    </a:cubicBezTo>
                    <a:cubicBezTo>
                      <a:pt x="10337" y="28282"/>
                      <a:pt x="6184" y="21887"/>
                      <a:pt x="7335" y="15259"/>
                    </a:cubicBezTo>
                    <a:cubicBezTo>
                      <a:pt x="9500" y="9052"/>
                      <a:pt x="16225" y="5711"/>
                      <a:pt x="22480" y="7734"/>
                    </a:cubicBez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9" name="Полилиния: фигура 378">
                <a:extLst>
                  <a:ext uri="{FF2B5EF4-FFF2-40B4-BE49-F238E27FC236}">
                    <a16:creationId xmlns:a16="http://schemas.microsoft.com/office/drawing/2014/main" id="{CE2BC5E3-7167-470D-945C-3BDD5D944EFF}"/>
                  </a:ext>
                </a:extLst>
              </p:cNvPr>
              <p:cNvSpPr/>
              <p:nvPr/>
            </p:nvSpPr>
            <p:spPr>
              <a:xfrm>
                <a:off x="3632980" y="6369246"/>
                <a:ext cx="304800" cy="38100"/>
              </a:xfrm>
              <a:custGeom>
                <a:avLst/>
                <a:gdLst>
                  <a:gd name="connsiteX0" fmla="*/ 306288 w 304800"/>
                  <a:gd name="connsiteY0" fmla="*/ 31433 h 38100"/>
                  <a:gd name="connsiteX1" fmla="*/ 306288 w 304800"/>
                  <a:gd name="connsiteY1" fmla="*/ 7144 h 38100"/>
                  <a:gd name="connsiteX2" fmla="*/ 18728 w 304800"/>
                  <a:gd name="connsiteY2" fmla="*/ 23527 h 38100"/>
                  <a:gd name="connsiteX3" fmla="*/ 7298 w 304800"/>
                  <a:gd name="connsiteY3" fmla="*/ 3905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800" h="38100">
                    <a:moveTo>
                      <a:pt x="306288" y="31433"/>
                    </a:moveTo>
                    <a:lnTo>
                      <a:pt x="306288" y="7144"/>
                    </a:lnTo>
                    <a:lnTo>
                      <a:pt x="18728" y="23527"/>
                    </a:lnTo>
                    <a:cubicBezTo>
                      <a:pt x="18728" y="23527"/>
                      <a:pt x="5584" y="29718"/>
                      <a:pt x="7298" y="3905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0" name="Полилиния: фигура 379">
                <a:extLst>
                  <a:ext uri="{FF2B5EF4-FFF2-40B4-BE49-F238E27FC236}">
                    <a16:creationId xmlns:a16="http://schemas.microsoft.com/office/drawing/2014/main" id="{F4F47D93-EFA1-4548-AF4E-550A9F658EDD}"/>
                  </a:ext>
                </a:extLst>
              </p:cNvPr>
              <p:cNvSpPr/>
              <p:nvPr/>
            </p:nvSpPr>
            <p:spPr>
              <a:xfrm>
                <a:off x="3783047" y="6308403"/>
                <a:ext cx="38100" cy="28575"/>
              </a:xfrm>
              <a:custGeom>
                <a:avLst/>
                <a:gdLst>
                  <a:gd name="connsiteX0" fmla="*/ 7155 w 38100"/>
                  <a:gd name="connsiteY0" fmla="*/ 8551 h 28575"/>
                  <a:gd name="connsiteX1" fmla="*/ 21823 w 38100"/>
                  <a:gd name="connsiteY1" fmla="*/ 15028 h 28575"/>
                  <a:gd name="connsiteX2" fmla="*/ 34396 w 38100"/>
                  <a:gd name="connsiteY2" fmla="*/ 25124 h 28575"/>
                  <a:gd name="connsiteX3" fmla="*/ 24871 w 38100"/>
                  <a:gd name="connsiteY3" fmla="*/ 10742 h 28575"/>
                  <a:gd name="connsiteX4" fmla="*/ 7155 w 38100"/>
                  <a:gd name="connsiteY4" fmla="*/ 855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7155" y="8551"/>
                    </a:moveTo>
                    <a:cubicBezTo>
                      <a:pt x="7155" y="9979"/>
                      <a:pt x="14489" y="10551"/>
                      <a:pt x="21823" y="15028"/>
                    </a:cubicBezTo>
                    <a:cubicBezTo>
                      <a:pt x="29157" y="19504"/>
                      <a:pt x="33063" y="25696"/>
                      <a:pt x="34396" y="25124"/>
                    </a:cubicBezTo>
                    <a:cubicBezTo>
                      <a:pt x="35730" y="24553"/>
                      <a:pt x="33348" y="16076"/>
                      <a:pt x="24871" y="10742"/>
                    </a:cubicBezTo>
                    <a:cubicBezTo>
                      <a:pt x="16394" y="5408"/>
                      <a:pt x="6774" y="7217"/>
                      <a:pt x="7155" y="855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1" name="Полилиния: фигура 380">
                <a:extLst>
                  <a:ext uri="{FF2B5EF4-FFF2-40B4-BE49-F238E27FC236}">
                    <a16:creationId xmlns:a16="http://schemas.microsoft.com/office/drawing/2014/main" id="{1C5BDC76-EA67-42C9-9316-67C5FAEF1E95}"/>
                  </a:ext>
                </a:extLst>
              </p:cNvPr>
              <p:cNvSpPr/>
              <p:nvPr/>
            </p:nvSpPr>
            <p:spPr>
              <a:xfrm>
                <a:off x="3751911" y="6322680"/>
                <a:ext cx="28575" cy="28575"/>
              </a:xfrm>
              <a:custGeom>
                <a:avLst/>
                <a:gdLst>
                  <a:gd name="connsiteX0" fmla="*/ 7144 w 28575"/>
                  <a:gd name="connsiteY0" fmla="*/ 7799 h 28575"/>
                  <a:gd name="connsiteX1" fmla="*/ 18288 w 28575"/>
                  <a:gd name="connsiteY1" fmla="*/ 17324 h 28575"/>
                  <a:gd name="connsiteX2" fmla="*/ 26384 w 28575"/>
                  <a:gd name="connsiteY2" fmla="*/ 29802 h 28575"/>
                  <a:gd name="connsiteX3" fmla="*/ 22098 w 28575"/>
                  <a:gd name="connsiteY3" fmla="*/ 13991 h 28575"/>
                  <a:gd name="connsiteX4" fmla="*/ 7144 w 28575"/>
                  <a:gd name="connsiteY4" fmla="*/ 779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7144" y="7799"/>
                    </a:moveTo>
                    <a:cubicBezTo>
                      <a:pt x="7144" y="9228"/>
                      <a:pt x="13240" y="11609"/>
                      <a:pt x="18288" y="17324"/>
                    </a:cubicBezTo>
                    <a:cubicBezTo>
                      <a:pt x="23336" y="23039"/>
                      <a:pt x="24956" y="29897"/>
                      <a:pt x="26384" y="29802"/>
                    </a:cubicBezTo>
                    <a:cubicBezTo>
                      <a:pt x="27813" y="29707"/>
                      <a:pt x="28575" y="21420"/>
                      <a:pt x="22098" y="13991"/>
                    </a:cubicBezTo>
                    <a:cubicBezTo>
                      <a:pt x="15621" y="6561"/>
                      <a:pt x="7144" y="6466"/>
                      <a:pt x="7144" y="779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2" name="Полилиния: фигура 381">
                <a:extLst>
                  <a:ext uri="{FF2B5EF4-FFF2-40B4-BE49-F238E27FC236}">
                    <a16:creationId xmlns:a16="http://schemas.microsoft.com/office/drawing/2014/main" id="{82E26487-AFE5-4A04-86D6-9819FA238319}"/>
                  </a:ext>
                </a:extLst>
              </p:cNvPr>
              <p:cNvSpPr/>
              <p:nvPr/>
            </p:nvSpPr>
            <p:spPr>
              <a:xfrm>
                <a:off x="3722713" y="6336425"/>
                <a:ext cx="19050" cy="38100"/>
              </a:xfrm>
              <a:custGeom>
                <a:avLst/>
                <a:gdLst>
                  <a:gd name="connsiteX0" fmla="*/ 19197 w 19050"/>
                  <a:gd name="connsiteY0" fmla="*/ 31963 h 38100"/>
                  <a:gd name="connsiteX1" fmla="*/ 18530 w 19050"/>
                  <a:gd name="connsiteY1" fmla="*/ 17009 h 38100"/>
                  <a:gd name="connsiteX2" fmla="*/ 7195 w 19050"/>
                  <a:gd name="connsiteY2" fmla="*/ 7484 h 38100"/>
                  <a:gd name="connsiteX3" fmla="*/ 13958 w 19050"/>
                  <a:gd name="connsiteY3" fmla="*/ 19486 h 38100"/>
                  <a:gd name="connsiteX4" fmla="*/ 19197 w 19050"/>
                  <a:gd name="connsiteY4" fmla="*/ 3196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19197" y="31963"/>
                    </a:moveTo>
                    <a:cubicBezTo>
                      <a:pt x="20531" y="31963"/>
                      <a:pt x="22436" y="24915"/>
                      <a:pt x="18530" y="17009"/>
                    </a:cubicBezTo>
                    <a:cubicBezTo>
                      <a:pt x="14625" y="9104"/>
                      <a:pt x="7767" y="6055"/>
                      <a:pt x="7195" y="7484"/>
                    </a:cubicBezTo>
                    <a:cubicBezTo>
                      <a:pt x="6624" y="8913"/>
                      <a:pt x="10910" y="12913"/>
                      <a:pt x="13958" y="19486"/>
                    </a:cubicBezTo>
                    <a:cubicBezTo>
                      <a:pt x="17006" y="26058"/>
                      <a:pt x="17768" y="31868"/>
                      <a:pt x="19197" y="3196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3" name="Полилиния: фигура 382">
                <a:extLst>
                  <a:ext uri="{FF2B5EF4-FFF2-40B4-BE49-F238E27FC236}">
                    <a16:creationId xmlns:a16="http://schemas.microsoft.com/office/drawing/2014/main" id="{981CEBC6-8A67-4A5E-A435-D5B2E3B4D62E}"/>
                  </a:ext>
                </a:extLst>
              </p:cNvPr>
              <p:cNvSpPr/>
              <p:nvPr/>
            </p:nvSpPr>
            <p:spPr>
              <a:xfrm>
                <a:off x="3784918" y="6269211"/>
                <a:ext cx="38100" cy="19050"/>
              </a:xfrm>
              <a:custGeom>
                <a:avLst/>
                <a:gdLst>
                  <a:gd name="connsiteX0" fmla="*/ 7189 w 38100"/>
                  <a:gd name="connsiteY0" fmla="*/ 12310 h 19050"/>
                  <a:gd name="connsiteX1" fmla="*/ 22810 w 38100"/>
                  <a:gd name="connsiteY1" fmla="*/ 12310 h 19050"/>
                  <a:gd name="connsiteX2" fmla="*/ 38336 w 38100"/>
                  <a:gd name="connsiteY2" fmla="*/ 13930 h 19050"/>
                  <a:gd name="connsiteX3" fmla="*/ 23001 w 38100"/>
                  <a:gd name="connsiteY3" fmla="*/ 7167 h 19050"/>
                  <a:gd name="connsiteX4" fmla="*/ 7189 w 38100"/>
                  <a:gd name="connsiteY4" fmla="*/ 1231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7189" y="12310"/>
                    </a:moveTo>
                    <a:cubicBezTo>
                      <a:pt x="7856" y="13644"/>
                      <a:pt x="14523" y="11453"/>
                      <a:pt x="22810" y="12310"/>
                    </a:cubicBezTo>
                    <a:cubicBezTo>
                      <a:pt x="31097" y="13167"/>
                      <a:pt x="37574" y="15168"/>
                      <a:pt x="38336" y="13930"/>
                    </a:cubicBezTo>
                    <a:cubicBezTo>
                      <a:pt x="39098" y="12691"/>
                      <a:pt x="32716" y="7548"/>
                      <a:pt x="23001" y="7167"/>
                    </a:cubicBezTo>
                    <a:cubicBezTo>
                      <a:pt x="13285" y="6786"/>
                      <a:pt x="6522" y="11263"/>
                      <a:pt x="7189" y="1231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4" name="Полилиния: фигура 383">
                <a:extLst>
                  <a:ext uri="{FF2B5EF4-FFF2-40B4-BE49-F238E27FC236}">
                    <a16:creationId xmlns:a16="http://schemas.microsoft.com/office/drawing/2014/main" id="{ABE1D747-0F94-445E-92FE-29DE56989CFB}"/>
                  </a:ext>
                </a:extLst>
              </p:cNvPr>
              <p:cNvSpPr/>
              <p:nvPr/>
            </p:nvSpPr>
            <p:spPr>
              <a:xfrm>
                <a:off x="3791440" y="6214369"/>
                <a:ext cx="57150" cy="38100"/>
              </a:xfrm>
              <a:custGeom>
                <a:avLst/>
                <a:gdLst>
                  <a:gd name="connsiteX0" fmla="*/ 7144 w 57150"/>
                  <a:gd name="connsiteY0" fmla="*/ 31623 h 38100"/>
                  <a:gd name="connsiteX1" fmla="*/ 22098 w 57150"/>
                  <a:gd name="connsiteY1" fmla="*/ 31623 h 38100"/>
                  <a:gd name="connsiteX2" fmla="*/ 37719 w 57150"/>
                  <a:gd name="connsiteY2" fmla="*/ 26480 h 38100"/>
                  <a:gd name="connsiteX3" fmla="*/ 46292 w 57150"/>
                  <a:gd name="connsiteY3" fmla="*/ 21812 h 38100"/>
                  <a:gd name="connsiteX4" fmla="*/ 50673 w 57150"/>
                  <a:gd name="connsiteY4" fmla="*/ 18193 h 38100"/>
                  <a:gd name="connsiteX5" fmla="*/ 51245 w 57150"/>
                  <a:gd name="connsiteY5" fmla="*/ 10382 h 38100"/>
                  <a:gd name="connsiteX6" fmla="*/ 44768 w 57150"/>
                  <a:gd name="connsiteY6" fmla="*/ 7144 h 38100"/>
                  <a:gd name="connsiteX7" fmla="*/ 39148 w 57150"/>
                  <a:gd name="connsiteY7" fmla="*/ 8096 h 38100"/>
                  <a:gd name="connsiteX8" fmla="*/ 29623 w 57150"/>
                  <a:gd name="connsiteY8" fmla="*/ 11430 h 38100"/>
                  <a:gd name="connsiteX9" fmla="*/ 16002 w 57150"/>
                  <a:gd name="connsiteY9" fmla="*/ 20955 h 38100"/>
                  <a:gd name="connsiteX10" fmla="*/ 7429 w 57150"/>
                  <a:gd name="connsiteY10" fmla="*/ 33243 h 38100"/>
                  <a:gd name="connsiteX11" fmla="*/ 18288 w 57150"/>
                  <a:gd name="connsiteY11" fmla="*/ 23718 h 38100"/>
                  <a:gd name="connsiteX12" fmla="*/ 31528 w 57150"/>
                  <a:gd name="connsiteY12" fmla="*/ 15907 h 38100"/>
                  <a:gd name="connsiteX13" fmla="*/ 40100 w 57150"/>
                  <a:gd name="connsiteY13" fmla="*/ 13050 h 38100"/>
                  <a:gd name="connsiteX14" fmla="*/ 46768 w 57150"/>
                  <a:gd name="connsiteY14" fmla="*/ 13526 h 38100"/>
                  <a:gd name="connsiteX15" fmla="*/ 46768 w 57150"/>
                  <a:gd name="connsiteY15" fmla="*/ 15145 h 38100"/>
                  <a:gd name="connsiteX16" fmla="*/ 43529 w 57150"/>
                  <a:gd name="connsiteY16" fmla="*/ 17812 h 38100"/>
                  <a:gd name="connsiteX17" fmla="*/ 35624 w 57150"/>
                  <a:gd name="connsiteY17" fmla="*/ 22479 h 38100"/>
                  <a:gd name="connsiteX18" fmla="*/ 21241 w 57150"/>
                  <a:gd name="connsiteY18" fmla="*/ 28289 h 38100"/>
                  <a:gd name="connsiteX19" fmla="*/ 7144 w 57150"/>
                  <a:gd name="connsiteY19" fmla="*/ 3162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7150" h="38100">
                    <a:moveTo>
                      <a:pt x="7144" y="31623"/>
                    </a:moveTo>
                    <a:cubicBezTo>
                      <a:pt x="12036" y="32979"/>
                      <a:pt x="17205" y="32979"/>
                      <a:pt x="22098" y="31623"/>
                    </a:cubicBezTo>
                    <a:cubicBezTo>
                      <a:pt x="27502" y="30579"/>
                      <a:pt x="32752" y="28851"/>
                      <a:pt x="37719" y="26480"/>
                    </a:cubicBezTo>
                    <a:cubicBezTo>
                      <a:pt x="40693" y="25147"/>
                      <a:pt x="43558" y="23586"/>
                      <a:pt x="46292" y="21812"/>
                    </a:cubicBezTo>
                    <a:cubicBezTo>
                      <a:pt x="47914" y="20817"/>
                      <a:pt x="49389" y="19598"/>
                      <a:pt x="50673" y="18193"/>
                    </a:cubicBezTo>
                    <a:cubicBezTo>
                      <a:pt x="52626" y="16026"/>
                      <a:pt x="52862" y="12810"/>
                      <a:pt x="51245" y="10382"/>
                    </a:cubicBezTo>
                    <a:cubicBezTo>
                      <a:pt x="49725" y="8332"/>
                      <a:pt x="47319" y="7129"/>
                      <a:pt x="44768" y="7144"/>
                    </a:cubicBezTo>
                    <a:cubicBezTo>
                      <a:pt x="42857" y="7178"/>
                      <a:pt x="40963" y="7499"/>
                      <a:pt x="39148" y="8096"/>
                    </a:cubicBezTo>
                    <a:cubicBezTo>
                      <a:pt x="35874" y="8901"/>
                      <a:pt x="32684" y="10018"/>
                      <a:pt x="29623" y="11430"/>
                    </a:cubicBezTo>
                    <a:cubicBezTo>
                      <a:pt x="24584" y="13825"/>
                      <a:pt x="19980" y="17044"/>
                      <a:pt x="16002" y="20955"/>
                    </a:cubicBezTo>
                    <a:cubicBezTo>
                      <a:pt x="9144" y="27528"/>
                      <a:pt x="6477" y="33052"/>
                      <a:pt x="7429" y="33243"/>
                    </a:cubicBezTo>
                    <a:cubicBezTo>
                      <a:pt x="8382" y="33433"/>
                      <a:pt x="11335" y="29147"/>
                      <a:pt x="18288" y="23718"/>
                    </a:cubicBezTo>
                    <a:cubicBezTo>
                      <a:pt x="22343" y="20550"/>
                      <a:pt x="26794" y="17925"/>
                      <a:pt x="31528" y="15907"/>
                    </a:cubicBezTo>
                    <a:cubicBezTo>
                      <a:pt x="34305" y="14727"/>
                      <a:pt x="37171" y="13772"/>
                      <a:pt x="40100" y="13050"/>
                    </a:cubicBezTo>
                    <a:cubicBezTo>
                      <a:pt x="43243" y="12192"/>
                      <a:pt x="45910" y="12097"/>
                      <a:pt x="46768" y="13526"/>
                    </a:cubicBezTo>
                    <a:cubicBezTo>
                      <a:pt x="47625" y="14954"/>
                      <a:pt x="46768" y="14288"/>
                      <a:pt x="46768" y="15145"/>
                    </a:cubicBezTo>
                    <a:cubicBezTo>
                      <a:pt x="45856" y="16220"/>
                      <a:pt x="44759" y="17124"/>
                      <a:pt x="43529" y="17812"/>
                    </a:cubicBezTo>
                    <a:cubicBezTo>
                      <a:pt x="40988" y="19522"/>
                      <a:pt x="38349" y="21081"/>
                      <a:pt x="35624" y="22479"/>
                    </a:cubicBezTo>
                    <a:cubicBezTo>
                      <a:pt x="31030" y="24878"/>
                      <a:pt x="26212" y="26824"/>
                      <a:pt x="21241" y="28289"/>
                    </a:cubicBezTo>
                    <a:cubicBezTo>
                      <a:pt x="16474" y="29091"/>
                      <a:pt x="11765" y="30205"/>
                      <a:pt x="7144" y="3162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5" name="Полилиния: фигура 384">
                <a:extLst>
                  <a:ext uri="{FF2B5EF4-FFF2-40B4-BE49-F238E27FC236}">
                    <a16:creationId xmlns:a16="http://schemas.microsoft.com/office/drawing/2014/main" id="{9BCE7C05-58CC-459F-B9FC-2962BDB09389}"/>
                  </a:ext>
                </a:extLst>
              </p:cNvPr>
              <p:cNvSpPr/>
              <p:nvPr/>
            </p:nvSpPr>
            <p:spPr>
              <a:xfrm>
                <a:off x="3773138" y="6193605"/>
                <a:ext cx="38100" cy="57150"/>
              </a:xfrm>
              <a:custGeom>
                <a:avLst/>
                <a:gdLst>
                  <a:gd name="connsiteX0" fmla="*/ 27446 w 38100"/>
                  <a:gd name="connsiteY0" fmla="*/ 54388 h 57150"/>
                  <a:gd name="connsiteX1" fmla="*/ 31065 w 38100"/>
                  <a:gd name="connsiteY1" fmla="*/ 39910 h 57150"/>
                  <a:gd name="connsiteX2" fmla="*/ 28684 w 38100"/>
                  <a:gd name="connsiteY2" fmla="*/ 23527 h 57150"/>
                  <a:gd name="connsiteX3" fmla="*/ 24683 w 38100"/>
                  <a:gd name="connsiteY3" fmla="*/ 14478 h 57150"/>
                  <a:gd name="connsiteX4" fmla="*/ 15158 w 38100"/>
                  <a:gd name="connsiteY4" fmla="*/ 7144 h 57150"/>
                  <a:gd name="connsiteX5" fmla="*/ 8967 w 38100"/>
                  <a:gd name="connsiteY5" fmla="*/ 11430 h 57150"/>
                  <a:gd name="connsiteX6" fmla="*/ 7539 w 38100"/>
                  <a:gd name="connsiteY6" fmla="*/ 16954 h 57150"/>
                  <a:gd name="connsiteX7" fmla="*/ 7539 w 38100"/>
                  <a:gd name="connsiteY7" fmla="*/ 27051 h 57150"/>
                  <a:gd name="connsiteX8" fmla="*/ 14206 w 38100"/>
                  <a:gd name="connsiteY8" fmla="*/ 42386 h 57150"/>
                  <a:gd name="connsiteX9" fmla="*/ 26398 w 38100"/>
                  <a:gd name="connsiteY9" fmla="*/ 51149 h 57150"/>
                  <a:gd name="connsiteX10" fmla="*/ 16873 w 38100"/>
                  <a:gd name="connsiteY10" fmla="*/ 40291 h 57150"/>
                  <a:gd name="connsiteX11" fmla="*/ 11825 w 38100"/>
                  <a:gd name="connsiteY11" fmla="*/ 26289 h 57150"/>
                  <a:gd name="connsiteX12" fmla="*/ 11825 w 38100"/>
                  <a:gd name="connsiteY12" fmla="*/ 17621 h 57150"/>
                  <a:gd name="connsiteX13" fmla="*/ 14587 w 38100"/>
                  <a:gd name="connsiteY13" fmla="*/ 12192 h 57150"/>
                  <a:gd name="connsiteX14" fmla="*/ 19921 w 38100"/>
                  <a:gd name="connsiteY14" fmla="*/ 16954 h 57150"/>
                  <a:gd name="connsiteX15" fmla="*/ 26969 w 38100"/>
                  <a:gd name="connsiteY15" fmla="*/ 39909 h 57150"/>
                  <a:gd name="connsiteX16" fmla="*/ 27446 w 38100"/>
                  <a:gd name="connsiteY16" fmla="*/ 54388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8100" h="57150">
                    <a:moveTo>
                      <a:pt x="27446" y="54388"/>
                    </a:moveTo>
                    <a:cubicBezTo>
                      <a:pt x="30142" y="50061"/>
                      <a:pt x="31408" y="44996"/>
                      <a:pt x="31065" y="39910"/>
                    </a:cubicBezTo>
                    <a:cubicBezTo>
                      <a:pt x="31267" y="34350"/>
                      <a:pt x="30460" y="28799"/>
                      <a:pt x="28684" y="23527"/>
                    </a:cubicBezTo>
                    <a:cubicBezTo>
                      <a:pt x="27673" y="20378"/>
                      <a:pt x="26332" y="17345"/>
                      <a:pt x="24683" y="14478"/>
                    </a:cubicBezTo>
                    <a:cubicBezTo>
                      <a:pt x="23034" y="10517"/>
                      <a:pt x="19409" y="7726"/>
                      <a:pt x="15158" y="7144"/>
                    </a:cubicBezTo>
                    <a:cubicBezTo>
                      <a:pt x="12425" y="7210"/>
                      <a:pt x="9992" y="8895"/>
                      <a:pt x="8967" y="11430"/>
                    </a:cubicBezTo>
                    <a:cubicBezTo>
                      <a:pt x="8203" y="13185"/>
                      <a:pt x="7721" y="15049"/>
                      <a:pt x="7539" y="16954"/>
                    </a:cubicBezTo>
                    <a:cubicBezTo>
                      <a:pt x="7012" y="20299"/>
                      <a:pt x="7012" y="23706"/>
                      <a:pt x="7539" y="27051"/>
                    </a:cubicBezTo>
                    <a:cubicBezTo>
                      <a:pt x="8469" y="32632"/>
                      <a:pt x="10759" y="37899"/>
                      <a:pt x="14206" y="42386"/>
                    </a:cubicBezTo>
                    <a:cubicBezTo>
                      <a:pt x="20207" y="50006"/>
                      <a:pt x="26303" y="51911"/>
                      <a:pt x="26398" y="51149"/>
                    </a:cubicBezTo>
                    <a:cubicBezTo>
                      <a:pt x="26493" y="50387"/>
                      <a:pt x="21731" y="47720"/>
                      <a:pt x="16873" y="40291"/>
                    </a:cubicBezTo>
                    <a:cubicBezTo>
                      <a:pt x="14171" y="36056"/>
                      <a:pt x="12446" y="31273"/>
                      <a:pt x="11825" y="26289"/>
                    </a:cubicBezTo>
                    <a:cubicBezTo>
                      <a:pt x="11495" y="23409"/>
                      <a:pt x="11495" y="20501"/>
                      <a:pt x="11825" y="17621"/>
                    </a:cubicBezTo>
                    <a:cubicBezTo>
                      <a:pt x="11825" y="14478"/>
                      <a:pt x="13444" y="11906"/>
                      <a:pt x="14587" y="12192"/>
                    </a:cubicBezTo>
                    <a:cubicBezTo>
                      <a:pt x="15730" y="12477"/>
                      <a:pt x="18683" y="14478"/>
                      <a:pt x="19921" y="16954"/>
                    </a:cubicBezTo>
                    <a:cubicBezTo>
                      <a:pt x="24090" y="23925"/>
                      <a:pt x="26508" y="31801"/>
                      <a:pt x="26969" y="39909"/>
                    </a:cubicBezTo>
                    <a:cubicBezTo>
                      <a:pt x="28017" y="48768"/>
                      <a:pt x="26589" y="54197"/>
                      <a:pt x="27446" y="54388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6" name="Полилиния: фигура 385">
                <a:extLst>
                  <a:ext uri="{FF2B5EF4-FFF2-40B4-BE49-F238E27FC236}">
                    <a16:creationId xmlns:a16="http://schemas.microsoft.com/office/drawing/2014/main" id="{90857CA8-80B5-44B6-A307-AB5139368FE9}"/>
                  </a:ext>
                </a:extLst>
              </p:cNvPr>
              <p:cNvSpPr/>
              <p:nvPr/>
            </p:nvSpPr>
            <p:spPr>
              <a:xfrm>
                <a:off x="4047758" y="6153981"/>
                <a:ext cx="304800" cy="257175"/>
              </a:xfrm>
              <a:custGeom>
                <a:avLst/>
                <a:gdLst>
                  <a:gd name="connsiteX0" fmla="*/ 10477 w 304800"/>
                  <a:gd name="connsiteY0" fmla="*/ 7144 h 257175"/>
                  <a:gd name="connsiteX1" fmla="*/ 7144 w 304800"/>
                  <a:gd name="connsiteY1" fmla="*/ 247650 h 257175"/>
                  <a:gd name="connsiteX2" fmla="*/ 306419 w 304800"/>
                  <a:gd name="connsiteY2" fmla="*/ 253365 h 257175"/>
                  <a:gd name="connsiteX3" fmla="*/ 151447 w 304800"/>
                  <a:gd name="connsiteY3" fmla="*/ 164402 h 257175"/>
                  <a:gd name="connsiteX4" fmla="*/ 159925 w 304800"/>
                  <a:gd name="connsiteY4" fmla="*/ 1038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4800" h="257175">
                    <a:moveTo>
                      <a:pt x="10477" y="7144"/>
                    </a:moveTo>
                    <a:lnTo>
                      <a:pt x="7144" y="247650"/>
                    </a:lnTo>
                    <a:lnTo>
                      <a:pt x="306419" y="253365"/>
                    </a:lnTo>
                    <a:cubicBezTo>
                      <a:pt x="305181" y="224790"/>
                      <a:pt x="151447" y="164402"/>
                      <a:pt x="151447" y="164402"/>
                    </a:cubicBezTo>
                    <a:lnTo>
                      <a:pt x="159925" y="10383"/>
                    </a:ln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7" name="Полилиния: фигура 386">
                <a:extLst>
                  <a:ext uri="{FF2B5EF4-FFF2-40B4-BE49-F238E27FC236}">
                    <a16:creationId xmlns:a16="http://schemas.microsoft.com/office/drawing/2014/main" id="{B777AE25-F023-4C6F-A153-6094C55A36DC}"/>
                  </a:ext>
                </a:extLst>
              </p:cNvPr>
              <p:cNvSpPr/>
              <p:nvPr/>
            </p:nvSpPr>
            <p:spPr>
              <a:xfrm>
                <a:off x="4090915" y="6296290"/>
                <a:ext cx="28575" cy="28575"/>
              </a:xfrm>
              <a:custGeom>
                <a:avLst/>
                <a:gdLst>
                  <a:gd name="connsiteX0" fmla="*/ 15993 w 28575"/>
                  <a:gd name="connsiteY0" fmla="*/ 7329 h 28575"/>
                  <a:gd name="connsiteX1" fmla="*/ 7325 w 28575"/>
                  <a:gd name="connsiteY1" fmla="*/ 21140 h 28575"/>
                  <a:gd name="connsiteX2" fmla="*/ 20946 w 28575"/>
                  <a:gd name="connsiteY2" fmla="*/ 29904 h 28575"/>
                  <a:gd name="connsiteX3" fmla="*/ 30471 w 28575"/>
                  <a:gd name="connsiteY3" fmla="*/ 15235 h 28575"/>
                  <a:gd name="connsiteX4" fmla="*/ 15326 w 28575"/>
                  <a:gd name="connsiteY4" fmla="*/ 771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15993" y="7329"/>
                    </a:moveTo>
                    <a:cubicBezTo>
                      <a:pt x="9997" y="9039"/>
                      <a:pt x="6258" y="14998"/>
                      <a:pt x="7325" y="21140"/>
                    </a:cubicBezTo>
                    <a:cubicBezTo>
                      <a:pt x="8833" y="27205"/>
                      <a:pt x="14802" y="31045"/>
                      <a:pt x="20946" y="29904"/>
                    </a:cubicBezTo>
                    <a:cubicBezTo>
                      <a:pt x="27413" y="28180"/>
                      <a:pt x="31527" y="21844"/>
                      <a:pt x="30471" y="15235"/>
                    </a:cubicBezTo>
                    <a:cubicBezTo>
                      <a:pt x="28265" y="9064"/>
                      <a:pt x="21576" y="5741"/>
                      <a:pt x="15326" y="7710"/>
                    </a:cubicBez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8" name="Полилиния: фигура 387">
                <a:extLst>
                  <a:ext uri="{FF2B5EF4-FFF2-40B4-BE49-F238E27FC236}">
                    <a16:creationId xmlns:a16="http://schemas.microsoft.com/office/drawing/2014/main" id="{6962D5D8-C7DD-41D0-812C-2E93F94BE736}"/>
                  </a:ext>
                </a:extLst>
              </p:cNvPr>
              <p:cNvSpPr/>
              <p:nvPr/>
            </p:nvSpPr>
            <p:spPr>
              <a:xfrm>
                <a:off x="4047758" y="6369246"/>
                <a:ext cx="304800" cy="38100"/>
              </a:xfrm>
              <a:custGeom>
                <a:avLst/>
                <a:gdLst>
                  <a:gd name="connsiteX0" fmla="*/ 7144 w 304800"/>
                  <a:gd name="connsiteY0" fmla="*/ 31433 h 38100"/>
                  <a:gd name="connsiteX1" fmla="*/ 7144 w 304800"/>
                  <a:gd name="connsiteY1" fmla="*/ 7144 h 38100"/>
                  <a:gd name="connsiteX2" fmla="*/ 294703 w 304800"/>
                  <a:gd name="connsiteY2" fmla="*/ 23527 h 38100"/>
                  <a:gd name="connsiteX3" fmla="*/ 306133 w 304800"/>
                  <a:gd name="connsiteY3" fmla="*/ 3905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800" h="38100">
                    <a:moveTo>
                      <a:pt x="7144" y="31433"/>
                    </a:moveTo>
                    <a:lnTo>
                      <a:pt x="7144" y="7144"/>
                    </a:lnTo>
                    <a:lnTo>
                      <a:pt x="294703" y="23527"/>
                    </a:lnTo>
                    <a:cubicBezTo>
                      <a:pt x="294703" y="23527"/>
                      <a:pt x="307848" y="29718"/>
                      <a:pt x="306133" y="3905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9" name="Полилиния: фигура 388">
                <a:extLst>
                  <a:ext uri="{FF2B5EF4-FFF2-40B4-BE49-F238E27FC236}">
                    <a16:creationId xmlns:a16="http://schemas.microsoft.com/office/drawing/2014/main" id="{6E920A5C-7155-4D69-97D3-CA8041B5AC0E}"/>
                  </a:ext>
                </a:extLst>
              </p:cNvPr>
              <p:cNvSpPr/>
              <p:nvPr/>
            </p:nvSpPr>
            <p:spPr>
              <a:xfrm>
                <a:off x="4169420" y="6308403"/>
                <a:ext cx="38100" cy="28575"/>
              </a:xfrm>
              <a:custGeom>
                <a:avLst/>
                <a:gdLst>
                  <a:gd name="connsiteX0" fmla="*/ 34643 w 38100"/>
                  <a:gd name="connsiteY0" fmla="*/ 8551 h 28575"/>
                  <a:gd name="connsiteX1" fmla="*/ 19975 w 38100"/>
                  <a:gd name="connsiteY1" fmla="*/ 15028 h 28575"/>
                  <a:gd name="connsiteX2" fmla="*/ 7497 w 38100"/>
                  <a:gd name="connsiteY2" fmla="*/ 25124 h 28575"/>
                  <a:gd name="connsiteX3" fmla="*/ 17022 w 38100"/>
                  <a:gd name="connsiteY3" fmla="*/ 10742 h 28575"/>
                  <a:gd name="connsiteX4" fmla="*/ 34643 w 38100"/>
                  <a:gd name="connsiteY4" fmla="*/ 855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34643" y="8551"/>
                    </a:moveTo>
                    <a:cubicBezTo>
                      <a:pt x="34643" y="9979"/>
                      <a:pt x="27309" y="10551"/>
                      <a:pt x="19975" y="15028"/>
                    </a:cubicBezTo>
                    <a:cubicBezTo>
                      <a:pt x="12640" y="19504"/>
                      <a:pt x="8830" y="25696"/>
                      <a:pt x="7497" y="25124"/>
                    </a:cubicBezTo>
                    <a:cubicBezTo>
                      <a:pt x="6163" y="24553"/>
                      <a:pt x="8449" y="16076"/>
                      <a:pt x="17022" y="10742"/>
                    </a:cubicBezTo>
                    <a:cubicBezTo>
                      <a:pt x="25595" y="5408"/>
                      <a:pt x="35024" y="7217"/>
                      <a:pt x="34643" y="855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0" name="Полилиния: фигура 389">
                <a:extLst>
                  <a:ext uri="{FF2B5EF4-FFF2-40B4-BE49-F238E27FC236}">
                    <a16:creationId xmlns:a16="http://schemas.microsoft.com/office/drawing/2014/main" id="{8D06F9B5-FEA2-465A-9686-D4EF4909E4CD}"/>
                  </a:ext>
                </a:extLst>
              </p:cNvPr>
              <p:cNvSpPr/>
              <p:nvPr/>
            </p:nvSpPr>
            <p:spPr>
              <a:xfrm>
                <a:off x="4207804" y="6322680"/>
                <a:ext cx="28575" cy="28575"/>
              </a:xfrm>
              <a:custGeom>
                <a:avLst/>
                <a:gdLst>
                  <a:gd name="connsiteX0" fmla="*/ 27406 w 28575"/>
                  <a:gd name="connsiteY0" fmla="*/ 7799 h 28575"/>
                  <a:gd name="connsiteX1" fmla="*/ 16261 w 28575"/>
                  <a:gd name="connsiteY1" fmla="*/ 17324 h 28575"/>
                  <a:gd name="connsiteX2" fmla="*/ 8165 w 28575"/>
                  <a:gd name="connsiteY2" fmla="*/ 29802 h 28575"/>
                  <a:gd name="connsiteX3" fmla="*/ 12451 w 28575"/>
                  <a:gd name="connsiteY3" fmla="*/ 13991 h 28575"/>
                  <a:gd name="connsiteX4" fmla="*/ 27406 w 28575"/>
                  <a:gd name="connsiteY4" fmla="*/ 779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27406" y="7799"/>
                    </a:moveTo>
                    <a:cubicBezTo>
                      <a:pt x="27406" y="9228"/>
                      <a:pt x="21405" y="11609"/>
                      <a:pt x="16261" y="17324"/>
                    </a:cubicBezTo>
                    <a:cubicBezTo>
                      <a:pt x="11118" y="23039"/>
                      <a:pt x="9689" y="29897"/>
                      <a:pt x="8165" y="29802"/>
                    </a:cubicBezTo>
                    <a:cubicBezTo>
                      <a:pt x="6641" y="29707"/>
                      <a:pt x="5974" y="21420"/>
                      <a:pt x="12451" y="13991"/>
                    </a:cubicBezTo>
                    <a:cubicBezTo>
                      <a:pt x="18928" y="6561"/>
                      <a:pt x="27406" y="6466"/>
                      <a:pt x="27406" y="779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1" name="Полилиния: фигура 390">
                <a:extLst>
                  <a:ext uri="{FF2B5EF4-FFF2-40B4-BE49-F238E27FC236}">
                    <a16:creationId xmlns:a16="http://schemas.microsoft.com/office/drawing/2014/main" id="{67D4BDF0-06F9-4563-874C-A969199832E9}"/>
                  </a:ext>
                </a:extLst>
              </p:cNvPr>
              <p:cNvSpPr/>
              <p:nvPr/>
            </p:nvSpPr>
            <p:spPr>
              <a:xfrm>
                <a:off x="4243554" y="6336425"/>
                <a:ext cx="19050" cy="38100"/>
              </a:xfrm>
              <a:custGeom>
                <a:avLst/>
                <a:gdLst>
                  <a:gd name="connsiteX0" fmla="*/ 8801 w 19050"/>
                  <a:gd name="connsiteY0" fmla="*/ 31963 h 38100"/>
                  <a:gd name="connsiteX1" fmla="*/ 9468 w 19050"/>
                  <a:gd name="connsiteY1" fmla="*/ 17009 h 38100"/>
                  <a:gd name="connsiteX2" fmla="*/ 20898 w 19050"/>
                  <a:gd name="connsiteY2" fmla="*/ 7484 h 38100"/>
                  <a:gd name="connsiteX3" fmla="*/ 14040 w 19050"/>
                  <a:gd name="connsiteY3" fmla="*/ 19486 h 38100"/>
                  <a:gd name="connsiteX4" fmla="*/ 8801 w 19050"/>
                  <a:gd name="connsiteY4" fmla="*/ 3196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8801" y="31963"/>
                    </a:moveTo>
                    <a:cubicBezTo>
                      <a:pt x="7468" y="31963"/>
                      <a:pt x="5563" y="24915"/>
                      <a:pt x="9468" y="17009"/>
                    </a:cubicBezTo>
                    <a:cubicBezTo>
                      <a:pt x="13373" y="9104"/>
                      <a:pt x="20231" y="6055"/>
                      <a:pt x="20898" y="7484"/>
                    </a:cubicBezTo>
                    <a:cubicBezTo>
                      <a:pt x="21565" y="8913"/>
                      <a:pt x="17183" y="12913"/>
                      <a:pt x="14040" y="19486"/>
                    </a:cubicBezTo>
                    <a:cubicBezTo>
                      <a:pt x="10897" y="26058"/>
                      <a:pt x="10039" y="31868"/>
                      <a:pt x="8801" y="3196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2" name="Полилиния: фигура 391">
                <a:extLst>
                  <a:ext uri="{FF2B5EF4-FFF2-40B4-BE49-F238E27FC236}">
                    <a16:creationId xmlns:a16="http://schemas.microsoft.com/office/drawing/2014/main" id="{B4BF426D-5ECB-4A90-82B5-D28EFE516802}"/>
                  </a:ext>
                </a:extLst>
              </p:cNvPr>
              <p:cNvSpPr/>
              <p:nvPr/>
            </p:nvSpPr>
            <p:spPr>
              <a:xfrm>
                <a:off x="4163914" y="6269211"/>
                <a:ext cx="38100" cy="19050"/>
              </a:xfrm>
              <a:custGeom>
                <a:avLst/>
                <a:gdLst>
                  <a:gd name="connsiteX0" fmla="*/ 38244 w 38100"/>
                  <a:gd name="connsiteY0" fmla="*/ 12310 h 19050"/>
                  <a:gd name="connsiteX1" fmla="*/ 22623 w 38100"/>
                  <a:gd name="connsiteY1" fmla="*/ 12310 h 19050"/>
                  <a:gd name="connsiteX2" fmla="*/ 7193 w 38100"/>
                  <a:gd name="connsiteY2" fmla="*/ 13930 h 19050"/>
                  <a:gd name="connsiteX3" fmla="*/ 22433 w 38100"/>
                  <a:gd name="connsiteY3" fmla="*/ 7167 h 19050"/>
                  <a:gd name="connsiteX4" fmla="*/ 38244 w 38100"/>
                  <a:gd name="connsiteY4" fmla="*/ 1231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38244" y="12310"/>
                    </a:moveTo>
                    <a:cubicBezTo>
                      <a:pt x="37578" y="13644"/>
                      <a:pt x="30910" y="11453"/>
                      <a:pt x="22623" y="12310"/>
                    </a:cubicBezTo>
                    <a:cubicBezTo>
                      <a:pt x="14337" y="13167"/>
                      <a:pt x="7860" y="15168"/>
                      <a:pt x="7193" y="13930"/>
                    </a:cubicBezTo>
                    <a:cubicBezTo>
                      <a:pt x="6526" y="12691"/>
                      <a:pt x="12717" y="7548"/>
                      <a:pt x="22433" y="7167"/>
                    </a:cubicBezTo>
                    <a:cubicBezTo>
                      <a:pt x="32148" y="6786"/>
                      <a:pt x="39006" y="11263"/>
                      <a:pt x="38244" y="1231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3" name="Полилиния: фигура 392">
                <a:extLst>
                  <a:ext uri="{FF2B5EF4-FFF2-40B4-BE49-F238E27FC236}">
                    <a16:creationId xmlns:a16="http://schemas.microsoft.com/office/drawing/2014/main" id="{8BC322CD-0192-462F-94C2-50607CA58D8D}"/>
                  </a:ext>
                </a:extLst>
              </p:cNvPr>
              <p:cNvSpPr/>
              <p:nvPr/>
            </p:nvSpPr>
            <p:spPr>
              <a:xfrm>
                <a:off x="4143366" y="6214370"/>
                <a:ext cx="57150" cy="38100"/>
              </a:xfrm>
              <a:custGeom>
                <a:avLst/>
                <a:gdLst>
                  <a:gd name="connsiteX0" fmla="*/ 52315 w 57150"/>
                  <a:gd name="connsiteY0" fmla="*/ 31623 h 38100"/>
                  <a:gd name="connsiteX1" fmla="*/ 37361 w 57150"/>
                  <a:gd name="connsiteY1" fmla="*/ 31623 h 38100"/>
                  <a:gd name="connsiteX2" fmla="*/ 21740 w 57150"/>
                  <a:gd name="connsiteY2" fmla="*/ 26479 h 38100"/>
                  <a:gd name="connsiteX3" fmla="*/ 13262 w 57150"/>
                  <a:gd name="connsiteY3" fmla="*/ 21812 h 38100"/>
                  <a:gd name="connsiteX4" fmla="*/ 8785 w 57150"/>
                  <a:gd name="connsiteY4" fmla="*/ 18193 h 38100"/>
                  <a:gd name="connsiteX5" fmla="*/ 8214 w 57150"/>
                  <a:gd name="connsiteY5" fmla="*/ 10382 h 38100"/>
                  <a:gd name="connsiteX6" fmla="*/ 14691 w 57150"/>
                  <a:gd name="connsiteY6" fmla="*/ 7144 h 38100"/>
                  <a:gd name="connsiteX7" fmla="*/ 20311 w 57150"/>
                  <a:gd name="connsiteY7" fmla="*/ 8096 h 38100"/>
                  <a:gd name="connsiteX8" fmla="*/ 29836 w 57150"/>
                  <a:gd name="connsiteY8" fmla="*/ 11430 h 38100"/>
                  <a:gd name="connsiteX9" fmla="*/ 43552 w 57150"/>
                  <a:gd name="connsiteY9" fmla="*/ 20955 h 38100"/>
                  <a:gd name="connsiteX10" fmla="*/ 52124 w 57150"/>
                  <a:gd name="connsiteY10" fmla="*/ 33242 h 38100"/>
                  <a:gd name="connsiteX11" fmla="*/ 41171 w 57150"/>
                  <a:gd name="connsiteY11" fmla="*/ 23717 h 38100"/>
                  <a:gd name="connsiteX12" fmla="*/ 27931 w 57150"/>
                  <a:gd name="connsiteY12" fmla="*/ 15907 h 38100"/>
                  <a:gd name="connsiteX13" fmla="*/ 19358 w 57150"/>
                  <a:gd name="connsiteY13" fmla="*/ 13049 h 38100"/>
                  <a:gd name="connsiteX14" fmla="*/ 12691 w 57150"/>
                  <a:gd name="connsiteY14" fmla="*/ 13526 h 38100"/>
                  <a:gd name="connsiteX15" fmla="*/ 12691 w 57150"/>
                  <a:gd name="connsiteY15" fmla="*/ 15145 h 38100"/>
                  <a:gd name="connsiteX16" fmla="*/ 16025 w 57150"/>
                  <a:gd name="connsiteY16" fmla="*/ 17812 h 38100"/>
                  <a:gd name="connsiteX17" fmla="*/ 23835 w 57150"/>
                  <a:gd name="connsiteY17" fmla="*/ 22479 h 38100"/>
                  <a:gd name="connsiteX18" fmla="*/ 38218 w 57150"/>
                  <a:gd name="connsiteY18" fmla="*/ 28289 h 38100"/>
                  <a:gd name="connsiteX19" fmla="*/ 52315 w 57150"/>
                  <a:gd name="connsiteY19" fmla="*/ 3162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7150" h="38100">
                    <a:moveTo>
                      <a:pt x="52315" y="31623"/>
                    </a:moveTo>
                    <a:cubicBezTo>
                      <a:pt x="47422" y="32979"/>
                      <a:pt x="42253" y="32979"/>
                      <a:pt x="37361" y="31623"/>
                    </a:cubicBezTo>
                    <a:cubicBezTo>
                      <a:pt x="31956" y="30579"/>
                      <a:pt x="26707" y="28851"/>
                      <a:pt x="21740" y="26479"/>
                    </a:cubicBezTo>
                    <a:cubicBezTo>
                      <a:pt x="18808" y="25125"/>
                      <a:pt x="15975" y="23565"/>
                      <a:pt x="13262" y="21812"/>
                    </a:cubicBezTo>
                    <a:cubicBezTo>
                      <a:pt x="11595" y="20840"/>
                      <a:pt x="10086" y="19619"/>
                      <a:pt x="8785" y="18193"/>
                    </a:cubicBezTo>
                    <a:cubicBezTo>
                      <a:pt x="6832" y="16026"/>
                      <a:pt x="6597" y="12810"/>
                      <a:pt x="8214" y="10382"/>
                    </a:cubicBezTo>
                    <a:cubicBezTo>
                      <a:pt x="9743" y="8344"/>
                      <a:pt x="12143" y="7144"/>
                      <a:pt x="14691" y="7144"/>
                    </a:cubicBezTo>
                    <a:cubicBezTo>
                      <a:pt x="16601" y="7178"/>
                      <a:pt x="18496" y="7499"/>
                      <a:pt x="20311" y="8096"/>
                    </a:cubicBezTo>
                    <a:cubicBezTo>
                      <a:pt x="23589" y="8885"/>
                      <a:pt x="26781" y="10002"/>
                      <a:pt x="29836" y="11430"/>
                    </a:cubicBezTo>
                    <a:cubicBezTo>
                      <a:pt x="34889" y="13849"/>
                      <a:pt x="39521" y="17065"/>
                      <a:pt x="43552" y="20955"/>
                    </a:cubicBezTo>
                    <a:cubicBezTo>
                      <a:pt x="50315" y="27527"/>
                      <a:pt x="52601" y="33052"/>
                      <a:pt x="52124" y="33242"/>
                    </a:cubicBezTo>
                    <a:cubicBezTo>
                      <a:pt x="51648" y="33433"/>
                      <a:pt x="48124" y="29147"/>
                      <a:pt x="41171" y="23717"/>
                    </a:cubicBezTo>
                    <a:cubicBezTo>
                      <a:pt x="37129" y="20530"/>
                      <a:pt x="32676" y="17902"/>
                      <a:pt x="27931" y="15907"/>
                    </a:cubicBezTo>
                    <a:cubicBezTo>
                      <a:pt x="25154" y="14727"/>
                      <a:pt x="22288" y="13772"/>
                      <a:pt x="19358" y="13049"/>
                    </a:cubicBezTo>
                    <a:cubicBezTo>
                      <a:pt x="16215" y="12192"/>
                      <a:pt x="13548" y="12097"/>
                      <a:pt x="12691" y="13526"/>
                    </a:cubicBezTo>
                    <a:cubicBezTo>
                      <a:pt x="11834" y="14954"/>
                      <a:pt x="12691" y="14288"/>
                      <a:pt x="12691" y="15145"/>
                    </a:cubicBezTo>
                    <a:cubicBezTo>
                      <a:pt x="13640" y="16220"/>
                      <a:pt x="14767" y="17123"/>
                      <a:pt x="16025" y="17812"/>
                    </a:cubicBezTo>
                    <a:cubicBezTo>
                      <a:pt x="18520" y="19542"/>
                      <a:pt x="21130" y="21101"/>
                      <a:pt x="23835" y="22479"/>
                    </a:cubicBezTo>
                    <a:cubicBezTo>
                      <a:pt x="28430" y="24878"/>
                      <a:pt x="33247" y="26824"/>
                      <a:pt x="38218" y="28289"/>
                    </a:cubicBezTo>
                    <a:cubicBezTo>
                      <a:pt x="42989" y="29074"/>
                      <a:pt x="47699" y="30188"/>
                      <a:pt x="52315" y="3162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4" name="Полилиния: фигура 393">
                <a:extLst>
                  <a:ext uri="{FF2B5EF4-FFF2-40B4-BE49-F238E27FC236}">
                    <a16:creationId xmlns:a16="http://schemas.microsoft.com/office/drawing/2014/main" id="{49DBEBCA-D210-440D-BFC8-0A8C2967A438}"/>
                  </a:ext>
                </a:extLst>
              </p:cNvPr>
              <p:cNvSpPr/>
              <p:nvPr/>
            </p:nvSpPr>
            <p:spPr>
              <a:xfrm>
                <a:off x="4182899" y="6193605"/>
                <a:ext cx="38100" cy="57150"/>
              </a:xfrm>
              <a:custGeom>
                <a:avLst/>
                <a:gdLst>
                  <a:gd name="connsiteX0" fmla="*/ 10877 w 38100"/>
                  <a:gd name="connsiteY0" fmla="*/ 54388 h 57150"/>
                  <a:gd name="connsiteX1" fmla="*/ 7163 w 38100"/>
                  <a:gd name="connsiteY1" fmla="*/ 39910 h 57150"/>
                  <a:gd name="connsiteX2" fmla="*/ 9544 w 38100"/>
                  <a:gd name="connsiteY2" fmla="*/ 23527 h 57150"/>
                  <a:gd name="connsiteX3" fmla="*/ 13544 w 38100"/>
                  <a:gd name="connsiteY3" fmla="*/ 14478 h 57150"/>
                  <a:gd name="connsiteX4" fmla="*/ 23069 w 38100"/>
                  <a:gd name="connsiteY4" fmla="*/ 7144 h 57150"/>
                  <a:gd name="connsiteX5" fmla="*/ 29166 w 38100"/>
                  <a:gd name="connsiteY5" fmla="*/ 11430 h 57150"/>
                  <a:gd name="connsiteX6" fmla="*/ 30690 w 38100"/>
                  <a:gd name="connsiteY6" fmla="*/ 16954 h 57150"/>
                  <a:gd name="connsiteX7" fmla="*/ 23736 w 38100"/>
                  <a:gd name="connsiteY7" fmla="*/ 42386 h 57150"/>
                  <a:gd name="connsiteX8" fmla="*/ 11544 w 38100"/>
                  <a:gd name="connsiteY8" fmla="*/ 51149 h 57150"/>
                  <a:gd name="connsiteX9" fmla="*/ 21069 w 38100"/>
                  <a:gd name="connsiteY9" fmla="*/ 40291 h 57150"/>
                  <a:gd name="connsiteX10" fmla="*/ 26118 w 38100"/>
                  <a:gd name="connsiteY10" fmla="*/ 26289 h 57150"/>
                  <a:gd name="connsiteX11" fmla="*/ 26118 w 38100"/>
                  <a:gd name="connsiteY11" fmla="*/ 17621 h 57150"/>
                  <a:gd name="connsiteX12" fmla="*/ 23355 w 38100"/>
                  <a:gd name="connsiteY12" fmla="*/ 12192 h 57150"/>
                  <a:gd name="connsiteX13" fmla="*/ 18021 w 38100"/>
                  <a:gd name="connsiteY13" fmla="*/ 16954 h 57150"/>
                  <a:gd name="connsiteX14" fmla="*/ 14116 w 38100"/>
                  <a:gd name="connsiteY14" fmla="*/ 25051 h 57150"/>
                  <a:gd name="connsiteX15" fmla="*/ 10973 w 38100"/>
                  <a:gd name="connsiteY15" fmla="*/ 39910 h 57150"/>
                  <a:gd name="connsiteX16" fmla="*/ 10877 w 38100"/>
                  <a:gd name="connsiteY16" fmla="*/ 54388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8100" h="57150">
                    <a:moveTo>
                      <a:pt x="10877" y="54388"/>
                    </a:moveTo>
                    <a:cubicBezTo>
                      <a:pt x="10306" y="54388"/>
                      <a:pt x="7544" y="49340"/>
                      <a:pt x="7163" y="39910"/>
                    </a:cubicBezTo>
                    <a:cubicBezTo>
                      <a:pt x="7007" y="34353"/>
                      <a:pt x="7813" y="28810"/>
                      <a:pt x="9544" y="23527"/>
                    </a:cubicBezTo>
                    <a:cubicBezTo>
                      <a:pt x="10555" y="20378"/>
                      <a:pt x="11896" y="17345"/>
                      <a:pt x="13544" y="14478"/>
                    </a:cubicBezTo>
                    <a:cubicBezTo>
                      <a:pt x="15194" y="10517"/>
                      <a:pt x="18819" y="7726"/>
                      <a:pt x="23069" y="7144"/>
                    </a:cubicBezTo>
                    <a:cubicBezTo>
                      <a:pt x="25776" y="7223"/>
                      <a:pt x="28175" y="8910"/>
                      <a:pt x="29166" y="11430"/>
                    </a:cubicBezTo>
                    <a:cubicBezTo>
                      <a:pt x="29913" y="13197"/>
                      <a:pt x="30426" y="15054"/>
                      <a:pt x="30690" y="16954"/>
                    </a:cubicBezTo>
                    <a:cubicBezTo>
                      <a:pt x="31875" y="26021"/>
                      <a:pt x="29370" y="35184"/>
                      <a:pt x="23736" y="42386"/>
                    </a:cubicBezTo>
                    <a:cubicBezTo>
                      <a:pt x="17735" y="50006"/>
                      <a:pt x="11639" y="51911"/>
                      <a:pt x="11544" y="51149"/>
                    </a:cubicBezTo>
                    <a:cubicBezTo>
                      <a:pt x="11449" y="50387"/>
                      <a:pt x="16211" y="47720"/>
                      <a:pt x="21069" y="40291"/>
                    </a:cubicBezTo>
                    <a:cubicBezTo>
                      <a:pt x="23771" y="36057"/>
                      <a:pt x="25496" y="31273"/>
                      <a:pt x="26118" y="26289"/>
                    </a:cubicBezTo>
                    <a:cubicBezTo>
                      <a:pt x="26545" y="23416"/>
                      <a:pt x="26545" y="20495"/>
                      <a:pt x="26118" y="17621"/>
                    </a:cubicBezTo>
                    <a:cubicBezTo>
                      <a:pt x="26118" y="14478"/>
                      <a:pt x="24498" y="11906"/>
                      <a:pt x="23355" y="12192"/>
                    </a:cubicBezTo>
                    <a:cubicBezTo>
                      <a:pt x="22212" y="12478"/>
                      <a:pt x="19260" y="14478"/>
                      <a:pt x="18021" y="16954"/>
                    </a:cubicBezTo>
                    <a:cubicBezTo>
                      <a:pt x="16490" y="19536"/>
                      <a:pt x="15183" y="22245"/>
                      <a:pt x="14116" y="25051"/>
                    </a:cubicBezTo>
                    <a:cubicBezTo>
                      <a:pt x="12401" y="29839"/>
                      <a:pt x="11343" y="34837"/>
                      <a:pt x="10973" y="39910"/>
                    </a:cubicBezTo>
                    <a:cubicBezTo>
                      <a:pt x="10211" y="48768"/>
                      <a:pt x="11639" y="54197"/>
                      <a:pt x="10877" y="54388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5" name="Полилиния: фигура 394">
                <a:extLst>
                  <a:ext uri="{FF2B5EF4-FFF2-40B4-BE49-F238E27FC236}">
                    <a16:creationId xmlns:a16="http://schemas.microsoft.com/office/drawing/2014/main" id="{52B4FC34-6A20-460B-9676-A67022768B12}"/>
                  </a:ext>
                </a:extLst>
              </p:cNvPr>
              <p:cNvSpPr/>
              <p:nvPr/>
            </p:nvSpPr>
            <p:spPr>
              <a:xfrm>
                <a:off x="3773152" y="4761902"/>
                <a:ext cx="609600" cy="1552575"/>
              </a:xfrm>
              <a:custGeom>
                <a:avLst/>
                <a:gdLst>
                  <a:gd name="connsiteX0" fmla="*/ 538544 w 609600"/>
                  <a:gd name="connsiteY0" fmla="*/ 7144 h 1552575"/>
                  <a:gd name="connsiteX1" fmla="*/ 77914 w 609600"/>
                  <a:gd name="connsiteY1" fmla="*/ 53626 h 1552575"/>
                  <a:gd name="connsiteX2" fmla="*/ 77914 w 609600"/>
                  <a:gd name="connsiteY2" fmla="*/ 88487 h 1552575"/>
                  <a:gd name="connsiteX3" fmla="*/ 37433 w 609600"/>
                  <a:gd name="connsiteY3" fmla="*/ 158305 h 1552575"/>
                  <a:gd name="connsiteX4" fmla="*/ 25527 w 609600"/>
                  <a:gd name="connsiteY4" fmla="*/ 278035 h 1552575"/>
                  <a:gd name="connsiteX5" fmla="*/ 25527 w 609600"/>
                  <a:gd name="connsiteY5" fmla="*/ 327946 h 1552575"/>
                  <a:gd name="connsiteX6" fmla="*/ 14764 w 609600"/>
                  <a:gd name="connsiteY6" fmla="*/ 387763 h 1552575"/>
                  <a:gd name="connsiteX7" fmla="*/ 7144 w 609600"/>
                  <a:gd name="connsiteY7" fmla="*/ 1534954 h 1552575"/>
                  <a:gd name="connsiteX8" fmla="*/ 181451 w 609600"/>
                  <a:gd name="connsiteY8" fmla="*/ 1547527 h 1552575"/>
                  <a:gd name="connsiteX9" fmla="*/ 302609 w 609600"/>
                  <a:gd name="connsiteY9" fmla="*/ 419671 h 1552575"/>
                  <a:gd name="connsiteX10" fmla="*/ 281750 w 609600"/>
                  <a:gd name="connsiteY10" fmla="*/ 1554861 h 1552575"/>
                  <a:gd name="connsiteX11" fmla="*/ 462725 w 609600"/>
                  <a:gd name="connsiteY11" fmla="*/ 1545336 h 1552575"/>
                  <a:gd name="connsiteX12" fmla="*/ 607981 w 609600"/>
                  <a:gd name="connsiteY12" fmla="*/ 208502 h 1552575"/>
                  <a:gd name="connsiteX13" fmla="*/ 607981 w 609600"/>
                  <a:gd name="connsiteY13" fmla="*/ 208502 h 1552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9600" h="1552575">
                    <a:moveTo>
                      <a:pt x="538544" y="7144"/>
                    </a:moveTo>
                    <a:lnTo>
                      <a:pt x="77914" y="53626"/>
                    </a:lnTo>
                    <a:lnTo>
                      <a:pt x="77914" y="88487"/>
                    </a:lnTo>
                    <a:lnTo>
                      <a:pt x="37433" y="158305"/>
                    </a:lnTo>
                    <a:cubicBezTo>
                      <a:pt x="37433" y="158305"/>
                      <a:pt x="-4381" y="200216"/>
                      <a:pt x="25527" y="278035"/>
                    </a:cubicBezTo>
                    <a:lnTo>
                      <a:pt x="25527" y="327946"/>
                    </a:lnTo>
                    <a:cubicBezTo>
                      <a:pt x="25527" y="327946"/>
                      <a:pt x="21907" y="357854"/>
                      <a:pt x="14764" y="387763"/>
                    </a:cubicBezTo>
                    <a:cubicBezTo>
                      <a:pt x="7620" y="417671"/>
                      <a:pt x="7144" y="1534954"/>
                      <a:pt x="7144" y="1534954"/>
                    </a:cubicBezTo>
                    <a:lnTo>
                      <a:pt x="181451" y="1547527"/>
                    </a:lnTo>
                    <a:lnTo>
                      <a:pt x="302609" y="419671"/>
                    </a:lnTo>
                    <a:lnTo>
                      <a:pt x="281750" y="1554861"/>
                    </a:lnTo>
                    <a:lnTo>
                      <a:pt x="462725" y="1545336"/>
                    </a:lnTo>
                    <a:lnTo>
                      <a:pt x="607981" y="208502"/>
                    </a:lnTo>
                    <a:lnTo>
                      <a:pt x="607981" y="208502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6" name="Полилиния: фигура 395">
                <a:extLst>
                  <a:ext uri="{FF2B5EF4-FFF2-40B4-BE49-F238E27FC236}">
                    <a16:creationId xmlns:a16="http://schemas.microsoft.com/office/drawing/2014/main" id="{EE179127-4365-416D-9A5C-9BCFD64411BF}"/>
                  </a:ext>
                </a:extLst>
              </p:cNvPr>
              <p:cNvSpPr/>
              <p:nvPr/>
            </p:nvSpPr>
            <p:spPr>
              <a:xfrm>
                <a:off x="4054679" y="4920399"/>
                <a:ext cx="28575" cy="295275"/>
              </a:xfrm>
              <a:custGeom>
                <a:avLst/>
                <a:gdLst>
                  <a:gd name="connsiteX0" fmla="*/ 22320 w 28575"/>
                  <a:gd name="connsiteY0" fmla="*/ 288417 h 295275"/>
                  <a:gd name="connsiteX1" fmla="*/ 21177 w 28575"/>
                  <a:gd name="connsiteY1" fmla="*/ 277368 h 295275"/>
                  <a:gd name="connsiteX2" fmla="*/ 19463 w 28575"/>
                  <a:gd name="connsiteY2" fmla="*/ 247269 h 295275"/>
                  <a:gd name="connsiteX3" fmla="*/ 12605 w 28575"/>
                  <a:gd name="connsiteY3" fmla="*/ 147923 h 295275"/>
                  <a:gd name="connsiteX4" fmla="*/ 7176 w 28575"/>
                  <a:gd name="connsiteY4" fmla="*/ 48482 h 295275"/>
                  <a:gd name="connsiteX5" fmla="*/ 7176 w 28575"/>
                  <a:gd name="connsiteY5" fmla="*/ 18193 h 295275"/>
                  <a:gd name="connsiteX6" fmla="*/ 7937 w 28575"/>
                  <a:gd name="connsiteY6" fmla="*/ 7144 h 295275"/>
                  <a:gd name="connsiteX7" fmla="*/ 9080 w 28575"/>
                  <a:gd name="connsiteY7" fmla="*/ 18193 h 295275"/>
                  <a:gd name="connsiteX8" fmla="*/ 10795 w 28575"/>
                  <a:gd name="connsiteY8" fmla="*/ 48292 h 295275"/>
                  <a:gd name="connsiteX9" fmla="*/ 17653 w 28575"/>
                  <a:gd name="connsiteY9" fmla="*/ 147638 h 295275"/>
                  <a:gd name="connsiteX10" fmla="*/ 23082 w 28575"/>
                  <a:gd name="connsiteY10" fmla="*/ 247079 h 295275"/>
                  <a:gd name="connsiteX11" fmla="*/ 23082 w 28575"/>
                  <a:gd name="connsiteY11" fmla="*/ 277273 h 295275"/>
                  <a:gd name="connsiteX12" fmla="*/ 22321 w 28575"/>
                  <a:gd name="connsiteY12" fmla="*/ 288417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575" h="295275">
                    <a:moveTo>
                      <a:pt x="22320" y="288417"/>
                    </a:moveTo>
                    <a:cubicBezTo>
                      <a:pt x="21476" y="284797"/>
                      <a:pt x="21092" y="281084"/>
                      <a:pt x="21177" y="277368"/>
                    </a:cubicBezTo>
                    <a:cubicBezTo>
                      <a:pt x="21177" y="269176"/>
                      <a:pt x="20130" y="259080"/>
                      <a:pt x="19463" y="247269"/>
                    </a:cubicBezTo>
                    <a:cubicBezTo>
                      <a:pt x="17653" y="220694"/>
                      <a:pt x="15272" y="186119"/>
                      <a:pt x="12605" y="147923"/>
                    </a:cubicBezTo>
                    <a:cubicBezTo>
                      <a:pt x="9938" y="109728"/>
                      <a:pt x="7747" y="73914"/>
                      <a:pt x="7176" y="48482"/>
                    </a:cubicBezTo>
                    <a:cubicBezTo>
                      <a:pt x="7176" y="35719"/>
                      <a:pt x="7176" y="25337"/>
                      <a:pt x="7176" y="18193"/>
                    </a:cubicBezTo>
                    <a:cubicBezTo>
                      <a:pt x="7048" y="14493"/>
                      <a:pt x="7303" y="10791"/>
                      <a:pt x="7937" y="7144"/>
                    </a:cubicBezTo>
                    <a:cubicBezTo>
                      <a:pt x="8791" y="10762"/>
                      <a:pt x="9175" y="14476"/>
                      <a:pt x="9080" y="18193"/>
                    </a:cubicBezTo>
                    <a:cubicBezTo>
                      <a:pt x="9557" y="26384"/>
                      <a:pt x="10128" y="36386"/>
                      <a:pt x="10795" y="48292"/>
                    </a:cubicBezTo>
                    <a:cubicBezTo>
                      <a:pt x="12605" y="74866"/>
                      <a:pt x="14986" y="109347"/>
                      <a:pt x="17653" y="147638"/>
                    </a:cubicBezTo>
                    <a:cubicBezTo>
                      <a:pt x="20320" y="185928"/>
                      <a:pt x="22511" y="221551"/>
                      <a:pt x="23082" y="247079"/>
                    </a:cubicBezTo>
                    <a:cubicBezTo>
                      <a:pt x="23082" y="259842"/>
                      <a:pt x="23082" y="270224"/>
                      <a:pt x="23082" y="277273"/>
                    </a:cubicBezTo>
                    <a:cubicBezTo>
                      <a:pt x="23183" y="281003"/>
                      <a:pt x="22928" y="284735"/>
                      <a:pt x="22321" y="288417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7" name="Полилиния: фигура 396">
                <a:extLst>
                  <a:ext uri="{FF2B5EF4-FFF2-40B4-BE49-F238E27FC236}">
                    <a16:creationId xmlns:a16="http://schemas.microsoft.com/office/drawing/2014/main" id="{282528AB-8F57-41AA-AD75-6B3FA97B0EF4}"/>
                  </a:ext>
                </a:extLst>
              </p:cNvPr>
              <p:cNvSpPr/>
              <p:nvPr/>
            </p:nvSpPr>
            <p:spPr>
              <a:xfrm>
                <a:off x="4163529" y="4778095"/>
                <a:ext cx="19050" cy="66675"/>
              </a:xfrm>
              <a:custGeom>
                <a:avLst/>
                <a:gdLst>
                  <a:gd name="connsiteX0" fmla="*/ 15769 w 19050"/>
                  <a:gd name="connsiteY0" fmla="*/ 65151 h 66675"/>
                  <a:gd name="connsiteX1" fmla="*/ 12911 w 19050"/>
                  <a:gd name="connsiteY1" fmla="*/ 35719 h 66675"/>
                  <a:gd name="connsiteX2" fmla="*/ 7387 w 19050"/>
                  <a:gd name="connsiteY2" fmla="*/ 7144 h 66675"/>
                  <a:gd name="connsiteX3" fmla="*/ 17865 w 19050"/>
                  <a:gd name="connsiteY3" fmla="*/ 35719 h 66675"/>
                  <a:gd name="connsiteX4" fmla="*/ 15769 w 19050"/>
                  <a:gd name="connsiteY4" fmla="*/ 65151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66675">
                    <a:moveTo>
                      <a:pt x="15769" y="65151"/>
                    </a:moveTo>
                    <a:cubicBezTo>
                      <a:pt x="14340" y="65151"/>
                      <a:pt x="15293" y="51721"/>
                      <a:pt x="12911" y="35719"/>
                    </a:cubicBezTo>
                    <a:cubicBezTo>
                      <a:pt x="10530" y="19717"/>
                      <a:pt x="6053" y="7144"/>
                      <a:pt x="7387" y="7144"/>
                    </a:cubicBezTo>
                    <a:cubicBezTo>
                      <a:pt x="13595" y="15441"/>
                      <a:pt x="17238" y="25375"/>
                      <a:pt x="17865" y="35719"/>
                    </a:cubicBezTo>
                    <a:cubicBezTo>
                      <a:pt x="20044" y="45525"/>
                      <a:pt x="19316" y="55753"/>
                      <a:pt x="15769" y="65151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8" name="Полилиния: фигура 397">
                <a:extLst>
                  <a:ext uri="{FF2B5EF4-FFF2-40B4-BE49-F238E27FC236}">
                    <a16:creationId xmlns:a16="http://schemas.microsoft.com/office/drawing/2014/main" id="{951865EF-ECD5-4D20-AA5C-3A0BC98EC71A}"/>
                  </a:ext>
                </a:extLst>
              </p:cNvPr>
              <p:cNvSpPr/>
              <p:nvPr/>
            </p:nvSpPr>
            <p:spPr>
              <a:xfrm>
                <a:off x="4206054" y="4775428"/>
                <a:ext cx="19050" cy="57150"/>
              </a:xfrm>
              <a:custGeom>
                <a:avLst/>
                <a:gdLst>
                  <a:gd name="connsiteX0" fmla="*/ 12296 w 19050"/>
                  <a:gd name="connsiteY0" fmla="*/ 54769 h 57150"/>
                  <a:gd name="connsiteX1" fmla="*/ 7915 w 19050"/>
                  <a:gd name="connsiteY1" fmla="*/ 7144 h 57150"/>
                  <a:gd name="connsiteX2" fmla="*/ 12582 w 19050"/>
                  <a:gd name="connsiteY2" fmla="*/ 30766 h 57150"/>
                  <a:gd name="connsiteX3" fmla="*/ 12296 w 19050"/>
                  <a:gd name="connsiteY3" fmla="*/ 54769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57150">
                    <a:moveTo>
                      <a:pt x="12296" y="54769"/>
                    </a:moveTo>
                    <a:cubicBezTo>
                      <a:pt x="7555" y="39368"/>
                      <a:pt x="6063" y="23151"/>
                      <a:pt x="7915" y="7144"/>
                    </a:cubicBezTo>
                    <a:cubicBezTo>
                      <a:pt x="11131" y="14597"/>
                      <a:pt x="12722" y="22650"/>
                      <a:pt x="12582" y="30766"/>
                    </a:cubicBezTo>
                    <a:cubicBezTo>
                      <a:pt x="14107" y="38704"/>
                      <a:pt x="14010" y="46869"/>
                      <a:pt x="12296" y="54769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9" name="Полилиния: фигура 398">
                <a:extLst>
                  <a:ext uri="{FF2B5EF4-FFF2-40B4-BE49-F238E27FC236}">
                    <a16:creationId xmlns:a16="http://schemas.microsoft.com/office/drawing/2014/main" id="{DAEA60BC-6664-45E9-B41E-AE2E03C904DD}"/>
                  </a:ext>
                </a:extLst>
              </p:cNvPr>
              <p:cNvSpPr/>
              <p:nvPr/>
            </p:nvSpPr>
            <p:spPr>
              <a:xfrm>
                <a:off x="3903483" y="4805717"/>
                <a:ext cx="19050" cy="66675"/>
              </a:xfrm>
              <a:custGeom>
                <a:avLst/>
                <a:gdLst>
                  <a:gd name="connsiteX0" fmla="*/ 11782 w 19050"/>
                  <a:gd name="connsiteY0" fmla="*/ 61246 h 66675"/>
                  <a:gd name="connsiteX1" fmla="*/ 7782 w 19050"/>
                  <a:gd name="connsiteY1" fmla="*/ 33719 h 66675"/>
                  <a:gd name="connsiteX2" fmla="*/ 16354 w 19050"/>
                  <a:gd name="connsiteY2" fmla="*/ 7144 h 66675"/>
                  <a:gd name="connsiteX3" fmla="*/ 12735 w 19050"/>
                  <a:gd name="connsiteY3" fmla="*/ 34100 h 66675"/>
                  <a:gd name="connsiteX4" fmla="*/ 11782 w 19050"/>
                  <a:gd name="connsiteY4" fmla="*/ 61246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66675">
                    <a:moveTo>
                      <a:pt x="11782" y="61246"/>
                    </a:moveTo>
                    <a:cubicBezTo>
                      <a:pt x="7591" y="52718"/>
                      <a:pt x="6192" y="43087"/>
                      <a:pt x="7782" y="33719"/>
                    </a:cubicBezTo>
                    <a:cubicBezTo>
                      <a:pt x="7804" y="24184"/>
                      <a:pt x="10801" y="14894"/>
                      <a:pt x="16354" y="7144"/>
                    </a:cubicBezTo>
                    <a:cubicBezTo>
                      <a:pt x="17688" y="7716"/>
                      <a:pt x="13878" y="19336"/>
                      <a:pt x="12735" y="34100"/>
                    </a:cubicBezTo>
                    <a:cubicBezTo>
                      <a:pt x="11592" y="48864"/>
                      <a:pt x="13211" y="60960"/>
                      <a:pt x="11782" y="61246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0" name="Полилиния: фигура 399">
                <a:extLst>
                  <a:ext uri="{FF2B5EF4-FFF2-40B4-BE49-F238E27FC236}">
                    <a16:creationId xmlns:a16="http://schemas.microsoft.com/office/drawing/2014/main" id="{A54C4532-4DB3-4FE4-9190-199F05C0268C}"/>
                  </a:ext>
                </a:extLst>
              </p:cNvPr>
              <p:cNvSpPr/>
              <p:nvPr/>
            </p:nvSpPr>
            <p:spPr>
              <a:xfrm>
                <a:off x="3944814" y="4803527"/>
                <a:ext cx="19050" cy="57150"/>
              </a:xfrm>
              <a:custGeom>
                <a:avLst/>
                <a:gdLst>
                  <a:gd name="connsiteX0" fmla="*/ 9218 w 19050"/>
                  <a:gd name="connsiteY0" fmla="*/ 56960 h 57150"/>
                  <a:gd name="connsiteX1" fmla="*/ 7694 w 19050"/>
                  <a:gd name="connsiteY1" fmla="*/ 31909 h 57150"/>
                  <a:gd name="connsiteX2" fmla="*/ 11218 w 19050"/>
                  <a:gd name="connsiteY2" fmla="*/ 7144 h 57150"/>
                  <a:gd name="connsiteX3" fmla="*/ 12742 w 19050"/>
                  <a:gd name="connsiteY3" fmla="*/ 32099 h 57150"/>
                  <a:gd name="connsiteX4" fmla="*/ 9218 w 19050"/>
                  <a:gd name="connsiteY4" fmla="*/ 56959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57150">
                    <a:moveTo>
                      <a:pt x="9218" y="56960"/>
                    </a:moveTo>
                    <a:cubicBezTo>
                      <a:pt x="7129" y="48781"/>
                      <a:pt x="6612" y="40280"/>
                      <a:pt x="7694" y="31909"/>
                    </a:cubicBezTo>
                    <a:cubicBezTo>
                      <a:pt x="7270" y="23504"/>
                      <a:pt x="8467" y="15096"/>
                      <a:pt x="11218" y="7144"/>
                    </a:cubicBezTo>
                    <a:cubicBezTo>
                      <a:pt x="13295" y="15292"/>
                      <a:pt x="13812" y="23759"/>
                      <a:pt x="12742" y="32099"/>
                    </a:cubicBezTo>
                    <a:cubicBezTo>
                      <a:pt x="13171" y="40535"/>
                      <a:pt x="11975" y="48975"/>
                      <a:pt x="9218" y="56959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1" name="Полилиния: фигура 400">
                <a:extLst>
                  <a:ext uri="{FF2B5EF4-FFF2-40B4-BE49-F238E27FC236}">
                    <a16:creationId xmlns:a16="http://schemas.microsoft.com/office/drawing/2014/main" id="{2B038AA3-B86D-4FE2-B650-B4E2C6944915}"/>
                  </a:ext>
                </a:extLst>
              </p:cNvPr>
              <p:cNvSpPr/>
              <p:nvPr/>
            </p:nvSpPr>
            <p:spPr>
              <a:xfrm>
                <a:off x="3793588" y="4864079"/>
                <a:ext cx="66675" cy="76200"/>
              </a:xfrm>
              <a:custGeom>
                <a:avLst/>
                <a:gdLst>
                  <a:gd name="connsiteX0" fmla="*/ 67766 w 66675"/>
                  <a:gd name="connsiteY0" fmla="*/ 7170 h 76200"/>
                  <a:gd name="connsiteX1" fmla="*/ 7187 w 66675"/>
                  <a:gd name="connsiteY1" fmla="*/ 72131 h 76200"/>
                  <a:gd name="connsiteX2" fmla="*/ 37952 w 66675"/>
                  <a:gd name="connsiteY2" fmla="*/ 40126 h 76200"/>
                  <a:gd name="connsiteX3" fmla="*/ 67766 w 66675"/>
                  <a:gd name="connsiteY3" fmla="*/ 7170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75" h="76200">
                    <a:moveTo>
                      <a:pt x="67766" y="7170"/>
                    </a:moveTo>
                    <a:cubicBezTo>
                      <a:pt x="53349" y="33568"/>
                      <a:pt x="32515" y="55908"/>
                      <a:pt x="7187" y="72131"/>
                    </a:cubicBezTo>
                    <a:cubicBezTo>
                      <a:pt x="6234" y="70988"/>
                      <a:pt x="21284" y="57938"/>
                      <a:pt x="37952" y="40126"/>
                    </a:cubicBezTo>
                    <a:cubicBezTo>
                      <a:pt x="54621" y="22315"/>
                      <a:pt x="66527" y="6408"/>
                      <a:pt x="67766" y="7170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2" name="Полилиния: фигура 401">
                <a:extLst>
                  <a:ext uri="{FF2B5EF4-FFF2-40B4-BE49-F238E27FC236}">
                    <a16:creationId xmlns:a16="http://schemas.microsoft.com/office/drawing/2014/main" id="{3B97E705-3F1A-474F-9E9B-FA126897F327}"/>
                  </a:ext>
                </a:extLst>
              </p:cNvPr>
              <p:cNvSpPr/>
              <p:nvPr/>
            </p:nvSpPr>
            <p:spPr>
              <a:xfrm>
                <a:off x="4280263" y="4831816"/>
                <a:ext cx="104775" cy="133350"/>
              </a:xfrm>
              <a:custGeom>
                <a:avLst/>
                <a:gdLst>
                  <a:gd name="connsiteX0" fmla="*/ 102013 w 104775"/>
                  <a:gd name="connsiteY0" fmla="*/ 126683 h 133350"/>
                  <a:gd name="connsiteX1" fmla="*/ 82963 w 104775"/>
                  <a:gd name="connsiteY1" fmla="*/ 114395 h 133350"/>
                  <a:gd name="connsiteX2" fmla="*/ 14764 w 104775"/>
                  <a:gd name="connsiteY2" fmla="*/ 28670 h 133350"/>
                  <a:gd name="connsiteX3" fmla="*/ 7144 w 104775"/>
                  <a:gd name="connsiteY3" fmla="*/ 7144 h 133350"/>
                  <a:gd name="connsiteX4" fmla="*/ 47625 w 104775"/>
                  <a:gd name="connsiteY4" fmla="*/ 72580 h 133350"/>
                  <a:gd name="connsiteX5" fmla="*/ 102013 w 104775"/>
                  <a:gd name="connsiteY5" fmla="*/ 126682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775" h="133350">
                    <a:moveTo>
                      <a:pt x="102013" y="126683"/>
                    </a:moveTo>
                    <a:cubicBezTo>
                      <a:pt x="95107" y="123520"/>
                      <a:pt x="88692" y="119382"/>
                      <a:pt x="82963" y="114395"/>
                    </a:cubicBezTo>
                    <a:cubicBezTo>
                      <a:pt x="53698" y="91689"/>
                      <a:pt x="30310" y="62291"/>
                      <a:pt x="14764" y="28670"/>
                    </a:cubicBezTo>
                    <a:cubicBezTo>
                      <a:pt x="11167" y="21914"/>
                      <a:pt x="8599" y="14658"/>
                      <a:pt x="7144" y="7144"/>
                    </a:cubicBezTo>
                    <a:cubicBezTo>
                      <a:pt x="18803" y="30039"/>
                      <a:pt x="32343" y="51926"/>
                      <a:pt x="47625" y="72580"/>
                    </a:cubicBezTo>
                    <a:cubicBezTo>
                      <a:pt x="64252" y="92065"/>
                      <a:pt x="82441" y="110159"/>
                      <a:pt x="102013" y="12668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3" name="Полилиния: фигура 402">
                <a:extLst>
                  <a:ext uri="{FF2B5EF4-FFF2-40B4-BE49-F238E27FC236}">
                    <a16:creationId xmlns:a16="http://schemas.microsoft.com/office/drawing/2014/main" id="{ECC46362-BBA9-46FD-AC51-40C432BCC5AC}"/>
                  </a:ext>
                </a:extLst>
              </p:cNvPr>
              <p:cNvSpPr/>
              <p:nvPr/>
            </p:nvSpPr>
            <p:spPr>
              <a:xfrm>
                <a:off x="4076093" y="4817868"/>
                <a:ext cx="47625" cy="38100"/>
              </a:xfrm>
              <a:custGeom>
                <a:avLst/>
                <a:gdLst>
                  <a:gd name="connsiteX0" fmla="*/ 19766 w 47625"/>
                  <a:gd name="connsiteY0" fmla="*/ 8614 h 38100"/>
                  <a:gd name="connsiteX1" fmla="*/ 23290 w 47625"/>
                  <a:gd name="connsiteY1" fmla="*/ 7185 h 38100"/>
                  <a:gd name="connsiteX2" fmla="*/ 33387 w 47625"/>
                  <a:gd name="connsiteY2" fmla="*/ 10042 h 38100"/>
                  <a:gd name="connsiteX3" fmla="*/ 41197 w 47625"/>
                  <a:gd name="connsiteY3" fmla="*/ 23949 h 38100"/>
                  <a:gd name="connsiteX4" fmla="*/ 22254 w 47625"/>
                  <a:gd name="connsiteY4" fmla="*/ 40346 h 38100"/>
                  <a:gd name="connsiteX5" fmla="*/ 10527 w 47625"/>
                  <a:gd name="connsiteY5" fmla="*/ 34712 h 38100"/>
                  <a:gd name="connsiteX6" fmla="*/ 7955 w 47625"/>
                  <a:gd name="connsiteY6" fmla="*/ 19091 h 38100"/>
                  <a:gd name="connsiteX7" fmla="*/ 13956 w 47625"/>
                  <a:gd name="connsiteY7" fmla="*/ 10423 h 38100"/>
                  <a:gd name="connsiteX8" fmla="*/ 17671 w 47625"/>
                  <a:gd name="connsiteY8" fmla="*/ 9281 h 38100"/>
                  <a:gd name="connsiteX9" fmla="*/ 11289 w 47625"/>
                  <a:gd name="connsiteY9" fmla="*/ 19853 h 38100"/>
                  <a:gd name="connsiteX10" fmla="*/ 14051 w 47625"/>
                  <a:gd name="connsiteY10" fmla="*/ 31855 h 38100"/>
                  <a:gd name="connsiteX11" fmla="*/ 27767 w 47625"/>
                  <a:gd name="connsiteY11" fmla="*/ 34712 h 38100"/>
                  <a:gd name="connsiteX12" fmla="*/ 36625 w 47625"/>
                  <a:gd name="connsiteY12" fmla="*/ 23854 h 38100"/>
                  <a:gd name="connsiteX13" fmla="*/ 31291 w 47625"/>
                  <a:gd name="connsiteY13" fmla="*/ 12900 h 38100"/>
                  <a:gd name="connsiteX14" fmla="*/ 19766 w 47625"/>
                  <a:gd name="connsiteY14" fmla="*/ 861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7625" h="38100">
                    <a:moveTo>
                      <a:pt x="19766" y="8614"/>
                    </a:moveTo>
                    <a:cubicBezTo>
                      <a:pt x="19766" y="8614"/>
                      <a:pt x="20814" y="7471"/>
                      <a:pt x="23290" y="7185"/>
                    </a:cubicBezTo>
                    <a:cubicBezTo>
                      <a:pt x="26887" y="6921"/>
                      <a:pt x="30462" y="7932"/>
                      <a:pt x="33387" y="10042"/>
                    </a:cubicBezTo>
                    <a:cubicBezTo>
                      <a:pt x="38048" y="13178"/>
                      <a:pt x="40946" y="18337"/>
                      <a:pt x="41197" y="23949"/>
                    </a:cubicBezTo>
                    <a:cubicBezTo>
                      <a:pt x="40494" y="33708"/>
                      <a:pt x="32013" y="41049"/>
                      <a:pt x="22254" y="40346"/>
                    </a:cubicBezTo>
                    <a:cubicBezTo>
                      <a:pt x="17772" y="40023"/>
                      <a:pt x="13580" y="38009"/>
                      <a:pt x="10527" y="34712"/>
                    </a:cubicBezTo>
                    <a:cubicBezTo>
                      <a:pt x="7233" y="30211"/>
                      <a:pt x="6278" y="24410"/>
                      <a:pt x="7955" y="19091"/>
                    </a:cubicBezTo>
                    <a:cubicBezTo>
                      <a:pt x="8905" y="15600"/>
                      <a:pt x="11023" y="12541"/>
                      <a:pt x="13956" y="10423"/>
                    </a:cubicBezTo>
                    <a:cubicBezTo>
                      <a:pt x="16147" y="9090"/>
                      <a:pt x="17575" y="9090"/>
                      <a:pt x="17671" y="9281"/>
                    </a:cubicBezTo>
                    <a:cubicBezTo>
                      <a:pt x="17766" y="9471"/>
                      <a:pt x="12813" y="12233"/>
                      <a:pt x="11289" y="19853"/>
                    </a:cubicBezTo>
                    <a:cubicBezTo>
                      <a:pt x="10480" y="24064"/>
                      <a:pt x="11483" y="28421"/>
                      <a:pt x="14051" y="31855"/>
                    </a:cubicBezTo>
                    <a:cubicBezTo>
                      <a:pt x="17619" y="35503"/>
                      <a:pt x="23039" y="36632"/>
                      <a:pt x="27767" y="34712"/>
                    </a:cubicBezTo>
                    <a:cubicBezTo>
                      <a:pt x="32697" y="33296"/>
                      <a:pt x="36228" y="28967"/>
                      <a:pt x="36625" y="23854"/>
                    </a:cubicBezTo>
                    <a:cubicBezTo>
                      <a:pt x="36558" y="19593"/>
                      <a:pt x="34604" y="15581"/>
                      <a:pt x="31291" y="12900"/>
                    </a:cubicBezTo>
                    <a:cubicBezTo>
                      <a:pt x="27976" y="10330"/>
                      <a:pt x="23955" y="8834"/>
                      <a:pt x="19766" y="861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4" name="Полилиния: фигура 403">
                <a:extLst>
                  <a:ext uri="{FF2B5EF4-FFF2-40B4-BE49-F238E27FC236}">
                    <a16:creationId xmlns:a16="http://schemas.microsoft.com/office/drawing/2014/main" id="{43D21B32-D357-46E8-84D2-3C7C4ADB43DE}"/>
                  </a:ext>
                </a:extLst>
              </p:cNvPr>
              <p:cNvSpPr/>
              <p:nvPr/>
            </p:nvSpPr>
            <p:spPr>
              <a:xfrm>
                <a:off x="3685024" y="4112202"/>
                <a:ext cx="304800" cy="581025"/>
              </a:xfrm>
              <a:custGeom>
                <a:avLst/>
                <a:gdLst>
                  <a:gd name="connsiteX0" fmla="*/ 279295 w 304800"/>
                  <a:gd name="connsiteY0" fmla="*/ 351282 h 581025"/>
                  <a:gd name="connsiteX1" fmla="*/ 178520 w 304800"/>
                  <a:gd name="connsiteY1" fmla="*/ 380619 h 581025"/>
                  <a:gd name="connsiteX2" fmla="*/ 187569 w 304800"/>
                  <a:gd name="connsiteY2" fmla="*/ 283369 h 581025"/>
                  <a:gd name="connsiteX3" fmla="*/ 193570 w 304800"/>
                  <a:gd name="connsiteY3" fmla="*/ 7144 h 581025"/>
                  <a:gd name="connsiteX4" fmla="*/ 135848 w 304800"/>
                  <a:gd name="connsiteY4" fmla="*/ 31718 h 581025"/>
                  <a:gd name="connsiteX5" fmla="*/ 79746 w 304800"/>
                  <a:gd name="connsiteY5" fmla="*/ 101632 h 581025"/>
                  <a:gd name="connsiteX6" fmla="*/ 8023 w 304800"/>
                  <a:gd name="connsiteY6" fmla="*/ 460534 h 581025"/>
                  <a:gd name="connsiteX7" fmla="*/ 72031 w 304800"/>
                  <a:gd name="connsiteY7" fmla="*/ 575501 h 581025"/>
                  <a:gd name="connsiteX8" fmla="*/ 297868 w 304800"/>
                  <a:gd name="connsiteY8" fmla="*/ 443103 h 581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4800" h="581025">
                    <a:moveTo>
                      <a:pt x="279295" y="351282"/>
                    </a:moveTo>
                    <a:lnTo>
                      <a:pt x="178520" y="380619"/>
                    </a:lnTo>
                    <a:lnTo>
                      <a:pt x="187569" y="283369"/>
                    </a:lnTo>
                    <a:lnTo>
                      <a:pt x="193570" y="7144"/>
                    </a:lnTo>
                    <a:cubicBezTo>
                      <a:pt x="193570" y="7144"/>
                      <a:pt x="163852" y="19145"/>
                      <a:pt x="135848" y="31718"/>
                    </a:cubicBezTo>
                    <a:cubicBezTo>
                      <a:pt x="106952" y="44592"/>
                      <a:pt x="86055" y="70633"/>
                      <a:pt x="79746" y="101632"/>
                    </a:cubicBezTo>
                    <a:cubicBezTo>
                      <a:pt x="59172" y="202121"/>
                      <a:pt x="11833" y="434530"/>
                      <a:pt x="8023" y="460534"/>
                    </a:cubicBezTo>
                    <a:cubicBezTo>
                      <a:pt x="2593" y="497491"/>
                      <a:pt x="22120" y="566071"/>
                      <a:pt x="72031" y="575501"/>
                    </a:cubicBezTo>
                    <a:cubicBezTo>
                      <a:pt x="109559" y="582549"/>
                      <a:pt x="297868" y="443103"/>
                      <a:pt x="297868" y="443103"/>
                    </a:cubicBez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5" name="Полилиния: фигура 404">
                <a:extLst>
                  <a:ext uri="{FF2B5EF4-FFF2-40B4-BE49-F238E27FC236}">
                    <a16:creationId xmlns:a16="http://schemas.microsoft.com/office/drawing/2014/main" id="{44031C58-F07D-47DB-BC5E-C12FEE1E06CC}"/>
                  </a:ext>
                </a:extLst>
              </p:cNvPr>
              <p:cNvSpPr/>
              <p:nvPr/>
            </p:nvSpPr>
            <p:spPr>
              <a:xfrm>
                <a:off x="3818503" y="4024953"/>
                <a:ext cx="571500" cy="790575"/>
              </a:xfrm>
              <a:custGeom>
                <a:avLst/>
                <a:gdLst>
                  <a:gd name="connsiteX0" fmla="*/ 172391 w 571500"/>
                  <a:gd name="connsiteY0" fmla="*/ 18193 h 790575"/>
                  <a:gd name="connsiteX1" fmla="*/ 143816 w 571500"/>
                  <a:gd name="connsiteY1" fmla="*/ 56960 h 790575"/>
                  <a:gd name="connsiteX2" fmla="*/ 59996 w 571500"/>
                  <a:gd name="connsiteY2" fmla="*/ 94393 h 790575"/>
                  <a:gd name="connsiteX3" fmla="*/ 47994 w 571500"/>
                  <a:gd name="connsiteY3" fmla="*/ 436626 h 790575"/>
                  <a:gd name="connsiteX4" fmla="*/ 14752 w 571500"/>
                  <a:gd name="connsiteY4" fmla="*/ 644652 h 790575"/>
                  <a:gd name="connsiteX5" fmla="*/ 10942 w 571500"/>
                  <a:gd name="connsiteY5" fmla="*/ 772287 h 790575"/>
                  <a:gd name="connsiteX6" fmla="*/ 30945 w 571500"/>
                  <a:gd name="connsiteY6" fmla="*/ 792004 h 790575"/>
                  <a:gd name="connsiteX7" fmla="*/ 491574 w 571500"/>
                  <a:gd name="connsiteY7" fmla="*/ 745522 h 790575"/>
                  <a:gd name="connsiteX8" fmla="*/ 498622 w 571500"/>
                  <a:gd name="connsiteY8" fmla="*/ 741236 h 790575"/>
                  <a:gd name="connsiteX9" fmla="*/ 531103 w 571500"/>
                  <a:gd name="connsiteY9" fmla="*/ 676942 h 790575"/>
                  <a:gd name="connsiteX10" fmla="*/ 499860 w 571500"/>
                  <a:gd name="connsiteY10" fmla="*/ 352044 h 790575"/>
                  <a:gd name="connsiteX11" fmla="*/ 545104 w 571500"/>
                  <a:gd name="connsiteY11" fmla="*/ 233458 h 790575"/>
                  <a:gd name="connsiteX12" fmla="*/ 564631 w 571500"/>
                  <a:gd name="connsiteY12" fmla="*/ 136970 h 790575"/>
                  <a:gd name="connsiteX13" fmla="*/ 403563 w 571500"/>
                  <a:gd name="connsiteY13" fmla="*/ 68008 h 790575"/>
                  <a:gd name="connsiteX14" fmla="*/ 373178 w 571500"/>
                  <a:gd name="connsiteY14" fmla="*/ 54769 h 790575"/>
                  <a:gd name="connsiteX15" fmla="*/ 345079 w 571500"/>
                  <a:gd name="connsiteY15" fmla="*/ 7144 h 790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71500" h="790575">
                    <a:moveTo>
                      <a:pt x="172391" y="18193"/>
                    </a:moveTo>
                    <a:lnTo>
                      <a:pt x="143816" y="56960"/>
                    </a:lnTo>
                    <a:lnTo>
                      <a:pt x="59996" y="94393"/>
                    </a:lnTo>
                    <a:lnTo>
                      <a:pt x="47994" y="436626"/>
                    </a:lnTo>
                    <a:lnTo>
                      <a:pt x="14752" y="644652"/>
                    </a:lnTo>
                    <a:cubicBezTo>
                      <a:pt x="14752" y="644652"/>
                      <a:pt x="560" y="755999"/>
                      <a:pt x="10942" y="772287"/>
                    </a:cubicBezTo>
                    <a:cubicBezTo>
                      <a:pt x="16053" y="780271"/>
                      <a:pt x="22888" y="787009"/>
                      <a:pt x="30945" y="792004"/>
                    </a:cubicBezTo>
                    <a:lnTo>
                      <a:pt x="491574" y="745522"/>
                    </a:lnTo>
                    <a:lnTo>
                      <a:pt x="498622" y="741236"/>
                    </a:lnTo>
                    <a:cubicBezTo>
                      <a:pt x="520947" y="727866"/>
                      <a:pt x="533587" y="702845"/>
                      <a:pt x="531103" y="676942"/>
                    </a:cubicBezTo>
                    <a:lnTo>
                      <a:pt x="499860" y="352044"/>
                    </a:lnTo>
                    <a:lnTo>
                      <a:pt x="545104" y="233458"/>
                    </a:lnTo>
                    <a:lnTo>
                      <a:pt x="564631" y="136970"/>
                    </a:lnTo>
                    <a:lnTo>
                      <a:pt x="403563" y="68008"/>
                    </a:lnTo>
                    <a:lnTo>
                      <a:pt x="373178" y="54769"/>
                    </a:lnTo>
                    <a:lnTo>
                      <a:pt x="345079" y="7144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6" name="Полилиния: фигура 405">
                <a:extLst>
                  <a:ext uri="{FF2B5EF4-FFF2-40B4-BE49-F238E27FC236}">
                    <a16:creationId xmlns:a16="http://schemas.microsoft.com/office/drawing/2014/main" id="{5D3D029A-FE44-48B0-B301-9EC33AB5AA4B}"/>
                  </a:ext>
                </a:extLst>
              </p:cNvPr>
              <p:cNvSpPr/>
              <p:nvPr/>
            </p:nvSpPr>
            <p:spPr>
              <a:xfrm>
                <a:off x="4282549" y="4154874"/>
                <a:ext cx="209550" cy="542925"/>
              </a:xfrm>
              <a:custGeom>
                <a:avLst/>
                <a:gdLst>
                  <a:gd name="connsiteX0" fmla="*/ 100584 w 209550"/>
                  <a:gd name="connsiteY0" fmla="*/ 7144 h 542925"/>
                  <a:gd name="connsiteX1" fmla="*/ 136588 w 209550"/>
                  <a:gd name="connsiteY1" fmla="*/ 82201 h 542925"/>
                  <a:gd name="connsiteX2" fmla="*/ 150495 w 209550"/>
                  <a:gd name="connsiteY2" fmla="*/ 224600 h 542925"/>
                  <a:gd name="connsiteX3" fmla="*/ 203073 w 209550"/>
                  <a:gd name="connsiteY3" fmla="*/ 409575 h 542925"/>
                  <a:gd name="connsiteX4" fmla="*/ 198215 w 209550"/>
                  <a:gd name="connsiteY4" fmla="*/ 426720 h 542925"/>
                  <a:gd name="connsiteX5" fmla="*/ 172498 w 209550"/>
                  <a:gd name="connsiteY5" fmla="*/ 509968 h 542925"/>
                  <a:gd name="connsiteX6" fmla="*/ 111252 w 209550"/>
                  <a:gd name="connsiteY6" fmla="*/ 541877 h 542925"/>
                  <a:gd name="connsiteX7" fmla="*/ 7144 w 209550"/>
                  <a:gd name="connsiteY7" fmla="*/ 495300 h 542925"/>
                  <a:gd name="connsiteX8" fmla="*/ 31718 w 209550"/>
                  <a:gd name="connsiteY8" fmla="*/ 393097 h 542925"/>
                  <a:gd name="connsiteX9" fmla="*/ 35814 w 209550"/>
                  <a:gd name="connsiteY9" fmla="*/ 221647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9550" h="542925">
                    <a:moveTo>
                      <a:pt x="100584" y="7144"/>
                    </a:moveTo>
                    <a:cubicBezTo>
                      <a:pt x="117144" y="29709"/>
                      <a:pt x="129354" y="55162"/>
                      <a:pt x="136588" y="82201"/>
                    </a:cubicBezTo>
                    <a:cubicBezTo>
                      <a:pt x="148876" y="127540"/>
                      <a:pt x="150495" y="224600"/>
                      <a:pt x="150495" y="224600"/>
                    </a:cubicBezTo>
                    <a:cubicBezTo>
                      <a:pt x="150495" y="224600"/>
                      <a:pt x="207645" y="392430"/>
                      <a:pt x="203073" y="409575"/>
                    </a:cubicBezTo>
                    <a:lnTo>
                      <a:pt x="198215" y="426720"/>
                    </a:lnTo>
                    <a:cubicBezTo>
                      <a:pt x="198215" y="426720"/>
                      <a:pt x="204311" y="489204"/>
                      <a:pt x="172498" y="509968"/>
                    </a:cubicBezTo>
                    <a:cubicBezTo>
                      <a:pt x="140684" y="530733"/>
                      <a:pt x="151352" y="540449"/>
                      <a:pt x="111252" y="541877"/>
                    </a:cubicBezTo>
                    <a:cubicBezTo>
                      <a:pt x="71152" y="543306"/>
                      <a:pt x="7144" y="495300"/>
                      <a:pt x="7144" y="495300"/>
                    </a:cubicBezTo>
                    <a:lnTo>
                      <a:pt x="31718" y="393097"/>
                    </a:lnTo>
                    <a:lnTo>
                      <a:pt x="35814" y="221647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7" name="Полилиния: фигура 406">
                <a:extLst>
                  <a:ext uri="{FF2B5EF4-FFF2-40B4-BE49-F238E27FC236}">
                    <a16:creationId xmlns:a16="http://schemas.microsoft.com/office/drawing/2014/main" id="{35803A3C-014E-41A7-951B-C2C0F2DA672E}"/>
                  </a:ext>
                </a:extLst>
              </p:cNvPr>
              <p:cNvSpPr/>
              <p:nvPr/>
            </p:nvSpPr>
            <p:spPr>
              <a:xfrm>
                <a:off x="3836303" y="4443786"/>
                <a:ext cx="161925" cy="209550"/>
              </a:xfrm>
              <a:custGeom>
                <a:avLst/>
                <a:gdLst>
                  <a:gd name="connsiteX0" fmla="*/ 7144 w 161925"/>
                  <a:gd name="connsiteY0" fmla="*/ 206102 h 209550"/>
                  <a:gd name="connsiteX1" fmla="*/ 18002 w 161925"/>
                  <a:gd name="connsiteY1" fmla="*/ 200197 h 209550"/>
                  <a:gd name="connsiteX2" fmla="*/ 48482 w 161925"/>
                  <a:gd name="connsiteY2" fmla="*/ 185433 h 209550"/>
                  <a:gd name="connsiteX3" fmla="*/ 152686 w 161925"/>
                  <a:gd name="connsiteY3" fmla="*/ 136665 h 209550"/>
                  <a:gd name="connsiteX4" fmla="*/ 151352 w 161925"/>
                  <a:gd name="connsiteY4" fmla="*/ 139427 h 209550"/>
                  <a:gd name="connsiteX5" fmla="*/ 142589 w 161925"/>
                  <a:gd name="connsiteY5" fmla="*/ 102471 h 209550"/>
                  <a:gd name="connsiteX6" fmla="*/ 121158 w 161925"/>
                  <a:gd name="connsiteY6" fmla="*/ 9888 h 209550"/>
                  <a:gd name="connsiteX7" fmla="*/ 124111 w 161925"/>
                  <a:gd name="connsiteY7" fmla="*/ 11411 h 209550"/>
                  <a:gd name="connsiteX8" fmla="*/ 53530 w 161925"/>
                  <a:gd name="connsiteY8" fmla="*/ 38272 h 209550"/>
                  <a:gd name="connsiteX9" fmla="*/ 33528 w 161925"/>
                  <a:gd name="connsiteY9" fmla="*/ 45416 h 209550"/>
                  <a:gd name="connsiteX10" fmla="*/ 26289 w 161925"/>
                  <a:gd name="connsiteY10" fmla="*/ 47606 h 209550"/>
                  <a:gd name="connsiteX11" fmla="*/ 33051 w 161925"/>
                  <a:gd name="connsiteY11" fmla="*/ 44177 h 209550"/>
                  <a:gd name="connsiteX12" fmla="*/ 52102 w 161925"/>
                  <a:gd name="connsiteY12" fmla="*/ 35891 h 209550"/>
                  <a:gd name="connsiteX13" fmla="*/ 122015 w 161925"/>
                  <a:gd name="connsiteY13" fmla="*/ 7316 h 209550"/>
                  <a:gd name="connsiteX14" fmla="*/ 124873 w 161925"/>
                  <a:gd name="connsiteY14" fmla="*/ 8459 h 209550"/>
                  <a:gd name="connsiteX15" fmla="*/ 124873 w 161925"/>
                  <a:gd name="connsiteY15" fmla="*/ 8459 h 209550"/>
                  <a:gd name="connsiteX16" fmla="*/ 146875 w 161925"/>
                  <a:gd name="connsiteY16" fmla="*/ 100851 h 209550"/>
                  <a:gd name="connsiteX17" fmla="*/ 155543 w 161925"/>
                  <a:gd name="connsiteY17" fmla="*/ 137808 h 209550"/>
                  <a:gd name="connsiteX18" fmla="*/ 154114 w 161925"/>
                  <a:gd name="connsiteY18" fmla="*/ 140570 h 209550"/>
                  <a:gd name="connsiteX19" fmla="*/ 49339 w 161925"/>
                  <a:gd name="connsiteY19" fmla="*/ 188196 h 209550"/>
                  <a:gd name="connsiteX20" fmla="*/ 18193 w 161925"/>
                  <a:gd name="connsiteY20" fmla="*/ 201626 h 209550"/>
                  <a:gd name="connsiteX21" fmla="*/ 7144 w 161925"/>
                  <a:gd name="connsiteY21" fmla="*/ 206102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61925" h="209550">
                    <a:moveTo>
                      <a:pt x="7144" y="206102"/>
                    </a:moveTo>
                    <a:cubicBezTo>
                      <a:pt x="10564" y="203789"/>
                      <a:pt x="14201" y="201811"/>
                      <a:pt x="18002" y="200197"/>
                    </a:cubicBezTo>
                    <a:lnTo>
                      <a:pt x="48482" y="185433"/>
                    </a:lnTo>
                    <a:cubicBezTo>
                      <a:pt x="74486" y="172955"/>
                      <a:pt x="110966" y="155906"/>
                      <a:pt x="152686" y="136665"/>
                    </a:cubicBezTo>
                    <a:lnTo>
                      <a:pt x="151352" y="139427"/>
                    </a:lnTo>
                    <a:cubicBezTo>
                      <a:pt x="148495" y="127426"/>
                      <a:pt x="145637" y="115139"/>
                      <a:pt x="142589" y="102471"/>
                    </a:cubicBezTo>
                    <a:cubicBezTo>
                      <a:pt x="134779" y="68847"/>
                      <a:pt x="127540" y="37224"/>
                      <a:pt x="121158" y="9888"/>
                    </a:cubicBezTo>
                    <a:lnTo>
                      <a:pt x="124111" y="11411"/>
                    </a:lnTo>
                    <a:lnTo>
                      <a:pt x="53530" y="38272"/>
                    </a:lnTo>
                    <a:lnTo>
                      <a:pt x="33528" y="45416"/>
                    </a:lnTo>
                    <a:cubicBezTo>
                      <a:pt x="31199" y="46399"/>
                      <a:pt x="28772" y="47134"/>
                      <a:pt x="26289" y="47606"/>
                    </a:cubicBezTo>
                    <a:cubicBezTo>
                      <a:pt x="28374" y="46157"/>
                      <a:pt x="30650" y="45003"/>
                      <a:pt x="33051" y="44177"/>
                    </a:cubicBezTo>
                    <a:lnTo>
                      <a:pt x="52102" y="35891"/>
                    </a:lnTo>
                    <a:lnTo>
                      <a:pt x="122015" y="7316"/>
                    </a:lnTo>
                    <a:cubicBezTo>
                      <a:pt x="123120" y="6851"/>
                      <a:pt x="124393" y="7360"/>
                      <a:pt x="124873" y="8459"/>
                    </a:cubicBezTo>
                    <a:lnTo>
                      <a:pt x="124873" y="8459"/>
                    </a:lnTo>
                    <a:lnTo>
                      <a:pt x="146875" y="100851"/>
                    </a:lnTo>
                    <a:cubicBezTo>
                      <a:pt x="149828" y="113519"/>
                      <a:pt x="152686" y="125902"/>
                      <a:pt x="155543" y="137808"/>
                    </a:cubicBezTo>
                    <a:cubicBezTo>
                      <a:pt x="155777" y="138950"/>
                      <a:pt x="155182" y="140101"/>
                      <a:pt x="154114" y="140570"/>
                    </a:cubicBezTo>
                    <a:cubicBezTo>
                      <a:pt x="112395" y="159621"/>
                      <a:pt x="75629" y="176194"/>
                      <a:pt x="49339" y="188196"/>
                    </a:cubicBezTo>
                    <a:lnTo>
                      <a:pt x="18193" y="201626"/>
                    </a:lnTo>
                    <a:cubicBezTo>
                      <a:pt x="14648" y="203439"/>
                      <a:pt x="10951" y="204937"/>
                      <a:pt x="7144" y="20610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8" name="Полилиния: фигура 407">
                <a:extLst>
                  <a:ext uri="{FF2B5EF4-FFF2-40B4-BE49-F238E27FC236}">
                    <a16:creationId xmlns:a16="http://schemas.microsoft.com/office/drawing/2014/main" id="{55230DCD-5E6D-48DC-9C3A-748E576EC11B}"/>
                  </a:ext>
                </a:extLst>
              </p:cNvPr>
              <p:cNvSpPr/>
              <p:nvPr/>
            </p:nvSpPr>
            <p:spPr>
              <a:xfrm>
                <a:off x="3862534" y="4287843"/>
                <a:ext cx="28575" cy="200025"/>
              </a:xfrm>
              <a:custGeom>
                <a:avLst/>
                <a:gdLst>
                  <a:gd name="connsiteX0" fmla="*/ 24252 w 28575"/>
                  <a:gd name="connsiteY0" fmla="*/ 7144 h 200025"/>
                  <a:gd name="connsiteX1" fmla="*/ 18346 w 28575"/>
                  <a:gd name="connsiteY1" fmla="*/ 104489 h 200025"/>
                  <a:gd name="connsiteX2" fmla="*/ 7487 w 28575"/>
                  <a:gd name="connsiteY2" fmla="*/ 201359 h 200025"/>
                  <a:gd name="connsiteX3" fmla="*/ 13393 w 28575"/>
                  <a:gd name="connsiteY3" fmla="*/ 104013 h 200025"/>
                  <a:gd name="connsiteX4" fmla="*/ 24252 w 28575"/>
                  <a:gd name="connsiteY4" fmla="*/ 7144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00025">
                    <a:moveTo>
                      <a:pt x="24252" y="7144"/>
                    </a:moveTo>
                    <a:cubicBezTo>
                      <a:pt x="25585" y="7144"/>
                      <a:pt x="22918" y="50768"/>
                      <a:pt x="18346" y="104489"/>
                    </a:cubicBezTo>
                    <a:cubicBezTo>
                      <a:pt x="16443" y="136948"/>
                      <a:pt x="12819" y="169284"/>
                      <a:pt x="7487" y="201359"/>
                    </a:cubicBezTo>
                    <a:cubicBezTo>
                      <a:pt x="6154" y="201359"/>
                      <a:pt x="8821" y="157639"/>
                      <a:pt x="13393" y="104013"/>
                    </a:cubicBezTo>
                    <a:cubicBezTo>
                      <a:pt x="15288" y="71553"/>
                      <a:pt x="18913" y="39218"/>
                      <a:pt x="24252" y="71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9" name="Полилиния: фигура 408">
                <a:extLst>
                  <a:ext uri="{FF2B5EF4-FFF2-40B4-BE49-F238E27FC236}">
                    <a16:creationId xmlns:a16="http://schemas.microsoft.com/office/drawing/2014/main" id="{BB0A9152-56A6-4F5F-8750-4231D8CE2BE9}"/>
                  </a:ext>
                </a:extLst>
              </p:cNvPr>
              <p:cNvSpPr/>
              <p:nvPr/>
            </p:nvSpPr>
            <p:spPr>
              <a:xfrm>
                <a:off x="3956318" y="4077627"/>
                <a:ext cx="114300" cy="85725"/>
              </a:xfrm>
              <a:custGeom>
                <a:avLst/>
                <a:gdLst>
                  <a:gd name="connsiteX0" fmla="*/ 111728 w 114300"/>
                  <a:gd name="connsiteY0" fmla="*/ 34480 h 85725"/>
                  <a:gd name="connsiteX1" fmla="*/ 88583 w 114300"/>
                  <a:gd name="connsiteY1" fmla="*/ 77629 h 85725"/>
                  <a:gd name="connsiteX2" fmla="*/ 87249 w 114300"/>
                  <a:gd name="connsiteY2" fmla="*/ 80391 h 85725"/>
                  <a:gd name="connsiteX3" fmla="*/ 84963 w 114300"/>
                  <a:gd name="connsiteY3" fmla="*/ 78391 h 85725"/>
                  <a:gd name="connsiteX4" fmla="*/ 63723 w 114300"/>
                  <a:gd name="connsiteY4" fmla="*/ 59912 h 85725"/>
                  <a:gd name="connsiteX5" fmla="*/ 23051 w 114300"/>
                  <a:gd name="connsiteY5" fmla="*/ 23336 h 85725"/>
                  <a:gd name="connsiteX6" fmla="*/ 7144 w 114300"/>
                  <a:gd name="connsiteY6" fmla="*/ 7144 h 85725"/>
                  <a:gd name="connsiteX7" fmla="*/ 25337 w 114300"/>
                  <a:gd name="connsiteY7" fmla="*/ 20669 h 85725"/>
                  <a:gd name="connsiteX8" fmla="*/ 66961 w 114300"/>
                  <a:gd name="connsiteY8" fmla="*/ 56197 h 85725"/>
                  <a:gd name="connsiteX9" fmla="*/ 88011 w 114300"/>
                  <a:gd name="connsiteY9" fmla="*/ 75247 h 85725"/>
                  <a:gd name="connsiteX10" fmla="*/ 84392 w 114300"/>
                  <a:gd name="connsiteY10" fmla="*/ 76009 h 85725"/>
                  <a:gd name="connsiteX11" fmla="*/ 102584 w 114300"/>
                  <a:gd name="connsiteY11" fmla="*/ 45339 h 85725"/>
                  <a:gd name="connsiteX12" fmla="*/ 111728 w 114300"/>
                  <a:gd name="connsiteY12" fmla="*/ 34480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300" h="85725">
                    <a:moveTo>
                      <a:pt x="111728" y="34480"/>
                    </a:moveTo>
                    <a:cubicBezTo>
                      <a:pt x="112776" y="35242"/>
                      <a:pt x="100394" y="51530"/>
                      <a:pt x="88583" y="77629"/>
                    </a:cubicBezTo>
                    <a:lnTo>
                      <a:pt x="87249" y="80391"/>
                    </a:lnTo>
                    <a:lnTo>
                      <a:pt x="84963" y="78391"/>
                    </a:lnTo>
                    <a:lnTo>
                      <a:pt x="63723" y="59912"/>
                    </a:lnTo>
                    <a:cubicBezTo>
                      <a:pt x="47625" y="45815"/>
                      <a:pt x="33242" y="32861"/>
                      <a:pt x="23051" y="23336"/>
                    </a:cubicBezTo>
                    <a:cubicBezTo>
                      <a:pt x="17220" y="18485"/>
                      <a:pt x="11891" y="13060"/>
                      <a:pt x="7144" y="7144"/>
                    </a:cubicBezTo>
                    <a:cubicBezTo>
                      <a:pt x="13725" y="10912"/>
                      <a:pt x="19832" y="15453"/>
                      <a:pt x="25337" y="20669"/>
                    </a:cubicBezTo>
                    <a:cubicBezTo>
                      <a:pt x="36195" y="29623"/>
                      <a:pt x="50864" y="42100"/>
                      <a:pt x="66961" y="56197"/>
                    </a:cubicBezTo>
                    <a:lnTo>
                      <a:pt x="88011" y="75247"/>
                    </a:lnTo>
                    <a:lnTo>
                      <a:pt x="84392" y="76009"/>
                    </a:lnTo>
                    <a:cubicBezTo>
                      <a:pt x="89515" y="65256"/>
                      <a:pt x="95604" y="54991"/>
                      <a:pt x="102584" y="45339"/>
                    </a:cubicBezTo>
                    <a:cubicBezTo>
                      <a:pt x="105018" y="41243"/>
                      <a:pt x="108107" y="37575"/>
                      <a:pt x="111728" y="3448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0" name="Полилиния: фигура 409">
                <a:extLst>
                  <a:ext uri="{FF2B5EF4-FFF2-40B4-BE49-F238E27FC236}">
                    <a16:creationId xmlns:a16="http://schemas.microsoft.com/office/drawing/2014/main" id="{8F1649C4-DF48-4B80-AF89-131FBD43CE33}"/>
                  </a:ext>
                </a:extLst>
              </p:cNvPr>
              <p:cNvSpPr/>
              <p:nvPr/>
            </p:nvSpPr>
            <p:spPr>
              <a:xfrm>
                <a:off x="4067284" y="4105821"/>
                <a:ext cx="47625" cy="57150"/>
              </a:xfrm>
              <a:custGeom>
                <a:avLst/>
                <a:gdLst>
                  <a:gd name="connsiteX0" fmla="*/ 40767 w 47625"/>
                  <a:gd name="connsiteY0" fmla="*/ 50197 h 57150"/>
                  <a:gd name="connsiteX1" fmla="*/ 20574 w 47625"/>
                  <a:gd name="connsiteY1" fmla="*/ 31147 h 57150"/>
                  <a:gd name="connsiteX2" fmla="*/ 7144 w 47625"/>
                  <a:gd name="connsiteY2" fmla="*/ 7144 h 57150"/>
                  <a:gd name="connsiteX3" fmla="*/ 40767 w 47625"/>
                  <a:gd name="connsiteY3" fmla="*/ 49816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57150">
                    <a:moveTo>
                      <a:pt x="40767" y="50197"/>
                    </a:moveTo>
                    <a:cubicBezTo>
                      <a:pt x="32573" y="45603"/>
                      <a:pt x="25637" y="39060"/>
                      <a:pt x="20574" y="31147"/>
                    </a:cubicBezTo>
                    <a:cubicBezTo>
                      <a:pt x="14228" y="24345"/>
                      <a:pt x="9621" y="16110"/>
                      <a:pt x="7144" y="7144"/>
                    </a:cubicBezTo>
                    <a:cubicBezTo>
                      <a:pt x="19023" y="20825"/>
                      <a:pt x="30244" y="35066"/>
                      <a:pt x="40767" y="4981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1" name="Полилиния: фигура 410">
                <a:extLst>
                  <a:ext uri="{FF2B5EF4-FFF2-40B4-BE49-F238E27FC236}">
                    <a16:creationId xmlns:a16="http://schemas.microsoft.com/office/drawing/2014/main" id="{A41195E5-F329-4C7F-8720-E33E0C7DFF26}"/>
                  </a:ext>
                </a:extLst>
              </p:cNvPr>
              <p:cNvSpPr/>
              <p:nvPr/>
            </p:nvSpPr>
            <p:spPr>
              <a:xfrm>
                <a:off x="4099288" y="4072197"/>
                <a:ext cx="95250" cy="85725"/>
              </a:xfrm>
              <a:custGeom>
                <a:avLst/>
                <a:gdLst>
                  <a:gd name="connsiteX0" fmla="*/ 89726 w 95250"/>
                  <a:gd name="connsiteY0" fmla="*/ 7144 h 85725"/>
                  <a:gd name="connsiteX1" fmla="*/ 50102 w 95250"/>
                  <a:gd name="connsiteY1" fmla="*/ 47054 h 85725"/>
                  <a:gd name="connsiteX2" fmla="*/ 7144 w 95250"/>
                  <a:gd name="connsiteY2" fmla="*/ 83249 h 85725"/>
                  <a:gd name="connsiteX3" fmla="*/ 46768 w 95250"/>
                  <a:gd name="connsiteY3" fmla="*/ 43339 h 85725"/>
                  <a:gd name="connsiteX4" fmla="*/ 89726 w 95250"/>
                  <a:gd name="connsiteY4" fmla="*/ 7144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250" h="85725">
                    <a:moveTo>
                      <a:pt x="89726" y="7144"/>
                    </a:moveTo>
                    <a:cubicBezTo>
                      <a:pt x="77744" y="21611"/>
                      <a:pt x="64483" y="34969"/>
                      <a:pt x="50102" y="47054"/>
                    </a:cubicBezTo>
                    <a:cubicBezTo>
                      <a:pt x="36855" y="60337"/>
                      <a:pt x="22482" y="72448"/>
                      <a:pt x="7144" y="83249"/>
                    </a:cubicBezTo>
                    <a:cubicBezTo>
                      <a:pt x="19125" y="68781"/>
                      <a:pt x="32387" y="55424"/>
                      <a:pt x="46768" y="43339"/>
                    </a:cubicBezTo>
                    <a:cubicBezTo>
                      <a:pt x="60014" y="30055"/>
                      <a:pt x="74387" y="17944"/>
                      <a:pt x="89726" y="71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2" name="Полилиния: фигура 411">
                <a:extLst>
                  <a:ext uri="{FF2B5EF4-FFF2-40B4-BE49-F238E27FC236}">
                    <a16:creationId xmlns:a16="http://schemas.microsoft.com/office/drawing/2014/main" id="{C5DCA4BE-6FBB-4132-8276-8A0FABE21EDB}"/>
                  </a:ext>
                </a:extLst>
              </p:cNvPr>
              <p:cNvSpPr/>
              <p:nvPr/>
            </p:nvSpPr>
            <p:spPr>
              <a:xfrm>
                <a:off x="4304235" y="4275175"/>
                <a:ext cx="19050" cy="180975"/>
              </a:xfrm>
              <a:custGeom>
                <a:avLst/>
                <a:gdLst>
                  <a:gd name="connsiteX0" fmla="*/ 17176 w 19050"/>
                  <a:gd name="connsiteY0" fmla="*/ 7144 h 180975"/>
                  <a:gd name="connsiteX1" fmla="*/ 14795 w 19050"/>
                  <a:gd name="connsiteY1" fmla="*/ 91916 h 180975"/>
                  <a:gd name="connsiteX2" fmla="*/ 7460 w 19050"/>
                  <a:gd name="connsiteY2" fmla="*/ 176403 h 180975"/>
                  <a:gd name="connsiteX3" fmla="*/ 9842 w 19050"/>
                  <a:gd name="connsiteY3" fmla="*/ 91630 h 180975"/>
                  <a:gd name="connsiteX4" fmla="*/ 17176 w 19050"/>
                  <a:gd name="connsiteY4" fmla="*/ 7144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80975">
                    <a:moveTo>
                      <a:pt x="17176" y="7144"/>
                    </a:moveTo>
                    <a:cubicBezTo>
                      <a:pt x="18003" y="35424"/>
                      <a:pt x="17208" y="63728"/>
                      <a:pt x="14795" y="91916"/>
                    </a:cubicBezTo>
                    <a:cubicBezTo>
                      <a:pt x="14046" y="120200"/>
                      <a:pt x="11597" y="148413"/>
                      <a:pt x="7460" y="176403"/>
                    </a:cubicBezTo>
                    <a:cubicBezTo>
                      <a:pt x="6633" y="148123"/>
                      <a:pt x="7428" y="119819"/>
                      <a:pt x="9842" y="91630"/>
                    </a:cubicBezTo>
                    <a:cubicBezTo>
                      <a:pt x="10590" y="63347"/>
                      <a:pt x="13039" y="35133"/>
                      <a:pt x="17176" y="71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3" name="Полилиния: фигура 412">
                <a:extLst>
                  <a:ext uri="{FF2B5EF4-FFF2-40B4-BE49-F238E27FC236}">
                    <a16:creationId xmlns:a16="http://schemas.microsoft.com/office/drawing/2014/main" id="{0D5C5D16-9376-4722-9FB3-E44E77E1F44D}"/>
                  </a:ext>
                </a:extLst>
              </p:cNvPr>
              <p:cNvSpPr/>
              <p:nvPr/>
            </p:nvSpPr>
            <p:spPr>
              <a:xfrm>
                <a:off x="3714669" y="4483677"/>
                <a:ext cx="152400" cy="66675"/>
              </a:xfrm>
              <a:custGeom>
                <a:avLst/>
                <a:gdLst>
                  <a:gd name="connsiteX0" fmla="*/ 148876 w 152400"/>
                  <a:gd name="connsiteY0" fmla="*/ 7144 h 66675"/>
                  <a:gd name="connsiteX1" fmla="*/ 127063 w 152400"/>
                  <a:gd name="connsiteY1" fmla="*/ 13335 h 66675"/>
                  <a:gd name="connsiteX2" fmla="*/ 74104 w 152400"/>
                  <a:gd name="connsiteY2" fmla="*/ 25813 h 66675"/>
                  <a:gd name="connsiteX3" fmla="*/ 25527 w 152400"/>
                  <a:gd name="connsiteY3" fmla="*/ 48482 h 66675"/>
                  <a:gd name="connsiteX4" fmla="*/ 7144 w 152400"/>
                  <a:gd name="connsiteY4" fmla="*/ 61532 h 66675"/>
                  <a:gd name="connsiteX5" fmla="*/ 23527 w 152400"/>
                  <a:gd name="connsiteY5" fmla="*/ 45720 h 66675"/>
                  <a:gd name="connsiteX6" fmla="*/ 72676 w 152400"/>
                  <a:gd name="connsiteY6" fmla="*/ 21050 h 66675"/>
                  <a:gd name="connsiteX7" fmla="*/ 126397 w 152400"/>
                  <a:gd name="connsiteY7" fmla="*/ 9906 h 66675"/>
                  <a:gd name="connsiteX8" fmla="*/ 148876 w 152400"/>
                  <a:gd name="connsiteY8" fmla="*/ 7144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66675">
                    <a:moveTo>
                      <a:pt x="148876" y="7144"/>
                    </a:moveTo>
                    <a:cubicBezTo>
                      <a:pt x="141889" y="10103"/>
                      <a:pt x="134562" y="12183"/>
                      <a:pt x="127063" y="13335"/>
                    </a:cubicBezTo>
                    <a:cubicBezTo>
                      <a:pt x="113442" y="16574"/>
                      <a:pt x="94392" y="19812"/>
                      <a:pt x="74104" y="25813"/>
                    </a:cubicBezTo>
                    <a:cubicBezTo>
                      <a:pt x="56840" y="30819"/>
                      <a:pt x="40454" y="38466"/>
                      <a:pt x="25527" y="48482"/>
                    </a:cubicBezTo>
                    <a:cubicBezTo>
                      <a:pt x="19683" y="53219"/>
                      <a:pt x="13543" y="57578"/>
                      <a:pt x="7144" y="61532"/>
                    </a:cubicBezTo>
                    <a:cubicBezTo>
                      <a:pt x="11725" y="55420"/>
                      <a:pt x="17257" y="50082"/>
                      <a:pt x="23527" y="45720"/>
                    </a:cubicBezTo>
                    <a:cubicBezTo>
                      <a:pt x="38218" y="34487"/>
                      <a:pt x="54891" y="26119"/>
                      <a:pt x="72676" y="21050"/>
                    </a:cubicBezTo>
                    <a:cubicBezTo>
                      <a:pt x="90326" y="16192"/>
                      <a:pt x="108270" y="12470"/>
                      <a:pt x="126397" y="9906"/>
                    </a:cubicBezTo>
                    <a:cubicBezTo>
                      <a:pt x="133782" y="8254"/>
                      <a:pt x="141311" y="7329"/>
                      <a:pt x="148876" y="71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4" name="Полилиния: фигура 413">
                <a:extLst>
                  <a:ext uri="{FF2B5EF4-FFF2-40B4-BE49-F238E27FC236}">
                    <a16:creationId xmlns:a16="http://schemas.microsoft.com/office/drawing/2014/main" id="{8161C739-F6FF-4A5E-8B24-6D676FB78964}"/>
                  </a:ext>
                </a:extLst>
              </p:cNvPr>
              <p:cNvSpPr/>
              <p:nvPr/>
            </p:nvSpPr>
            <p:spPr>
              <a:xfrm>
                <a:off x="4354838" y="4568083"/>
                <a:ext cx="85725" cy="57150"/>
              </a:xfrm>
              <a:custGeom>
                <a:avLst/>
                <a:gdLst>
                  <a:gd name="connsiteX0" fmla="*/ 82016 w 85725"/>
                  <a:gd name="connsiteY0" fmla="*/ 53136 h 57150"/>
                  <a:gd name="connsiteX1" fmla="*/ 75539 w 85725"/>
                  <a:gd name="connsiteY1" fmla="*/ 40753 h 57150"/>
                  <a:gd name="connsiteX2" fmla="*/ 20960 w 85725"/>
                  <a:gd name="connsiteY2" fmla="*/ 11225 h 57150"/>
                  <a:gd name="connsiteX3" fmla="*/ 7149 w 85725"/>
                  <a:gd name="connsiteY3" fmla="*/ 12464 h 57150"/>
                  <a:gd name="connsiteX4" fmla="*/ 20675 w 85725"/>
                  <a:gd name="connsiteY4" fmla="*/ 7701 h 57150"/>
                  <a:gd name="connsiteX5" fmla="*/ 54869 w 85725"/>
                  <a:gd name="connsiteY5" fmla="*/ 13892 h 57150"/>
                  <a:gd name="connsiteX6" fmla="*/ 78586 w 85725"/>
                  <a:gd name="connsiteY6" fmla="*/ 39134 h 57150"/>
                  <a:gd name="connsiteX7" fmla="*/ 82015 w 85725"/>
                  <a:gd name="connsiteY7" fmla="*/ 53135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5725" h="57150">
                    <a:moveTo>
                      <a:pt x="82016" y="53136"/>
                    </a:moveTo>
                    <a:cubicBezTo>
                      <a:pt x="81254" y="53136"/>
                      <a:pt x="79825" y="48087"/>
                      <a:pt x="75539" y="40753"/>
                    </a:cubicBezTo>
                    <a:cubicBezTo>
                      <a:pt x="64482" y="21292"/>
                      <a:pt x="43300" y="9832"/>
                      <a:pt x="20960" y="11225"/>
                    </a:cubicBezTo>
                    <a:cubicBezTo>
                      <a:pt x="12579" y="11225"/>
                      <a:pt x="7340" y="13226"/>
                      <a:pt x="7149" y="12464"/>
                    </a:cubicBezTo>
                    <a:cubicBezTo>
                      <a:pt x="6959" y="11702"/>
                      <a:pt x="11721" y="9035"/>
                      <a:pt x="20675" y="7701"/>
                    </a:cubicBezTo>
                    <a:cubicBezTo>
                      <a:pt x="32442" y="6012"/>
                      <a:pt x="44441" y="8185"/>
                      <a:pt x="54869" y="13892"/>
                    </a:cubicBezTo>
                    <a:cubicBezTo>
                      <a:pt x="65260" y="19568"/>
                      <a:pt x="73568" y="28410"/>
                      <a:pt x="78586" y="39134"/>
                    </a:cubicBezTo>
                    <a:cubicBezTo>
                      <a:pt x="81131" y="43342"/>
                      <a:pt x="82328" y="48228"/>
                      <a:pt x="82015" y="53135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5" name="Полилиния: фигура 414">
                <a:extLst>
                  <a:ext uri="{FF2B5EF4-FFF2-40B4-BE49-F238E27FC236}">
                    <a16:creationId xmlns:a16="http://schemas.microsoft.com/office/drawing/2014/main" id="{232CDBE4-0EB4-4F9D-8E8C-8933CEA3C3F9}"/>
                  </a:ext>
                </a:extLst>
              </p:cNvPr>
              <p:cNvSpPr/>
              <p:nvPr/>
            </p:nvSpPr>
            <p:spPr>
              <a:xfrm>
                <a:off x="4282549" y="4637471"/>
                <a:ext cx="161925" cy="66675"/>
              </a:xfrm>
              <a:custGeom>
                <a:avLst/>
                <a:gdLst>
                  <a:gd name="connsiteX0" fmla="*/ 159353 w 161925"/>
                  <a:gd name="connsiteY0" fmla="*/ 37182 h 66675"/>
                  <a:gd name="connsiteX1" fmla="*/ 139636 w 161925"/>
                  <a:gd name="connsiteY1" fmla="*/ 53375 h 66675"/>
                  <a:gd name="connsiteX2" fmla="*/ 78391 w 161925"/>
                  <a:gd name="connsiteY2" fmla="*/ 56328 h 66675"/>
                  <a:gd name="connsiteX3" fmla="*/ 25241 w 161925"/>
                  <a:gd name="connsiteY3" fmla="*/ 25086 h 66675"/>
                  <a:gd name="connsiteX4" fmla="*/ 7144 w 161925"/>
                  <a:gd name="connsiteY4" fmla="*/ 7179 h 66675"/>
                  <a:gd name="connsiteX5" fmla="*/ 27432 w 161925"/>
                  <a:gd name="connsiteY5" fmla="*/ 22324 h 66675"/>
                  <a:gd name="connsiteX6" fmla="*/ 79915 w 161925"/>
                  <a:gd name="connsiteY6" fmla="*/ 51565 h 66675"/>
                  <a:gd name="connsiteX7" fmla="*/ 138208 w 161925"/>
                  <a:gd name="connsiteY7" fmla="*/ 50137 h 66675"/>
                  <a:gd name="connsiteX8" fmla="*/ 159353 w 161925"/>
                  <a:gd name="connsiteY8" fmla="*/ 37183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1925" h="66675">
                    <a:moveTo>
                      <a:pt x="159353" y="37182"/>
                    </a:moveTo>
                    <a:cubicBezTo>
                      <a:pt x="154779" y="44635"/>
                      <a:pt x="147836" y="50337"/>
                      <a:pt x="139636" y="53375"/>
                    </a:cubicBezTo>
                    <a:cubicBezTo>
                      <a:pt x="120322" y="62041"/>
                      <a:pt x="98449" y="63095"/>
                      <a:pt x="78391" y="56328"/>
                    </a:cubicBezTo>
                    <a:cubicBezTo>
                      <a:pt x="58949" y="49175"/>
                      <a:pt x="40948" y="38593"/>
                      <a:pt x="25241" y="25086"/>
                    </a:cubicBezTo>
                    <a:cubicBezTo>
                      <a:pt x="18351" y="20051"/>
                      <a:pt x="12251" y="14015"/>
                      <a:pt x="7144" y="7179"/>
                    </a:cubicBezTo>
                    <a:cubicBezTo>
                      <a:pt x="7144" y="6607"/>
                      <a:pt x="14859" y="13084"/>
                      <a:pt x="27432" y="22324"/>
                    </a:cubicBezTo>
                    <a:cubicBezTo>
                      <a:pt x="43372" y="34631"/>
                      <a:pt x="61061" y="44487"/>
                      <a:pt x="79915" y="51565"/>
                    </a:cubicBezTo>
                    <a:cubicBezTo>
                      <a:pt x="98916" y="57915"/>
                      <a:pt x="119541" y="57410"/>
                      <a:pt x="138208" y="50137"/>
                    </a:cubicBezTo>
                    <a:cubicBezTo>
                      <a:pt x="145820" y="46815"/>
                      <a:pt x="152936" y="42455"/>
                      <a:pt x="159353" y="3718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6" name="Полилиния: фигура 415">
                <a:extLst>
                  <a:ext uri="{FF2B5EF4-FFF2-40B4-BE49-F238E27FC236}">
                    <a16:creationId xmlns:a16="http://schemas.microsoft.com/office/drawing/2014/main" id="{0F231757-8A8D-4FE9-A0DB-52F76C2E0842}"/>
                  </a:ext>
                </a:extLst>
              </p:cNvPr>
              <p:cNvSpPr/>
              <p:nvPr/>
            </p:nvSpPr>
            <p:spPr>
              <a:xfrm>
                <a:off x="3802489" y="4168019"/>
                <a:ext cx="85725" cy="104775"/>
              </a:xfrm>
              <a:custGeom>
                <a:avLst/>
                <a:gdLst>
                  <a:gd name="connsiteX0" fmla="*/ 80581 w 85725"/>
                  <a:gd name="connsiteY0" fmla="*/ 103060 h 104775"/>
                  <a:gd name="connsiteX1" fmla="*/ 75819 w 85725"/>
                  <a:gd name="connsiteY1" fmla="*/ 85154 h 104775"/>
                  <a:gd name="connsiteX2" fmla="*/ 23241 w 85725"/>
                  <a:gd name="connsiteY2" fmla="*/ 16669 h 104775"/>
                  <a:gd name="connsiteX3" fmla="*/ 7144 w 85725"/>
                  <a:gd name="connsiteY3" fmla="*/ 7144 h 104775"/>
                  <a:gd name="connsiteX4" fmla="*/ 24955 w 85725"/>
                  <a:gd name="connsiteY4" fmla="*/ 13430 h 104775"/>
                  <a:gd name="connsiteX5" fmla="*/ 59722 w 85725"/>
                  <a:gd name="connsiteY5" fmla="*/ 42863 h 104775"/>
                  <a:gd name="connsiteX6" fmla="*/ 78772 w 85725"/>
                  <a:gd name="connsiteY6" fmla="*/ 84106 h 104775"/>
                  <a:gd name="connsiteX7" fmla="*/ 80581 w 85725"/>
                  <a:gd name="connsiteY7" fmla="*/ 103061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5725" h="104775">
                    <a:moveTo>
                      <a:pt x="80581" y="103060"/>
                    </a:moveTo>
                    <a:cubicBezTo>
                      <a:pt x="79819" y="103060"/>
                      <a:pt x="79057" y="96012"/>
                      <a:pt x="75819" y="85154"/>
                    </a:cubicBezTo>
                    <a:cubicBezTo>
                      <a:pt x="67257" y="56664"/>
                      <a:pt x="48552" y="32299"/>
                      <a:pt x="23241" y="16669"/>
                    </a:cubicBezTo>
                    <a:cubicBezTo>
                      <a:pt x="17671" y="13852"/>
                      <a:pt x="12294" y="10670"/>
                      <a:pt x="7144" y="7144"/>
                    </a:cubicBezTo>
                    <a:cubicBezTo>
                      <a:pt x="13451" y="7987"/>
                      <a:pt x="19516" y="10128"/>
                      <a:pt x="24955" y="13430"/>
                    </a:cubicBezTo>
                    <a:cubicBezTo>
                      <a:pt x="38562" y="20573"/>
                      <a:pt x="50432" y="30621"/>
                      <a:pt x="59722" y="42863"/>
                    </a:cubicBezTo>
                    <a:cubicBezTo>
                      <a:pt x="68975" y="55074"/>
                      <a:pt x="75474" y="69144"/>
                      <a:pt x="78772" y="84106"/>
                    </a:cubicBezTo>
                    <a:cubicBezTo>
                      <a:pt x="80773" y="90212"/>
                      <a:pt x="81391" y="96686"/>
                      <a:pt x="80581" y="10306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7" name="Полилиния: фигура 416">
                <a:extLst>
                  <a:ext uri="{FF2B5EF4-FFF2-40B4-BE49-F238E27FC236}">
                    <a16:creationId xmlns:a16="http://schemas.microsoft.com/office/drawing/2014/main" id="{FF711901-4348-4948-9B3F-A0472D600992}"/>
                  </a:ext>
                </a:extLst>
              </p:cNvPr>
              <p:cNvSpPr/>
              <p:nvPr/>
            </p:nvSpPr>
            <p:spPr>
              <a:xfrm>
                <a:off x="4313600" y="4162113"/>
                <a:ext cx="57150" cy="95250"/>
              </a:xfrm>
              <a:custGeom>
                <a:avLst/>
                <a:gdLst>
                  <a:gd name="connsiteX0" fmla="*/ 52388 w 57150"/>
                  <a:gd name="connsiteY0" fmla="*/ 7144 h 95250"/>
                  <a:gd name="connsiteX1" fmla="*/ 28766 w 57150"/>
                  <a:gd name="connsiteY1" fmla="*/ 49149 h 95250"/>
                  <a:gd name="connsiteX2" fmla="*/ 7144 w 57150"/>
                  <a:gd name="connsiteY2" fmla="*/ 92202 h 95250"/>
                  <a:gd name="connsiteX3" fmla="*/ 24384 w 57150"/>
                  <a:gd name="connsiteY3" fmla="*/ 46768 h 95250"/>
                  <a:gd name="connsiteX4" fmla="*/ 52388 w 57150"/>
                  <a:gd name="connsiteY4" fmla="*/ 7144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95250">
                    <a:moveTo>
                      <a:pt x="52388" y="7144"/>
                    </a:moveTo>
                    <a:cubicBezTo>
                      <a:pt x="53626" y="8096"/>
                      <a:pt x="41243" y="25718"/>
                      <a:pt x="28766" y="49149"/>
                    </a:cubicBezTo>
                    <a:cubicBezTo>
                      <a:pt x="16288" y="72581"/>
                      <a:pt x="8477" y="92678"/>
                      <a:pt x="7144" y="92202"/>
                    </a:cubicBezTo>
                    <a:cubicBezTo>
                      <a:pt x="10204" y="76170"/>
                      <a:pt x="16038" y="60795"/>
                      <a:pt x="24384" y="46768"/>
                    </a:cubicBezTo>
                    <a:cubicBezTo>
                      <a:pt x="31376" y="32051"/>
                      <a:pt x="40849" y="18648"/>
                      <a:pt x="52388" y="71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8" name="Полилиния: фигура 417">
                <a:extLst>
                  <a:ext uri="{FF2B5EF4-FFF2-40B4-BE49-F238E27FC236}">
                    <a16:creationId xmlns:a16="http://schemas.microsoft.com/office/drawing/2014/main" id="{F886B0BB-6110-46E5-BF99-E80131A52C63}"/>
                  </a:ext>
                </a:extLst>
              </p:cNvPr>
              <p:cNvSpPr/>
              <p:nvPr/>
            </p:nvSpPr>
            <p:spPr>
              <a:xfrm>
                <a:off x="4066015" y="4118870"/>
                <a:ext cx="28575" cy="666750"/>
              </a:xfrm>
              <a:custGeom>
                <a:avLst/>
                <a:gdLst>
                  <a:gd name="connsiteX0" fmla="*/ 25653 w 28575"/>
                  <a:gd name="connsiteY0" fmla="*/ 667988 h 666750"/>
                  <a:gd name="connsiteX1" fmla="*/ 25177 w 28575"/>
                  <a:gd name="connsiteY1" fmla="*/ 661226 h 666750"/>
                  <a:gd name="connsiteX2" fmla="*/ 24605 w 28575"/>
                  <a:gd name="connsiteY2" fmla="*/ 642176 h 666750"/>
                  <a:gd name="connsiteX3" fmla="*/ 23272 w 28575"/>
                  <a:gd name="connsiteY3" fmla="*/ 571309 h 666750"/>
                  <a:gd name="connsiteX4" fmla="*/ 18033 w 28575"/>
                  <a:gd name="connsiteY4" fmla="*/ 337566 h 666750"/>
                  <a:gd name="connsiteX5" fmla="*/ 10318 w 28575"/>
                  <a:gd name="connsiteY5" fmla="*/ 103823 h 666750"/>
                  <a:gd name="connsiteX6" fmla="*/ 7746 w 28575"/>
                  <a:gd name="connsiteY6" fmla="*/ 32957 h 666750"/>
                  <a:gd name="connsiteX7" fmla="*/ 7270 w 28575"/>
                  <a:gd name="connsiteY7" fmla="*/ 13907 h 666750"/>
                  <a:gd name="connsiteX8" fmla="*/ 7270 w 28575"/>
                  <a:gd name="connsiteY8" fmla="*/ 7144 h 666750"/>
                  <a:gd name="connsiteX9" fmla="*/ 8127 w 28575"/>
                  <a:gd name="connsiteY9" fmla="*/ 13811 h 666750"/>
                  <a:gd name="connsiteX10" fmla="*/ 9556 w 28575"/>
                  <a:gd name="connsiteY10" fmla="*/ 32861 h 666750"/>
                  <a:gd name="connsiteX11" fmla="*/ 13747 w 28575"/>
                  <a:gd name="connsiteY11" fmla="*/ 103632 h 666750"/>
                  <a:gd name="connsiteX12" fmla="*/ 23272 w 28575"/>
                  <a:gd name="connsiteY12" fmla="*/ 337375 h 666750"/>
                  <a:gd name="connsiteX13" fmla="*/ 26987 w 28575"/>
                  <a:gd name="connsiteY13" fmla="*/ 571309 h 666750"/>
                  <a:gd name="connsiteX14" fmla="*/ 26987 w 28575"/>
                  <a:gd name="connsiteY14" fmla="*/ 642176 h 666750"/>
                  <a:gd name="connsiteX15" fmla="*/ 26987 w 28575"/>
                  <a:gd name="connsiteY15" fmla="*/ 661226 h 666750"/>
                  <a:gd name="connsiteX16" fmla="*/ 25653 w 28575"/>
                  <a:gd name="connsiteY16" fmla="*/ 667988 h 666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575" h="666750">
                    <a:moveTo>
                      <a:pt x="25653" y="667988"/>
                    </a:moveTo>
                    <a:cubicBezTo>
                      <a:pt x="25349" y="665746"/>
                      <a:pt x="25190" y="663488"/>
                      <a:pt x="25177" y="661226"/>
                    </a:cubicBezTo>
                    <a:cubicBezTo>
                      <a:pt x="25177" y="656368"/>
                      <a:pt x="25177" y="649986"/>
                      <a:pt x="24605" y="642176"/>
                    </a:cubicBezTo>
                    <a:cubicBezTo>
                      <a:pt x="24605" y="624840"/>
                      <a:pt x="23748" y="600837"/>
                      <a:pt x="23272" y="571309"/>
                    </a:cubicBezTo>
                    <a:cubicBezTo>
                      <a:pt x="22129" y="511492"/>
                      <a:pt x="20509" y="428434"/>
                      <a:pt x="18033" y="337566"/>
                    </a:cubicBezTo>
                    <a:cubicBezTo>
                      <a:pt x="15556" y="246698"/>
                      <a:pt x="12508" y="163640"/>
                      <a:pt x="10318" y="103823"/>
                    </a:cubicBezTo>
                    <a:cubicBezTo>
                      <a:pt x="9270" y="74295"/>
                      <a:pt x="8413" y="50292"/>
                      <a:pt x="7746" y="32957"/>
                    </a:cubicBezTo>
                    <a:cubicBezTo>
                      <a:pt x="7746" y="24956"/>
                      <a:pt x="7746" y="18574"/>
                      <a:pt x="7270" y="13907"/>
                    </a:cubicBezTo>
                    <a:cubicBezTo>
                      <a:pt x="7102" y="11655"/>
                      <a:pt x="7102" y="9395"/>
                      <a:pt x="7270" y="7144"/>
                    </a:cubicBezTo>
                    <a:cubicBezTo>
                      <a:pt x="7795" y="9329"/>
                      <a:pt x="8083" y="11564"/>
                      <a:pt x="8127" y="13811"/>
                    </a:cubicBezTo>
                    <a:cubicBezTo>
                      <a:pt x="8127" y="18669"/>
                      <a:pt x="8984" y="25146"/>
                      <a:pt x="9556" y="32861"/>
                    </a:cubicBezTo>
                    <a:cubicBezTo>
                      <a:pt x="10604" y="50102"/>
                      <a:pt x="12032" y="74200"/>
                      <a:pt x="13747" y="103632"/>
                    </a:cubicBezTo>
                    <a:cubicBezTo>
                      <a:pt x="16890" y="163449"/>
                      <a:pt x="20319" y="246031"/>
                      <a:pt x="23272" y="337375"/>
                    </a:cubicBezTo>
                    <a:cubicBezTo>
                      <a:pt x="26224" y="428720"/>
                      <a:pt x="26891" y="511397"/>
                      <a:pt x="26987" y="571309"/>
                    </a:cubicBezTo>
                    <a:cubicBezTo>
                      <a:pt x="26987" y="600742"/>
                      <a:pt x="26987" y="624840"/>
                      <a:pt x="26987" y="642176"/>
                    </a:cubicBezTo>
                    <a:cubicBezTo>
                      <a:pt x="26987" y="650176"/>
                      <a:pt x="26987" y="656558"/>
                      <a:pt x="26987" y="661226"/>
                    </a:cubicBezTo>
                    <a:cubicBezTo>
                      <a:pt x="26817" y="663525"/>
                      <a:pt x="26369" y="665796"/>
                      <a:pt x="25653" y="667988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9" name="Полилиния: фигура 418">
                <a:extLst>
                  <a:ext uri="{FF2B5EF4-FFF2-40B4-BE49-F238E27FC236}">
                    <a16:creationId xmlns:a16="http://schemas.microsoft.com/office/drawing/2014/main" id="{53BCAFB7-DA7C-4E9C-8500-1BF25C03894A}"/>
                  </a:ext>
                </a:extLst>
              </p:cNvPr>
              <p:cNvSpPr/>
              <p:nvPr/>
            </p:nvSpPr>
            <p:spPr>
              <a:xfrm>
                <a:off x="3960985" y="4082484"/>
                <a:ext cx="104775" cy="114300"/>
              </a:xfrm>
              <a:custGeom>
                <a:avLst/>
                <a:gdLst>
                  <a:gd name="connsiteX0" fmla="*/ 103918 w 104775"/>
                  <a:gd name="connsiteY0" fmla="*/ 36195 h 114300"/>
                  <a:gd name="connsiteX1" fmla="*/ 82201 w 104775"/>
                  <a:gd name="connsiteY1" fmla="*/ 75438 h 114300"/>
                  <a:gd name="connsiteX2" fmla="*/ 7144 w 104775"/>
                  <a:gd name="connsiteY2" fmla="*/ 7144 h 114300"/>
                  <a:gd name="connsiteX3" fmla="*/ 84487 w 104775"/>
                  <a:gd name="connsiteY3" fmla="*/ 114300 h 114300"/>
                  <a:gd name="connsiteX4" fmla="*/ 103918 w 104775"/>
                  <a:gd name="connsiteY4" fmla="*/ 3619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75" h="114300">
                    <a:moveTo>
                      <a:pt x="103918" y="36195"/>
                    </a:moveTo>
                    <a:cubicBezTo>
                      <a:pt x="95522" y="48601"/>
                      <a:pt x="88254" y="61735"/>
                      <a:pt x="82201" y="75438"/>
                    </a:cubicBezTo>
                    <a:cubicBezTo>
                      <a:pt x="56102" y="55245"/>
                      <a:pt x="31432" y="29432"/>
                      <a:pt x="7144" y="7144"/>
                    </a:cubicBezTo>
                    <a:cubicBezTo>
                      <a:pt x="27258" y="46629"/>
                      <a:pt x="53346" y="82773"/>
                      <a:pt x="84487" y="114300"/>
                    </a:cubicBezTo>
                    <a:cubicBezTo>
                      <a:pt x="94878" y="89398"/>
                      <a:pt x="101429" y="63063"/>
                      <a:pt x="103918" y="36195"/>
                    </a:cubicBez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0" name="Полилиния: фигура 419">
                <a:extLst>
                  <a:ext uri="{FF2B5EF4-FFF2-40B4-BE49-F238E27FC236}">
                    <a16:creationId xmlns:a16="http://schemas.microsoft.com/office/drawing/2014/main" id="{84BDFEDF-C775-4FB6-93C4-C274041A5328}"/>
                  </a:ext>
                </a:extLst>
              </p:cNvPr>
              <p:cNvSpPr/>
              <p:nvPr/>
            </p:nvSpPr>
            <p:spPr>
              <a:xfrm>
                <a:off x="4069761" y="4077817"/>
                <a:ext cx="114300" cy="104775"/>
              </a:xfrm>
              <a:custGeom>
                <a:avLst/>
                <a:gdLst>
                  <a:gd name="connsiteX0" fmla="*/ 7144 w 114300"/>
                  <a:gd name="connsiteY0" fmla="*/ 39624 h 104775"/>
                  <a:gd name="connsiteX1" fmla="*/ 36671 w 114300"/>
                  <a:gd name="connsiteY1" fmla="*/ 102394 h 104775"/>
                  <a:gd name="connsiteX2" fmla="*/ 114871 w 114300"/>
                  <a:gd name="connsiteY2" fmla="*/ 7144 h 104775"/>
                  <a:gd name="connsiteX3" fmla="*/ 34576 w 114300"/>
                  <a:gd name="connsiteY3" fmla="*/ 74771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300" h="104775">
                    <a:moveTo>
                      <a:pt x="7144" y="39624"/>
                    </a:moveTo>
                    <a:cubicBezTo>
                      <a:pt x="7144" y="39624"/>
                      <a:pt x="30671" y="96774"/>
                      <a:pt x="36671" y="102394"/>
                    </a:cubicBezTo>
                    <a:cubicBezTo>
                      <a:pt x="42672" y="108013"/>
                      <a:pt x="114871" y="7144"/>
                      <a:pt x="114871" y="7144"/>
                    </a:cubicBezTo>
                    <a:lnTo>
                      <a:pt x="34576" y="74771"/>
                    </a:ln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1" name="Полилиния: фигура 420">
                <a:extLst>
                  <a:ext uri="{FF2B5EF4-FFF2-40B4-BE49-F238E27FC236}">
                    <a16:creationId xmlns:a16="http://schemas.microsoft.com/office/drawing/2014/main" id="{F5A92DF1-36A5-459D-ABA7-E0CE1A0A3245}"/>
                  </a:ext>
                </a:extLst>
              </p:cNvPr>
              <p:cNvSpPr/>
              <p:nvPr/>
            </p:nvSpPr>
            <p:spPr>
              <a:xfrm>
                <a:off x="3715966" y="4480539"/>
                <a:ext cx="161925" cy="57150"/>
              </a:xfrm>
              <a:custGeom>
                <a:avLst/>
                <a:gdLst>
                  <a:gd name="connsiteX0" fmla="*/ 66044 w 161925"/>
                  <a:gd name="connsiteY0" fmla="*/ 12377 h 57150"/>
                  <a:gd name="connsiteX1" fmla="*/ 29468 w 161925"/>
                  <a:gd name="connsiteY1" fmla="*/ 21902 h 57150"/>
                  <a:gd name="connsiteX2" fmla="*/ 7370 w 161925"/>
                  <a:gd name="connsiteY2" fmla="*/ 51144 h 57150"/>
                  <a:gd name="connsiteX3" fmla="*/ 9085 w 161925"/>
                  <a:gd name="connsiteY3" fmla="*/ 57621 h 57150"/>
                  <a:gd name="connsiteX4" fmla="*/ 17562 w 161925"/>
                  <a:gd name="connsiteY4" fmla="*/ 56097 h 57150"/>
                  <a:gd name="connsiteX5" fmla="*/ 146626 w 161925"/>
                  <a:gd name="connsiteY5" fmla="*/ 10758 h 57150"/>
                  <a:gd name="connsiteX6" fmla="*/ 155103 w 161925"/>
                  <a:gd name="connsiteY6" fmla="*/ 7519 h 57150"/>
                  <a:gd name="connsiteX7" fmla="*/ 66044 w 161925"/>
                  <a:gd name="connsiteY7" fmla="*/ 12377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1925" h="57150">
                    <a:moveTo>
                      <a:pt x="66044" y="12377"/>
                    </a:moveTo>
                    <a:cubicBezTo>
                      <a:pt x="53367" y="13257"/>
                      <a:pt x="40964" y="16487"/>
                      <a:pt x="29468" y="21902"/>
                    </a:cubicBezTo>
                    <a:cubicBezTo>
                      <a:pt x="17879" y="27590"/>
                      <a:pt x="9678" y="38442"/>
                      <a:pt x="7370" y="51144"/>
                    </a:cubicBezTo>
                    <a:cubicBezTo>
                      <a:pt x="6757" y="53454"/>
                      <a:pt x="7409" y="55917"/>
                      <a:pt x="9085" y="57621"/>
                    </a:cubicBezTo>
                    <a:cubicBezTo>
                      <a:pt x="11561" y="59431"/>
                      <a:pt x="14991" y="57621"/>
                      <a:pt x="17562" y="56097"/>
                    </a:cubicBezTo>
                    <a:cubicBezTo>
                      <a:pt x="54900" y="32094"/>
                      <a:pt x="102240" y="12282"/>
                      <a:pt x="146626" y="10758"/>
                    </a:cubicBezTo>
                    <a:lnTo>
                      <a:pt x="155103" y="7519"/>
                    </a:lnTo>
                    <a:cubicBezTo>
                      <a:pt x="125330" y="6333"/>
                      <a:pt x="95512" y="7959"/>
                      <a:pt x="66044" y="12377"/>
                    </a:cubicBez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2" name="Полилиния: фигура 421">
                <a:extLst>
                  <a:ext uri="{FF2B5EF4-FFF2-40B4-BE49-F238E27FC236}">
                    <a16:creationId xmlns:a16="http://schemas.microsoft.com/office/drawing/2014/main" id="{0AA5A120-1030-4B12-A592-4EF37E678E25}"/>
                  </a:ext>
                </a:extLst>
              </p:cNvPr>
              <p:cNvSpPr/>
              <p:nvPr/>
            </p:nvSpPr>
            <p:spPr>
              <a:xfrm>
                <a:off x="3877844" y="4136674"/>
                <a:ext cx="19050" cy="28575"/>
              </a:xfrm>
              <a:custGeom>
                <a:avLst/>
                <a:gdLst>
                  <a:gd name="connsiteX0" fmla="*/ 10751 w 19050"/>
                  <a:gd name="connsiteY0" fmla="*/ 22201 h 28575"/>
                  <a:gd name="connsiteX1" fmla="*/ 7322 w 19050"/>
                  <a:gd name="connsiteY1" fmla="*/ 14962 h 28575"/>
                  <a:gd name="connsiteX2" fmla="*/ 8751 w 19050"/>
                  <a:gd name="connsiteY2" fmla="*/ 7152 h 28575"/>
                  <a:gd name="connsiteX3" fmla="*/ 12180 w 19050"/>
                  <a:gd name="connsiteY3" fmla="*/ 14295 h 28575"/>
                  <a:gd name="connsiteX4" fmla="*/ 10751 w 19050"/>
                  <a:gd name="connsiteY4" fmla="*/ 2220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0751" y="22201"/>
                    </a:moveTo>
                    <a:cubicBezTo>
                      <a:pt x="9418" y="22201"/>
                      <a:pt x="7799" y="19153"/>
                      <a:pt x="7322" y="14962"/>
                    </a:cubicBezTo>
                    <a:cubicBezTo>
                      <a:pt x="6846" y="10771"/>
                      <a:pt x="7322" y="7342"/>
                      <a:pt x="8751" y="7152"/>
                    </a:cubicBezTo>
                    <a:cubicBezTo>
                      <a:pt x="10180" y="6961"/>
                      <a:pt x="11704" y="10200"/>
                      <a:pt x="12180" y="14295"/>
                    </a:cubicBezTo>
                    <a:cubicBezTo>
                      <a:pt x="12656" y="18391"/>
                      <a:pt x="12085" y="22011"/>
                      <a:pt x="10751" y="2220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3" name="Полилиния: фигура 422">
                <a:extLst>
                  <a:ext uri="{FF2B5EF4-FFF2-40B4-BE49-F238E27FC236}">
                    <a16:creationId xmlns:a16="http://schemas.microsoft.com/office/drawing/2014/main" id="{BDC27F74-3EE9-49E9-8FDE-6C5BB7C7CFC7}"/>
                  </a:ext>
                </a:extLst>
              </p:cNvPr>
              <p:cNvSpPr/>
              <p:nvPr/>
            </p:nvSpPr>
            <p:spPr>
              <a:xfrm>
                <a:off x="3934858" y="4195068"/>
                <a:ext cx="19050" cy="28575"/>
              </a:xfrm>
              <a:custGeom>
                <a:avLst/>
                <a:gdLst>
                  <a:gd name="connsiteX0" fmla="*/ 10792 w 19050"/>
                  <a:gd name="connsiteY0" fmla="*/ 26862 h 28575"/>
                  <a:gd name="connsiteX1" fmla="*/ 7363 w 19050"/>
                  <a:gd name="connsiteY1" fmla="*/ 17337 h 28575"/>
                  <a:gd name="connsiteX2" fmla="*/ 8791 w 19050"/>
                  <a:gd name="connsiteY2" fmla="*/ 7145 h 28575"/>
                  <a:gd name="connsiteX3" fmla="*/ 12316 w 19050"/>
                  <a:gd name="connsiteY3" fmla="*/ 16670 h 28575"/>
                  <a:gd name="connsiteX4" fmla="*/ 10792 w 19050"/>
                  <a:gd name="connsiteY4" fmla="*/ 2686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0792" y="26862"/>
                    </a:moveTo>
                    <a:cubicBezTo>
                      <a:pt x="9458" y="26862"/>
                      <a:pt x="7934" y="22576"/>
                      <a:pt x="7363" y="17337"/>
                    </a:cubicBezTo>
                    <a:cubicBezTo>
                      <a:pt x="6791" y="12098"/>
                      <a:pt x="7363" y="7241"/>
                      <a:pt x="8791" y="7145"/>
                    </a:cubicBezTo>
                    <a:cubicBezTo>
                      <a:pt x="10220" y="7050"/>
                      <a:pt x="11744" y="11336"/>
                      <a:pt x="12316" y="16670"/>
                    </a:cubicBezTo>
                    <a:cubicBezTo>
                      <a:pt x="12887" y="22004"/>
                      <a:pt x="12125" y="26672"/>
                      <a:pt x="10792" y="2686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4" name="Полилиния: фигура 423">
                <a:extLst>
                  <a:ext uri="{FF2B5EF4-FFF2-40B4-BE49-F238E27FC236}">
                    <a16:creationId xmlns:a16="http://schemas.microsoft.com/office/drawing/2014/main" id="{0F3E441B-9784-4079-8C22-E51803F684BA}"/>
                  </a:ext>
                </a:extLst>
              </p:cNvPr>
              <p:cNvSpPr/>
              <p:nvPr/>
            </p:nvSpPr>
            <p:spPr>
              <a:xfrm>
                <a:off x="4003537" y="4258775"/>
                <a:ext cx="19050" cy="28575"/>
              </a:xfrm>
              <a:custGeom>
                <a:avLst/>
                <a:gdLst>
                  <a:gd name="connsiteX0" fmla="*/ 11360 w 19050"/>
                  <a:gd name="connsiteY0" fmla="*/ 23162 h 28575"/>
                  <a:gd name="connsiteX1" fmla="*/ 7455 w 19050"/>
                  <a:gd name="connsiteY1" fmla="*/ 15638 h 28575"/>
                  <a:gd name="connsiteX2" fmla="*/ 8407 w 19050"/>
                  <a:gd name="connsiteY2" fmla="*/ 7160 h 28575"/>
                  <a:gd name="connsiteX3" fmla="*/ 12313 w 19050"/>
                  <a:gd name="connsiteY3" fmla="*/ 14685 h 28575"/>
                  <a:gd name="connsiteX4" fmla="*/ 11360 w 19050"/>
                  <a:gd name="connsiteY4" fmla="*/ 2316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1360" y="23162"/>
                    </a:moveTo>
                    <a:cubicBezTo>
                      <a:pt x="10026" y="23162"/>
                      <a:pt x="8217" y="20019"/>
                      <a:pt x="7455" y="15638"/>
                    </a:cubicBezTo>
                    <a:cubicBezTo>
                      <a:pt x="6693" y="11256"/>
                      <a:pt x="7455" y="7446"/>
                      <a:pt x="8407" y="7160"/>
                    </a:cubicBezTo>
                    <a:cubicBezTo>
                      <a:pt x="9360" y="6875"/>
                      <a:pt x="11455" y="10304"/>
                      <a:pt x="12313" y="14685"/>
                    </a:cubicBezTo>
                    <a:cubicBezTo>
                      <a:pt x="13170" y="19067"/>
                      <a:pt x="12693" y="22972"/>
                      <a:pt x="11360" y="2316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5" name="Полилиния: фигура 424">
                <a:extLst>
                  <a:ext uri="{FF2B5EF4-FFF2-40B4-BE49-F238E27FC236}">
                    <a16:creationId xmlns:a16="http://schemas.microsoft.com/office/drawing/2014/main" id="{419A6C7D-C362-42AF-ADE3-8E0369B77CC9}"/>
                  </a:ext>
                </a:extLst>
              </p:cNvPr>
              <p:cNvSpPr/>
              <p:nvPr/>
            </p:nvSpPr>
            <p:spPr>
              <a:xfrm>
                <a:off x="3917822" y="4302891"/>
                <a:ext cx="19050" cy="28575"/>
              </a:xfrm>
              <a:custGeom>
                <a:avLst/>
                <a:gdLst>
                  <a:gd name="connsiteX0" fmla="*/ 8778 w 19050"/>
                  <a:gd name="connsiteY0" fmla="*/ 28195 h 28575"/>
                  <a:gd name="connsiteX1" fmla="*/ 7349 w 19050"/>
                  <a:gd name="connsiteY1" fmla="*/ 17432 h 28575"/>
                  <a:gd name="connsiteX2" fmla="*/ 10778 w 19050"/>
                  <a:gd name="connsiteY2" fmla="*/ 7145 h 28575"/>
                  <a:gd name="connsiteX3" fmla="*/ 12302 w 19050"/>
                  <a:gd name="connsiteY3" fmla="*/ 17908 h 28575"/>
                  <a:gd name="connsiteX4" fmla="*/ 8778 w 19050"/>
                  <a:gd name="connsiteY4" fmla="*/ 2819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8778" y="28195"/>
                    </a:moveTo>
                    <a:cubicBezTo>
                      <a:pt x="7445" y="28195"/>
                      <a:pt x="6778" y="23242"/>
                      <a:pt x="7349" y="17432"/>
                    </a:cubicBezTo>
                    <a:cubicBezTo>
                      <a:pt x="7921" y="11622"/>
                      <a:pt x="9445" y="7050"/>
                      <a:pt x="10778" y="7145"/>
                    </a:cubicBezTo>
                    <a:cubicBezTo>
                      <a:pt x="12112" y="7240"/>
                      <a:pt x="12874" y="12098"/>
                      <a:pt x="12302" y="17908"/>
                    </a:cubicBezTo>
                    <a:cubicBezTo>
                      <a:pt x="11731" y="23719"/>
                      <a:pt x="10207" y="28291"/>
                      <a:pt x="8778" y="2819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6" name="Полилиния: фигура 425">
                <a:extLst>
                  <a:ext uri="{FF2B5EF4-FFF2-40B4-BE49-F238E27FC236}">
                    <a16:creationId xmlns:a16="http://schemas.microsoft.com/office/drawing/2014/main" id="{4955C65D-C766-48F8-8FEC-33E37D57FE90}"/>
                  </a:ext>
                </a:extLst>
              </p:cNvPr>
              <p:cNvSpPr/>
              <p:nvPr/>
            </p:nvSpPr>
            <p:spPr>
              <a:xfrm>
                <a:off x="3967950" y="4352321"/>
                <a:ext cx="19050" cy="28575"/>
              </a:xfrm>
              <a:custGeom>
                <a:avLst/>
                <a:gdLst>
                  <a:gd name="connsiteX0" fmla="*/ 10751 w 19050"/>
                  <a:gd name="connsiteY0" fmla="*/ 24200 h 28575"/>
                  <a:gd name="connsiteX1" fmla="*/ 7322 w 19050"/>
                  <a:gd name="connsiteY1" fmla="*/ 15914 h 28575"/>
                  <a:gd name="connsiteX2" fmla="*/ 8751 w 19050"/>
                  <a:gd name="connsiteY2" fmla="*/ 7151 h 28575"/>
                  <a:gd name="connsiteX3" fmla="*/ 12180 w 19050"/>
                  <a:gd name="connsiteY3" fmla="*/ 15342 h 28575"/>
                  <a:gd name="connsiteX4" fmla="*/ 10751 w 19050"/>
                  <a:gd name="connsiteY4" fmla="*/ 2420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0751" y="24200"/>
                    </a:moveTo>
                    <a:cubicBezTo>
                      <a:pt x="9418" y="24200"/>
                      <a:pt x="7798" y="20676"/>
                      <a:pt x="7322" y="15914"/>
                    </a:cubicBezTo>
                    <a:cubicBezTo>
                      <a:pt x="6846" y="11151"/>
                      <a:pt x="7322" y="7341"/>
                      <a:pt x="8751" y="7151"/>
                    </a:cubicBezTo>
                    <a:cubicBezTo>
                      <a:pt x="10180" y="6960"/>
                      <a:pt x="11704" y="10675"/>
                      <a:pt x="12180" y="15342"/>
                    </a:cubicBezTo>
                    <a:cubicBezTo>
                      <a:pt x="12656" y="20009"/>
                      <a:pt x="12085" y="23629"/>
                      <a:pt x="10751" y="242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7" name="Полилиния: фигура 426">
                <a:extLst>
                  <a:ext uri="{FF2B5EF4-FFF2-40B4-BE49-F238E27FC236}">
                    <a16:creationId xmlns:a16="http://schemas.microsoft.com/office/drawing/2014/main" id="{BB13FDFC-4CF3-43B5-B6BC-DF69FE47340D}"/>
                  </a:ext>
                </a:extLst>
              </p:cNvPr>
              <p:cNvSpPr/>
              <p:nvPr/>
            </p:nvSpPr>
            <p:spPr>
              <a:xfrm>
                <a:off x="4031606" y="4415001"/>
                <a:ext cx="19050" cy="38100"/>
              </a:xfrm>
              <a:custGeom>
                <a:avLst/>
                <a:gdLst>
                  <a:gd name="connsiteX0" fmla="*/ 10151 w 19050"/>
                  <a:gd name="connsiteY0" fmla="*/ 31148 h 38100"/>
                  <a:gd name="connsiteX1" fmla="*/ 7198 w 19050"/>
                  <a:gd name="connsiteY1" fmla="*/ 19242 h 38100"/>
                  <a:gd name="connsiteX2" fmla="*/ 9199 w 19050"/>
                  <a:gd name="connsiteY2" fmla="*/ 7145 h 38100"/>
                  <a:gd name="connsiteX3" fmla="*/ 12151 w 19050"/>
                  <a:gd name="connsiteY3" fmla="*/ 19051 h 38100"/>
                  <a:gd name="connsiteX4" fmla="*/ 10151 w 19050"/>
                  <a:gd name="connsiteY4" fmla="*/ 3114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10151" y="31148"/>
                    </a:moveTo>
                    <a:cubicBezTo>
                      <a:pt x="8818" y="31148"/>
                      <a:pt x="7484" y="25909"/>
                      <a:pt x="7198" y="19242"/>
                    </a:cubicBezTo>
                    <a:cubicBezTo>
                      <a:pt x="6913" y="12574"/>
                      <a:pt x="7770" y="7240"/>
                      <a:pt x="9199" y="7145"/>
                    </a:cubicBezTo>
                    <a:cubicBezTo>
                      <a:pt x="10627" y="7050"/>
                      <a:pt x="11866" y="12384"/>
                      <a:pt x="12151" y="19051"/>
                    </a:cubicBezTo>
                    <a:cubicBezTo>
                      <a:pt x="12437" y="25719"/>
                      <a:pt x="11580" y="31148"/>
                      <a:pt x="10151" y="3114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8" name="Полилиния: фигура 427">
                <a:extLst>
                  <a:ext uri="{FF2B5EF4-FFF2-40B4-BE49-F238E27FC236}">
                    <a16:creationId xmlns:a16="http://schemas.microsoft.com/office/drawing/2014/main" id="{7A849892-1EF2-4C7A-AAAF-44615383D500}"/>
                  </a:ext>
                </a:extLst>
              </p:cNvPr>
              <p:cNvSpPr/>
              <p:nvPr/>
            </p:nvSpPr>
            <p:spPr>
              <a:xfrm>
                <a:off x="3913495" y="4428049"/>
                <a:ext cx="19050" cy="19050"/>
              </a:xfrm>
              <a:custGeom>
                <a:avLst/>
                <a:gdLst>
                  <a:gd name="connsiteX0" fmla="*/ 9104 w 19050"/>
                  <a:gd name="connsiteY0" fmla="*/ 21148 h 19050"/>
                  <a:gd name="connsiteX1" fmla="*/ 7199 w 19050"/>
                  <a:gd name="connsiteY1" fmla="*/ 13909 h 19050"/>
                  <a:gd name="connsiteX2" fmla="*/ 10151 w 19050"/>
                  <a:gd name="connsiteY2" fmla="*/ 7146 h 19050"/>
                  <a:gd name="connsiteX3" fmla="*/ 12152 w 19050"/>
                  <a:gd name="connsiteY3" fmla="*/ 14290 h 19050"/>
                  <a:gd name="connsiteX4" fmla="*/ 9104 w 19050"/>
                  <a:gd name="connsiteY4" fmla="*/ 21148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9104" y="21148"/>
                    </a:moveTo>
                    <a:cubicBezTo>
                      <a:pt x="7770" y="21148"/>
                      <a:pt x="6913" y="17814"/>
                      <a:pt x="7199" y="13909"/>
                    </a:cubicBezTo>
                    <a:cubicBezTo>
                      <a:pt x="7484" y="10004"/>
                      <a:pt x="8818" y="7051"/>
                      <a:pt x="10151" y="7146"/>
                    </a:cubicBezTo>
                    <a:cubicBezTo>
                      <a:pt x="11485" y="7241"/>
                      <a:pt x="12438" y="10480"/>
                      <a:pt x="12152" y="14290"/>
                    </a:cubicBezTo>
                    <a:cubicBezTo>
                      <a:pt x="11866" y="18100"/>
                      <a:pt x="10533" y="21243"/>
                      <a:pt x="9104" y="2114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9" name="Полилиния: фигура 428">
                <a:extLst>
                  <a:ext uri="{FF2B5EF4-FFF2-40B4-BE49-F238E27FC236}">
                    <a16:creationId xmlns:a16="http://schemas.microsoft.com/office/drawing/2014/main" id="{82499E9C-FFED-4997-8CF5-1D4946F48963}"/>
                  </a:ext>
                </a:extLst>
              </p:cNvPr>
              <p:cNvSpPr/>
              <p:nvPr/>
            </p:nvSpPr>
            <p:spPr>
              <a:xfrm>
                <a:off x="3996132" y="4486154"/>
                <a:ext cx="19050" cy="28575"/>
              </a:xfrm>
              <a:custGeom>
                <a:avLst/>
                <a:gdLst>
                  <a:gd name="connsiteX0" fmla="*/ 12097 w 19050"/>
                  <a:gd name="connsiteY0" fmla="*/ 15621 h 28575"/>
                  <a:gd name="connsiteX1" fmla="*/ 9620 w 19050"/>
                  <a:gd name="connsiteY1" fmla="*/ 24098 h 28575"/>
                  <a:gd name="connsiteX2" fmla="*/ 7143 w 19050"/>
                  <a:gd name="connsiteY2" fmla="*/ 15621 h 28575"/>
                  <a:gd name="connsiteX3" fmla="*/ 9620 w 19050"/>
                  <a:gd name="connsiteY3" fmla="*/ 7144 h 28575"/>
                  <a:gd name="connsiteX4" fmla="*/ 12097 w 19050"/>
                  <a:gd name="connsiteY4" fmla="*/ 1562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2097" y="15621"/>
                    </a:moveTo>
                    <a:cubicBezTo>
                      <a:pt x="12097" y="20303"/>
                      <a:pt x="10988" y="24098"/>
                      <a:pt x="9620" y="24098"/>
                    </a:cubicBezTo>
                    <a:cubicBezTo>
                      <a:pt x="8252" y="24098"/>
                      <a:pt x="7143" y="20303"/>
                      <a:pt x="7143" y="15621"/>
                    </a:cubicBezTo>
                    <a:cubicBezTo>
                      <a:pt x="7143" y="10939"/>
                      <a:pt x="8252" y="7144"/>
                      <a:pt x="9620" y="7144"/>
                    </a:cubicBezTo>
                    <a:cubicBezTo>
                      <a:pt x="10988" y="7144"/>
                      <a:pt x="12097" y="10939"/>
                      <a:pt x="12097" y="156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0" name="Полилиния: фигура 429">
                <a:extLst>
                  <a:ext uri="{FF2B5EF4-FFF2-40B4-BE49-F238E27FC236}">
                    <a16:creationId xmlns:a16="http://schemas.microsoft.com/office/drawing/2014/main" id="{EB1FD154-90EF-4DD9-83E2-1029F5489DB9}"/>
                  </a:ext>
                </a:extLst>
              </p:cNvPr>
              <p:cNvSpPr/>
              <p:nvPr/>
            </p:nvSpPr>
            <p:spPr>
              <a:xfrm>
                <a:off x="4007086" y="4640268"/>
                <a:ext cx="19050" cy="19050"/>
              </a:xfrm>
              <a:custGeom>
                <a:avLst/>
                <a:gdLst>
                  <a:gd name="connsiteX0" fmla="*/ 9620 w 19050"/>
                  <a:gd name="connsiteY0" fmla="*/ 17145 h 19050"/>
                  <a:gd name="connsiteX1" fmla="*/ 7144 w 19050"/>
                  <a:gd name="connsiteY1" fmla="*/ 12192 h 19050"/>
                  <a:gd name="connsiteX2" fmla="*/ 9620 w 19050"/>
                  <a:gd name="connsiteY2" fmla="*/ 7144 h 19050"/>
                  <a:gd name="connsiteX3" fmla="*/ 12097 w 19050"/>
                  <a:gd name="connsiteY3" fmla="*/ 12192 h 19050"/>
                  <a:gd name="connsiteX4" fmla="*/ 9620 w 19050"/>
                  <a:gd name="connsiteY4" fmla="*/ 17145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9620" y="17145"/>
                    </a:moveTo>
                    <a:cubicBezTo>
                      <a:pt x="8287" y="17145"/>
                      <a:pt x="7144" y="14954"/>
                      <a:pt x="7144" y="12192"/>
                    </a:cubicBezTo>
                    <a:cubicBezTo>
                      <a:pt x="7144" y="9430"/>
                      <a:pt x="8287" y="7144"/>
                      <a:pt x="9620" y="7144"/>
                    </a:cubicBezTo>
                    <a:cubicBezTo>
                      <a:pt x="10954" y="7144"/>
                      <a:pt x="12097" y="9430"/>
                      <a:pt x="12097" y="12192"/>
                    </a:cubicBezTo>
                    <a:cubicBezTo>
                      <a:pt x="12097" y="14954"/>
                      <a:pt x="11049" y="17145"/>
                      <a:pt x="9620" y="1714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1" name="Полилиния: фигура 430">
                <a:extLst>
                  <a:ext uri="{FF2B5EF4-FFF2-40B4-BE49-F238E27FC236}">
                    <a16:creationId xmlns:a16="http://schemas.microsoft.com/office/drawing/2014/main" id="{6ACA7FBD-6983-4555-AE8F-91A217B387D5}"/>
                  </a:ext>
                </a:extLst>
              </p:cNvPr>
              <p:cNvSpPr/>
              <p:nvPr/>
            </p:nvSpPr>
            <p:spPr>
              <a:xfrm>
                <a:off x="3862767" y="4692365"/>
                <a:ext cx="19050" cy="28575"/>
              </a:xfrm>
              <a:custGeom>
                <a:avLst/>
                <a:gdLst>
                  <a:gd name="connsiteX0" fmla="*/ 8778 w 19050"/>
                  <a:gd name="connsiteY0" fmla="*/ 29152 h 28575"/>
                  <a:gd name="connsiteX1" fmla="*/ 7349 w 19050"/>
                  <a:gd name="connsiteY1" fmla="*/ 17912 h 28575"/>
                  <a:gd name="connsiteX2" fmla="*/ 10778 w 19050"/>
                  <a:gd name="connsiteY2" fmla="*/ 7149 h 28575"/>
                  <a:gd name="connsiteX3" fmla="*/ 12302 w 19050"/>
                  <a:gd name="connsiteY3" fmla="*/ 18389 h 28575"/>
                  <a:gd name="connsiteX4" fmla="*/ 8778 w 19050"/>
                  <a:gd name="connsiteY4" fmla="*/ 2915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8778" y="29152"/>
                    </a:moveTo>
                    <a:cubicBezTo>
                      <a:pt x="7445" y="29152"/>
                      <a:pt x="6778" y="24008"/>
                      <a:pt x="7349" y="17912"/>
                    </a:cubicBezTo>
                    <a:cubicBezTo>
                      <a:pt x="7921" y="11816"/>
                      <a:pt x="9445" y="6959"/>
                      <a:pt x="10778" y="7149"/>
                    </a:cubicBezTo>
                    <a:cubicBezTo>
                      <a:pt x="12112" y="7340"/>
                      <a:pt x="12874" y="12293"/>
                      <a:pt x="12302" y="18389"/>
                    </a:cubicBezTo>
                    <a:cubicBezTo>
                      <a:pt x="11731" y="24485"/>
                      <a:pt x="9826" y="29247"/>
                      <a:pt x="8778" y="2915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2" name="Полилиния: фигура 431">
                <a:extLst>
                  <a:ext uri="{FF2B5EF4-FFF2-40B4-BE49-F238E27FC236}">
                    <a16:creationId xmlns:a16="http://schemas.microsoft.com/office/drawing/2014/main" id="{68AD436D-BA71-48A7-BD62-A5E6A7739213}"/>
                  </a:ext>
                </a:extLst>
              </p:cNvPr>
              <p:cNvSpPr/>
              <p:nvPr/>
            </p:nvSpPr>
            <p:spPr>
              <a:xfrm>
                <a:off x="3928029" y="4744376"/>
                <a:ext cx="19050" cy="28575"/>
              </a:xfrm>
              <a:custGeom>
                <a:avLst/>
                <a:gdLst>
                  <a:gd name="connsiteX0" fmla="*/ 9620 w 19050"/>
                  <a:gd name="connsiteY0" fmla="*/ 23146 h 28575"/>
                  <a:gd name="connsiteX1" fmla="*/ 7144 w 19050"/>
                  <a:gd name="connsiteY1" fmla="*/ 15145 h 28575"/>
                  <a:gd name="connsiteX2" fmla="*/ 9620 w 19050"/>
                  <a:gd name="connsiteY2" fmla="*/ 7144 h 28575"/>
                  <a:gd name="connsiteX3" fmla="*/ 12097 w 19050"/>
                  <a:gd name="connsiteY3" fmla="*/ 15145 h 28575"/>
                  <a:gd name="connsiteX4" fmla="*/ 9620 w 19050"/>
                  <a:gd name="connsiteY4" fmla="*/ 2314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9620" y="23146"/>
                    </a:moveTo>
                    <a:cubicBezTo>
                      <a:pt x="8287" y="23146"/>
                      <a:pt x="7144" y="19621"/>
                      <a:pt x="7144" y="15145"/>
                    </a:cubicBezTo>
                    <a:cubicBezTo>
                      <a:pt x="7144" y="10668"/>
                      <a:pt x="8287" y="7144"/>
                      <a:pt x="9620" y="7144"/>
                    </a:cubicBezTo>
                    <a:cubicBezTo>
                      <a:pt x="10954" y="7144"/>
                      <a:pt x="12097" y="10763"/>
                      <a:pt x="12097" y="15145"/>
                    </a:cubicBezTo>
                    <a:cubicBezTo>
                      <a:pt x="12097" y="19526"/>
                      <a:pt x="11239" y="23146"/>
                      <a:pt x="9620" y="231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3" name="Полилиния: фигура 432">
                <a:extLst>
                  <a:ext uri="{FF2B5EF4-FFF2-40B4-BE49-F238E27FC236}">
                    <a16:creationId xmlns:a16="http://schemas.microsoft.com/office/drawing/2014/main" id="{B02A5710-017C-44AB-8585-632802BDD2D0}"/>
                  </a:ext>
                </a:extLst>
              </p:cNvPr>
              <p:cNvSpPr/>
              <p:nvPr/>
            </p:nvSpPr>
            <p:spPr>
              <a:xfrm>
                <a:off x="4032492" y="4737382"/>
                <a:ext cx="19050" cy="19050"/>
              </a:xfrm>
              <a:custGeom>
                <a:avLst/>
                <a:gdLst>
                  <a:gd name="connsiteX0" fmla="*/ 12313 w 19050"/>
                  <a:gd name="connsiteY0" fmla="*/ 19187 h 19050"/>
                  <a:gd name="connsiteX1" fmla="*/ 7931 w 19050"/>
                  <a:gd name="connsiteY1" fmla="*/ 13948 h 19050"/>
                  <a:gd name="connsiteX2" fmla="*/ 7931 w 19050"/>
                  <a:gd name="connsiteY2" fmla="*/ 7185 h 19050"/>
                  <a:gd name="connsiteX3" fmla="*/ 12218 w 19050"/>
                  <a:gd name="connsiteY3" fmla="*/ 12329 h 19050"/>
                  <a:gd name="connsiteX4" fmla="*/ 12313 w 19050"/>
                  <a:gd name="connsiteY4" fmla="*/ 19187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2313" y="19187"/>
                    </a:moveTo>
                    <a:cubicBezTo>
                      <a:pt x="10979" y="19187"/>
                      <a:pt x="9074" y="17282"/>
                      <a:pt x="7931" y="13948"/>
                    </a:cubicBezTo>
                    <a:cubicBezTo>
                      <a:pt x="6788" y="10614"/>
                      <a:pt x="6979" y="7566"/>
                      <a:pt x="7931" y="7185"/>
                    </a:cubicBezTo>
                    <a:cubicBezTo>
                      <a:pt x="8884" y="6804"/>
                      <a:pt x="11170" y="9090"/>
                      <a:pt x="12218" y="12329"/>
                    </a:cubicBezTo>
                    <a:cubicBezTo>
                      <a:pt x="13265" y="15567"/>
                      <a:pt x="13551" y="18710"/>
                      <a:pt x="12313" y="191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4" name="Полилиния: фигура 433">
                <a:extLst>
                  <a:ext uri="{FF2B5EF4-FFF2-40B4-BE49-F238E27FC236}">
                    <a16:creationId xmlns:a16="http://schemas.microsoft.com/office/drawing/2014/main" id="{52CDD0F0-E146-4EC5-AB4B-F243FC185DDA}"/>
                  </a:ext>
                </a:extLst>
              </p:cNvPr>
              <p:cNvSpPr/>
              <p:nvPr/>
            </p:nvSpPr>
            <p:spPr>
              <a:xfrm>
                <a:off x="3937499" y="4649603"/>
                <a:ext cx="19050" cy="28575"/>
              </a:xfrm>
              <a:custGeom>
                <a:avLst/>
                <a:gdLst>
                  <a:gd name="connsiteX0" fmla="*/ 9199 w 19050"/>
                  <a:gd name="connsiteY0" fmla="*/ 26860 h 28575"/>
                  <a:gd name="connsiteX1" fmla="*/ 7198 w 19050"/>
                  <a:gd name="connsiteY1" fmla="*/ 16669 h 28575"/>
                  <a:gd name="connsiteX2" fmla="*/ 10151 w 19050"/>
                  <a:gd name="connsiteY2" fmla="*/ 7144 h 28575"/>
                  <a:gd name="connsiteX3" fmla="*/ 12151 w 19050"/>
                  <a:gd name="connsiteY3" fmla="*/ 17240 h 28575"/>
                  <a:gd name="connsiteX4" fmla="*/ 9199 w 19050"/>
                  <a:gd name="connsiteY4" fmla="*/ 2686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9199" y="26860"/>
                    </a:moveTo>
                    <a:cubicBezTo>
                      <a:pt x="7770" y="26860"/>
                      <a:pt x="6913" y="22193"/>
                      <a:pt x="7198" y="16669"/>
                    </a:cubicBezTo>
                    <a:cubicBezTo>
                      <a:pt x="7484" y="11144"/>
                      <a:pt x="8818" y="7144"/>
                      <a:pt x="10151" y="7144"/>
                    </a:cubicBezTo>
                    <a:cubicBezTo>
                      <a:pt x="11485" y="7144"/>
                      <a:pt x="12437" y="11716"/>
                      <a:pt x="12151" y="17240"/>
                    </a:cubicBezTo>
                    <a:cubicBezTo>
                      <a:pt x="11866" y="22765"/>
                      <a:pt x="10532" y="26956"/>
                      <a:pt x="9199" y="268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5" name="Полилиния: фигура 434">
                <a:extLst>
                  <a:ext uri="{FF2B5EF4-FFF2-40B4-BE49-F238E27FC236}">
                    <a16:creationId xmlns:a16="http://schemas.microsoft.com/office/drawing/2014/main" id="{BFC94EC2-205B-4568-ADED-80C442A34DE4}"/>
                  </a:ext>
                </a:extLst>
              </p:cNvPr>
              <p:cNvSpPr/>
              <p:nvPr/>
            </p:nvSpPr>
            <p:spPr>
              <a:xfrm>
                <a:off x="4031184" y="4532159"/>
                <a:ext cx="19050" cy="19050"/>
              </a:xfrm>
              <a:custGeom>
                <a:avLst/>
                <a:gdLst>
                  <a:gd name="connsiteX0" fmla="*/ 9620 w 19050"/>
                  <a:gd name="connsiteY0" fmla="*/ 18098 h 19050"/>
                  <a:gd name="connsiteX1" fmla="*/ 7144 w 19050"/>
                  <a:gd name="connsiteY1" fmla="*/ 12668 h 19050"/>
                  <a:gd name="connsiteX2" fmla="*/ 9620 w 19050"/>
                  <a:gd name="connsiteY2" fmla="*/ 7144 h 19050"/>
                  <a:gd name="connsiteX3" fmla="*/ 12097 w 19050"/>
                  <a:gd name="connsiteY3" fmla="*/ 12668 h 19050"/>
                  <a:gd name="connsiteX4" fmla="*/ 9620 w 19050"/>
                  <a:gd name="connsiteY4" fmla="*/ 18098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9620" y="18098"/>
                    </a:moveTo>
                    <a:cubicBezTo>
                      <a:pt x="8192" y="18098"/>
                      <a:pt x="7144" y="15716"/>
                      <a:pt x="7144" y="12668"/>
                    </a:cubicBezTo>
                    <a:cubicBezTo>
                      <a:pt x="7144" y="9620"/>
                      <a:pt x="8192" y="7144"/>
                      <a:pt x="9620" y="7144"/>
                    </a:cubicBezTo>
                    <a:cubicBezTo>
                      <a:pt x="11049" y="7144"/>
                      <a:pt x="12097" y="9620"/>
                      <a:pt x="12097" y="12668"/>
                    </a:cubicBezTo>
                    <a:cubicBezTo>
                      <a:pt x="12097" y="15716"/>
                      <a:pt x="10954" y="18098"/>
                      <a:pt x="9620" y="180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6" name="Полилиния: фигура 435">
                <a:extLst>
                  <a:ext uri="{FF2B5EF4-FFF2-40B4-BE49-F238E27FC236}">
                    <a16:creationId xmlns:a16="http://schemas.microsoft.com/office/drawing/2014/main" id="{E5B5CB32-2BD9-407A-AB95-BDE0248D880A}"/>
                  </a:ext>
                </a:extLst>
              </p:cNvPr>
              <p:cNvSpPr/>
              <p:nvPr/>
            </p:nvSpPr>
            <p:spPr>
              <a:xfrm>
                <a:off x="3902704" y="4525059"/>
                <a:ext cx="19050" cy="28575"/>
              </a:xfrm>
              <a:custGeom>
                <a:avLst/>
                <a:gdLst>
                  <a:gd name="connsiteX0" fmla="*/ 13133 w 19050"/>
                  <a:gd name="connsiteY0" fmla="*/ 26151 h 28575"/>
                  <a:gd name="connsiteX1" fmla="*/ 8180 w 19050"/>
                  <a:gd name="connsiteY1" fmla="*/ 17293 h 28575"/>
                  <a:gd name="connsiteX2" fmla="*/ 8180 w 19050"/>
                  <a:gd name="connsiteY2" fmla="*/ 7196 h 28575"/>
                  <a:gd name="connsiteX3" fmla="*/ 13038 w 19050"/>
                  <a:gd name="connsiteY3" fmla="*/ 16054 h 28575"/>
                  <a:gd name="connsiteX4" fmla="*/ 13133 w 19050"/>
                  <a:gd name="connsiteY4" fmla="*/ 2615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3133" y="26151"/>
                    </a:moveTo>
                    <a:cubicBezTo>
                      <a:pt x="11799" y="26151"/>
                      <a:pt x="9609" y="22531"/>
                      <a:pt x="8180" y="17293"/>
                    </a:cubicBezTo>
                    <a:cubicBezTo>
                      <a:pt x="6751" y="12054"/>
                      <a:pt x="6846" y="7768"/>
                      <a:pt x="8180" y="7196"/>
                    </a:cubicBezTo>
                    <a:cubicBezTo>
                      <a:pt x="9513" y="6624"/>
                      <a:pt x="11609" y="10815"/>
                      <a:pt x="13038" y="16054"/>
                    </a:cubicBezTo>
                    <a:cubicBezTo>
                      <a:pt x="14466" y="21293"/>
                      <a:pt x="14466" y="25865"/>
                      <a:pt x="13133" y="2615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7" name="Полилиния: фигура 436">
                <a:extLst>
                  <a:ext uri="{FF2B5EF4-FFF2-40B4-BE49-F238E27FC236}">
                    <a16:creationId xmlns:a16="http://schemas.microsoft.com/office/drawing/2014/main" id="{0A643896-489B-4205-AA94-60664447F1A1}"/>
                  </a:ext>
                </a:extLst>
              </p:cNvPr>
              <p:cNvSpPr/>
              <p:nvPr/>
            </p:nvSpPr>
            <p:spPr>
              <a:xfrm>
                <a:off x="3744769" y="4626170"/>
                <a:ext cx="19050" cy="28575"/>
              </a:xfrm>
              <a:custGeom>
                <a:avLst/>
                <a:gdLst>
                  <a:gd name="connsiteX0" fmla="*/ 15715 w 19050"/>
                  <a:gd name="connsiteY0" fmla="*/ 22290 h 28575"/>
                  <a:gd name="connsiteX1" fmla="*/ 9523 w 19050"/>
                  <a:gd name="connsiteY1" fmla="*/ 15908 h 28575"/>
                  <a:gd name="connsiteX2" fmla="*/ 7714 w 19050"/>
                  <a:gd name="connsiteY2" fmla="*/ 7240 h 28575"/>
                  <a:gd name="connsiteX3" fmla="*/ 13905 w 19050"/>
                  <a:gd name="connsiteY3" fmla="*/ 13527 h 28575"/>
                  <a:gd name="connsiteX4" fmla="*/ 15715 w 19050"/>
                  <a:gd name="connsiteY4" fmla="*/ 2229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5715" y="22290"/>
                    </a:moveTo>
                    <a:cubicBezTo>
                      <a:pt x="14477" y="22861"/>
                      <a:pt x="11714" y="20099"/>
                      <a:pt x="9523" y="15908"/>
                    </a:cubicBezTo>
                    <a:cubicBezTo>
                      <a:pt x="7333" y="11717"/>
                      <a:pt x="6476" y="7907"/>
                      <a:pt x="7714" y="7240"/>
                    </a:cubicBezTo>
                    <a:cubicBezTo>
                      <a:pt x="8952" y="6574"/>
                      <a:pt x="11619" y="9431"/>
                      <a:pt x="13905" y="13527"/>
                    </a:cubicBezTo>
                    <a:cubicBezTo>
                      <a:pt x="16191" y="17623"/>
                      <a:pt x="16858" y="21623"/>
                      <a:pt x="15715" y="2229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8" name="Полилиния: фигура 437">
                <a:extLst>
                  <a:ext uri="{FF2B5EF4-FFF2-40B4-BE49-F238E27FC236}">
                    <a16:creationId xmlns:a16="http://schemas.microsoft.com/office/drawing/2014/main" id="{92D87EE9-1634-4B69-BE90-245B69DBBCEB}"/>
                  </a:ext>
                </a:extLst>
              </p:cNvPr>
              <p:cNvSpPr/>
              <p:nvPr/>
            </p:nvSpPr>
            <p:spPr>
              <a:xfrm>
                <a:off x="3803699" y="4535105"/>
                <a:ext cx="19050" cy="28575"/>
              </a:xfrm>
              <a:custGeom>
                <a:avLst/>
                <a:gdLst>
                  <a:gd name="connsiteX0" fmla="*/ 10792 w 19050"/>
                  <a:gd name="connsiteY0" fmla="*/ 23248 h 28575"/>
                  <a:gd name="connsiteX1" fmla="*/ 7363 w 19050"/>
                  <a:gd name="connsiteY1" fmla="*/ 15533 h 28575"/>
                  <a:gd name="connsiteX2" fmla="*/ 8791 w 19050"/>
                  <a:gd name="connsiteY2" fmla="*/ 7151 h 28575"/>
                  <a:gd name="connsiteX3" fmla="*/ 12316 w 19050"/>
                  <a:gd name="connsiteY3" fmla="*/ 14866 h 28575"/>
                  <a:gd name="connsiteX4" fmla="*/ 10792 w 19050"/>
                  <a:gd name="connsiteY4" fmla="*/ 23248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0792" y="23248"/>
                    </a:moveTo>
                    <a:cubicBezTo>
                      <a:pt x="9458" y="23248"/>
                      <a:pt x="7934" y="19915"/>
                      <a:pt x="7363" y="15533"/>
                    </a:cubicBezTo>
                    <a:cubicBezTo>
                      <a:pt x="6791" y="11152"/>
                      <a:pt x="7363" y="7342"/>
                      <a:pt x="8791" y="7151"/>
                    </a:cubicBezTo>
                    <a:cubicBezTo>
                      <a:pt x="10220" y="6961"/>
                      <a:pt x="11744" y="10485"/>
                      <a:pt x="12316" y="14866"/>
                    </a:cubicBezTo>
                    <a:cubicBezTo>
                      <a:pt x="12887" y="19248"/>
                      <a:pt x="11744" y="23058"/>
                      <a:pt x="10792" y="2324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9" name="Полилиния: фигура 438">
                <a:extLst>
                  <a:ext uri="{FF2B5EF4-FFF2-40B4-BE49-F238E27FC236}">
                    <a16:creationId xmlns:a16="http://schemas.microsoft.com/office/drawing/2014/main" id="{9B22E753-9102-4C0B-B0DC-0A4DE95B7CBC}"/>
                  </a:ext>
                </a:extLst>
              </p:cNvPr>
              <p:cNvSpPr/>
              <p:nvPr/>
            </p:nvSpPr>
            <p:spPr>
              <a:xfrm>
                <a:off x="3741020" y="4573003"/>
                <a:ext cx="19050" cy="28575"/>
              </a:xfrm>
              <a:custGeom>
                <a:avLst/>
                <a:gdLst>
                  <a:gd name="connsiteX0" fmla="*/ 20416 w 19050"/>
                  <a:gd name="connsiteY0" fmla="*/ 21355 h 28575"/>
                  <a:gd name="connsiteX1" fmla="*/ 12129 w 19050"/>
                  <a:gd name="connsiteY1" fmla="*/ 16021 h 28575"/>
                  <a:gd name="connsiteX2" fmla="*/ 7367 w 19050"/>
                  <a:gd name="connsiteY2" fmla="*/ 7353 h 28575"/>
                  <a:gd name="connsiteX3" fmla="*/ 15749 w 19050"/>
                  <a:gd name="connsiteY3" fmla="*/ 12688 h 28575"/>
                  <a:gd name="connsiteX4" fmla="*/ 20416 w 19050"/>
                  <a:gd name="connsiteY4" fmla="*/ 2135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20416" y="21355"/>
                    </a:moveTo>
                    <a:cubicBezTo>
                      <a:pt x="19464" y="22308"/>
                      <a:pt x="15654" y="19927"/>
                      <a:pt x="12129" y="16021"/>
                    </a:cubicBezTo>
                    <a:cubicBezTo>
                      <a:pt x="8605" y="12116"/>
                      <a:pt x="6414" y="8306"/>
                      <a:pt x="7367" y="7353"/>
                    </a:cubicBezTo>
                    <a:cubicBezTo>
                      <a:pt x="8320" y="6401"/>
                      <a:pt x="12129" y="8782"/>
                      <a:pt x="15749" y="12688"/>
                    </a:cubicBezTo>
                    <a:cubicBezTo>
                      <a:pt x="19369" y="16593"/>
                      <a:pt x="21464" y="20403"/>
                      <a:pt x="20416" y="2135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0" name="Полилиния: фигура 439">
                <a:extLst>
                  <a:ext uri="{FF2B5EF4-FFF2-40B4-BE49-F238E27FC236}">
                    <a16:creationId xmlns:a16="http://schemas.microsoft.com/office/drawing/2014/main" id="{27F3AF14-50F6-40FA-B808-E3E8C0146C99}"/>
                  </a:ext>
                </a:extLst>
              </p:cNvPr>
              <p:cNvSpPr/>
              <p:nvPr/>
            </p:nvSpPr>
            <p:spPr>
              <a:xfrm>
                <a:off x="3849393" y="4577211"/>
                <a:ext cx="19050" cy="19050"/>
              </a:xfrm>
              <a:custGeom>
                <a:avLst/>
                <a:gdLst>
                  <a:gd name="connsiteX0" fmla="*/ 9199 w 19050"/>
                  <a:gd name="connsiteY0" fmla="*/ 21147 h 19050"/>
                  <a:gd name="connsiteX1" fmla="*/ 7198 w 19050"/>
                  <a:gd name="connsiteY1" fmla="*/ 14004 h 19050"/>
                  <a:gd name="connsiteX2" fmla="*/ 10151 w 19050"/>
                  <a:gd name="connsiteY2" fmla="*/ 7146 h 19050"/>
                  <a:gd name="connsiteX3" fmla="*/ 12151 w 19050"/>
                  <a:gd name="connsiteY3" fmla="*/ 14290 h 19050"/>
                  <a:gd name="connsiteX4" fmla="*/ 9199 w 19050"/>
                  <a:gd name="connsiteY4" fmla="*/ 21147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9199" y="21147"/>
                    </a:moveTo>
                    <a:cubicBezTo>
                      <a:pt x="7770" y="21147"/>
                      <a:pt x="6913" y="17814"/>
                      <a:pt x="7198" y="14004"/>
                    </a:cubicBezTo>
                    <a:cubicBezTo>
                      <a:pt x="7484" y="10194"/>
                      <a:pt x="8818" y="7051"/>
                      <a:pt x="10151" y="7146"/>
                    </a:cubicBezTo>
                    <a:cubicBezTo>
                      <a:pt x="11485" y="7241"/>
                      <a:pt x="12437" y="10480"/>
                      <a:pt x="12151" y="14290"/>
                    </a:cubicBezTo>
                    <a:cubicBezTo>
                      <a:pt x="11866" y="18100"/>
                      <a:pt x="10532" y="21243"/>
                      <a:pt x="9199" y="2114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1" name="Полилиния: фигура 440">
                <a:extLst>
                  <a:ext uri="{FF2B5EF4-FFF2-40B4-BE49-F238E27FC236}">
                    <a16:creationId xmlns:a16="http://schemas.microsoft.com/office/drawing/2014/main" id="{3282E6C9-174F-49AB-9C1F-E0020E850227}"/>
                  </a:ext>
                </a:extLst>
              </p:cNvPr>
              <p:cNvSpPr/>
              <p:nvPr/>
            </p:nvSpPr>
            <p:spPr>
              <a:xfrm>
                <a:off x="3839922" y="4422051"/>
                <a:ext cx="19050" cy="19050"/>
              </a:xfrm>
              <a:custGeom>
                <a:avLst/>
                <a:gdLst>
                  <a:gd name="connsiteX0" fmla="*/ 12097 w 19050"/>
                  <a:gd name="connsiteY0" fmla="*/ 11621 h 19050"/>
                  <a:gd name="connsiteX1" fmla="*/ 9620 w 19050"/>
                  <a:gd name="connsiteY1" fmla="*/ 16097 h 19050"/>
                  <a:gd name="connsiteX2" fmla="*/ 7144 w 19050"/>
                  <a:gd name="connsiteY2" fmla="*/ 11621 h 19050"/>
                  <a:gd name="connsiteX3" fmla="*/ 9620 w 19050"/>
                  <a:gd name="connsiteY3" fmla="*/ 7144 h 19050"/>
                  <a:gd name="connsiteX4" fmla="*/ 12097 w 19050"/>
                  <a:gd name="connsiteY4" fmla="*/ 1162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2097" y="11621"/>
                    </a:moveTo>
                    <a:cubicBezTo>
                      <a:pt x="12097" y="14093"/>
                      <a:pt x="10988" y="16097"/>
                      <a:pt x="9620" y="16097"/>
                    </a:cubicBezTo>
                    <a:cubicBezTo>
                      <a:pt x="8252" y="16097"/>
                      <a:pt x="7144" y="14093"/>
                      <a:pt x="7144" y="11621"/>
                    </a:cubicBezTo>
                    <a:cubicBezTo>
                      <a:pt x="7144" y="9148"/>
                      <a:pt x="8252" y="7144"/>
                      <a:pt x="9620" y="7144"/>
                    </a:cubicBezTo>
                    <a:cubicBezTo>
                      <a:pt x="10988" y="7144"/>
                      <a:pt x="12097" y="9148"/>
                      <a:pt x="12097" y="116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2" name="Полилиния: фигура 441">
                <a:extLst>
                  <a:ext uri="{FF2B5EF4-FFF2-40B4-BE49-F238E27FC236}">
                    <a16:creationId xmlns:a16="http://schemas.microsoft.com/office/drawing/2014/main" id="{092EB5F9-651C-480C-B528-EF5174B6893F}"/>
                  </a:ext>
                </a:extLst>
              </p:cNvPr>
              <p:cNvSpPr/>
              <p:nvPr/>
            </p:nvSpPr>
            <p:spPr>
              <a:xfrm>
                <a:off x="3741218" y="4424988"/>
                <a:ext cx="19050" cy="28575"/>
              </a:xfrm>
              <a:custGeom>
                <a:avLst/>
                <a:gdLst>
                  <a:gd name="connsiteX0" fmla="*/ 8217 w 19050"/>
                  <a:gd name="connsiteY0" fmla="*/ 25161 h 28575"/>
                  <a:gd name="connsiteX1" fmla="*/ 8217 w 19050"/>
                  <a:gd name="connsiteY1" fmla="*/ 15636 h 28575"/>
                  <a:gd name="connsiteX2" fmla="*/ 12598 w 19050"/>
                  <a:gd name="connsiteY2" fmla="*/ 7159 h 28575"/>
                  <a:gd name="connsiteX3" fmla="*/ 12598 w 19050"/>
                  <a:gd name="connsiteY3" fmla="*/ 16684 h 28575"/>
                  <a:gd name="connsiteX4" fmla="*/ 8217 w 19050"/>
                  <a:gd name="connsiteY4" fmla="*/ 2516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8217" y="25161"/>
                    </a:moveTo>
                    <a:cubicBezTo>
                      <a:pt x="6883" y="25161"/>
                      <a:pt x="6693" y="20589"/>
                      <a:pt x="8217" y="15636"/>
                    </a:cubicBezTo>
                    <a:cubicBezTo>
                      <a:pt x="9741" y="10683"/>
                      <a:pt x="11265" y="6873"/>
                      <a:pt x="12598" y="7159"/>
                    </a:cubicBezTo>
                    <a:cubicBezTo>
                      <a:pt x="13932" y="7445"/>
                      <a:pt x="14122" y="11731"/>
                      <a:pt x="12598" y="16684"/>
                    </a:cubicBezTo>
                    <a:cubicBezTo>
                      <a:pt x="11074" y="21637"/>
                      <a:pt x="9550" y="25542"/>
                      <a:pt x="8217" y="251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3" name="Полилиния: фигура 442">
                <a:extLst>
                  <a:ext uri="{FF2B5EF4-FFF2-40B4-BE49-F238E27FC236}">
                    <a16:creationId xmlns:a16="http://schemas.microsoft.com/office/drawing/2014/main" id="{67236852-E87E-4E89-BB29-889D1446C8E2}"/>
                  </a:ext>
                </a:extLst>
              </p:cNvPr>
              <p:cNvSpPr/>
              <p:nvPr/>
            </p:nvSpPr>
            <p:spPr>
              <a:xfrm>
                <a:off x="3787202" y="4421003"/>
                <a:ext cx="19050" cy="28575"/>
              </a:xfrm>
              <a:custGeom>
                <a:avLst/>
                <a:gdLst>
                  <a:gd name="connsiteX0" fmla="*/ 9191 w 19050"/>
                  <a:gd name="connsiteY0" fmla="*/ 7144 h 28575"/>
                  <a:gd name="connsiteX1" fmla="*/ 12144 w 19050"/>
                  <a:gd name="connsiteY1" fmla="*/ 14478 h 28575"/>
                  <a:gd name="connsiteX2" fmla="*/ 10239 w 19050"/>
                  <a:gd name="connsiteY2" fmla="*/ 22193 h 28575"/>
                  <a:gd name="connsiteX3" fmla="*/ 7191 w 19050"/>
                  <a:gd name="connsiteY3" fmla="*/ 14859 h 28575"/>
                  <a:gd name="connsiteX4" fmla="*/ 9191 w 19050"/>
                  <a:gd name="connsiteY4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9191" y="7144"/>
                    </a:moveTo>
                    <a:cubicBezTo>
                      <a:pt x="10525" y="7144"/>
                      <a:pt x="11858" y="10382"/>
                      <a:pt x="12144" y="14478"/>
                    </a:cubicBezTo>
                    <a:cubicBezTo>
                      <a:pt x="12430" y="18574"/>
                      <a:pt x="11573" y="22098"/>
                      <a:pt x="10239" y="22193"/>
                    </a:cubicBezTo>
                    <a:cubicBezTo>
                      <a:pt x="8906" y="22288"/>
                      <a:pt x="7477" y="18955"/>
                      <a:pt x="7191" y="14859"/>
                    </a:cubicBezTo>
                    <a:cubicBezTo>
                      <a:pt x="6905" y="10763"/>
                      <a:pt x="7953" y="7239"/>
                      <a:pt x="9191" y="714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4" name="Полилиния: фигура 443">
                <a:extLst>
                  <a:ext uri="{FF2B5EF4-FFF2-40B4-BE49-F238E27FC236}">
                    <a16:creationId xmlns:a16="http://schemas.microsoft.com/office/drawing/2014/main" id="{99AB8F91-7469-4EAA-B361-79E5F5C9E08F}"/>
                  </a:ext>
                </a:extLst>
              </p:cNvPr>
              <p:cNvSpPr/>
              <p:nvPr/>
            </p:nvSpPr>
            <p:spPr>
              <a:xfrm>
                <a:off x="3762911" y="4350899"/>
                <a:ext cx="19050" cy="28575"/>
              </a:xfrm>
              <a:custGeom>
                <a:avLst/>
                <a:gdLst>
                  <a:gd name="connsiteX0" fmla="*/ 8527 w 19050"/>
                  <a:gd name="connsiteY0" fmla="*/ 7144 h 28575"/>
                  <a:gd name="connsiteX1" fmla="*/ 12527 w 19050"/>
                  <a:gd name="connsiteY1" fmla="*/ 14764 h 28575"/>
                  <a:gd name="connsiteX2" fmla="*/ 11575 w 19050"/>
                  <a:gd name="connsiteY2" fmla="*/ 23241 h 28575"/>
                  <a:gd name="connsiteX3" fmla="*/ 7574 w 19050"/>
                  <a:gd name="connsiteY3" fmla="*/ 15621 h 28575"/>
                  <a:gd name="connsiteX4" fmla="*/ 8527 w 19050"/>
                  <a:gd name="connsiteY4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8527" y="7144"/>
                    </a:moveTo>
                    <a:cubicBezTo>
                      <a:pt x="9860" y="7144"/>
                      <a:pt x="11670" y="10287"/>
                      <a:pt x="12527" y="14764"/>
                    </a:cubicBezTo>
                    <a:cubicBezTo>
                      <a:pt x="13385" y="19241"/>
                      <a:pt x="12527" y="22955"/>
                      <a:pt x="11575" y="23241"/>
                    </a:cubicBezTo>
                    <a:cubicBezTo>
                      <a:pt x="10622" y="23527"/>
                      <a:pt x="8432" y="20098"/>
                      <a:pt x="7574" y="15621"/>
                    </a:cubicBezTo>
                    <a:cubicBezTo>
                      <a:pt x="6717" y="11144"/>
                      <a:pt x="7193" y="7429"/>
                      <a:pt x="8527" y="714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5" name="Полилиния: фигура 444">
                <a:extLst>
                  <a:ext uri="{FF2B5EF4-FFF2-40B4-BE49-F238E27FC236}">
                    <a16:creationId xmlns:a16="http://schemas.microsoft.com/office/drawing/2014/main" id="{547D9BBC-BCD9-4DE0-8AE0-22FBB74D3F22}"/>
                  </a:ext>
                </a:extLst>
              </p:cNvPr>
              <p:cNvSpPr/>
              <p:nvPr/>
            </p:nvSpPr>
            <p:spPr>
              <a:xfrm>
                <a:off x="3822253" y="4336874"/>
                <a:ext cx="28575" cy="47625"/>
              </a:xfrm>
              <a:custGeom>
                <a:avLst/>
                <a:gdLst>
                  <a:gd name="connsiteX0" fmla="*/ 21765 w 28575"/>
                  <a:gd name="connsiteY0" fmla="*/ 7166 h 47625"/>
                  <a:gd name="connsiteX1" fmla="*/ 17098 w 28575"/>
                  <a:gd name="connsiteY1" fmla="*/ 25168 h 47625"/>
                  <a:gd name="connsiteX2" fmla="*/ 7573 w 28575"/>
                  <a:gd name="connsiteY2" fmla="*/ 41266 h 47625"/>
                  <a:gd name="connsiteX3" fmla="*/ 12240 w 28575"/>
                  <a:gd name="connsiteY3" fmla="*/ 23264 h 47625"/>
                  <a:gd name="connsiteX4" fmla="*/ 21765 w 28575"/>
                  <a:gd name="connsiteY4" fmla="*/ 7166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47625">
                    <a:moveTo>
                      <a:pt x="21765" y="7166"/>
                    </a:moveTo>
                    <a:cubicBezTo>
                      <a:pt x="23004" y="7738"/>
                      <a:pt x="20908" y="15739"/>
                      <a:pt x="17098" y="25168"/>
                    </a:cubicBezTo>
                    <a:cubicBezTo>
                      <a:pt x="13288" y="34598"/>
                      <a:pt x="9002" y="41742"/>
                      <a:pt x="7573" y="41266"/>
                    </a:cubicBezTo>
                    <a:cubicBezTo>
                      <a:pt x="6144" y="40789"/>
                      <a:pt x="8430" y="32693"/>
                      <a:pt x="12240" y="23264"/>
                    </a:cubicBezTo>
                    <a:cubicBezTo>
                      <a:pt x="16050" y="13834"/>
                      <a:pt x="20051" y="6690"/>
                      <a:pt x="21765" y="716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6" name="Полилиния: фигура 445">
                <a:extLst>
                  <a:ext uri="{FF2B5EF4-FFF2-40B4-BE49-F238E27FC236}">
                    <a16:creationId xmlns:a16="http://schemas.microsoft.com/office/drawing/2014/main" id="{17FDD98C-6894-47C3-8156-4A561B348765}"/>
                  </a:ext>
                </a:extLst>
              </p:cNvPr>
              <p:cNvSpPr/>
              <p:nvPr/>
            </p:nvSpPr>
            <p:spPr>
              <a:xfrm>
                <a:off x="3794243" y="4291842"/>
                <a:ext cx="19050" cy="19050"/>
              </a:xfrm>
              <a:custGeom>
                <a:avLst/>
                <a:gdLst>
                  <a:gd name="connsiteX0" fmla="*/ 10151 w 19050"/>
                  <a:gd name="connsiteY0" fmla="*/ 7146 h 19050"/>
                  <a:gd name="connsiteX1" fmla="*/ 12152 w 19050"/>
                  <a:gd name="connsiteY1" fmla="*/ 14385 h 19050"/>
                  <a:gd name="connsiteX2" fmla="*/ 9104 w 19050"/>
                  <a:gd name="connsiteY2" fmla="*/ 21148 h 19050"/>
                  <a:gd name="connsiteX3" fmla="*/ 7199 w 19050"/>
                  <a:gd name="connsiteY3" fmla="*/ 14004 h 19050"/>
                  <a:gd name="connsiteX4" fmla="*/ 10151 w 19050"/>
                  <a:gd name="connsiteY4" fmla="*/ 7146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0151" y="7146"/>
                    </a:moveTo>
                    <a:cubicBezTo>
                      <a:pt x="11485" y="7146"/>
                      <a:pt x="12437" y="10480"/>
                      <a:pt x="12152" y="14385"/>
                    </a:cubicBezTo>
                    <a:cubicBezTo>
                      <a:pt x="11866" y="18290"/>
                      <a:pt x="10437" y="21243"/>
                      <a:pt x="9104" y="21148"/>
                    </a:cubicBezTo>
                    <a:cubicBezTo>
                      <a:pt x="7770" y="21052"/>
                      <a:pt x="6913" y="17814"/>
                      <a:pt x="7199" y="14004"/>
                    </a:cubicBezTo>
                    <a:cubicBezTo>
                      <a:pt x="7484" y="10194"/>
                      <a:pt x="8818" y="7051"/>
                      <a:pt x="10151" y="71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7" name="Полилиния: фигура 446">
                <a:extLst>
                  <a:ext uri="{FF2B5EF4-FFF2-40B4-BE49-F238E27FC236}">
                    <a16:creationId xmlns:a16="http://schemas.microsoft.com/office/drawing/2014/main" id="{59AE440F-AB25-4B27-AFE2-3BCD9AD90418}"/>
                  </a:ext>
                </a:extLst>
              </p:cNvPr>
              <p:cNvSpPr/>
              <p:nvPr/>
            </p:nvSpPr>
            <p:spPr>
              <a:xfrm>
                <a:off x="3794344" y="4206727"/>
                <a:ext cx="19050" cy="19050"/>
              </a:xfrm>
              <a:custGeom>
                <a:avLst/>
                <a:gdLst>
                  <a:gd name="connsiteX0" fmla="*/ 8145 w 19050"/>
                  <a:gd name="connsiteY0" fmla="*/ 7202 h 19050"/>
                  <a:gd name="connsiteX1" fmla="*/ 13003 w 19050"/>
                  <a:gd name="connsiteY1" fmla="*/ 12822 h 19050"/>
                  <a:gd name="connsiteX2" fmla="*/ 13003 w 19050"/>
                  <a:gd name="connsiteY2" fmla="*/ 20156 h 19050"/>
                  <a:gd name="connsiteX3" fmla="*/ 8145 w 19050"/>
                  <a:gd name="connsiteY3" fmla="*/ 14537 h 19050"/>
                  <a:gd name="connsiteX4" fmla="*/ 8145 w 19050"/>
                  <a:gd name="connsiteY4" fmla="*/ 7202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8145" y="7202"/>
                    </a:moveTo>
                    <a:cubicBezTo>
                      <a:pt x="9383" y="6726"/>
                      <a:pt x="11574" y="9203"/>
                      <a:pt x="13003" y="12822"/>
                    </a:cubicBezTo>
                    <a:cubicBezTo>
                      <a:pt x="14431" y="16442"/>
                      <a:pt x="14431" y="19680"/>
                      <a:pt x="13003" y="20156"/>
                    </a:cubicBezTo>
                    <a:cubicBezTo>
                      <a:pt x="11574" y="20633"/>
                      <a:pt x="9574" y="18156"/>
                      <a:pt x="8145" y="14537"/>
                    </a:cubicBezTo>
                    <a:cubicBezTo>
                      <a:pt x="6716" y="10917"/>
                      <a:pt x="6907" y="7869"/>
                      <a:pt x="8145" y="720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8" name="Полилиния: фигура 447">
                <a:extLst>
                  <a:ext uri="{FF2B5EF4-FFF2-40B4-BE49-F238E27FC236}">
                    <a16:creationId xmlns:a16="http://schemas.microsoft.com/office/drawing/2014/main" id="{F3A2AE1E-F5E0-4E23-A053-DFE03A0D80E6}"/>
                  </a:ext>
                </a:extLst>
              </p:cNvPr>
              <p:cNvSpPr/>
              <p:nvPr/>
            </p:nvSpPr>
            <p:spPr>
              <a:xfrm>
                <a:off x="3837422" y="4248429"/>
                <a:ext cx="19050" cy="28575"/>
              </a:xfrm>
              <a:custGeom>
                <a:avLst/>
                <a:gdLst>
                  <a:gd name="connsiteX0" fmla="*/ 13168 w 19050"/>
                  <a:gd name="connsiteY0" fmla="*/ 24555 h 28575"/>
                  <a:gd name="connsiteX1" fmla="*/ 8215 w 19050"/>
                  <a:gd name="connsiteY1" fmla="*/ 16745 h 28575"/>
                  <a:gd name="connsiteX2" fmla="*/ 8215 w 19050"/>
                  <a:gd name="connsiteY2" fmla="*/ 7220 h 28575"/>
                  <a:gd name="connsiteX3" fmla="*/ 13073 w 19050"/>
                  <a:gd name="connsiteY3" fmla="*/ 15030 h 28575"/>
                  <a:gd name="connsiteX4" fmla="*/ 13168 w 19050"/>
                  <a:gd name="connsiteY4" fmla="*/ 2455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3168" y="24555"/>
                    </a:moveTo>
                    <a:cubicBezTo>
                      <a:pt x="11835" y="24555"/>
                      <a:pt x="9644" y="21412"/>
                      <a:pt x="8215" y="16745"/>
                    </a:cubicBezTo>
                    <a:cubicBezTo>
                      <a:pt x="6787" y="12078"/>
                      <a:pt x="6787" y="7887"/>
                      <a:pt x="8215" y="7220"/>
                    </a:cubicBezTo>
                    <a:cubicBezTo>
                      <a:pt x="9644" y="6553"/>
                      <a:pt x="11740" y="10363"/>
                      <a:pt x="13073" y="15030"/>
                    </a:cubicBezTo>
                    <a:cubicBezTo>
                      <a:pt x="14407" y="19698"/>
                      <a:pt x="14407" y="24174"/>
                      <a:pt x="13168" y="2455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9" name="Полилиния: фигура 448">
                <a:extLst>
                  <a:ext uri="{FF2B5EF4-FFF2-40B4-BE49-F238E27FC236}">
                    <a16:creationId xmlns:a16="http://schemas.microsoft.com/office/drawing/2014/main" id="{424B09B0-A0D4-41A2-B435-1FD29093CA19}"/>
                  </a:ext>
                </a:extLst>
              </p:cNvPr>
              <p:cNvSpPr/>
              <p:nvPr/>
            </p:nvSpPr>
            <p:spPr>
              <a:xfrm>
                <a:off x="3967221" y="4259838"/>
                <a:ext cx="19050" cy="28575"/>
              </a:xfrm>
              <a:custGeom>
                <a:avLst/>
                <a:gdLst>
                  <a:gd name="connsiteX0" fmla="*/ 10147 w 19050"/>
                  <a:gd name="connsiteY0" fmla="*/ 7145 h 28575"/>
                  <a:gd name="connsiteX1" fmla="*/ 12147 w 19050"/>
                  <a:gd name="connsiteY1" fmla="*/ 15813 h 28575"/>
                  <a:gd name="connsiteX2" fmla="*/ 9195 w 19050"/>
                  <a:gd name="connsiteY2" fmla="*/ 24195 h 28575"/>
                  <a:gd name="connsiteX3" fmla="*/ 7195 w 19050"/>
                  <a:gd name="connsiteY3" fmla="*/ 15528 h 28575"/>
                  <a:gd name="connsiteX4" fmla="*/ 10147 w 19050"/>
                  <a:gd name="connsiteY4" fmla="*/ 714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0147" y="7145"/>
                    </a:moveTo>
                    <a:cubicBezTo>
                      <a:pt x="11576" y="7145"/>
                      <a:pt x="12433" y="11051"/>
                      <a:pt x="12147" y="15813"/>
                    </a:cubicBezTo>
                    <a:cubicBezTo>
                      <a:pt x="11862" y="20576"/>
                      <a:pt x="10528" y="24195"/>
                      <a:pt x="9195" y="24195"/>
                    </a:cubicBezTo>
                    <a:cubicBezTo>
                      <a:pt x="7861" y="24195"/>
                      <a:pt x="6909" y="20195"/>
                      <a:pt x="7195" y="15528"/>
                    </a:cubicBezTo>
                    <a:cubicBezTo>
                      <a:pt x="7480" y="10860"/>
                      <a:pt x="9100" y="7050"/>
                      <a:pt x="10147" y="714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50" name="Полилиния: фигура 449">
                <a:extLst>
                  <a:ext uri="{FF2B5EF4-FFF2-40B4-BE49-F238E27FC236}">
                    <a16:creationId xmlns:a16="http://schemas.microsoft.com/office/drawing/2014/main" id="{70301F79-FBA8-4117-95B4-C6EA7D3C16BD}"/>
                  </a:ext>
                </a:extLst>
              </p:cNvPr>
              <p:cNvSpPr/>
              <p:nvPr/>
            </p:nvSpPr>
            <p:spPr>
              <a:xfrm>
                <a:off x="3886569" y="4193667"/>
                <a:ext cx="19050" cy="28575"/>
              </a:xfrm>
              <a:custGeom>
                <a:avLst/>
                <a:gdLst>
                  <a:gd name="connsiteX0" fmla="*/ 8027 w 19050"/>
                  <a:gd name="connsiteY0" fmla="*/ 7212 h 28575"/>
                  <a:gd name="connsiteX1" fmla="*/ 12408 w 19050"/>
                  <a:gd name="connsiteY1" fmla="*/ 14261 h 28575"/>
                  <a:gd name="connsiteX2" fmla="*/ 10027 w 19050"/>
                  <a:gd name="connsiteY2" fmla="*/ 22262 h 28575"/>
                  <a:gd name="connsiteX3" fmla="*/ 7551 w 19050"/>
                  <a:gd name="connsiteY3" fmla="*/ 14928 h 28575"/>
                  <a:gd name="connsiteX4" fmla="*/ 8027 w 19050"/>
                  <a:gd name="connsiteY4" fmla="*/ 721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8027" y="7212"/>
                    </a:moveTo>
                    <a:cubicBezTo>
                      <a:pt x="9265" y="6641"/>
                      <a:pt x="11837" y="9689"/>
                      <a:pt x="12408" y="14261"/>
                    </a:cubicBezTo>
                    <a:cubicBezTo>
                      <a:pt x="12980" y="18833"/>
                      <a:pt x="11361" y="22453"/>
                      <a:pt x="10027" y="22262"/>
                    </a:cubicBezTo>
                    <a:cubicBezTo>
                      <a:pt x="8694" y="22071"/>
                      <a:pt x="8027" y="18738"/>
                      <a:pt x="7551" y="14928"/>
                    </a:cubicBezTo>
                    <a:cubicBezTo>
                      <a:pt x="7074" y="11118"/>
                      <a:pt x="6789" y="7784"/>
                      <a:pt x="8027" y="721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51" name="Полилиния: фигура 450">
                <a:extLst>
                  <a:ext uri="{FF2B5EF4-FFF2-40B4-BE49-F238E27FC236}">
                    <a16:creationId xmlns:a16="http://schemas.microsoft.com/office/drawing/2014/main" id="{A787F22B-29C5-42E4-AAD1-4C8A2FF7FF03}"/>
                  </a:ext>
                </a:extLst>
              </p:cNvPr>
              <p:cNvSpPr/>
              <p:nvPr/>
            </p:nvSpPr>
            <p:spPr>
              <a:xfrm>
                <a:off x="4046028" y="4319933"/>
                <a:ext cx="19050" cy="19050"/>
              </a:xfrm>
              <a:custGeom>
                <a:avLst/>
                <a:gdLst>
                  <a:gd name="connsiteX0" fmla="*/ 10778 w 19050"/>
                  <a:gd name="connsiteY0" fmla="*/ 7153 h 19050"/>
                  <a:gd name="connsiteX1" fmla="*/ 12207 w 19050"/>
                  <a:gd name="connsiteY1" fmla="*/ 14487 h 19050"/>
                  <a:gd name="connsiteX2" fmla="*/ 8778 w 19050"/>
                  <a:gd name="connsiteY2" fmla="*/ 21155 h 19050"/>
                  <a:gd name="connsiteX3" fmla="*/ 7349 w 19050"/>
                  <a:gd name="connsiteY3" fmla="*/ 13725 h 19050"/>
                  <a:gd name="connsiteX4" fmla="*/ 10778 w 19050"/>
                  <a:gd name="connsiteY4" fmla="*/ 7153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0778" y="7153"/>
                    </a:moveTo>
                    <a:cubicBezTo>
                      <a:pt x="12112" y="7153"/>
                      <a:pt x="12778" y="10582"/>
                      <a:pt x="12207" y="14487"/>
                    </a:cubicBezTo>
                    <a:cubicBezTo>
                      <a:pt x="11635" y="18392"/>
                      <a:pt x="10111" y="21345"/>
                      <a:pt x="8778" y="21155"/>
                    </a:cubicBezTo>
                    <a:cubicBezTo>
                      <a:pt x="7444" y="20964"/>
                      <a:pt x="6778" y="17630"/>
                      <a:pt x="7349" y="13725"/>
                    </a:cubicBezTo>
                    <a:cubicBezTo>
                      <a:pt x="7921" y="9820"/>
                      <a:pt x="9445" y="6962"/>
                      <a:pt x="10778" y="715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52" name="Полилиния: фигура 451">
                <a:extLst>
                  <a:ext uri="{FF2B5EF4-FFF2-40B4-BE49-F238E27FC236}">
                    <a16:creationId xmlns:a16="http://schemas.microsoft.com/office/drawing/2014/main" id="{DF3F3A26-5EF0-4FB8-B45B-C50187572597}"/>
                  </a:ext>
                </a:extLst>
              </p:cNvPr>
              <p:cNvSpPr/>
              <p:nvPr/>
            </p:nvSpPr>
            <p:spPr>
              <a:xfrm>
                <a:off x="3908038" y="4373882"/>
                <a:ext cx="19050" cy="19050"/>
              </a:xfrm>
              <a:custGeom>
                <a:avLst/>
                <a:gdLst>
                  <a:gd name="connsiteX0" fmla="*/ 12180 w 19050"/>
                  <a:gd name="connsiteY0" fmla="*/ 18260 h 19050"/>
                  <a:gd name="connsiteX1" fmla="*/ 7894 w 19050"/>
                  <a:gd name="connsiteY1" fmla="*/ 13593 h 19050"/>
                  <a:gd name="connsiteX2" fmla="*/ 7894 w 19050"/>
                  <a:gd name="connsiteY2" fmla="*/ 7211 h 19050"/>
                  <a:gd name="connsiteX3" fmla="*/ 12276 w 19050"/>
                  <a:gd name="connsiteY3" fmla="*/ 11879 h 19050"/>
                  <a:gd name="connsiteX4" fmla="*/ 12180 w 19050"/>
                  <a:gd name="connsiteY4" fmla="*/ 1826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2180" y="18260"/>
                    </a:moveTo>
                    <a:cubicBezTo>
                      <a:pt x="10942" y="18737"/>
                      <a:pt x="8942" y="16641"/>
                      <a:pt x="7894" y="13593"/>
                    </a:cubicBezTo>
                    <a:cubicBezTo>
                      <a:pt x="6847" y="10545"/>
                      <a:pt x="6942" y="7688"/>
                      <a:pt x="7894" y="7211"/>
                    </a:cubicBezTo>
                    <a:cubicBezTo>
                      <a:pt x="8847" y="6735"/>
                      <a:pt x="11133" y="8830"/>
                      <a:pt x="12276" y="11879"/>
                    </a:cubicBezTo>
                    <a:cubicBezTo>
                      <a:pt x="13419" y="14926"/>
                      <a:pt x="13895" y="17784"/>
                      <a:pt x="12180" y="182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53" name="Полилиния: фигура 452">
                <a:extLst>
                  <a:ext uri="{FF2B5EF4-FFF2-40B4-BE49-F238E27FC236}">
                    <a16:creationId xmlns:a16="http://schemas.microsoft.com/office/drawing/2014/main" id="{3349DD4A-FDAE-44DC-B423-CBD440B0A16C}"/>
                  </a:ext>
                </a:extLst>
              </p:cNvPr>
              <p:cNvSpPr/>
              <p:nvPr/>
            </p:nvSpPr>
            <p:spPr>
              <a:xfrm>
                <a:off x="3983819" y="4430051"/>
                <a:ext cx="19050" cy="28575"/>
              </a:xfrm>
              <a:custGeom>
                <a:avLst/>
                <a:gdLst>
                  <a:gd name="connsiteX0" fmla="*/ 9171 w 19050"/>
                  <a:gd name="connsiteY0" fmla="*/ 7144 h 28575"/>
                  <a:gd name="connsiteX1" fmla="*/ 12123 w 19050"/>
                  <a:gd name="connsiteY1" fmla="*/ 15526 h 28575"/>
                  <a:gd name="connsiteX2" fmla="*/ 10028 w 19050"/>
                  <a:gd name="connsiteY2" fmla="*/ 24098 h 28575"/>
                  <a:gd name="connsiteX3" fmla="*/ 7170 w 19050"/>
                  <a:gd name="connsiteY3" fmla="*/ 15716 h 28575"/>
                  <a:gd name="connsiteX4" fmla="*/ 9171 w 19050"/>
                  <a:gd name="connsiteY4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9171" y="7144"/>
                    </a:moveTo>
                    <a:cubicBezTo>
                      <a:pt x="10504" y="7144"/>
                      <a:pt x="11838" y="10763"/>
                      <a:pt x="12123" y="15526"/>
                    </a:cubicBezTo>
                    <a:cubicBezTo>
                      <a:pt x="12409" y="20288"/>
                      <a:pt x="11361" y="24098"/>
                      <a:pt x="10028" y="24098"/>
                    </a:cubicBezTo>
                    <a:cubicBezTo>
                      <a:pt x="8694" y="24098"/>
                      <a:pt x="7361" y="20479"/>
                      <a:pt x="7170" y="15716"/>
                    </a:cubicBezTo>
                    <a:cubicBezTo>
                      <a:pt x="6980" y="10954"/>
                      <a:pt x="7837" y="7144"/>
                      <a:pt x="9171" y="714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54" name="Полилиния: фигура 453">
                <a:extLst>
                  <a:ext uri="{FF2B5EF4-FFF2-40B4-BE49-F238E27FC236}">
                    <a16:creationId xmlns:a16="http://schemas.microsoft.com/office/drawing/2014/main" id="{2D366230-0471-4FD1-9BDA-1590040462E8}"/>
                  </a:ext>
                </a:extLst>
              </p:cNvPr>
              <p:cNvSpPr/>
              <p:nvPr/>
            </p:nvSpPr>
            <p:spPr>
              <a:xfrm>
                <a:off x="4010559" y="4355944"/>
                <a:ext cx="19050" cy="19050"/>
              </a:xfrm>
              <a:custGeom>
                <a:avLst/>
                <a:gdLst>
                  <a:gd name="connsiteX0" fmla="*/ 10147 w 19050"/>
                  <a:gd name="connsiteY0" fmla="*/ 7147 h 19050"/>
                  <a:gd name="connsiteX1" fmla="*/ 12148 w 19050"/>
                  <a:gd name="connsiteY1" fmla="*/ 12386 h 19050"/>
                  <a:gd name="connsiteX2" fmla="*/ 9195 w 19050"/>
                  <a:gd name="connsiteY2" fmla="*/ 17148 h 19050"/>
                  <a:gd name="connsiteX3" fmla="*/ 7195 w 19050"/>
                  <a:gd name="connsiteY3" fmla="*/ 11909 h 19050"/>
                  <a:gd name="connsiteX4" fmla="*/ 10147 w 19050"/>
                  <a:gd name="connsiteY4" fmla="*/ 7147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0147" y="7147"/>
                    </a:moveTo>
                    <a:cubicBezTo>
                      <a:pt x="11576" y="7147"/>
                      <a:pt x="12434" y="9623"/>
                      <a:pt x="12148" y="12386"/>
                    </a:cubicBezTo>
                    <a:cubicBezTo>
                      <a:pt x="11862" y="15148"/>
                      <a:pt x="10528" y="17243"/>
                      <a:pt x="9195" y="17148"/>
                    </a:cubicBezTo>
                    <a:cubicBezTo>
                      <a:pt x="7861" y="17053"/>
                      <a:pt x="6909" y="14672"/>
                      <a:pt x="7195" y="11909"/>
                    </a:cubicBezTo>
                    <a:cubicBezTo>
                      <a:pt x="7480" y="9147"/>
                      <a:pt x="8814" y="7052"/>
                      <a:pt x="10147" y="714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55" name="Полилиния: фигура 454">
                <a:extLst>
                  <a:ext uri="{FF2B5EF4-FFF2-40B4-BE49-F238E27FC236}">
                    <a16:creationId xmlns:a16="http://schemas.microsoft.com/office/drawing/2014/main" id="{9F09A507-E788-44F6-8C55-AB91D43CAB5B}"/>
                  </a:ext>
                </a:extLst>
              </p:cNvPr>
              <p:cNvSpPr/>
              <p:nvPr/>
            </p:nvSpPr>
            <p:spPr>
              <a:xfrm>
                <a:off x="4023158" y="4190748"/>
                <a:ext cx="19050" cy="19050"/>
              </a:xfrm>
              <a:custGeom>
                <a:avLst/>
                <a:gdLst>
                  <a:gd name="connsiteX0" fmla="*/ 12598 w 19050"/>
                  <a:gd name="connsiteY0" fmla="*/ 7179 h 19050"/>
                  <a:gd name="connsiteX1" fmla="*/ 12598 w 19050"/>
                  <a:gd name="connsiteY1" fmla="*/ 14799 h 19050"/>
                  <a:gd name="connsiteX2" fmla="*/ 8217 w 19050"/>
                  <a:gd name="connsiteY2" fmla="*/ 21181 h 19050"/>
                  <a:gd name="connsiteX3" fmla="*/ 8217 w 19050"/>
                  <a:gd name="connsiteY3" fmla="*/ 13465 h 19050"/>
                  <a:gd name="connsiteX4" fmla="*/ 12598 w 19050"/>
                  <a:gd name="connsiteY4" fmla="*/ 7179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2598" y="7179"/>
                    </a:moveTo>
                    <a:cubicBezTo>
                      <a:pt x="13931" y="7179"/>
                      <a:pt x="14122" y="10989"/>
                      <a:pt x="12598" y="14799"/>
                    </a:cubicBezTo>
                    <a:cubicBezTo>
                      <a:pt x="11074" y="18609"/>
                      <a:pt x="9550" y="21562"/>
                      <a:pt x="8217" y="21181"/>
                    </a:cubicBezTo>
                    <a:cubicBezTo>
                      <a:pt x="6883" y="20800"/>
                      <a:pt x="6693" y="17371"/>
                      <a:pt x="8217" y="13465"/>
                    </a:cubicBezTo>
                    <a:cubicBezTo>
                      <a:pt x="9740" y="9560"/>
                      <a:pt x="11360" y="6798"/>
                      <a:pt x="12598" y="717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56" name="Полилиния: фигура 455">
                <a:extLst>
                  <a:ext uri="{FF2B5EF4-FFF2-40B4-BE49-F238E27FC236}">
                    <a16:creationId xmlns:a16="http://schemas.microsoft.com/office/drawing/2014/main" id="{DE4C2651-B13E-40F6-B9AB-1B072D41D313}"/>
                  </a:ext>
                </a:extLst>
              </p:cNvPr>
              <p:cNvSpPr/>
              <p:nvPr/>
            </p:nvSpPr>
            <p:spPr>
              <a:xfrm>
                <a:off x="3967218" y="4153731"/>
                <a:ext cx="19050" cy="19050"/>
              </a:xfrm>
              <a:custGeom>
                <a:avLst/>
                <a:gdLst>
                  <a:gd name="connsiteX0" fmla="*/ 8436 w 19050"/>
                  <a:gd name="connsiteY0" fmla="*/ 7144 h 19050"/>
                  <a:gd name="connsiteX1" fmla="*/ 12341 w 19050"/>
                  <a:gd name="connsiteY1" fmla="*/ 12478 h 19050"/>
                  <a:gd name="connsiteX2" fmla="*/ 11484 w 19050"/>
                  <a:gd name="connsiteY2" fmla="*/ 19145 h 19050"/>
                  <a:gd name="connsiteX3" fmla="*/ 7578 w 19050"/>
                  <a:gd name="connsiteY3" fmla="*/ 13716 h 19050"/>
                  <a:gd name="connsiteX4" fmla="*/ 8436 w 19050"/>
                  <a:gd name="connsiteY4" fmla="*/ 7144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8436" y="7144"/>
                    </a:moveTo>
                    <a:cubicBezTo>
                      <a:pt x="9769" y="7144"/>
                      <a:pt x="11579" y="9239"/>
                      <a:pt x="12341" y="12478"/>
                    </a:cubicBezTo>
                    <a:cubicBezTo>
                      <a:pt x="13103" y="15716"/>
                      <a:pt x="12341" y="18764"/>
                      <a:pt x="11484" y="19145"/>
                    </a:cubicBezTo>
                    <a:cubicBezTo>
                      <a:pt x="10626" y="19526"/>
                      <a:pt x="8436" y="17050"/>
                      <a:pt x="7578" y="13716"/>
                    </a:cubicBezTo>
                    <a:cubicBezTo>
                      <a:pt x="6721" y="10382"/>
                      <a:pt x="7197" y="7429"/>
                      <a:pt x="8436" y="714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57" name="Полилиния: фигура 456">
                <a:extLst>
                  <a:ext uri="{FF2B5EF4-FFF2-40B4-BE49-F238E27FC236}">
                    <a16:creationId xmlns:a16="http://schemas.microsoft.com/office/drawing/2014/main" id="{A26ED239-8985-4E87-A0D7-4B178FC7B4CD}"/>
                  </a:ext>
                </a:extLst>
              </p:cNvPr>
              <p:cNvSpPr/>
              <p:nvPr/>
            </p:nvSpPr>
            <p:spPr>
              <a:xfrm>
                <a:off x="3935878" y="4114473"/>
                <a:ext cx="19050" cy="19050"/>
              </a:xfrm>
              <a:custGeom>
                <a:avLst/>
                <a:gdLst>
                  <a:gd name="connsiteX0" fmla="*/ 7772 w 19050"/>
                  <a:gd name="connsiteY0" fmla="*/ 7349 h 19050"/>
                  <a:gd name="connsiteX1" fmla="*/ 12820 w 19050"/>
                  <a:gd name="connsiteY1" fmla="*/ 10492 h 19050"/>
                  <a:gd name="connsiteX2" fmla="*/ 13772 w 19050"/>
                  <a:gd name="connsiteY2" fmla="*/ 16303 h 19050"/>
                  <a:gd name="connsiteX3" fmla="*/ 8724 w 19050"/>
                  <a:gd name="connsiteY3" fmla="*/ 13255 h 19050"/>
                  <a:gd name="connsiteX4" fmla="*/ 7772 w 19050"/>
                  <a:gd name="connsiteY4" fmla="*/ 7349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7772" y="7349"/>
                    </a:moveTo>
                    <a:cubicBezTo>
                      <a:pt x="8915" y="6587"/>
                      <a:pt x="11201" y="8016"/>
                      <a:pt x="12820" y="10492"/>
                    </a:cubicBezTo>
                    <a:cubicBezTo>
                      <a:pt x="14439" y="12969"/>
                      <a:pt x="14915" y="15541"/>
                      <a:pt x="13772" y="16303"/>
                    </a:cubicBezTo>
                    <a:cubicBezTo>
                      <a:pt x="12629" y="17065"/>
                      <a:pt x="10343" y="15731"/>
                      <a:pt x="8724" y="13255"/>
                    </a:cubicBezTo>
                    <a:cubicBezTo>
                      <a:pt x="7105" y="10778"/>
                      <a:pt x="6629" y="8111"/>
                      <a:pt x="7772" y="73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58" name="Полилиния: фигура 457">
                <a:extLst>
                  <a:ext uri="{FF2B5EF4-FFF2-40B4-BE49-F238E27FC236}">
                    <a16:creationId xmlns:a16="http://schemas.microsoft.com/office/drawing/2014/main" id="{88E442E5-6EFD-409D-8C57-68EDADFDF222}"/>
                  </a:ext>
                </a:extLst>
              </p:cNvPr>
              <p:cNvSpPr/>
              <p:nvPr/>
            </p:nvSpPr>
            <p:spPr>
              <a:xfrm>
                <a:off x="3980286" y="4063625"/>
                <a:ext cx="19050" cy="19050"/>
              </a:xfrm>
              <a:custGeom>
                <a:avLst/>
                <a:gdLst>
                  <a:gd name="connsiteX0" fmla="*/ 8417 w 19050"/>
                  <a:gd name="connsiteY0" fmla="*/ 7144 h 19050"/>
                  <a:gd name="connsiteX1" fmla="*/ 12322 w 19050"/>
                  <a:gd name="connsiteY1" fmla="*/ 12573 h 19050"/>
                  <a:gd name="connsiteX2" fmla="*/ 11465 w 19050"/>
                  <a:gd name="connsiteY2" fmla="*/ 19145 h 19050"/>
                  <a:gd name="connsiteX3" fmla="*/ 7560 w 19050"/>
                  <a:gd name="connsiteY3" fmla="*/ 13716 h 19050"/>
                  <a:gd name="connsiteX4" fmla="*/ 8417 w 19050"/>
                  <a:gd name="connsiteY4" fmla="*/ 7144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8417" y="7144"/>
                    </a:moveTo>
                    <a:cubicBezTo>
                      <a:pt x="9750" y="7144"/>
                      <a:pt x="11465" y="9239"/>
                      <a:pt x="12322" y="12573"/>
                    </a:cubicBezTo>
                    <a:cubicBezTo>
                      <a:pt x="13179" y="15907"/>
                      <a:pt x="12322" y="18764"/>
                      <a:pt x="11465" y="19145"/>
                    </a:cubicBezTo>
                    <a:cubicBezTo>
                      <a:pt x="10608" y="19526"/>
                      <a:pt x="8321" y="17050"/>
                      <a:pt x="7560" y="13716"/>
                    </a:cubicBezTo>
                    <a:cubicBezTo>
                      <a:pt x="6797" y="10382"/>
                      <a:pt x="7083" y="7429"/>
                      <a:pt x="8417" y="714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59" name="Полилиния: фигура 458">
                <a:extLst>
                  <a:ext uri="{FF2B5EF4-FFF2-40B4-BE49-F238E27FC236}">
                    <a16:creationId xmlns:a16="http://schemas.microsoft.com/office/drawing/2014/main" id="{915DAAD1-A8EE-45DD-8DD6-6F6F61D5A0D0}"/>
                  </a:ext>
                </a:extLst>
              </p:cNvPr>
              <p:cNvSpPr/>
              <p:nvPr/>
            </p:nvSpPr>
            <p:spPr>
              <a:xfrm>
                <a:off x="4012560" y="4072578"/>
                <a:ext cx="19050" cy="19050"/>
              </a:xfrm>
              <a:custGeom>
                <a:avLst/>
                <a:gdLst>
                  <a:gd name="connsiteX0" fmla="*/ 9195 w 19050"/>
                  <a:gd name="connsiteY0" fmla="*/ 7144 h 19050"/>
                  <a:gd name="connsiteX1" fmla="*/ 12148 w 19050"/>
                  <a:gd name="connsiteY1" fmla="*/ 12478 h 19050"/>
                  <a:gd name="connsiteX2" fmla="*/ 10147 w 19050"/>
                  <a:gd name="connsiteY2" fmla="*/ 18193 h 19050"/>
                  <a:gd name="connsiteX3" fmla="*/ 7195 w 19050"/>
                  <a:gd name="connsiteY3" fmla="*/ 12954 h 19050"/>
                  <a:gd name="connsiteX4" fmla="*/ 9195 w 19050"/>
                  <a:gd name="connsiteY4" fmla="*/ 7144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9195" y="7144"/>
                    </a:moveTo>
                    <a:cubicBezTo>
                      <a:pt x="10528" y="7144"/>
                      <a:pt x="11862" y="9430"/>
                      <a:pt x="12148" y="12478"/>
                    </a:cubicBezTo>
                    <a:cubicBezTo>
                      <a:pt x="12433" y="15526"/>
                      <a:pt x="11576" y="18098"/>
                      <a:pt x="10147" y="18193"/>
                    </a:cubicBezTo>
                    <a:cubicBezTo>
                      <a:pt x="8718" y="18288"/>
                      <a:pt x="7480" y="15907"/>
                      <a:pt x="7195" y="12954"/>
                    </a:cubicBezTo>
                    <a:cubicBezTo>
                      <a:pt x="6909" y="10001"/>
                      <a:pt x="7861" y="7334"/>
                      <a:pt x="9195" y="714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0" name="Полилиния: фигура 459">
                <a:extLst>
                  <a:ext uri="{FF2B5EF4-FFF2-40B4-BE49-F238E27FC236}">
                    <a16:creationId xmlns:a16="http://schemas.microsoft.com/office/drawing/2014/main" id="{55654BFF-D7A9-4215-8292-522FD191DA98}"/>
                  </a:ext>
                </a:extLst>
              </p:cNvPr>
              <p:cNvSpPr/>
              <p:nvPr/>
            </p:nvSpPr>
            <p:spPr>
              <a:xfrm>
                <a:off x="4023457" y="4118507"/>
                <a:ext cx="19050" cy="19050"/>
              </a:xfrm>
              <a:custGeom>
                <a:avLst/>
                <a:gdLst>
                  <a:gd name="connsiteX0" fmla="*/ 12300 w 19050"/>
                  <a:gd name="connsiteY0" fmla="*/ 7316 h 19050"/>
                  <a:gd name="connsiteX1" fmla="*/ 12300 w 19050"/>
                  <a:gd name="connsiteY1" fmla="*/ 12460 h 19050"/>
                  <a:gd name="connsiteX2" fmla="*/ 8109 w 19050"/>
                  <a:gd name="connsiteY2" fmla="*/ 15317 h 19050"/>
                  <a:gd name="connsiteX3" fmla="*/ 8109 w 19050"/>
                  <a:gd name="connsiteY3" fmla="*/ 10174 h 19050"/>
                  <a:gd name="connsiteX4" fmla="*/ 12300 w 19050"/>
                  <a:gd name="connsiteY4" fmla="*/ 7316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2300" y="7316"/>
                    </a:moveTo>
                    <a:cubicBezTo>
                      <a:pt x="13538" y="7888"/>
                      <a:pt x="13633" y="10174"/>
                      <a:pt x="12300" y="12460"/>
                    </a:cubicBezTo>
                    <a:cubicBezTo>
                      <a:pt x="10966" y="14746"/>
                      <a:pt x="9347" y="15889"/>
                      <a:pt x="8109" y="15317"/>
                    </a:cubicBezTo>
                    <a:cubicBezTo>
                      <a:pt x="6870" y="14746"/>
                      <a:pt x="6775" y="12364"/>
                      <a:pt x="8109" y="10174"/>
                    </a:cubicBezTo>
                    <a:cubicBezTo>
                      <a:pt x="9442" y="7983"/>
                      <a:pt x="11061" y="6649"/>
                      <a:pt x="12300" y="731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1" name="Полилиния: фигура 460">
                <a:extLst>
                  <a:ext uri="{FF2B5EF4-FFF2-40B4-BE49-F238E27FC236}">
                    <a16:creationId xmlns:a16="http://schemas.microsoft.com/office/drawing/2014/main" id="{A59C28B0-2137-4AF6-B773-4F8E9023B0F5}"/>
                  </a:ext>
                </a:extLst>
              </p:cNvPr>
              <p:cNvSpPr/>
              <p:nvPr/>
            </p:nvSpPr>
            <p:spPr>
              <a:xfrm>
                <a:off x="4085564" y="4092215"/>
                <a:ext cx="19050" cy="19050"/>
              </a:xfrm>
              <a:custGeom>
                <a:avLst/>
                <a:gdLst>
                  <a:gd name="connsiteX0" fmla="*/ 19439 w 19050"/>
                  <a:gd name="connsiteY0" fmla="*/ 20464 h 19050"/>
                  <a:gd name="connsiteX1" fmla="*/ 12390 w 19050"/>
                  <a:gd name="connsiteY1" fmla="*/ 14939 h 19050"/>
                  <a:gd name="connsiteX2" fmla="*/ 7247 w 19050"/>
                  <a:gd name="connsiteY2" fmla="*/ 7605 h 19050"/>
                  <a:gd name="connsiteX3" fmla="*/ 16010 w 19050"/>
                  <a:gd name="connsiteY3" fmla="*/ 11510 h 19050"/>
                  <a:gd name="connsiteX4" fmla="*/ 19439 w 19050"/>
                  <a:gd name="connsiteY4" fmla="*/ 20464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9439" y="20464"/>
                    </a:moveTo>
                    <a:cubicBezTo>
                      <a:pt x="18201" y="21131"/>
                      <a:pt x="15534" y="18273"/>
                      <a:pt x="12390" y="14939"/>
                    </a:cubicBezTo>
                    <a:cubicBezTo>
                      <a:pt x="9247" y="11606"/>
                      <a:pt x="6580" y="8843"/>
                      <a:pt x="7247" y="7605"/>
                    </a:cubicBezTo>
                    <a:cubicBezTo>
                      <a:pt x="7914" y="6367"/>
                      <a:pt x="12295" y="7605"/>
                      <a:pt x="16010" y="11510"/>
                    </a:cubicBezTo>
                    <a:cubicBezTo>
                      <a:pt x="19725" y="15416"/>
                      <a:pt x="20677" y="19988"/>
                      <a:pt x="19439" y="2046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2" name="Полилиния: фигура 461">
                <a:extLst>
                  <a:ext uri="{FF2B5EF4-FFF2-40B4-BE49-F238E27FC236}">
                    <a16:creationId xmlns:a16="http://schemas.microsoft.com/office/drawing/2014/main" id="{B64F00D2-2CB9-492F-A6D7-D37D57839487}"/>
                  </a:ext>
                </a:extLst>
              </p:cNvPr>
              <p:cNvSpPr/>
              <p:nvPr/>
            </p:nvSpPr>
            <p:spPr>
              <a:xfrm>
                <a:off x="4122120" y="4084515"/>
                <a:ext cx="19050" cy="19050"/>
              </a:xfrm>
              <a:custGeom>
                <a:avLst/>
                <a:gdLst>
                  <a:gd name="connsiteX0" fmla="*/ 10792 w 19050"/>
                  <a:gd name="connsiteY0" fmla="*/ 14257 h 19050"/>
                  <a:gd name="connsiteX1" fmla="*/ 7363 w 19050"/>
                  <a:gd name="connsiteY1" fmla="*/ 11400 h 19050"/>
                  <a:gd name="connsiteX2" fmla="*/ 8791 w 19050"/>
                  <a:gd name="connsiteY2" fmla="*/ 7209 h 19050"/>
                  <a:gd name="connsiteX3" fmla="*/ 12125 w 19050"/>
                  <a:gd name="connsiteY3" fmla="*/ 10066 h 19050"/>
                  <a:gd name="connsiteX4" fmla="*/ 10792 w 19050"/>
                  <a:gd name="connsiteY4" fmla="*/ 14257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0792" y="14257"/>
                    </a:moveTo>
                    <a:cubicBezTo>
                      <a:pt x="9458" y="14257"/>
                      <a:pt x="7934" y="13400"/>
                      <a:pt x="7363" y="11400"/>
                    </a:cubicBezTo>
                    <a:cubicBezTo>
                      <a:pt x="6791" y="9400"/>
                      <a:pt x="7363" y="7590"/>
                      <a:pt x="8791" y="7209"/>
                    </a:cubicBezTo>
                    <a:cubicBezTo>
                      <a:pt x="10220" y="6828"/>
                      <a:pt x="11554" y="8161"/>
                      <a:pt x="12125" y="10066"/>
                    </a:cubicBezTo>
                    <a:cubicBezTo>
                      <a:pt x="12697" y="11971"/>
                      <a:pt x="12030" y="13876"/>
                      <a:pt x="10792" y="1425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3" name="Полилиния: фигура 462">
                <a:extLst>
                  <a:ext uri="{FF2B5EF4-FFF2-40B4-BE49-F238E27FC236}">
                    <a16:creationId xmlns:a16="http://schemas.microsoft.com/office/drawing/2014/main" id="{EB757143-B440-4C71-B112-000C96313F12}"/>
                  </a:ext>
                </a:extLst>
              </p:cNvPr>
              <p:cNvSpPr/>
              <p:nvPr/>
            </p:nvSpPr>
            <p:spPr>
              <a:xfrm>
                <a:off x="4155720" y="4056573"/>
                <a:ext cx="19050" cy="19050"/>
              </a:xfrm>
              <a:custGeom>
                <a:avLst/>
                <a:gdLst>
                  <a:gd name="connsiteX0" fmla="*/ 9195 w 19050"/>
                  <a:gd name="connsiteY0" fmla="*/ 17148 h 19050"/>
                  <a:gd name="connsiteX1" fmla="*/ 7195 w 19050"/>
                  <a:gd name="connsiteY1" fmla="*/ 11909 h 19050"/>
                  <a:gd name="connsiteX2" fmla="*/ 10242 w 19050"/>
                  <a:gd name="connsiteY2" fmla="*/ 7147 h 19050"/>
                  <a:gd name="connsiteX3" fmla="*/ 12148 w 19050"/>
                  <a:gd name="connsiteY3" fmla="*/ 12386 h 19050"/>
                  <a:gd name="connsiteX4" fmla="*/ 9195 w 19050"/>
                  <a:gd name="connsiteY4" fmla="*/ 17148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9195" y="17148"/>
                    </a:moveTo>
                    <a:cubicBezTo>
                      <a:pt x="7861" y="17148"/>
                      <a:pt x="6909" y="14672"/>
                      <a:pt x="7195" y="11909"/>
                    </a:cubicBezTo>
                    <a:cubicBezTo>
                      <a:pt x="7480" y="9147"/>
                      <a:pt x="8814" y="7052"/>
                      <a:pt x="10242" y="7147"/>
                    </a:cubicBezTo>
                    <a:cubicBezTo>
                      <a:pt x="11671" y="7242"/>
                      <a:pt x="12433" y="9623"/>
                      <a:pt x="12148" y="12386"/>
                    </a:cubicBezTo>
                    <a:cubicBezTo>
                      <a:pt x="11862" y="15148"/>
                      <a:pt x="10528" y="17339"/>
                      <a:pt x="9195" y="1714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4" name="Полилиния: фигура 463">
                <a:extLst>
                  <a:ext uri="{FF2B5EF4-FFF2-40B4-BE49-F238E27FC236}">
                    <a16:creationId xmlns:a16="http://schemas.microsoft.com/office/drawing/2014/main" id="{9D1F5C55-2748-4546-8A75-4B7A7A1BF7CD}"/>
                  </a:ext>
                </a:extLst>
              </p:cNvPr>
              <p:cNvSpPr/>
              <p:nvPr/>
            </p:nvSpPr>
            <p:spPr>
              <a:xfrm>
                <a:off x="4106499" y="4178775"/>
                <a:ext cx="19050" cy="28575"/>
              </a:xfrm>
              <a:custGeom>
                <a:avLst/>
                <a:gdLst>
                  <a:gd name="connsiteX0" fmla="*/ 11362 w 19050"/>
                  <a:gd name="connsiteY0" fmla="*/ 24106 h 28575"/>
                  <a:gd name="connsiteX1" fmla="*/ 7457 w 19050"/>
                  <a:gd name="connsiteY1" fmla="*/ 16009 h 28575"/>
                  <a:gd name="connsiteX2" fmla="*/ 8314 w 19050"/>
                  <a:gd name="connsiteY2" fmla="*/ 7151 h 28575"/>
                  <a:gd name="connsiteX3" fmla="*/ 12315 w 19050"/>
                  <a:gd name="connsiteY3" fmla="*/ 15152 h 28575"/>
                  <a:gd name="connsiteX4" fmla="*/ 11362 w 19050"/>
                  <a:gd name="connsiteY4" fmla="*/ 2410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1362" y="24106"/>
                    </a:moveTo>
                    <a:cubicBezTo>
                      <a:pt x="10029" y="24106"/>
                      <a:pt x="8219" y="20772"/>
                      <a:pt x="7457" y="16009"/>
                    </a:cubicBezTo>
                    <a:cubicBezTo>
                      <a:pt x="6695" y="11247"/>
                      <a:pt x="7457" y="7342"/>
                      <a:pt x="8314" y="7151"/>
                    </a:cubicBezTo>
                    <a:cubicBezTo>
                      <a:pt x="9171" y="6961"/>
                      <a:pt x="11458" y="10485"/>
                      <a:pt x="12315" y="15152"/>
                    </a:cubicBezTo>
                    <a:cubicBezTo>
                      <a:pt x="13172" y="19819"/>
                      <a:pt x="12696" y="23915"/>
                      <a:pt x="11362" y="2410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5" name="Полилиния: фигура 464">
                <a:extLst>
                  <a:ext uri="{FF2B5EF4-FFF2-40B4-BE49-F238E27FC236}">
                    <a16:creationId xmlns:a16="http://schemas.microsoft.com/office/drawing/2014/main" id="{2BCC6001-92E7-4855-B778-FD926056885C}"/>
                  </a:ext>
                </a:extLst>
              </p:cNvPr>
              <p:cNvSpPr/>
              <p:nvPr/>
            </p:nvSpPr>
            <p:spPr>
              <a:xfrm>
                <a:off x="4160796" y="4138320"/>
                <a:ext cx="19050" cy="28575"/>
              </a:xfrm>
              <a:custGeom>
                <a:avLst/>
                <a:gdLst>
                  <a:gd name="connsiteX0" fmla="*/ 13168 w 19050"/>
                  <a:gd name="connsiteY0" fmla="*/ 24555 h 28575"/>
                  <a:gd name="connsiteX1" fmla="*/ 8215 w 19050"/>
                  <a:gd name="connsiteY1" fmla="*/ 16745 h 28575"/>
                  <a:gd name="connsiteX2" fmla="*/ 8215 w 19050"/>
                  <a:gd name="connsiteY2" fmla="*/ 7220 h 28575"/>
                  <a:gd name="connsiteX3" fmla="*/ 13073 w 19050"/>
                  <a:gd name="connsiteY3" fmla="*/ 15030 h 28575"/>
                  <a:gd name="connsiteX4" fmla="*/ 13168 w 19050"/>
                  <a:gd name="connsiteY4" fmla="*/ 2455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3168" y="24555"/>
                    </a:moveTo>
                    <a:cubicBezTo>
                      <a:pt x="11835" y="24555"/>
                      <a:pt x="9644" y="21412"/>
                      <a:pt x="8215" y="16745"/>
                    </a:cubicBezTo>
                    <a:cubicBezTo>
                      <a:pt x="6787" y="12078"/>
                      <a:pt x="6787" y="7887"/>
                      <a:pt x="8215" y="7220"/>
                    </a:cubicBezTo>
                    <a:cubicBezTo>
                      <a:pt x="9644" y="6553"/>
                      <a:pt x="11739" y="10363"/>
                      <a:pt x="13073" y="15030"/>
                    </a:cubicBezTo>
                    <a:cubicBezTo>
                      <a:pt x="14406" y="19698"/>
                      <a:pt x="14406" y="24174"/>
                      <a:pt x="13168" y="2455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6" name="Полилиния: фигура 465">
                <a:extLst>
                  <a:ext uri="{FF2B5EF4-FFF2-40B4-BE49-F238E27FC236}">
                    <a16:creationId xmlns:a16="http://schemas.microsoft.com/office/drawing/2014/main" id="{E2ABEBC7-415F-4009-BEE9-D15D2C240C1D}"/>
                  </a:ext>
                </a:extLst>
              </p:cNvPr>
              <p:cNvSpPr/>
              <p:nvPr/>
            </p:nvSpPr>
            <p:spPr>
              <a:xfrm>
                <a:off x="4210725" y="4129713"/>
                <a:ext cx="19050" cy="28575"/>
              </a:xfrm>
              <a:custGeom>
                <a:avLst/>
                <a:gdLst>
                  <a:gd name="connsiteX0" fmla="*/ 8292 w 19050"/>
                  <a:gd name="connsiteY0" fmla="*/ 25161 h 28575"/>
                  <a:gd name="connsiteX1" fmla="*/ 7816 w 19050"/>
                  <a:gd name="connsiteY1" fmla="*/ 15636 h 28575"/>
                  <a:gd name="connsiteX2" fmla="*/ 12293 w 19050"/>
                  <a:gd name="connsiteY2" fmla="*/ 7159 h 28575"/>
                  <a:gd name="connsiteX3" fmla="*/ 12293 w 19050"/>
                  <a:gd name="connsiteY3" fmla="*/ 16684 h 28575"/>
                  <a:gd name="connsiteX4" fmla="*/ 8292 w 19050"/>
                  <a:gd name="connsiteY4" fmla="*/ 2516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8292" y="25161"/>
                    </a:moveTo>
                    <a:cubicBezTo>
                      <a:pt x="6959" y="25161"/>
                      <a:pt x="6768" y="20589"/>
                      <a:pt x="7816" y="15636"/>
                    </a:cubicBezTo>
                    <a:cubicBezTo>
                      <a:pt x="8864" y="10683"/>
                      <a:pt x="10959" y="6873"/>
                      <a:pt x="12293" y="7159"/>
                    </a:cubicBezTo>
                    <a:cubicBezTo>
                      <a:pt x="13626" y="7445"/>
                      <a:pt x="13817" y="11731"/>
                      <a:pt x="12293" y="16684"/>
                    </a:cubicBezTo>
                    <a:cubicBezTo>
                      <a:pt x="10769" y="21637"/>
                      <a:pt x="9626" y="25447"/>
                      <a:pt x="8292" y="251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7" name="Полилиния: фигура 466">
                <a:extLst>
                  <a:ext uri="{FF2B5EF4-FFF2-40B4-BE49-F238E27FC236}">
                    <a16:creationId xmlns:a16="http://schemas.microsoft.com/office/drawing/2014/main" id="{E6FF6BCC-782B-4E7C-92D9-D09CEDA99407}"/>
                  </a:ext>
                </a:extLst>
              </p:cNvPr>
              <p:cNvSpPr/>
              <p:nvPr/>
            </p:nvSpPr>
            <p:spPr>
              <a:xfrm>
                <a:off x="4134161" y="4174667"/>
                <a:ext cx="19050" cy="19050"/>
              </a:xfrm>
              <a:custGeom>
                <a:avLst/>
                <a:gdLst>
                  <a:gd name="connsiteX0" fmla="*/ 10751 w 19050"/>
                  <a:gd name="connsiteY0" fmla="*/ 20213 h 19050"/>
                  <a:gd name="connsiteX1" fmla="*/ 7322 w 19050"/>
                  <a:gd name="connsiteY1" fmla="*/ 14117 h 19050"/>
                  <a:gd name="connsiteX2" fmla="*/ 8751 w 19050"/>
                  <a:gd name="connsiteY2" fmla="*/ 7163 h 19050"/>
                  <a:gd name="connsiteX3" fmla="*/ 12180 w 19050"/>
                  <a:gd name="connsiteY3" fmla="*/ 13355 h 19050"/>
                  <a:gd name="connsiteX4" fmla="*/ 10751 w 19050"/>
                  <a:gd name="connsiteY4" fmla="*/ 20213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0751" y="20213"/>
                    </a:moveTo>
                    <a:cubicBezTo>
                      <a:pt x="9418" y="20213"/>
                      <a:pt x="7799" y="17641"/>
                      <a:pt x="7322" y="14117"/>
                    </a:cubicBezTo>
                    <a:cubicBezTo>
                      <a:pt x="6846" y="10592"/>
                      <a:pt x="7322" y="7449"/>
                      <a:pt x="8751" y="7163"/>
                    </a:cubicBezTo>
                    <a:cubicBezTo>
                      <a:pt x="10180" y="6878"/>
                      <a:pt x="11608" y="9735"/>
                      <a:pt x="12180" y="13355"/>
                    </a:cubicBezTo>
                    <a:cubicBezTo>
                      <a:pt x="12751" y="16974"/>
                      <a:pt x="12085" y="20022"/>
                      <a:pt x="10751" y="2021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8" name="Полилиния: фигура 467">
                <a:extLst>
                  <a:ext uri="{FF2B5EF4-FFF2-40B4-BE49-F238E27FC236}">
                    <a16:creationId xmlns:a16="http://schemas.microsoft.com/office/drawing/2014/main" id="{D77B5305-4D9E-45BB-AD8A-3AE8DB480185}"/>
                  </a:ext>
                </a:extLst>
              </p:cNvPr>
              <p:cNvSpPr/>
              <p:nvPr/>
            </p:nvSpPr>
            <p:spPr>
              <a:xfrm>
                <a:off x="4193912" y="4205736"/>
                <a:ext cx="19050" cy="28575"/>
              </a:xfrm>
              <a:custGeom>
                <a:avLst/>
                <a:gdLst>
                  <a:gd name="connsiteX0" fmla="*/ 10151 w 19050"/>
                  <a:gd name="connsiteY0" fmla="*/ 22195 h 28575"/>
                  <a:gd name="connsiteX1" fmla="*/ 7198 w 19050"/>
                  <a:gd name="connsiteY1" fmla="*/ 14861 h 28575"/>
                  <a:gd name="connsiteX2" fmla="*/ 9199 w 19050"/>
                  <a:gd name="connsiteY2" fmla="*/ 7146 h 28575"/>
                  <a:gd name="connsiteX3" fmla="*/ 12152 w 19050"/>
                  <a:gd name="connsiteY3" fmla="*/ 14480 h 28575"/>
                  <a:gd name="connsiteX4" fmla="*/ 10151 w 19050"/>
                  <a:gd name="connsiteY4" fmla="*/ 2219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0151" y="22195"/>
                    </a:moveTo>
                    <a:cubicBezTo>
                      <a:pt x="8818" y="22195"/>
                      <a:pt x="7484" y="18957"/>
                      <a:pt x="7198" y="14861"/>
                    </a:cubicBezTo>
                    <a:cubicBezTo>
                      <a:pt x="6913" y="10765"/>
                      <a:pt x="7770" y="7241"/>
                      <a:pt x="9199" y="7146"/>
                    </a:cubicBezTo>
                    <a:cubicBezTo>
                      <a:pt x="10628" y="7050"/>
                      <a:pt x="11866" y="10384"/>
                      <a:pt x="12152" y="14480"/>
                    </a:cubicBezTo>
                    <a:cubicBezTo>
                      <a:pt x="12437" y="18576"/>
                      <a:pt x="11485" y="22100"/>
                      <a:pt x="10151" y="2219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9" name="Полилиния: фигура 468">
                <a:extLst>
                  <a:ext uri="{FF2B5EF4-FFF2-40B4-BE49-F238E27FC236}">
                    <a16:creationId xmlns:a16="http://schemas.microsoft.com/office/drawing/2014/main" id="{2DB1176F-E66E-4876-B114-72479867C46B}"/>
                  </a:ext>
                </a:extLst>
              </p:cNvPr>
              <p:cNvSpPr/>
              <p:nvPr/>
            </p:nvSpPr>
            <p:spPr>
              <a:xfrm>
                <a:off x="4118668" y="4250185"/>
                <a:ext cx="19050" cy="28575"/>
              </a:xfrm>
              <a:custGeom>
                <a:avLst/>
                <a:gdLst>
                  <a:gd name="connsiteX0" fmla="*/ 9195 w 19050"/>
                  <a:gd name="connsiteY0" fmla="*/ 26800 h 28575"/>
                  <a:gd name="connsiteX1" fmla="*/ 7195 w 19050"/>
                  <a:gd name="connsiteY1" fmla="*/ 16704 h 28575"/>
                  <a:gd name="connsiteX2" fmla="*/ 10147 w 19050"/>
                  <a:gd name="connsiteY2" fmla="*/ 7179 h 28575"/>
                  <a:gd name="connsiteX3" fmla="*/ 12147 w 19050"/>
                  <a:gd name="connsiteY3" fmla="*/ 17275 h 28575"/>
                  <a:gd name="connsiteX4" fmla="*/ 9195 w 19050"/>
                  <a:gd name="connsiteY4" fmla="*/ 2680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9195" y="26800"/>
                    </a:moveTo>
                    <a:cubicBezTo>
                      <a:pt x="7861" y="26800"/>
                      <a:pt x="6909" y="22228"/>
                      <a:pt x="7195" y="16704"/>
                    </a:cubicBezTo>
                    <a:cubicBezTo>
                      <a:pt x="7480" y="11179"/>
                      <a:pt x="8814" y="6702"/>
                      <a:pt x="10147" y="7179"/>
                    </a:cubicBezTo>
                    <a:cubicBezTo>
                      <a:pt x="11481" y="7655"/>
                      <a:pt x="12434" y="11751"/>
                      <a:pt x="12147" y="17275"/>
                    </a:cubicBezTo>
                    <a:cubicBezTo>
                      <a:pt x="11862" y="22800"/>
                      <a:pt x="10528" y="26895"/>
                      <a:pt x="9195" y="268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0" name="Полилиния: фигура 469">
                <a:extLst>
                  <a:ext uri="{FF2B5EF4-FFF2-40B4-BE49-F238E27FC236}">
                    <a16:creationId xmlns:a16="http://schemas.microsoft.com/office/drawing/2014/main" id="{DAEC9AAD-5D67-40E6-B618-075C1E0FFAB2}"/>
                  </a:ext>
                </a:extLst>
              </p:cNvPr>
              <p:cNvSpPr/>
              <p:nvPr/>
            </p:nvSpPr>
            <p:spPr>
              <a:xfrm>
                <a:off x="4165722" y="4266781"/>
                <a:ext cx="19050" cy="19050"/>
              </a:xfrm>
              <a:custGeom>
                <a:avLst/>
                <a:gdLst>
                  <a:gd name="connsiteX0" fmla="*/ 10243 w 19050"/>
                  <a:gd name="connsiteY0" fmla="*/ 17252 h 19050"/>
                  <a:gd name="connsiteX1" fmla="*/ 7195 w 19050"/>
                  <a:gd name="connsiteY1" fmla="*/ 12489 h 19050"/>
                  <a:gd name="connsiteX2" fmla="*/ 9195 w 19050"/>
                  <a:gd name="connsiteY2" fmla="*/ 7155 h 19050"/>
                  <a:gd name="connsiteX3" fmla="*/ 12147 w 19050"/>
                  <a:gd name="connsiteY3" fmla="*/ 11918 h 19050"/>
                  <a:gd name="connsiteX4" fmla="*/ 10243 w 19050"/>
                  <a:gd name="connsiteY4" fmla="*/ 17252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0243" y="17252"/>
                    </a:moveTo>
                    <a:cubicBezTo>
                      <a:pt x="8814" y="17252"/>
                      <a:pt x="7480" y="15252"/>
                      <a:pt x="7195" y="12489"/>
                    </a:cubicBezTo>
                    <a:cubicBezTo>
                      <a:pt x="6909" y="9727"/>
                      <a:pt x="7861" y="7346"/>
                      <a:pt x="9195" y="7155"/>
                    </a:cubicBezTo>
                    <a:cubicBezTo>
                      <a:pt x="10528" y="6965"/>
                      <a:pt x="11862" y="9156"/>
                      <a:pt x="12147" y="11918"/>
                    </a:cubicBezTo>
                    <a:cubicBezTo>
                      <a:pt x="12433" y="14680"/>
                      <a:pt x="11671" y="17061"/>
                      <a:pt x="10243" y="1725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1" name="Полилиния: фигура 470">
                <a:extLst>
                  <a:ext uri="{FF2B5EF4-FFF2-40B4-BE49-F238E27FC236}">
                    <a16:creationId xmlns:a16="http://schemas.microsoft.com/office/drawing/2014/main" id="{022716C5-9719-4F66-B337-AB246C78D516}"/>
                  </a:ext>
                </a:extLst>
              </p:cNvPr>
              <p:cNvSpPr/>
              <p:nvPr/>
            </p:nvSpPr>
            <p:spPr>
              <a:xfrm>
                <a:off x="4123291" y="4314894"/>
                <a:ext cx="19050" cy="28575"/>
              </a:xfrm>
              <a:custGeom>
                <a:avLst/>
                <a:gdLst>
                  <a:gd name="connsiteX0" fmla="*/ 9620 w 19050"/>
                  <a:gd name="connsiteY0" fmla="*/ 26194 h 28575"/>
                  <a:gd name="connsiteX1" fmla="*/ 7144 w 19050"/>
                  <a:gd name="connsiteY1" fmla="*/ 16669 h 28575"/>
                  <a:gd name="connsiteX2" fmla="*/ 9620 w 19050"/>
                  <a:gd name="connsiteY2" fmla="*/ 7144 h 28575"/>
                  <a:gd name="connsiteX3" fmla="*/ 12097 w 19050"/>
                  <a:gd name="connsiteY3" fmla="*/ 16669 h 28575"/>
                  <a:gd name="connsiteX4" fmla="*/ 9620 w 19050"/>
                  <a:gd name="connsiteY4" fmla="*/ 2619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9620" y="26194"/>
                    </a:moveTo>
                    <a:cubicBezTo>
                      <a:pt x="8191" y="26194"/>
                      <a:pt x="7144" y="21908"/>
                      <a:pt x="7144" y="16669"/>
                    </a:cubicBezTo>
                    <a:cubicBezTo>
                      <a:pt x="7144" y="11430"/>
                      <a:pt x="8191" y="7144"/>
                      <a:pt x="9620" y="7144"/>
                    </a:cubicBezTo>
                    <a:cubicBezTo>
                      <a:pt x="11049" y="7144"/>
                      <a:pt x="12097" y="11430"/>
                      <a:pt x="12097" y="16669"/>
                    </a:cubicBezTo>
                    <a:cubicBezTo>
                      <a:pt x="12097" y="21908"/>
                      <a:pt x="10954" y="26194"/>
                      <a:pt x="9620" y="2619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2" name="Полилиния: фигура 471">
                <a:extLst>
                  <a:ext uri="{FF2B5EF4-FFF2-40B4-BE49-F238E27FC236}">
                    <a16:creationId xmlns:a16="http://schemas.microsoft.com/office/drawing/2014/main" id="{3B49EAC3-7701-47E9-8375-34CD9B42917C}"/>
                  </a:ext>
                </a:extLst>
              </p:cNvPr>
              <p:cNvSpPr/>
              <p:nvPr/>
            </p:nvSpPr>
            <p:spPr>
              <a:xfrm>
                <a:off x="4156983" y="4348891"/>
                <a:ext cx="19050" cy="28575"/>
              </a:xfrm>
              <a:custGeom>
                <a:avLst/>
                <a:gdLst>
                  <a:gd name="connsiteX0" fmla="*/ 10885 w 19050"/>
                  <a:gd name="connsiteY0" fmla="*/ 22201 h 28575"/>
                  <a:gd name="connsiteX1" fmla="*/ 7361 w 19050"/>
                  <a:gd name="connsiteY1" fmla="*/ 15057 h 28575"/>
                  <a:gd name="connsiteX2" fmla="*/ 8885 w 19050"/>
                  <a:gd name="connsiteY2" fmla="*/ 7152 h 28575"/>
                  <a:gd name="connsiteX3" fmla="*/ 12314 w 19050"/>
                  <a:gd name="connsiteY3" fmla="*/ 14391 h 28575"/>
                  <a:gd name="connsiteX4" fmla="*/ 10885 w 19050"/>
                  <a:gd name="connsiteY4" fmla="*/ 2220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0885" y="22201"/>
                    </a:moveTo>
                    <a:cubicBezTo>
                      <a:pt x="9457" y="22201"/>
                      <a:pt x="7933" y="19153"/>
                      <a:pt x="7361" y="15057"/>
                    </a:cubicBezTo>
                    <a:cubicBezTo>
                      <a:pt x="6790" y="10962"/>
                      <a:pt x="7361" y="7342"/>
                      <a:pt x="8885" y="7152"/>
                    </a:cubicBezTo>
                    <a:cubicBezTo>
                      <a:pt x="10409" y="6961"/>
                      <a:pt x="11743" y="10200"/>
                      <a:pt x="12314" y="14391"/>
                    </a:cubicBezTo>
                    <a:cubicBezTo>
                      <a:pt x="12885" y="18582"/>
                      <a:pt x="12314" y="22011"/>
                      <a:pt x="10885" y="2220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3" name="Полилиния: фигура 472">
                <a:extLst>
                  <a:ext uri="{FF2B5EF4-FFF2-40B4-BE49-F238E27FC236}">
                    <a16:creationId xmlns:a16="http://schemas.microsoft.com/office/drawing/2014/main" id="{46CBE877-3852-4B3A-95EB-42D945683455}"/>
                  </a:ext>
                </a:extLst>
              </p:cNvPr>
              <p:cNvSpPr/>
              <p:nvPr/>
            </p:nvSpPr>
            <p:spPr>
              <a:xfrm>
                <a:off x="4121834" y="4388991"/>
                <a:ext cx="19050" cy="28575"/>
              </a:xfrm>
              <a:custGeom>
                <a:avLst/>
                <a:gdLst>
                  <a:gd name="connsiteX0" fmla="*/ 8791 w 19050"/>
                  <a:gd name="connsiteY0" fmla="*/ 22106 h 28575"/>
                  <a:gd name="connsiteX1" fmla="*/ 7363 w 19050"/>
                  <a:gd name="connsiteY1" fmla="*/ 14295 h 28575"/>
                  <a:gd name="connsiteX2" fmla="*/ 10887 w 19050"/>
                  <a:gd name="connsiteY2" fmla="*/ 7152 h 28575"/>
                  <a:gd name="connsiteX3" fmla="*/ 12221 w 19050"/>
                  <a:gd name="connsiteY3" fmla="*/ 14962 h 28575"/>
                  <a:gd name="connsiteX4" fmla="*/ 8791 w 19050"/>
                  <a:gd name="connsiteY4" fmla="*/ 2210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8791" y="22106"/>
                    </a:moveTo>
                    <a:cubicBezTo>
                      <a:pt x="7363" y="22106"/>
                      <a:pt x="6791" y="18391"/>
                      <a:pt x="7363" y="14295"/>
                    </a:cubicBezTo>
                    <a:cubicBezTo>
                      <a:pt x="7934" y="10200"/>
                      <a:pt x="9458" y="6961"/>
                      <a:pt x="10887" y="7152"/>
                    </a:cubicBezTo>
                    <a:cubicBezTo>
                      <a:pt x="12316" y="7342"/>
                      <a:pt x="12792" y="10771"/>
                      <a:pt x="12221" y="14962"/>
                    </a:cubicBezTo>
                    <a:cubicBezTo>
                      <a:pt x="11649" y="19153"/>
                      <a:pt x="10125" y="22296"/>
                      <a:pt x="8791" y="2210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4" name="Полилиния: фигура 473">
                <a:extLst>
                  <a:ext uri="{FF2B5EF4-FFF2-40B4-BE49-F238E27FC236}">
                    <a16:creationId xmlns:a16="http://schemas.microsoft.com/office/drawing/2014/main" id="{5748EFAF-F07C-4144-8B54-07A1DB8101C8}"/>
                  </a:ext>
                </a:extLst>
              </p:cNvPr>
              <p:cNvSpPr/>
              <p:nvPr/>
            </p:nvSpPr>
            <p:spPr>
              <a:xfrm>
                <a:off x="4161132" y="4422887"/>
                <a:ext cx="19050" cy="28575"/>
              </a:xfrm>
              <a:custGeom>
                <a:avLst/>
                <a:gdLst>
                  <a:gd name="connsiteX0" fmla="*/ 11784 w 19050"/>
                  <a:gd name="connsiteY0" fmla="*/ 23262 h 28575"/>
                  <a:gd name="connsiteX1" fmla="*/ 8355 w 19050"/>
                  <a:gd name="connsiteY1" fmla="*/ 15642 h 28575"/>
                  <a:gd name="connsiteX2" fmla="*/ 7783 w 19050"/>
                  <a:gd name="connsiteY2" fmla="*/ 7260 h 28575"/>
                  <a:gd name="connsiteX3" fmla="*/ 13213 w 19050"/>
                  <a:gd name="connsiteY3" fmla="*/ 14404 h 28575"/>
                  <a:gd name="connsiteX4" fmla="*/ 11784 w 19050"/>
                  <a:gd name="connsiteY4" fmla="*/ 2326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1784" y="23262"/>
                    </a:moveTo>
                    <a:cubicBezTo>
                      <a:pt x="10355" y="23262"/>
                      <a:pt x="9403" y="19738"/>
                      <a:pt x="8355" y="15642"/>
                    </a:cubicBezTo>
                    <a:cubicBezTo>
                      <a:pt x="7307" y="11546"/>
                      <a:pt x="6545" y="8022"/>
                      <a:pt x="7783" y="7260"/>
                    </a:cubicBezTo>
                    <a:cubicBezTo>
                      <a:pt x="9022" y="6498"/>
                      <a:pt x="11974" y="9546"/>
                      <a:pt x="13213" y="14404"/>
                    </a:cubicBezTo>
                    <a:cubicBezTo>
                      <a:pt x="14451" y="19262"/>
                      <a:pt x="13118" y="23357"/>
                      <a:pt x="11784" y="2326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5" name="Полилиния: фигура 474">
                <a:extLst>
                  <a:ext uri="{FF2B5EF4-FFF2-40B4-BE49-F238E27FC236}">
                    <a16:creationId xmlns:a16="http://schemas.microsoft.com/office/drawing/2014/main" id="{C0201FBD-C2D4-401C-BB98-D7EAD73C7941}"/>
                  </a:ext>
                </a:extLst>
              </p:cNvPr>
              <p:cNvSpPr/>
              <p:nvPr/>
            </p:nvSpPr>
            <p:spPr>
              <a:xfrm>
                <a:off x="4116668" y="4471676"/>
                <a:ext cx="19050" cy="28575"/>
              </a:xfrm>
              <a:custGeom>
                <a:avLst/>
                <a:gdLst>
                  <a:gd name="connsiteX0" fmla="*/ 10243 w 19050"/>
                  <a:gd name="connsiteY0" fmla="*/ 25527 h 28575"/>
                  <a:gd name="connsiteX1" fmla="*/ 7195 w 19050"/>
                  <a:gd name="connsiteY1" fmla="*/ 16669 h 28575"/>
                  <a:gd name="connsiteX2" fmla="*/ 9195 w 19050"/>
                  <a:gd name="connsiteY2" fmla="*/ 7144 h 28575"/>
                  <a:gd name="connsiteX3" fmla="*/ 12147 w 19050"/>
                  <a:gd name="connsiteY3" fmla="*/ 16002 h 28575"/>
                  <a:gd name="connsiteX4" fmla="*/ 10243 w 19050"/>
                  <a:gd name="connsiteY4" fmla="*/ 2552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0243" y="25527"/>
                    </a:moveTo>
                    <a:cubicBezTo>
                      <a:pt x="8814" y="25527"/>
                      <a:pt x="7480" y="21622"/>
                      <a:pt x="7195" y="16669"/>
                    </a:cubicBezTo>
                    <a:cubicBezTo>
                      <a:pt x="6909" y="11716"/>
                      <a:pt x="7861" y="7144"/>
                      <a:pt x="9195" y="7144"/>
                    </a:cubicBezTo>
                    <a:cubicBezTo>
                      <a:pt x="10528" y="7144"/>
                      <a:pt x="11862" y="11049"/>
                      <a:pt x="12147" y="16002"/>
                    </a:cubicBezTo>
                    <a:cubicBezTo>
                      <a:pt x="12433" y="20955"/>
                      <a:pt x="11576" y="25527"/>
                      <a:pt x="10243" y="2552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6" name="Полилиния: фигура 475">
                <a:extLst>
                  <a:ext uri="{FF2B5EF4-FFF2-40B4-BE49-F238E27FC236}">
                    <a16:creationId xmlns:a16="http://schemas.microsoft.com/office/drawing/2014/main" id="{5BEE6BDE-ED64-4E24-94A4-A62B046D210F}"/>
                  </a:ext>
                </a:extLst>
              </p:cNvPr>
              <p:cNvSpPr/>
              <p:nvPr/>
            </p:nvSpPr>
            <p:spPr>
              <a:xfrm>
                <a:off x="4158339" y="4494921"/>
                <a:ext cx="19050" cy="28575"/>
              </a:xfrm>
              <a:custGeom>
                <a:avLst/>
                <a:gdLst>
                  <a:gd name="connsiteX0" fmla="*/ 17625 w 19050"/>
                  <a:gd name="connsiteY0" fmla="*/ 26380 h 28575"/>
                  <a:gd name="connsiteX1" fmla="*/ 10386 w 19050"/>
                  <a:gd name="connsiteY1" fmla="*/ 17998 h 28575"/>
                  <a:gd name="connsiteX2" fmla="*/ 7624 w 19050"/>
                  <a:gd name="connsiteY2" fmla="*/ 7330 h 28575"/>
                  <a:gd name="connsiteX3" fmla="*/ 14768 w 19050"/>
                  <a:gd name="connsiteY3" fmla="*/ 15712 h 28575"/>
                  <a:gd name="connsiteX4" fmla="*/ 17625 w 19050"/>
                  <a:gd name="connsiteY4" fmla="*/ 2638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7625" y="26380"/>
                    </a:moveTo>
                    <a:cubicBezTo>
                      <a:pt x="16387" y="26951"/>
                      <a:pt x="13149" y="23237"/>
                      <a:pt x="10386" y="17998"/>
                    </a:cubicBezTo>
                    <a:cubicBezTo>
                      <a:pt x="7624" y="12759"/>
                      <a:pt x="6386" y="8473"/>
                      <a:pt x="7624" y="7330"/>
                    </a:cubicBezTo>
                    <a:cubicBezTo>
                      <a:pt x="8862" y="6187"/>
                      <a:pt x="12006" y="10473"/>
                      <a:pt x="14768" y="15712"/>
                    </a:cubicBezTo>
                    <a:cubicBezTo>
                      <a:pt x="17530" y="20951"/>
                      <a:pt x="19054" y="25713"/>
                      <a:pt x="17625" y="2638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7" name="Полилиния: фигура 476">
                <a:extLst>
                  <a:ext uri="{FF2B5EF4-FFF2-40B4-BE49-F238E27FC236}">
                    <a16:creationId xmlns:a16="http://schemas.microsoft.com/office/drawing/2014/main" id="{76D15989-788E-4919-819E-9129E9511639}"/>
                  </a:ext>
                </a:extLst>
              </p:cNvPr>
              <p:cNvSpPr/>
              <p:nvPr/>
            </p:nvSpPr>
            <p:spPr>
              <a:xfrm>
                <a:off x="4133087" y="4536150"/>
                <a:ext cx="19050" cy="19050"/>
              </a:xfrm>
              <a:custGeom>
                <a:avLst/>
                <a:gdLst>
                  <a:gd name="connsiteX0" fmla="*/ 8778 w 19050"/>
                  <a:gd name="connsiteY0" fmla="*/ 20203 h 19050"/>
                  <a:gd name="connsiteX1" fmla="*/ 7349 w 19050"/>
                  <a:gd name="connsiteY1" fmla="*/ 13249 h 19050"/>
                  <a:gd name="connsiteX2" fmla="*/ 10778 w 19050"/>
                  <a:gd name="connsiteY2" fmla="*/ 7153 h 19050"/>
                  <a:gd name="connsiteX3" fmla="*/ 12302 w 19050"/>
                  <a:gd name="connsiteY3" fmla="*/ 14011 h 19050"/>
                  <a:gd name="connsiteX4" fmla="*/ 8778 w 19050"/>
                  <a:gd name="connsiteY4" fmla="*/ 20203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8778" y="20203"/>
                    </a:moveTo>
                    <a:cubicBezTo>
                      <a:pt x="7445" y="20203"/>
                      <a:pt x="6778" y="16869"/>
                      <a:pt x="7349" y="13249"/>
                    </a:cubicBezTo>
                    <a:cubicBezTo>
                      <a:pt x="7921" y="9630"/>
                      <a:pt x="9445" y="6963"/>
                      <a:pt x="10778" y="7153"/>
                    </a:cubicBezTo>
                    <a:cubicBezTo>
                      <a:pt x="12112" y="7344"/>
                      <a:pt x="12779" y="10392"/>
                      <a:pt x="12302" y="14011"/>
                    </a:cubicBezTo>
                    <a:cubicBezTo>
                      <a:pt x="11826" y="17631"/>
                      <a:pt x="10112" y="20393"/>
                      <a:pt x="8778" y="2020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8" name="Полилиния: фигура 477">
                <a:extLst>
                  <a:ext uri="{FF2B5EF4-FFF2-40B4-BE49-F238E27FC236}">
                    <a16:creationId xmlns:a16="http://schemas.microsoft.com/office/drawing/2014/main" id="{A380F338-60BD-4B3D-9600-DC06A236346D}"/>
                  </a:ext>
                </a:extLst>
              </p:cNvPr>
              <p:cNvSpPr/>
              <p:nvPr/>
            </p:nvSpPr>
            <p:spPr>
              <a:xfrm>
                <a:off x="4220284" y="4546347"/>
                <a:ext cx="19050" cy="28575"/>
              </a:xfrm>
              <a:custGeom>
                <a:avLst/>
                <a:gdLst>
                  <a:gd name="connsiteX0" fmla="*/ 11497 w 19050"/>
                  <a:gd name="connsiteY0" fmla="*/ 30199 h 28575"/>
                  <a:gd name="connsiteX1" fmla="*/ 7496 w 19050"/>
                  <a:gd name="connsiteY1" fmla="*/ 19055 h 28575"/>
                  <a:gd name="connsiteX2" fmla="*/ 8449 w 19050"/>
                  <a:gd name="connsiteY2" fmla="*/ 7149 h 28575"/>
                  <a:gd name="connsiteX3" fmla="*/ 12449 w 19050"/>
                  <a:gd name="connsiteY3" fmla="*/ 18388 h 28575"/>
                  <a:gd name="connsiteX4" fmla="*/ 11497 w 19050"/>
                  <a:gd name="connsiteY4" fmla="*/ 3019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1497" y="30199"/>
                    </a:moveTo>
                    <a:cubicBezTo>
                      <a:pt x="10163" y="30199"/>
                      <a:pt x="8354" y="25342"/>
                      <a:pt x="7496" y="19055"/>
                    </a:cubicBezTo>
                    <a:cubicBezTo>
                      <a:pt x="6639" y="12769"/>
                      <a:pt x="7496" y="7340"/>
                      <a:pt x="8449" y="7149"/>
                    </a:cubicBezTo>
                    <a:cubicBezTo>
                      <a:pt x="9401" y="6958"/>
                      <a:pt x="11592" y="12007"/>
                      <a:pt x="12449" y="18388"/>
                    </a:cubicBezTo>
                    <a:cubicBezTo>
                      <a:pt x="13307" y="24770"/>
                      <a:pt x="12830" y="30199"/>
                      <a:pt x="11497" y="301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9" name="Полилиния: фигура 478">
                <a:extLst>
                  <a:ext uri="{FF2B5EF4-FFF2-40B4-BE49-F238E27FC236}">
                    <a16:creationId xmlns:a16="http://schemas.microsoft.com/office/drawing/2014/main" id="{79206980-AFCF-4C94-A808-DC2745A3AA53}"/>
                  </a:ext>
                </a:extLst>
              </p:cNvPr>
              <p:cNvSpPr/>
              <p:nvPr/>
            </p:nvSpPr>
            <p:spPr>
              <a:xfrm>
                <a:off x="4282906" y="4535091"/>
                <a:ext cx="19050" cy="28575"/>
              </a:xfrm>
              <a:custGeom>
                <a:avLst/>
                <a:gdLst>
                  <a:gd name="connsiteX0" fmla="*/ 13168 w 19050"/>
                  <a:gd name="connsiteY0" fmla="*/ 29263 h 28575"/>
                  <a:gd name="connsiteX1" fmla="*/ 8215 w 19050"/>
                  <a:gd name="connsiteY1" fmla="*/ 18786 h 28575"/>
                  <a:gd name="connsiteX2" fmla="*/ 8215 w 19050"/>
                  <a:gd name="connsiteY2" fmla="*/ 7165 h 28575"/>
                  <a:gd name="connsiteX3" fmla="*/ 13168 w 19050"/>
                  <a:gd name="connsiteY3" fmla="*/ 17643 h 28575"/>
                  <a:gd name="connsiteX4" fmla="*/ 13168 w 19050"/>
                  <a:gd name="connsiteY4" fmla="*/ 29263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3168" y="29263"/>
                    </a:moveTo>
                    <a:cubicBezTo>
                      <a:pt x="11835" y="29263"/>
                      <a:pt x="9644" y="24882"/>
                      <a:pt x="8215" y="18786"/>
                    </a:cubicBezTo>
                    <a:cubicBezTo>
                      <a:pt x="6787" y="12690"/>
                      <a:pt x="6787" y="7546"/>
                      <a:pt x="8215" y="7165"/>
                    </a:cubicBezTo>
                    <a:cubicBezTo>
                      <a:pt x="9644" y="6784"/>
                      <a:pt x="11835" y="11547"/>
                      <a:pt x="13168" y="17643"/>
                    </a:cubicBezTo>
                    <a:cubicBezTo>
                      <a:pt x="14502" y="23739"/>
                      <a:pt x="14502" y="28882"/>
                      <a:pt x="13168" y="2926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0" name="Полилиния: фигура 479">
                <a:extLst>
                  <a:ext uri="{FF2B5EF4-FFF2-40B4-BE49-F238E27FC236}">
                    <a16:creationId xmlns:a16="http://schemas.microsoft.com/office/drawing/2014/main" id="{6EE4B478-9531-47F9-A3B2-BA2B61F55A85}"/>
                  </a:ext>
                </a:extLst>
              </p:cNvPr>
              <p:cNvSpPr/>
              <p:nvPr/>
            </p:nvSpPr>
            <p:spPr>
              <a:xfrm>
                <a:off x="4242243" y="4476057"/>
                <a:ext cx="19050" cy="28575"/>
              </a:xfrm>
              <a:custGeom>
                <a:avLst/>
                <a:gdLst>
                  <a:gd name="connsiteX0" fmla="*/ 8778 w 19050"/>
                  <a:gd name="connsiteY0" fmla="*/ 26194 h 28575"/>
                  <a:gd name="connsiteX1" fmla="*/ 7349 w 19050"/>
                  <a:gd name="connsiteY1" fmla="*/ 16669 h 28575"/>
                  <a:gd name="connsiteX2" fmla="*/ 10778 w 19050"/>
                  <a:gd name="connsiteY2" fmla="*/ 7144 h 28575"/>
                  <a:gd name="connsiteX3" fmla="*/ 12207 w 19050"/>
                  <a:gd name="connsiteY3" fmla="*/ 16669 h 28575"/>
                  <a:gd name="connsiteX4" fmla="*/ 8778 w 19050"/>
                  <a:gd name="connsiteY4" fmla="*/ 2619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8778" y="26194"/>
                    </a:moveTo>
                    <a:cubicBezTo>
                      <a:pt x="7445" y="26194"/>
                      <a:pt x="6778" y="21717"/>
                      <a:pt x="7349" y="16669"/>
                    </a:cubicBezTo>
                    <a:cubicBezTo>
                      <a:pt x="7921" y="11621"/>
                      <a:pt x="9445" y="7144"/>
                      <a:pt x="10778" y="7144"/>
                    </a:cubicBezTo>
                    <a:cubicBezTo>
                      <a:pt x="12112" y="7144"/>
                      <a:pt x="12779" y="11716"/>
                      <a:pt x="12207" y="16669"/>
                    </a:cubicBezTo>
                    <a:cubicBezTo>
                      <a:pt x="11636" y="21622"/>
                      <a:pt x="10112" y="26289"/>
                      <a:pt x="8778" y="2619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1" name="Полилиния: фигура 480">
                <a:extLst>
                  <a:ext uri="{FF2B5EF4-FFF2-40B4-BE49-F238E27FC236}">
                    <a16:creationId xmlns:a16="http://schemas.microsoft.com/office/drawing/2014/main" id="{3A81E332-1D7F-494F-8F21-0CB51D33F221}"/>
                  </a:ext>
                </a:extLst>
              </p:cNvPr>
              <p:cNvSpPr/>
              <p:nvPr/>
            </p:nvSpPr>
            <p:spPr>
              <a:xfrm>
                <a:off x="4212655" y="4394994"/>
                <a:ext cx="19050" cy="28575"/>
              </a:xfrm>
              <a:custGeom>
                <a:avLst/>
                <a:gdLst>
                  <a:gd name="connsiteX0" fmla="*/ 12363 w 19050"/>
                  <a:gd name="connsiteY0" fmla="*/ 30200 h 28575"/>
                  <a:gd name="connsiteX1" fmla="*/ 7886 w 19050"/>
                  <a:gd name="connsiteY1" fmla="*/ 19055 h 28575"/>
                  <a:gd name="connsiteX2" fmla="*/ 8362 w 19050"/>
                  <a:gd name="connsiteY2" fmla="*/ 7149 h 28575"/>
                  <a:gd name="connsiteX3" fmla="*/ 12744 w 19050"/>
                  <a:gd name="connsiteY3" fmla="*/ 18198 h 28575"/>
                  <a:gd name="connsiteX4" fmla="*/ 12363 w 19050"/>
                  <a:gd name="connsiteY4" fmla="*/ 3020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2363" y="30200"/>
                    </a:moveTo>
                    <a:cubicBezTo>
                      <a:pt x="11029" y="30200"/>
                      <a:pt x="9029" y="25437"/>
                      <a:pt x="7886" y="19055"/>
                    </a:cubicBezTo>
                    <a:cubicBezTo>
                      <a:pt x="6743" y="12674"/>
                      <a:pt x="6934" y="7340"/>
                      <a:pt x="8362" y="7149"/>
                    </a:cubicBezTo>
                    <a:cubicBezTo>
                      <a:pt x="9791" y="6959"/>
                      <a:pt x="11696" y="11912"/>
                      <a:pt x="12744" y="18198"/>
                    </a:cubicBezTo>
                    <a:cubicBezTo>
                      <a:pt x="13792" y="24484"/>
                      <a:pt x="13697" y="29914"/>
                      <a:pt x="12363" y="302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2" name="Полилиния: фигура 481">
                <a:extLst>
                  <a:ext uri="{FF2B5EF4-FFF2-40B4-BE49-F238E27FC236}">
                    <a16:creationId xmlns:a16="http://schemas.microsoft.com/office/drawing/2014/main" id="{AD6F35EB-8847-4AF5-8182-E785E0782DCE}"/>
                  </a:ext>
                </a:extLst>
              </p:cNvPr>
              <p:cNvSpPr/>
              <p:nvPr/>
            </p:nvSpPr>
            <p:spPr>
              <a:xfrm>
                <a:off x="4266575" y="4371949"/>
                <a:ext cx="19050" cy="28575"/>
              </a:xfrm>
              <a:custGeom>
                <a:avLst/>
                <a:gdLst>
                  <a:gd name="connsiteX0" fmla="*/ 11497 w 19050"/>
                  <a:gd name="connsiteY0" fmla="*/ 26194 h 28575"/>
                  <a:gd name="connsiteX1" fmla="*/ 7496 w 19050"/>
                  <a:gd name="connsiteY1" fmla="*/ 16669 h 28575"/>
                  <a:gd name="connsiteX2" fmla="*/ 8449 w 19050"/>
                  <a:gd name="connsiteY2" fmla="*/ 7144 h 28575"/>
                  <a:gd name="connsiteX3" fmla="*/ 12450 w 19050"/>
                  <a:gd name="connsiteY3" fmla="*/ 16669 h 28575"/>
                  <a:gd name="connsiteX4" fmla="*/ 11497 w 19050"/>
                  <a:gd name="connsiteY4" fmla="*/ 2619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1497" y="26194"/>
                    </a:moveTo>
                    <a:cubicBezTo>
                      <a:pt x="10163" y="26194"/>
                      <a:pt x="8354" y="22288"/>
                      <a:pt x="7496" y="16669"/>
                    </a:cubicBezTo>
                    <a:cubicBezTo>
                      <a:pt x="6639" y="11049"/>
                      <a:pt x="7496" y="7144"/>
                      <a:pt x="8449" y="7144"/>
                    </a:cubicBezTo>
                    <a:cubicBezTo>
                      <a:pt x="9402" y="7144"/>
                      <a:pt x="11592" y="11049"/>
                      <a:pt x="12450" y="16669"/>
                    </a:cubicBezTo>
                    <a:cubicBezTo>
                      <a:pt x="13307" y="22288"/>
                      <a:pt x="12830" y="26003"/>
                      <a:pt x="11497" y="2619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3" name="Полилиния: фигура 482">
                <a:extLst>
                  <a:ext uri="{FF2B5EF4-FFF2-40B4-BE49-F238E27FC236}">
                    <a16:creationId xmlns:a16="http://schemas.microsoft.com/office/drawing/2014/main" id="{0BAE57D8-EF65-4AE4-B19C-745D757481A2}"/>
                  </a:ext>
                </a:extLst>
              </p:cNvPr>
              <p:cNvSpPr/>
              <p:nvPr/>
            </p:nvSpPr>
            <p:spPr>
              <a:xfrm>
                <a:off x="4231805" y="4313777"/>
                <a:ext cx="19050" cy="28575"/>
              </a:xfrm>
              <a:custGeom>
                <a:avLst/>
                <a:gdLst>
                  <a:gd name="connsiteX0" fmla="*/ 8072 w 19050"/>
                  <a:gd name="connsiteY0" fmla="*/ 26264 h 28575"/>
                  <a:gd name="connsiteX1" fmla="*/ 8072 w 19050"/>
                  <a:gd name="connsiteY1" fmla="*/ 16072 h 28575"/>
                  <a:gd name="connsiteX2" fmla="*/ 12930 w 19050"/>
                  <a:gd name="connsiteY2" fmla="*/ 7214 h 28575"/>
                  <a:gd name="connsiteX3" fmla="*/ 12930 w 19050"/>
                  <a:gd name="connsiteY3" fmla="*/ 17405 h 28575"/>
                  <a:gd name="connsiteX4" fmla="*/ 8072 w 19050"/>
                  <a:gd name="connsiteY4" fmla="*/ 2626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8072" y="26264"/>
                    </a:moveTo>
                    <a:cubicBezTo>
                      <a:pt x="6834" y="26264"/>
                      <a:pt x="6834" y="21406"/>
                      <a:pt x="8072" y="16072"/>
                    </a:cubicBezTo>
                    <a:cubicBezTo>
                      <a:pt x="9311" y="10738"/>
                      <a:pt x="11597" y="6547"/>
                      <a:pt x="12930" y="7214"/>
                    </a:cubicBezTo>
                    <a:cubicBezTo>
                      <a:pt x="14264" y="7880"/>
                      <a:pt x="14169" y="12167"/>
                      <a:pt x="12930" y="17405"/>
                    </a:cubicBezTo>
                    <a:cubicBezTo>
                      <a:pt x="11692" y="22644"/>
                      <a:pt x="9406" y="26645"/>
                      <a:pt x="8072" y="2626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4" name="Полилиния: фигура 483">
                <a:extLst>
                  <a:ext uri="{FF2B5EF4-FFF2-40B4-BE49-F238E27FC236}">
                    <a16:creationId xmlns:a16="http://schemas.microsoft.com/office/drawing/2014/main" id="{C1ED2A5D-6A95-4A3B-ABA4-E52359057955}"/>
                  </a:ext>
                </a:extLst>
              </p:cNvPr>
              <p:cNvSpPr/>
              <p:nvPr/>
            </p:nvSpPr>
            <p:spPr>
              <a:xfrm>
                <a:off x="4194184" y="4293843"/>
                <a:ext cx="19050" cy="28575"/>
              </a:xfrm>
              <a:custGeom>
                <a:avLst/>
                <a:gdLst>
                  <a:gd name="connsiteX0" fmla="*/ 7783 w 19050"/>
                  <a:gd name="connsiteY0" fmla="*/ 28195 h 28575"/>
                  <a:gd name="connsiteX1" fmla="*/ 8355 w 19050"/>
                  <a:gd name="connsiteY1" fmla="*/ 17432 h 28575"/>
                  <a:gd name="connsiteX2" fmla="*/ 11784 w 19050"/>
                  <a:gd name="connsiteY2" fmla="*/ 7145 h 28575"/>
                  <a:gd name="connsiteX3" fmla="*/ 13213 w 19050"/>
                  <a:gd name="connsiteY3" fmla="*/ 18384 h 28575"/>
                  <a:gd name="connsiteX4" fmla="*/ 7783 w 19050"/>
                  <a:gd name="connsiteY4" fmla="*/ 2819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7783" y="28195"/>
                    </a:moveTo>
                    <a:cubicBezTo>
                      <a:pt x="6545" y="27624"/>
                      <a:pt x="7307" y="22956"/>
                      <a:pt x="8355" y="17432"/>
                    </a:cubicBezTo>
                    <a:cubicBezTo>
                      <a:pt x="9403" y="11908"/>
                      <a:pt x="10355" y="7240"/>
                      <a:pt x="11784" y="7145"/>
                    </a:cubicBezTo>
                    <a:cubicBezTo>
                      <a:pt x="13213" y="7050"/>
                      <a:pt x="14451" y="12193"/>
                      <a:pt x="13213" y="18384"/>
                    </a:cubicBezTo>
                    <a:cubicBezTo>
                      <a:pt x="11974" y="24576"/>
                      <a:pt x="9022" y="28767"/>
                      <a:pt x="7783" y="2819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5" name="Полилиния: фигура 484">
                <a:extLst>
                  <a:ext uri="{FF2B5EF4-FFF2-40B4-BE49-F238E27FC236}">
                    <a16:creationId xmlns:a16="http://schemas.microsoft.com/office/drawing/2014/main" id="{5B5E03DA-F50B-401B-BE38-F62C7925DD73}"/>
                  </a:ext>
                </a:extLst>
              </p:cNvPr>
              <p:cNvSpPr/>
              <p:nvPr/>
            </p:nvSpPr>
            <p:spPr>
              <a:xfrm>
                <a:off x="4274651" y="4239832"/>
                <a:ext cx="19050" cy="38100"/>
              </a:xfrm>
              <a:custGeom>
                <a:avLst/>
                <a:gdLst>
                  <a:gd name="connsiteX0" fmla="*/ 12374 w 19050"/>
                  <a:gd name="connsiteY0" fmla="*/ 31152 h 38100"/>
                  <a:gd name="connsiteX1" fmla="*/ 7898 w 19050"/>
                  <a:gd name="connsiteY1" fmla="*/ 19531 h 38100"/>
                  <a:gd name="connsiteX2" fmla="*/ 7898 w 19050"/>
                  <a:gd name="connsiteY2" fmla="*/ 7149 h 38100"/>
                  <a:gd name="connsiteX3" fmla="*/ 12374 w 19050"/>
                  <a:gd name="connsiteY3" fmla="*/ 18769 h 38100"/>
                  <a:gd name="connsiteX4" fmla="*/ 12374 w 19050"/>
                  <a:gd name="connsiteY4" fmla="*/ 31152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12374" y="31152"/>
                    </a:moveTo>
                    <a:cubicBezTo>
                      <a:pt x="11041" y="31152"/>
                      <a:pt x="9041" y="26199"/>
                      <a:pt x="7898" y="19531"/>
                    </a:cubicBezTo>
                    <a:cubicBezTo>
                      <a:pt x="6755" y="12864"/>
                      <a:pt x="7040" y="7339"/>
                      <a:pt x="7898" y="7149"/>
                    </a:cubicBezTo>
                    <a:cubicBezTo>
                      <a:pt x="8755" y="6958"/>
                      <a:pt x="11231" y="12102"/>
                      <a:pt x="12374" y="18769"/>
                    </a:cubicBezTo>
                    <a:cubicBezTo>
                      <a:pt x="13517" y="25437"/>
                      <a:pt x="13708" y="30961"/>
                      <a:pt x="12374" y="3115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6" name="Полилиния: фигура 485">
                <a:extLst>
                  <a:ext uri="{FF2B5EF4-FFF2-40B4-BE49-F238E27FC236}">
                    <a16:creationId xmlns:a16="http://schemas.microsoft.com/office/drawing/2014/main" id="{DDD3F1EF-9EF4-4B7F-B9F7-315B76CE69A3}"/>
                  </a:ext>
                </a:extLst>
              </p:cNvPr>
              <p:cNvSpPr/>
              <p:nvPr/>
            </p:nvSpPr>
            <p:spPr>
              <a:xfrm>
                <a:off x="4236899" y="4211819"/>
                <a:ext cx="19050" cy="28575"/>
              </a:xfrm>
              <a:custGeom>
                <a:avLst/>
                <a:gdLst>
                  <a:gd name="connsiteX0" fmla="*/ 8216 w 19050"/>
                  <a:gd name="connsiteY0" fmla="*/ 25161 h 28575"/>
                  <a:gd name="connsiteX1" fmla="*/ 8216 w 19050"/>
                  <a:gd name="connsiteY1" fmla="*/ 15636 h 28575"/>
                  <a:gd name="connsiteX2" fmla="*/ 12598 w 19050"/>
                  <a:gd name="connsiteY2" fmla="*/ 7159 h 28575"/>
                  <a:gd name="connsiteX3" fmla="*/ 13074 w 19050"/>
                  <a:gd name="connsiteY3" fmla="*/ 16684 h 28575"/>
                  <a:gd name="connsiteX4" fmla="*/ 8216 w 19050"/>
                  <a:gd name="connsiteY4" fmla="*/ 2516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8216" y="25161"/>
                    </a:moveTo>
                    <a:cubicBezTo>
                      <a:pt x="6883" y="25161"/>
                      <a:pt x="6693" y="20589"/>
                      <a:pt x="8216" y="15636"/>
                    </a:cubicBezTo>
                    <a:cubicBezTo>
                      <a:pt x="9740" y="10683"/>
                      <a:pt x="11264" y="6873"/>
                      <a:pt x="12598" y="7159"/>
                    </a:cubicBezTo>
                    <a:cubicBezTo>
                      <a:pt x="13931" y="7445"/>
                      <a:pt x="14122" y="11731"/>
                      <a:pt x="13074" y="16684"/>
                    </a:cubicBezTo>
                    <a:cubicBezTo>
                      <a:pt x="12027" y="21637"/>
                      <a:pt x="9550" y="25447"/>
                      <a:pt x="8216" y="251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7" name="Полилиния: фигура 486">
                <a:extLst>
                  <a:ext uri="{FF2B5EF4-FFF2-40B4-BE49-F238E27FC236}">
                    <a16:creationId xmlns:a16="http://schemas.microsoft.com/office/drawing/2014/main" id="{C55627FB-4DB5-468C-96B0-231854D4B6F4}"/>
                  </a:ext>
                </a:extLst>
              </p:cNvPr>
              <p:cNvSpPr/>
              <p:nvPr/>
            </p:nvSpPr>
            <p:spPr>
              <a:xfrm>
                <a:off x="4256866" y="4152544"/>
                <a:ext cx="28575" cy="19050"/>
              </a:xfrm>
              <a:custGeom>
                <a:avLst/>
                <a:gdLst>
                  <a:gd name="connsiteX0" fmla="*/ 7300 w 28575"/>
                  <a:gd name="connsiteY0" fmla="*/ 18522 h 19050"/>
                  <a:gd name="connsiteX1" fmla="*/ 13396 w 28575"/>
                  <a:gd name="connsiteY1" fmla="*/ 10998 h 19050"/>
                  <a:gd name="connsiteX2" fmla="*/ 22350 w 28575"/>
                  <a:gd name="connsiteY2" fmla="*/ 7473 h 19050"/>
                  <a:gd name="connsiteX3" fmla="*/ 16253 w 28575"/>
                  <a:gd name="connsiteY3" fmla="*/ 14998 h 19050"/>
                  <a:gd name="connsiteX4" fmla="*/ 7300 w 28575"/>
                  <a:gd name="connsiteY4" fmla="*/ 18522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19050">
                    <a:moveTo>
                      <a:pt x="7300" y="18522"/>
                    </a:moveTo>
                    <a:cubicBezTo>
                      <a:pt x="6443" y="17379"/>
                      <a:pt x="9205" y="14046"/>
                      <a:pt x="13396" y="10998"/>
                    </a:cubicBezTo>
                    <a:cubicBezTo>
                      <a:pt x="17587" y="7950"/>
                      <a:pt x="21492" y="6426"/>
                      <a:pt x="22350" y="7473"/>
                    </a:cubicBezTo>
                    <a:cubicBezTo>
                      <a:pt x="23207" y="8521"/>
                      <a:pt x="20444" y="11950"/>
                      <a:pt x="16253" y="14998"/>
                    </a:cubicBezTo>
                    <a:cubicBezTo>
                      <a:pt x="12062" y="18046"/>
                      <a:pt x="8062" y="19570"/>
                      <a:pt x="7300" y="1852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8" name="Полилиния: фигура 487">
                <a:extLst>
                  <a:ext uri="{FF2B5EF4-FFF2-40B4-BE49-F238E27FC236}">
                    <a16:creationId xmlns:a16="http://schemas.microsoft.com/office/drawing/2014/main" id="{03A810F4-82A4-4CD4-8437-35B55985F89A}"/>
                  </a:ext>
                </a:extLst>
              </p:cNvPr>
              <p:cNvSpPr/>
              <p:nvPr/>
            </p:nvSpPr>
            <p:spPr>
              <a:xfrm>
                <a:off x="4291598" y="4168685"/>
                <a:ext cx="19050" cy="38100"/>
              </a:xfrm>
              <a:custGeom>
                <a:avLst/>
                <a:gdLst>
                  <a:gd name="connsiteX0" fmla="*/ 9620 w 19050"/>
                  <a:gd name="connsiteY0" fmla="*/ 35243 h 38100"/>
                  <a:gd name="connsiteX1" fmla="*/ 7144 w 19050"/>
                  <a:gd name="connsiteY1" fmla="*/ 21241 h 38100"/>
                  <a:gd name="connsiteX2" fmla="*/ 9620 w 19050"/>
                  <a:gd name="connsiteY2" fmla="*/ 7144 h 38100"/>
                  <a:gd name="connsiteX3" fmla="*/ 12192 w 19050"/>
                  <a:gd name="connsiteY3" fmla="*/ 21241 h 38100"/>
                  <a:gd name="connsiteX4" fmla="*/ 9620 w 19050"/>
                  <a:gd name="connsiteY4" fmla="*/ 3524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9620" y="35243"/>
                    </a:moveTo>
                    <a:cubicBezTo>
                      <a:pt x="8287" y="35243"/>
                      <a:pt x="7144" y="28956"/>
                      <a:pt x="7144" y="21241"/>
                    </a:cubicBezTo>
                    <a:cubicBezTo>
                      <a:pt x="7144" y="13526"/>
                      <a:pt x="8287" y="7144"/>
                      <a:pt x="9620" y="7144"/>
                    </a:cubicBezTo>
                    <a:cubicBezTo>
                      <a:pt x="10954" y="7144"/>
                      <a:pt x="12192" y="13430"/>
                      <a:pt x="12192" y="21241"/>
                    </a:cubicBezTo>
                    <a:cubicBezTo>
                      <a:pt x="12192" y="29051"/>
                      <a:pt x="10859" y="35243"/>
                      <a:pt x="9620" y="352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9" name="Полилиния: фигура 488">
                <a:extLst>
                  <a:ext uri="{FF2B5EF4-FFF2-40B4-BE49-F238E27FC236}">
                    <a16:creationId xmlns:a16="http://schemas.microsoft.com/office/drawing/2014/main" id="{2374AE0C-A159-4E52-91A9-CBA31A98E97B}"/>
                  </a:ext>
                </a:extLst>
              </p:cNvPr>
              <p:cNvSpPr/>
              <p:nvPr/>
            </p:nvSpPr>
            <p:spPr>
              <a:xfrm>
                <a:off x="4352438" y="4256790"/>
                <a:ext cx="19050" cy="38100"/>
              </a:xfrm>
              <a:custGeom>
                <a:avLst/>
                <a:gdLst>
                  <a:gd name="connsiteX0" fmla="*/ 15455 w 19050"/>
                  <a:gd name="connsiteY0" fmla="*/ 32196 h 38100"/>
                  <a:gd name="connsiteX1" fmla="*/ 8406 w 19050"/>
                  <a:gd name="connsiteY1" fmla="*/ 20671 h 38100"/>
                  <a:gd name="connsiteX2" fmla="*/ 8406 w 19050"/>
                  <a:gd name="connsiteY2" fmla="*/ 7145 h 38100"/>
                  <a:gd name="connsiteX3" fmla="*/ 13169 w 19050"/>
                  <a:gd name="connsiteY3" fmla="*/ 19337 h 38100"/>
                  <a:gd name="connsiteX4" fmla="*/ 15455 w 19050"/>
                  <a:gd name="connsiteY4" fmla="*/ 32196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15455" y="32196"/>
                    </a:moveTo>
                    <a:cubicBezTo>
                      <a:pt x="14216" y="32863"/>
                      <a:pt x="10406" y="27910"/>
                      <a:pt x="8406" y="20671"/>
                    </a:cubicBezTo>
                    <a:cubicBezTo>
                      <a:pt x="6406" y="13431"/>
                      <a:pt x="7073" y="7240"/>
                      <a:pt x="8406" y="7145"/>
                    </a:cubicBezTo>
                    <a:cubicBezTo>
                      <a:pt x="9740" y="7050"/>
                      <a:pt x="11264" y="12669"/>
                      <a:pt x="13169" y="19337"/>
                    </a:cubicBezTo>
                    <a:cubicBezTo>
                      <a:pt x="15074" y="26005"/>
                      <a:pt x="16979" y="31529"/>
                      <a:pt x="15455" y="321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0" name="Полилиния: фигура 489">
                <a:extLst>
                  <a:ext uri="{FF2B5EF4-FFF2-40B4-BE49-F238E27FC236}">
                    <a16:creationId xmlns:a16="http://schemas.microsoft.com/office/drawing/2014/main" id="{B3A307CE-C9FF-4BC0-AD36-4210A033F93B}"/>
                  </a:ext>
                </a:extLst>
              </p:cNvPr>
              <p:cNvSpPr/>
              <p:nvPr/>
            </p:nvSpPr>
            <p:spPr>
              <a:xfrm>
                <a:off x="4392988" y="4222121"/>
                <a:ext cx="19050" cy="28575"/>
              </a:xfrm>
              <a:custGeom>
                <a:avLst/>
                <a:gdLst>
                  <a:gd name="connsiteX0" fmla="*/ 9195 w 19050"/>
                  <a:gd name="connsiteY0" fmla="*/ 26861 h 28575"/>
                  <a:gd name="connsiteX1" fmla="*/ 7195 w 19050"/>
                  <a:gd name="connsiteY1" fmla="*/ 16669 h 28575"/>
                  <a:gd name="connsiteX2" fmla="*/ 10242 w 19050"/>
                  <a:gd name="connsiteY2" fmla="*/ 7144 h 28575"/>
                  <a:gd name="connsiteX3" fmla="*/ 12148 w 19050"/>
                  <a:gd name="connsiteY3" fmla="*/ 17336 h 28575"/>
                  <a:gd name="connsiteX4" fmla="*/ 9195 w 19050"/>
                  <a:gd name="connsiteY4" fmla="*/ 2686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9195" y="26861"/>
                    </a:moveTo>
                    <a:cubicBezTo>
                      <a:pt x="7861" y="26861"/>
                      <a:pt x="6909" y="22193"/>
                      <a:pt x="7195" y="16669"/>
                    </a:cubicBezTo>
                    <a:cubicBezTo>
                      <a:pt x="7480" y="11144"/>
                      <a:pt x="8814" y="7144"/>
                      <a:pt x="10242" y="7144"/>
                    </a:cubicBezTo>
                    <a:cubicBezTo>
                      <a:pt x="11671" y="7144"/>
                      <a:pt x="12433" y="11811"/>
                      <a:pt x="12148" y="17336"/>
                    </a:cubicBezTo>
                    <a:cubicBezTo>
                      <a:pt x="11862" y="22860"/>
                      <a:pt x="10528" y="26861"/>
                      <a:pt x="9195" y="268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1" name="Полилиния: фигура 490">
                <a:extLst>
                  <a:ext uri="{FF2B5EF4-FFF2-40B4-BE49-F238E27FC236}">
                    <a16:creationId xmlns:a16="http://schemas.microsoft.com/office/drawing/2014/main" id="{322A3E34-56F2-4659-81A2-E6CA9743E051}"/>
                  </a:ext>
                </a:extLst>
              </p:cNvPr>
              <p:cNvSpPr/>
              <p:nvPr/>
            </p:nvSpPr>
            <p:spPr>
              <a:xfrm>
                <a:off x="4380531" y="4332892"/>
                <a:ext cx="19050" cy="38100"/>
              </a:xfrm>
              <a:custGeom>
                <a:avLst/>
                <a:gdLst>
                  <a:gd name="connsiteX0" fmla="*/ 11460 w 19050"/>
                  <a:gd name="connsiteY0" fmla="*/ 36199 h 38100"/>
                  <a:gd name="connsiteX1" fmla="*/ 7555 w 19050"/>
                  <a:gd name="connsiteY1" fmla="*/ 21912 h 38100"/>
                  <a:gd name="connsiteX2" fmla="*/ 8507 w 19050"/>
                  <a:gd name="connsiteY2" fmla="*/ 7148 h 38100"/>
                  <a:gd name="connsiteX3" fmla="*/ 12413 w 19050"/>
                  <a:gd name="connsiteY3" fmla="*/ 21435 h 38100"/>
                  <a:gd name="connsiteX4" fmla="*/ 11460 w 19050"/>
                  <a:gd name="connsiteY4" fmla="*/ 36199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11460" y="36199"/>
                    </a:moveTo>
                    <a:cubicBezTo>
                      <a:pt x="10127" y="36199"/>
                      <a:pt x="8317" y="30008"/>
                      <a:pt x="7555" y="21912"/>
                    </a:cubicBezTo>
                    <a:cubicBezTo>
                      <a:pt x="6793" y="13815"/>
                      <a:pt x="7079" y="7338"/>
                      <a:pt x="8507" y="7148"/>
                    </a:cubicBezTo>
                    <a:cubicBezTo>
                      <a:pt x="9936" y="6957"/>
                      <a:pt x="11651" y="13434"/>
                      <a:pt x="12413" y="21435"/>
                    </a:cubicBezTo>
                    <a:cubicBezTo>
                      <a:pt x="13175" y="29436"/>
                      <a:pt x="12889" y="36104"/>
                      <a:pt x="11460" y="361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2" name="Полилиния: фигура 491">
                <a:extLst>
                  <a:ext uri="{FF2B5EF4-FFF2-40B4-BE49-F238E27FC236}">
                    <a16:creationId xmlns:a16="http://schemas.microsoft.com/office/drawing/2014/main" id="{84C7AC96-A15D-4AE6-B6D6-2DE7D7D6C810}"/>
                  </a:ext>
                </a:extLst>
              </p:cNvPr>
              <p:cNvSpPr/>
              <p:nvPr/>
            </p:nvSpPr>
            <p:spPr>
              <a:xfrm>
                <a:off x="4343854" y="4357942"/>
                <a:ext cx="19050" cy="38100"/>
              </a:xfrm>
              <a:custGeom>
                <a:avLst/>
                <a:gdLst>
                  <a:gd name="connsiteX0" fmla="*/ 12323 w 19050"/>
                  <a:gd name="connsiteY0" fmla="*/ 31152 h 38100"/>
                  <a:gd name="connsiteX1" fmla="*/ 7847 w 19050"/>
                  <a:gd name="connsiteY1" fmla="*/ 19531 h 38100"/>
                  <a:gd name="connsiteX2" fmla="*/ 8323 w 19050"/>
                  <a:gd name="connsiteY2" fmla="*/ 7149 h 38100"/>
                  <a:gd name="connsiteX3" fmla="*/ 12704 w 19050"/>
                  <a:gd name="connsiteY3" fmla="*/ 18769 h 38100"/>
                  <a:gd name="connsiteX4" fmla="*/ 12323 w 19050"/>
                  <a:gd name="connsiteY4" fmla="*/ 31152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12323" y="31152"/>
                    </a:moveTo>
                    <a:cubicBezTo>
                      <a:pt x="10895" y="31152"/>
                      <a:pt x="8894" y="26199"/>
                      <a:pt x="7847" y="19531"/>
                    </a:cubicBezTo>
                    <a:cubicBezTo>
                      <a:pt x="6799" y="12864"/>
                      <a:pt x="6894" y="7339"/>
                      <a:pt x="8323" y="7149"/>
                    </a:cubicBezTo>
                    <a:cubicBezTo>
                      <a:pt x="9752" y="6958"/>
                      <a:pt x="11657" y="12102"/>
                      <a:pt x="12704" y="18769"/>
                    </a:cubicBezTo>
                    <a:cubicBezTo>
                      <a:pt x="13752" y="25437"/>
                      <a:pt x="13657" y="30961"/>
                      <a:pt x="12323" y="3115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3" name="Полилиния: фигура 492">
                <a:extLst>
                  <a:ext uri="{FF2B5EF4-FFF2-40B4-BE49-F238E27FC236}">
                    <a16:creationId xmlns:a16="http://schemas.microsoft.com/office/drawing/2014/main" id="{A3CED49B-DF73-4C3A-BF44-CF1267C66DBD}"/>
                  </a:ext>
                </a:extLst>
              </p:cNvPr>
              <p:cNvSpPr/>
              <p:nvPr/>
            </p:nvSpPr>
            <p:spPr>
              <a:xfrm>
                <a:off x="4373791" y="4425657"/>
                <a:ext cx="19050" cy="19050"/>
              </a:xfrm>
              <a:custGeom>
                <a:avLst/>
                <a:gdLst>
                  <a:gd name="connsiteX0" fmla="*/ 19344 w 19050"/>
                  <a:gd name="connsiteY0" fmla="*/ 17539 h 19050"/>
                  <a:gd name="connsiteX1" fmla="*/ 11819 w 19050"/>
                  <a:gd name="connsiteY1" fmla="*/ 14396 h 19050"/>
                  <a:gd name="connsiteX2" fmla="*/ 7342 w 19050"/>
                  <a:gd name="connsiteY2" fmla="*/ 7538 h 19050"/>
                  <a:gd name="connsiteX3" fmla="*/ 14962 w 19050"/>
                  <a:gd name="connsiteY3" fmla="*/ 10586 h 19050"/>
                  <a:gd name="connsiteX4" fmla="*/ 19344 w 19050"/>
                  <a:gd name="connsiteY4" fmla="*/ 17539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9344" y="17539"/>
                    </a:moveTo>
                    <a:cubicBezTo>
                      <a:pt x="18486" y="18587"/>
                      <a:pt x="15152" y="17539"/>
                      <a:pt x="11819" y="14396"/>
                    </a:cubicBezTo>
                    <a:cubicBezTo>
                      <a:pt x="8485" y="11253"/>
                      <a:pt x="6485" y="8586"/>
                      <a:pt x="7342" y="7538"/>
                    </a:cubicBezTo>
                    <a:cubicBezTo>
                      <a:pt x="8199" y="6490"/>
                      <a:pt x="11628" y="7538"/>
                      <a:pt x="14962" y="10586"/>
                    </a:cubicBezTo>
                    <a:cubicBezTo>
                      <a:pt x="18296" y="13634"/>
                      <a:pt x="20296" y="16492"/>
                      <a:pt x="19344" y="1753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4" name="Полилиния: фигура 493">
                <a:extLst>
                  <a:ext uri="{FF2B5EF4-FFF2-40B4-BE49-F238E27FC236}">
                    <a16:creationId xmlns:a16="http://schemas.microsoft.com/office/drawing/2014/main" id="{278F0393-5334-47E9-923B-DC99CF0B9508}"/>
                  </a:ext>
                </a:extLst>
              </p:cNvPr>
              <p:cNvSpPr/>
              <p:nvPr/>
            </p:nvSpPr>
            <p:spPr>
              <a:xfrm>
                <a:off x="4416357" y="4406981"/>
                <a:ext cx="19050" cy="38100"/>
              </a:xfrm>
              <a:custGeom>
                <a:avLst/>
                <a:gdLst>
                  <a:gd name="connsiteX0" fmla="*/ 14877 w 19050"/>
                  <a:gd name="connsiteY0" fmla="*/ 31167 h 38100"/>
                  <a:gd name="connsiteX1" fmla="*/ 8972 w 19050"/>
                  <a:gd name="connsiteY1" fmla="*/ 19832 h 38100"/>
                  <a:gd name="connsiteX2" fmla="*/ 7829 w 19050"/>
                  <a:gd name="connsiteY2" fmla="*/ 7164 h 38100"/>
                  <a:gd name="connsiteX3" fmla="*/ 13734 w 19050"/>
                  <a:gd name="connsiteY3" fmla="*/ 18499 h 38100"/>
                  <a:gd name="connsiteX4" fmla="*/ 14877 w 19050"/>
                  <a:gd name="connsiteY4" fmla="*/ 31167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14877" y="31167"/>
                    </a:moveTo>
                    <a:cubicBezTo>
                      <a:pt x="13544" y="31167"/>
                      <a:pt x="10877" y="26500"/>
                      <a:pt x="8972" y="19832"/>
                    </a:cubicBezTo>
                    <a:cubicBezTo>
                      <a:pt x="7066" y="13165"/>
                      <a:pt x="6590" y="7545"/>
                      <a:pt x="7829" y="7164"/>
                    </a:cubicBezTo>
                    <a:cubicBezTo>
                      <a:pt x="9067" y="6783"/>
                      <a:pt x="11829" y="11831"/>
                      <a:pt x="13734" y="18499"/>
                    </a:cubicBezTo>
                    <a:cubicBezTo>
                      <a:pt x="15639" y="25166"/>
                      <a:pt x="16211" y="30786"/>
                      <a:pt x="14877" y="3116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5" name="Полилиния: фигура 494">
                <a:extLst>
                  <a:ext uri="{FF2B5EF4-FFF2-40B4-BE49-F238E27FC236}">
                    <a16:creationId xmlns:a16="http://schemas.microsoft.com/office/drawing/2014/main" id="{96CA93FC-08C4-4EDC-BFBB-FD63DED81913}"/>
                  </a:ext>
                </a:extLst>
              </p:cNvPr>
              <p:cNvSpPr/>
              <p:nvPr/>
            </p:nvSpPr>
            <p:spPr>
              <a:xfrm>
                <a:off x="4335508" y="4428528"/>
                <a:ext cx="19050" cy="28575"/>
              </a:xfrm>
              <a:custGeom>
                <a:avLst/>
                <a:gdLst>
                  <a:gd name="connsiteX0" fmla="*/ 9620 w 19050"/>
                  <a:gd name="connsiteY0" fmla="*/ 26670 h 28575"/>
                  <a:gd name="connsiteX1" fmla="*/ 7144 w 19050"/>
                  <a:gd name="connsiteY1" fmla="*/ 17145 h 28575"/>
                  <a:gd name="connsiteX2" fmla="*/ 9620 w 19050"/>
                  <a:gd name="connsiteY2" fmla="*/ 7144 h 28575"/>
                  <a:gd name="connsiteX3" fmla="*/ 12097 w 19050"/>
                  <a:gd name="connsiteY3" fmla="*/ 17145 h 28575"/>
                  <a:gd name="connsiteX4" fmla="*/ 9620 w 19050"/>
                  <a:gd name="connsiteY4" fmla="*/ 2667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9620" y="26670"/>
                    </a:moveTo>
                    <a:cubicBezTo>
                      <a:pt x="8287" y="26670"/>
                      <a:pt x="7144" y="22193"/>
                      <a:pt x="7144" y="17145"/>
                    </a:cubicBezTo>
                    <a:cubicBezTo>
                      <a:pt x="7144" y="12097"/>
                      <a:pt x="8287" y="7144"/>
                      <a:pt x="9620" y="7144"/>
                    </a:cubicBezTo>
                    <a:cubicBezTo>
                      <a:pt x="10954" y="7144"/>
                      <a:pt x="12097" y="11620"/>
                      <a:pt x="12097" y="17145"/>
                    </a:cubicBezTo>
                    <a:cubicBezTo>
                      <a:pt x="12097" y="22669"/>
                      <a:pt x="10954" y="26670"/>
                      <a:pt x="9620" y="2667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6" name="Полилиния: фигура 495">
                <a:extLst>
                  <a:ext uri="{FF2B5EF4-FFF2-40B4-BE49-F238E27FC236}">
                    <a16:creationId xmlns:a16="http://schemas.microsoft.com/office/drawing/2014/main" id="{EF4C005F-ABF3-4130-BEE3-B221109B1B1C}"/>
                  </a:ext>
                </a:extLst>
              </p:cNvPr>
              <p:cNvSpPr/>
              <p:nvPr/>
            </p:nvSpPr>
            <p:spPr>
              <a:xfrm>
                <a:off x="4347643" y="4492008"/>
                <a:ext cx="19050" cy="28575"/>
              </a:xfrm>
              <a:custGeom>
                <a:avLst/>
                <a:gdLst>
                  <a:gd name="connsiteX0" fmla="*/ 19488 w 19050"/>
                  <a:gd name="connsiteY0" fmla="*/ 24245 h 28575"/>
                  <a:gd name="connsiteX1" fmla="*/ 11487 w 19050"/>
                  <a:gd name="connsiteY1" fmla="*/ 17196 h 28575"/>
                  <a:gd name="connsiteX2" fmla="*/ 7487 w 19050"/>
                  <a:gd name="connsiteY2" fmla="*/ 7195 h 28575"/>
                  <a:gd name="connsiteX3" fmla="*/ 15488 w 19050"/>
                  <a:gd name="connsiteY3" fmla="*/ 14339 h 28575"/>
                  <a:gd name="connsiteX4" fmla="*/ 19488 w 19050"/>
                  <a:gd name="connsiteY4" fmla="*/ 2424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9488" y="24245"/>
                    </a:moveTo>
                    <a:cubicBezTo>
                      <a:pt x="18345" y="25007"/>
                      <a:pt x="14821" y="21864"/>
                      <a:pt x="11487" y="17196"/>
                    </a:cubicBezTo>
                    <a:cubicBezTo>
                      <a:pt x="8154" y="12529"/>
                      <a:pt x="6344" y="7671"/>
                      <a:pt x="7487" y="7195"/>
                    </a:cubicBezTo>
                    <a:cubicBezTo>
                      <a:pt x="8630" y="6719"/>
                      <a:pt x="12249" y="9577"/>
                      <a:pt x="15488" y="14339"/>
                    </a:cubicBezTo>
                    <a:cubicBezTo>
                      <a:pt x="18726" y="19102"/>
                      <a:pt x="20250" y="23483"/>
                      <a:pt x="19488" y="2424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7" name="Полилиния: фигура 496">
                <a:extLst>
                  <a:ext uri="{FF2B5EF4-FFF2-40B4-BE49-F238E27FC236}">
                    <a16:creationId xmlns:a16="http://schemas.microsoft.com/office/drawing/2014/main" id="{CFFB271D-6937-45CA-BC88-008679566018}"/>
                  </a:ext>
                </a:extLst>
              </p:cNvPr>
              <p:cNvSpPr/>
              <p:nvPr/>
            </p:nvSpPr>
            <p:spPr>
              <a:xfrm>
                <a:off x="4382235" y="4476087"/>
                <a:ext cx="28575" cy="28575"/>
              </a:xfrm>
              <a:custGeom>
                <a:avLst/>
                <a:gdLst>
                  <a:gd name="connsiteX0" fmla="*/ 21948 w 28575"/>
                  <a:gd name="connsiteY0" fmla="*/ 30165 h 28575"/>
                  <a:gd name="connsiteX1" fmla="*/ 12423 w 28575"/>
                  <a:gd name="connsiteY1" fmla="*/ 19973 h 28575"/>
                  <a:gd name="connsiteX2" fmla="*/ 7470 w 28575"/>
                  <a:gd name="connsiteY2" fmla="*/ 7209 h 28575"/>
                  <a:gd name="connsiteX3" fmla="*/ 16995 w 28575"/>
                  <a:gd name="connsiteY3" fmla="*/ 17401 h 28575"/>
                  <a:gd name="connsiteX4" fmla="*/ 21948 w 28575"/>
                  <a:gd name="connsiteY4" fmla="*/ 3016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21948" y="30165"/>
                    </a:moveTo>
                    <a:cubicBezTo>
                      <a:pt x="20710" y="30927"/>
                      <a:pt x="16614" y="26355"/>
                      <a:pt x="12423" y="19973"/>
                    </a:cubicBezTo>
                    <a:cubicBezTo>
                      <a:pt x="8232" y="13591"/>
                      <a:pt x="6327" y="7876"/>
                      <a:pt x="7470" y="7209"/>
                    </a:cubicBezTo>
                    <a:cubicBezTo>
                      <a:pt x="8613" y="6543"/>
                      <a:pt x="12709" y="11019"/>
                      <a:pt x="16995" y="17401"/>
                    </a:cubicBezTo>
                    <a:cubicBezTo>
                      <a:pt x="21281" y="23783"/>
                      <a:pt x="23091" y="29498"/>
                      <a:pt x="21948" y="3016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8" name="Полилиния: фигура 497">
                <a:extLst>
                  <a:ext uri="{FF2B5EF4-FFF2-40B4-BE49-F238E27FC236}">
                    <a16:creationId xmlns:a16="http://schemas.microsoft.com/office/drawing/2014/main" id="{63EDF39B-5C19-4AA8-8326-D79FF5EB9293}"/>
                  </a:ext>
                </a:extLst>
              </p:cNvPr>
              <p:cNvSpPr/>
              <p:nvPr/>
            </p:nvSpPr>
            <p:spPr>
              <a:xfrm>
                <a:off x="4432384" y="4479433"/>
                <a:ext cx="19050" cy="28575"/>
              </a:xfrm>
              <a:custGeom>
                <a:avLst/>
                <a:gdLst>
                  <a:gd name="connsiteX0" fmla="*/ 9804 w 19050"/>
                  <a:gd name="connsiteY0" fmla="*/ 26818 h 28575"/>
                  <a:gd name="connsiteX1" fmla="*/ 7804 w 19050"/>
                  <a:gd name="connsiteY1" fmla="*/ 17293 h 28575"/>
                  <a:gd name="connsiteX2" fmla="*/ 7804 w 19050"/>
                  <a:gd name="connsiteY2" fmla="*/ 7197 h 28575"/>
                  <a:gd name="connsiteX3" fmla="*/ 12661 w 19050"/>
                  <a:gd name="connsiteY3" fmla="*/ 16722 h 28575"/>
                  <a:gd name="connsiteX4" fmla="*/ 9804 w 19050"/>
                  <a:gd name="connsiteY4" fmla="*/ 26818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9804" y="26818"/>
                    </a:moveTo>
                    <a:cubicBezTo>
                      <a:pt x="8470" y="26818"/>
                      <a:pt x="8375" y="22056"/>
                      <a:pt x="7804" y="17293"/>
                    </a:cubicBezTo>
                    <a:cubicBezTo>
                      <a:pt x="7232" y="12531"/>
                      <a:pt x="6661" y="7768"/>
                      <a:pt x="7804" y="7197"/>
                    </a:cubicBezTo>
                    <a:cubicBezTo>
                      <a:pt x="8947" y="6625"/>
                      <a:pt x="12090" y="10721"/>
                      <a:pt x="12661" y="16722"/>
                    </a:cubicBezTo>
                    <a:cubicBezTo>
                      <a:pt x="13233" y="22723"/>
                      <a:pt x="11137" y="27199"/>
                      <a:pt x="9804" y="2681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9" name="Полилиния: фигура 498">
                <a:extLst>
                  <a:ext uri="{FF2B5EF4-FFF2-40B4-BE49-F238E27FC236}">
                    <a16:creationId xmlns:a16="http://schemas.microsoft.com/office/drawing/2014/main" id="{CA9A41AB-C4FE-4BD0-B6C6-C61F06EF3CC4}"/>
                  </a:ext>
                </a:extLst>
              </p:cNvPr>
              <p:cNvSpPr/>
              <p:nvPr/>
            </p:nvSpPr>
            <p:spPr>
              <a:xfrm>
                <a:off x="4447845" y="4557210"/>
                <a:ext cx="19050" cy="28575"/>
              </a:xfrm>
              <a:custGeom>
                <a:avLst/>
                <a:gdLst>
                  <a:gd name="connsiteX0" fmla="*/ 7487 w 19050"/>
                  <a:gd name="connsiteY0" fmla="*/ 27242 h 28575"/>
                  <a:gd name="connsiteX1" fmla="*/ 10345 w 19050"/>
                  <a:gd name="connsiteY1" fmla="*/ 16669 h 28575"/>
                  <a:gd name="connsiteX2" fmla="*/ 15393 w 19050"/>
                  <a:gd name="connsiteY2" fmla="*/ 7144 h 28575"/>
                  <a:gd name="connsiteX3" fmla="*/ 14917 w 19050"/>
                  <a:gd name="connsiteY3" fmla="*/ 18479 h 28575"/>
                  <a:gd name="connsiteX4" fmla="*/ 7487 w 19050"/>
                  <a:gd name="connsiteY4" fmla="*/ 2724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7487" y="27242"/>
                    </a:moveTo>
                    <a:cubicBezTo>
                      <a:pt x="6344" y="26384"/>
                      <a:pt x="8249" y="22003"/>
                      <a:pt x="10345" y="16669"/>
                    </a:cubicBezTo>
                    <a:cubicBezTo>
                      <a:pt x="12440" y="11335"/>
                      <a:pt x="13964" y="7144"/>
                      <a:pt x="15393" y="7144"/>
                    </a:cubicBezTo>
                    <a:cubicBezTo>
                      <a:pt x="16822" y="7144"/>
                      <a:pt x="17298" y="12573"/>
                      <a:pt x="14917" y="18479"/>
                    </a:cubicBezTo>
                    <a:cubicBezTo>
                      <a:pt x="12535" y="24384"/>
                      <a:pt x="8535" y="28004"/>
                      <a:pt x="7487" y="272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0" name="Полилиния: фигура 499">
                <a:extLst>
                  <a:ext uri="{FF2B5EF4-FFF2-40B4-BE49-F238E27FC236}">
                    <a16:creationId xmlns:a16="http://schemas.microsoft.com/office/drawing/2014/main" id="{4260B11B-9963-4A58-84C3-8EA4C1EB98B5}"/>
                  </a:ext>
                </a:extLst>
              </p:cNvPr>
              <p:cNvSpPr/>
              <p:nvPr/>
            </p:nvSpPr>
            <p:spPr>
              <a:xfrm>
                <a:off x="4412891" y="4547805"/>
                <a:ext cx="19050" cy="19050"/>
              </a:xfrm>
              <a:custGeom>
                <a:avLst/>
                <a:gdLst>
                  <a:gd name="connsiteX0" fmla="*/ 7295 w 19050"/>
                  <a:gd name="connsiteY0" fmla="*/ 17502 h 19050"/>
                  <a:gd name="connsiteX1" fmla="*/ 12343 w 19050"/>
                  <a:gd name="connsiteY1" fmla="*/ 10548 h 19050"/>
                  <a:gd name="connsiteX2" fmla="*/ 20344 w 19050"/>
                  <a:gd name="connsiteY2" fmla="*/ 7500 h 19050"/>
                  <a:gd name="connsiteX3" fmla="*/ 15296 w 19050"/>
                  <a:gd name="connsiteY3" fmla="*/ 14454 h 19050"/>
                  <a:gd name="connsiteX4" fmla="*/ 7295 w 19050"/>
                  <a:gd name="connsiteY4" fmla="*/ 17502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7295" y="17502"/>
                    </a:moveTo>
                    <a:cubicBezTo>
                      <a:pt x="6533" y="16454"/>
                      <a:pt x="8724" y="13311"/>
                      <a:pt x="12343" y="10548"/>
                    </a:cubicBezTo>
                    <a:cubicBezTo>
                      <a:pt x="15962" y="7786"/>
                      <a:pt x="19487" y="6453"/>
                      <a:pt x="20344" y="7500"/>
                    </a:cubicBezTo>
                    <a:cubicBezTo>
                      <a:pt x="21201" y="8548"/>
                      <a:pt x="18915" y="11691"/>
                      <a:pt x="15296" y="14454"/>
                    </a:cubicBezTo>
                    <a:cubicBezTo>
                      <a:pt x="11676" y="17216"/>
                      <a:pt x="8152" y="18645"/>
                      <a:pt x="7295" y="1750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1" name="Полилиния: фигура 500">
                <a:extLst>
                  <a:ext uri="{FF2B5EF4-FFF2-40B4-BE49-F238E27FC236}">
                    <a16:creationId xmlns:a16="http://schemas.microsoft.com/office/drawing/2014/main" id="{B1E20289-ADF2-4447-AE37-B171D995D6B7}"/>
                  </a:ext>
                </a:extLst>
              </p:cNvPr>
              <p:cNvSpPr/>
              <p:nvPr/>
            </p:nvSpPr>
            <p:spPr>
              <a:xfrm>
                <a:off x="4384750" y="4626044"/>
                <a:ext cx="19050" cy="19050"/>
              </a:xfrm>
              <a:custGeom>
                <a:avLst/>
                <a:gdLst>
                  <a:gd name="connsiteX0" fmla="*/ 19433 w 19050"/>
                  <a:gd name="connsiteY0" fmla="*/ 20416 h 19050"/>
                  <a:gd name="connsiteX1" fmla="*/ 11623 w 19050"/>
                  <a:gd name="connsiteY1" fmla="*/ 15558 h 19050"/>
                  <a:gd name="connsiteX2" fmla="*/ 7432 w 19050"/>
                  <a:gd name="connsiteY2" fmla="*/ 7367 h 19050"/>
                  <a:gd name="connsiteX3" fmla="*/ 15242 w 19050"/>
                  <a:gd name="connsiteY3" fmla="*/ 12224 h 19050"/>
                  <a:gd name="connsiteX4" fmla="*/ 19433 w 19050"/>
                  <a:gd name="connsiteY4" fmla="*/ 20416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9433" y="20416"/>
                    </a:moveTo>
                    <a:cubicBezTo>
                      <a:pt x="18481" y="21273"/>
                      <a:pt x="14957" y="19178"/>
                      <a:pt x="11623" y="15558"/>
                    </a:cubicBezTo>
                    <a:cubicBezTo>
                      <a:pt x="8289" y="11939"/>
                      <a:pt x="6384" y="8319"/>
                      <a:pt x="7432" y="7367"/>
                    </a:cubicBezTo>
                    <a:cubicBezTo>
                      <a:pt x="8480" y="6414"/>
                      <a:pt x="11908" y="8605"/>
                      <a:pt x="15242" y="12224"/>
                    </a:cubicBezTo>
                    <a:cubicBezTo>
                      <a:pt x="18576" y="15844"/>
                      <a:pt x="20481" y="19463"/>
                      <a:pt x="19433" y="2041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2" name="Полилиния: фигура 501">
                <a:extLst>
                  <a:ext uri="{FF2B5EF4-FFF2-40B4-BE49-F238E27FC236}">
                    <a16:creationId xmlns:a16="http://schemas.microsoft.com/office/drawing/2014/main" id="{0BF640CE-8FFC-422B-8A7A-3E72C15A572A}"/>
                  </a:ext>
                </a:extLst>
              </p:cNvPr>
              <p:cNvSpPr/>
              <p:nvPr/>
            </p:nvSpPr>
            <p:spPr>
              <a:xfrm>
                <a:off x="4330567" y="4609299"/>
                <a:ext cx="19050" cy="28575"/>
              </a:xfrm>
              <a:custGeom>
                <a:avLst/>
                <a:gdLst>
                  <a:gd name="connsiteX0" fmla="*/ 8180 w 19050"/>
                  <a:gd name="connsiteY0" fmla="*/ 28207 h 28575"/>
                  <a:gd name="connsiteX1" fmla="*/ 8180 w 19050"/>
                  <a:gd name="connsiteY1" fmla="*/ 17158 h 28575"/>
                  <a:gd name="connsiteX2" fmla="*/ 12942 w 19050"/>
                  <a:gd name="connsiteY2" fmla="*/ 7157 h 28575"/>
                  <a:gd name="connsiteX3" fmla="*/ 12942 w 19050"/>
                  <a:gd name="connsiteY3" fmla="*/ 18206 h 28575"/>
                  <a:gd name="connsiteX4" fmla="*/ 8180 w 19050"/>
                  <a:gd name="connsiteY4" fmla="*/ 2820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8180" y="28207"/>
                    </a:moveTo>
                    <a:cubicBezTo>
                      <a:pt x="6846" y="28207"/>
                      <a:pt x="6751" y="22968"/>
                      <a:pt x="8180" y="17158"/>
                    </a:cubicBezTo>
                    <a:cubicBezTo>
                      <a:pt x="9609" y="11348"/>
                      <a:pt x="11609" y="6871"/>
                      <a:pt x="12942" y="7157"/>
                    </a:cubicBezTo>
                    <a:cubicBezTo>
                      <a:pt x="14276" y="7442"/>
                      <a:pt x="14276" y="12395"/>
                      <a:pt x="12942" y="18206"/>
                    </a:cubicBezTo>
                    <a:cubicBezTo>
                      <a:pt x="11609" y="24016"/>
                      <a:pt x="9513" y="28493"/>
                      <a:pt x="8180" y="2820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3" name="Полилиния: фигура 502">
                <a:extLst>
                  <a:ext uri="{FF2B5EF4-FFF2-40B4-BE49-F238E27FC236}">
                    <a16:creationId xmlns:a16="http://schemas.microsoft.com/office/drawing/2014/main" id="{FE14DCB7-E08C-482D-9255-470F769F9D28}"/>
                  </a:ext>
                </a:extLst>
              </p:cNvPr>
              <p:cNvSpPr/>
              <p:nvPr/>
            </p:nvSpPr>
            <p:spPr>
              <a:xfrm>
                <a:off x="4281805" y="4599833"/>
                <a:ext cx="28575" cy="19050"/>
              </a:xfrm>
              <a:custGeom>
                <a:avLst/>
                <a:gdLst>
                  <a:gd name="connsiteX0" fmla="*/ 26271 w 28575"/>
                  <a:gd name="connsiteY0" fmla="*/ 18528 h 19050"/>
                  <a:gd name="connsiteX1" fmla="*/ 15508 w 28575"/>
                  <a:gd name="connsiteY1" fmla="*/ 15194 h 19050"/>
                  <a:gd name="connsiteX2" fmla="*/ 7221 w 28575"/>
                  <a:gd name="connsiteY2" fmla="*/ 7574 h 19050"/>
                  <a:gd name="connsiteX3" fmla="*/ 17984 w 28575"/>
                  <a:gd name="connsiteY3" fmla="*/ 10908 h 19050"/>
                  <a:gd name="connsiteX4" fmla="*/ 26271 w 28575"/>
                  <a:gd name="connsiteY4" fmla="*/ 18528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19050">
                    <a:moveTo>
                      <a:pt x="26271" y="18528"/>
                    </a:moveTo>
                    <a:cubicBezTo>
                      <a:pt x="25604" y="19766"/>
                      <a:pt x="20747" y="18528"/>
                      <a:pt x="15508" y="15194"/>
                    </a:cubicBezTo>
                    <a:cubicBezTo>
                      <a:pt x="10269" y="11860"/>
                      <a:pt x="6554" y="8717"/>
                      <a:pt x="7221" y="7574"/>
                    </a:cubicBezTo>
                    <a:cubicBezTo>
                      <a:pt x="7888" y="6431"/>
                      <a:pt x="12746" y="7574"/>
                      <a:pt x="17984" y="10908"/>
                    </a:cubicBezTo>
                    <a:cubicBezTo>
                      <a:pt x="23223" y="14241"/>
                      <a:pt x="26938" y="17385"/>
                      <a:pt x="26271" y="1852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4" name="Полилиния: фигура 503">
                <a:extLst>
                  <a:ext uri="{FF2B5EF4-FFF2-40B4-BE49-F238E27FC236}">
                    <a16:creationId xmlns:a16="http://schemas.microsoft.com/office/drawing/2014/main" id="{E1A7AFB8-136B-44B8-A0C9-9C39F02CD213}"/>
                  </a:ext>
                </a:extLst>
              </p:cNvPr>
              <p:cNvSpPr/>
              <p:nvPr/>
            </p:nvSpPr>
            <p:spPr>
              <a:xfrm>
                <a:off x="4337812" y="4542141"/>
                <a:ext cx="19050" cy="19050"/>
              </a:xfrm>
              <a:custGeom>
                <a:avLst/>
                <a:gdLst>
                  <a:gd name="connsiteX0" fmla="*/ 8459 w 19050"/>
                  <a:gd name="connsiteY0" fmla="*/ 21260 h 19050"/>
                  <a:gd name="connsiteX1" fmla="*/ 7602 w 19050"/>
                  <a:gd name="connsiteY1" fmla="*/ 13641 h 19050"/>
                  <a:gd name="connsiteX2" fmla="*/ 11507 w 19050"/>
                  <a:gd name="connsiteY2" fmla="*/ 7163 h 19050"/>
                  <a:gd name="connsiteX3" fmla="*/ 12459 w 19050"/>
                  <a:gd name="connsiteY3" fmla="*/ 14783 h 19050"/>
                  <a:gd name="connsiteX4" fmla="*/ 8459 w 19050"/>
                  <a:gd name="connsiteY4" fmla="*/ 2126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8459" y="21260"/>
                    </a:moveTo>
                    <a:cubicBezTo>
                      <a:pt x="7125" y="21260"/>
                      <a:pt x="6744" y="17546"/>
                      <a:pt x="7602" y="13641"/>
                    </a:cubicBezTo>
                    <a:cubicBezTo>
                      <a:pt x="8459" y="9735"/>
                      <a:pt x="10173" y="6878"/>
                      <a:pt x="11507" y="7163"/>
                    </a:cubicBezTo>
                    <a:cubicBezTo>
                      <a:pt x="12840" y="7449"/>
                      <a:pt x="13316" y="10878"/>
                      <a:pt x="12459" y="14783"/>
                    </a:cubicBezTo>
                    <a:cubicBezTo>
                      <a:pt x="11602" y="18689"/>
                      <a:pt x="9792" y="21546"/>
                      <a:pt x="8459" y="212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5" name="Полилиния: фигура 504">
                <a:extLst>
                  <a:ext uri="{FF2B5EF4-FFF2-40B4-BE49-F238E27FC236}">
                    <a16:creationId xmlns:a16="http://schemas.microsoft.com/office/drawing/2014/main" id="{D3DF4087-0076-4DBD-B07B-8829D5F00B74}"/>
                  </a:ext>
                </a:extLst>
              </p:cNvPr>
              <p:cNvSpPr/>
              <p:nvPr/>
            </p:nvSpPr>
            <p:spPr>
              <a:xfrm>
                <a:off x="4347653" y="4201610"/>
                <a:ext cx="28575" cy="19050"/>
              </a:xfrm>
              <a:custGeom>
                <a:avLst/>
                <a:gdLst>
                  <a:gd name="connsiteX0" fmla="*/ 21478 w 28575"/>
                  <a:gd name="connsiteY0" fmla="*/ 7271 h 19050"/>
                  <a:gd name="connsiteX1" fmla="*/ 16811 w 28575"/>
                  <a:gd name="connsiteY1" fmla="*/ 16320 h 19050"/>
                  <a:gd name="connsiteX2" fmla="*/ 7286 w 28575"/>
                  <a:gd name="connsiteY2" fmla="*/ 20321 h 19050"/>
                  <a:gd name="connsiteX3" fmla="*/ 13287 w 28575"/>
                  <a:gd name="connsiteY3" fmla="*/ 12700 h 19050"/>
                  <a:gd name="connsiteX4" fmla="*/ 21478 w 28575"/>
                  <a:gd name="connsiteY4" fmla="*/ 727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19050">
                    <a:moveTo>
                      <a:pt x="21478" y="7271"/>
                    </a:moveTo>
                    <a:cubicBezTo>
                      <a:pt x="22621" y="8033"/>
                      <a:pt x="21002" y="12510"/>
                      <a:pt x="16811" y="16320"/>
                    </a:cubicBezTo>
                    <a:cubicBezTo>
                      <a:pt x="12620" y="20130"/>
                      <a:pt x="8143" y="21463"/>
                      <a:pt x="7286" y="20321"/>
                    </a:cubicBezTo>
                    <a:cubicBezTo>
                      <a:pt x="6429" y="19177"/>
                      <a:pt x="9572" y="16129"/>
                      <a:pt x="13287" y="12700"/>
                    </a:cubicBezTo>
                    <a:cubicBezTo>
                      <a:pt x="17002" y="9271"/>
                      <a:pt x="20240" y="6509"/>
                      <a:pt x="21478" y="727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6" name="Полилиния: фигура 505">
                <a:extLst>
                  <a:ext uri="{FF2B5EF4-FFF2-40B4-BE49-F238E27FC236}">
                    <a16:creationId xmlns:a16="http://schemas.microsoft.com/office/drawing/2014/main" id="{2C6FA567-F257-4F4D-9524-81FD0C3B78B5}"/>
                  </a:ext>
                </a:extLst>
              </p:cNvPr>
              <p:cNvSpPr/>
              <p:nvPr/>
            </p:nvSpPr>
            <p:spPr>
              <a:xfrm>
                <a:off x="4335508" y="4295844"/>
                <a:ext cx="19050" cy="28575"/>
              </a:xfrm>
              <a:custGeom>
                <a:avLst/>
                <a:gdLst>
                  <a:gd name="connsiteX0" fmla="*/ 9620 w 19050"/>
                  <a:gd name="connsiteY0" fmla="*/ 26194 h 28575"/>
                  <a:gd name="connsiteX1" fmla="*/ 7144 w 19050"/>
                  <a:gd name="connsiteY1" fmla="*/ 16669 h 28575"/>
                  <a:gd name="connsiteX2" fmla="*/ 9620 w 19050"/>
                  <a:gd name="connsiteY2" fmla="*/ 7144 h 28575"/>
                  <a:gd name="connsiteX3" fmla="*/ 12097 w 19050"/>
                  <a:gd name="connsiteY3" fmla="*/ 16669 h 28575"/>
                  <a:gd name="connsiteX4" fmla="*/ 9620 w 19050"/>
                  <a:gd name="connsiteY4" fmla="*/ 2619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9620" y="26194"/>
                    </a:moveTo>
                    <a:cubicBezTo>
                      <a:pt x="8287" y="26194"/>
                      <a:pt x="7144" y="21908"/>
                      <a:pt x="7144" y="16669"/>
                    </a:cubicBezTo>
                    <a:cubicBezTo>
                      <a:pt x="7144" y="11430"/>
                      <a:pt x="8287" y="7144"/>
                      <a:pt x="9620" y="7144"/>
                    </a:cubicBezTo>
                    <a:cubicBezTo>
                      <a:pt x="10954" y="7144"/>
                      <a:pt x="12097" y="11430"/>
                      <a:pt x="12097" y="16669"/>
                    </a:cubicBezTo>
                    <a:cubicBezTo>
                      <a:pt x="12097" y="21908"/>
                      <a:pt x="10954" y="26194"/>
                      <a:pt x="9620" y="2619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7" name="Полилиния: фигура 506">
                <a:extLst>
                  <a:ext uri="{FF2B5EF4-FFF2-40B4-BE49-F238E27FC236}">
                    <a16:creationId xmlns:a16="http://schemas.microsoft.com/office/drawing/2014/main" id="{6439E07F-6284-4280-8702-066CC7443B56}"/>
                  </a:ext>
                </a:extLst>
              </p:cNvPr>
              <p:cNvSpPr/>
              <p:nvPr/>
            </p:nvSpPr>
            <p:spPr>
              <a:xfrm>
                <a:off x="3857203" y="4499011"/>
                <a:ext cx="19050" cy="28575"/>
              </a:xfrm>
              <a:custGeom>
                <a:avLst/>
                <a:gdLst>
                  <a:gd name="connsiteX0" fmla="*/ 9199 w 19050"/>
                  <a:gd name="connsiteY0" fmla="*/ 24481 h 28575"/>
                  <a:gd name="connsiteX1" fmla="*/ 7199 w 19050"/>
                  <a:gd name="connsiteY1" fmla="*/ 15623 h 28575"/>
                  <a:gd name="connsiteX2" fmla="*/ 10246 w 19050"/>
                  <a:gd name="connsiteY2" fmla="*/ 7146 h 28575"/>
                  <a:gd name="connsiteX3" fmla="*/ 12151 w 19050"/>
                  <a:gd name="connsiteY3" fmla="*/ 16004 h 28575"/>
                  <a:gd name="connsiteX4" fmla="*/ 9199 w 19050"/>
                  <a:gd name="connsiteY4" fmla="*/ 2448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9199" y="24481"/>
                    </a:moveTo>
                    <a:cubicBezTo>
                      <a:pt x="7770" y="24481"/>
                      <a:pt x="6913" y="20480"/>
                      <a:pt x="7199" y="15623"/>
                    </a:cubicBezTo>
                    <a:cubicBezTo>
                      <a:pt x="7484" y="10765"/>
                      <a:pt x="8913" y="7050"/>
                      <a:pt x="10246" y="7146"/>
                    </a:cubicBezTo>
                    <a:cubicBezTo>
                      <a:pt x="11580" y="7241"/>
                      <a:pt x="12533" y="11146"/>
                      <a:pt x="12151" y="16004"/>
                    </a:cubicBezTo>
                    <a:cubicBezTo>
                      <a:pt x="11770" y="20862"/>
                      <a:pt x="10532" y="24576"/>
                      <a:pt x="9199" y="2448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8" name="Полилиния: фигура 507">
                <a:extLst>
                  <a:ext uri="{FF2B5EF4-FFF2-40B4-BE49-F238E27FC236}">
                    <a16:creationId xmlns:a16="http://schemas.microsoft.com/office/drawing/2014/main" id="{FB0D2C75-D579-4F1E-BEAF-828AE1F2B1C4}"/>
                  </a:ext>
                </a:extLst>
              </p:cNvPr>
              <p:cNvSpPr/>
              <p:nvPr/>
            </p:nvSpPr>
            <p:spPr>
              <a:xfrm>
                <a:off x="3808475" y="4621216"/>
                <a:ext cx="19050" cy="28575"/>
              </a:xfrm>
              <a:custGeom>
                <a:avLst/>
                <a:gdLst>
                  <a:gd name="connsiteX0" fmla="*/ 8778 w 19050"/>
                  <a:gd name="connsiteY0" fmla="*/ 23433 h 28575"/>
                  <a:gd name="connsiteX1" fmla="*/ 7349 w 19050"/>
                  <a:gd name="connsiteY1" fmla="*/ 15051 h 28575"/>
                  <a:gd name="connsiteX2" fmla="*/ 10778 w 19050"/>
                  <a:gd name="connsiteY2" fmla="*/ 7146 h 28575"/>
                  <a:gd name="connsiteX3" fmla="*/ 12207 w 19050"/>
                  <a:gd name="connsiteY3" fmla="*/ 15623 h 28575"/>
                  <a:gd name="connsiteX4" fmla="*/ 8778 w 19050"/>
                  <a:gd name="connsiteY4" fmla="*/ 23433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8778" y="23433"/>
                    </a:moveTo>
                    <a:cubicBezTo>
                      <a:pt x="7444" y="23433"/>
                      <a:pt x="6778" y="19528"/>
                      <a:pt x="7349" y="15051"/>
                    </a:cubicBezTo>
                    <a:cubicBezTo>
                      <a:pt x="7921" y="10575"/>
                      <a:pt x="9445" y="7050"/>
                      <a:pt x="10778" y="7146"/>
                    </a:cubicBezTo>
                    <a:cubicBezTo>
                      <a:pt x="12112" y="7241"/>
                      <a:pt x="12778" y="11146"/>
                      <a:pt x="12207" y="15623"/>
                    </a:cubicBezTo>
                    <a:cubicBezTo>
                      <a:pt x="11635" y="20100"/>
                      <a:pt x="10111" y="23624"/>
                      <a:pt x="8778" y="2343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9" name="Полилиния: фигура 508">
                <a:extLst>
                  <a:ext uri="{FF2B5EF4-FFF2-40B4-BE49-F238E27FC236}">
                    <a16:creationId xmlns:a16="http://schemas.microsoft.com/office/drawing/2014/main" id="{6A78B11C-6E2A-4CDA-8B71-BF16B593B900}"/>
                  </a:ext>
                </a:extLst>
              </p:cNvPr>
              <p:cNvSpPr/>
              <p:nvPr/>
            </p:nvSpPr>
            <p:spPr>
              <a:xfrm>
                <a:off x="3696455" y="4544802"/>
                <a:ext cx="19050" cy="38100"/>
              </a:xfrm>
              <a:custGeom>
                <a:avLst/>
                <a:gdLst>
                  <a:gd name="connsiteX0" fmla="*/ 7736 w 19050"/>
                  <a:gd name="connsiteY0" fmla="*/ 34697 h 38100"/>
                  <a:gd name="connsiteX1" fmla="*/ 7736 w 19050"/>
                  <a:gd name="connsiteY1" fmla="*/ 20886 h 38100"/>
                  <a:gd name="connsiteX2" fmla="*/ 8594 w 19050"/>
                  <a:gd name="connsiteY2" fmla="*/ 7169 h 38100"/>
                  <a:gd name="connsiteX3" fmla="*/ 12689 w 19050"/>
                  <a:gd name="connsiteY3" fmla="*/ 21076 h 38100"/>
                  <a:gd name="connsiteX4" fmla="*/ 7736 w 19050"/>
                  <a:gd name="connsiteY4" fmla="*/ 34697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7736" y="34697"/>
                    </a:moveTo>
                    <a:cubicBezTo>
                      <a:pt x="6403" y="34220"/>
                      <a:pt x="7736" y="28220"/>
                      <a:pt x="7736" y="20886"/>
                    </a:cubicBezTo>
                    <a:cubicBezTo>
                      <a:pt x="7736" y="13551"/>
                      <a:pt x="7260" y="7646"/>
                      <a:pt x="8594" y="7169"/>
                    </a:cubicBezTo>
                    <a:cubicBezTo>
                      <a:pt x="9927" y="6693"/>
                      <a:pt x="12975" y="12885"/>
                      <a:pt x="12689" y="21076"/>
                    </a:cubicBezTo>
                    <a:cubicBezTo>
                      <a:pt x="12404" y="29268"/>
                      <a:pt x="8879" y="35268"/>
                      <a:pt x="7736" y="3469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0" name="Полилиния: фигура 509">
                <a:extLst>
                  <a:ext uri="{FF2B5EF4-FFF2-40B4-BE49-F238E27FC236}">
                    <a16:creationId xmlns:a16="http://schemas.microsoft.com/office/drawing/2014/main" id="{9856827A-30D4-4941-8250-64ACF798E136}"/>
                  </a:ext>
                </a:extLst>
              </p:cNvPr>
              <p:cNvSpPr/>
              <p:nvPr/>
            </p:nvSpPr>
            <p:spPr>
              <a:xfrm>
                <a:off x="3739734" y="4461959"/>
                <a:ext cx="19050" cy="28575"/>
              </a:xfrm>
              <a:custGeom>
                <a:avLst/>
                <a:gdLst>
                  <a:gd name="connsiteX0" fmla="*/ 12273 w 19050"/>
                  <a:gd name="connsiteY0" fmla="*/ 26862 h 28575"/>
                  <a:gd name="connsiteX1" fmla="*/ 7415 w 19050"/>
                  <a:gd name="connsiteY1" fmla="*/ 17337 h 28575"/>
                  <a:gd name="connsiteX2" fmla="*/ 9225 w 19050"/>
                  <a:gd name="connsiteY2" fmla="*/ 7145 h 28575"/>
                  <a:gd name="connsiteX3" fmla="*/ 12273 w 19050"/>
                  <a:gd name="connsiteY3" fmla="*/ 16670 h 28575"/>
                  <a:gd name="connsiteX4" fmla="*/ 12273 w 19050"/>
                  <a:gd name="connsiteY4" fmla="*/ 2686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2273" y="26862"/>
                    </a:moveTo>
                    <a:cubicBezTo>
                      <a:pt x="11034" y="27434"/>
                      <a:pt x="8272" y="23433"/>
                      <a:pt x="7415" y="17337"/>
                    </a:cubicBezTo>
                    <a:cubicBezTo>
                      <a:pt x="6558" y="11241"/>
                      <a:pt x="7891" y="7050"/>
                      <a:pt x="9225" y="7145"/>
                    </a:cubicBezTo>
                    <a:cubicBezTo>
                      <a:pt x="10558" y="7241"/>
                      <a:pt x="11511" y="11527"/>
                      <a:pt x="12273" y="16670"/>
                    </a:cubicBezTo>
                    <a:cubicBezTo>
                      <a:pt x="13035" y="21814"/>
                      <a:pt x="13606" y="26386"/>
                      <a:pt x="12273" y="2686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1" name="Полилиния: фигура 510">
                <a:extLst>
                  <a:ext uri="{FF2B5EF4-FFF2-40B4-BE49-F238E27FC236}">
                    <a16:creationId xmlns:a16="http://schemas.microsoft.com/office/drawing/2014/main" id="{A61C550E-2F25-475F-AD4E-CF61CF3D90E4}"/>
                  </a:ext>
                </a:extLst>
              </p:cNvPr>
              <p:cNvSpPr/>
              <p:nvPr/>
            </p:nvSpPr>
            <p:spPr>
              <a:xfrm>
                <a:off x="3806339" y="4468434"/>
                <a:ext cx="19050" cy="19050"/>
              </a:xfrm>
              <a:custGeom>
                <a:avLst/>
                <a:gdLst>
                  <a:gd name="connsiteX0" fmla="*/ 9104 w 19050"/>
                  <a:gd name="connsiteY0" fmla="*/ 17339 h 19050"/>
                  <a:gd name="connsiteX1" fmla="*/ 7199 w 19050"/>
                  <a:gd name="connsiteY1" fmla="*/ 12005 h 19050"/>
                  <a:gd name="connsiteX2" fmla="*/ 10151 w 19050"/>
                  <a:gd name="connsiteY2" fmla="*/ 7147 h 19050"/>
                  <a:gd name="connsiteX3" fmla="*/ 12152 w 19050"/>
                  <a:gd name="connsiteY3" fmla="*/ 12481 h 19050"/>
                  <a:gd name="connsiteX4" fmla="*/ 9104 w 19050"/>
                  <a:gd name="connsiteY4" fmla="*/ 17339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9104" y="17339"/>
                    </a:moveTo>
                    <a:cubicBezTo>
                      <a:pt x="7770" y="17339"/>
                      <a:pt x="6913" y="14862"/>
                      <a:pt x="7199" y="12005"/>
                    </a:cubicBezTo>
                    <a:cubicBezTo>
                      <a:pt x="7484" y="9147"/>
                      <a:pt x="8818" y="7052"/>
                      <a:pt x="10151" y="7147"/>
                    </a:cubicBezTo>
                    <a:cubicBezTo>
                      <a:pt x="11485" y="7242"/>
                      <a:pt x="12438" y="9719"/>
                      <a:pt x="12152" y="12481"/>
                    </a:cubicBezTo>
                    <a:cubicBezTo>
                      <a:pt x="11866" y="15243"/>
                      <a:pt x="10247" y="17529"/>
                      <a:pt x="9104" y="1733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2" name="Полилиния: фигура 511">
                <a:extLst>
                  <a:ext uri="{FF2B5EF4-FFF2-40B4-BE49-F238E27FC236}">
                    <a16:creationId xmlns:a16="http://schemas.microsoft.com/office/drawing/2014/main" id="{D374525C-58DC-4B50-9341-8E32B105C424}"/>
                  </a:ext>
                </a:extLst>
              </p:cNvPr>
              <p:cNvSpPr/>
              <p:nvPr/>
            </p:nvSpPr>
            <p:spPr>
              <a:xfrm>
                <a:off x="3893383" y="4569284"/>
                <a:ext cx="19050" cy="19050"/>
              </a:xfrm>
              <a:custGeom>
                <a:avLst/>
                <a:gdLst>
                  <a:gd name="connsiteX0" fmla="*/ 11499 w 19050"/>
                  <a:gd name="connsiteY0" fmla="*/ 19359 h 19050"/>
                  <a:gd name="connsiteX1" fmla="*/ 7499 w 19050"/>
                  <a:gd name="connsiteY1" fmla="*/ 13834 h 19050"/>
                  <a:gd name="connsiteX2" fmla="*/ 8356 w 19050"/>
                  <a:gd name="connsiteY2" fmla="*/ 7167 h 19050"/>
                  <a:gd name="connsiteX3" fmla="*/ 12357 w 19050"/>
                  <a:gd name="connsiteY3" fmla="*/ 12691 h 19050"/>
                  <a:gd name="connsiteX4" fmla="*/ 11499 w 19050"/>
                  <a:gd name="connsiteY4" fmla="*/ 19359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1499" y="19359"/>
                    </a:moveTo>
                    <a:cubicBezTo>
                      <a:pt x="10166" y="19359"/>
                      <a:pt x="8356" y="17263"/>
                      <a:pt x="7499" y="13834"/>
                    </a:cubicBezTo>
                    <a:cubicBezTo>
                      <a:pt x="6642" y="10405"/>
                      <a:pt x="7499" y="7453"/>
                      <a:pt x="8356" y="7167"/>
                    </a:cubicBezTo>
                    <a:cubicBezTo>
                      <a:pt x="9213" y="6881"/>
                      <a:pt x="11499" y="9262"/>
                      <a:pt x="12357" y="12691"/>
                    </a:cubicBezTo>
                    <a:cubicBezTo>
                      <a:pt x="13214" y="16120"/>
                      <a:pt x="12833" y="19073"/>
                      <a:pt x="11499" y="1935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3" name="Полилиния: фигура 512">
                <a:extLst>
                  <a:ext uri="{FF2B5EF4-FFF2-40B4-BE49-F238E27FC236}">
                    <a16:creationId xmlns:a16="http://schemas.microsoft.com/office/drawing/2014/main" id="{079343F3-DBCA-478D-822D-21389C5B3A4B}"/>
                  </a:ext>
                </a:extLst>
              </p:cNvPr>
              <p:cNvSpPr/>
              <p:nvPr/>
            </p:nvSpPr>
            <p:spPr>
              <a:xfrm>
                <a:off x="3926098" y="4481648"/>
                <a:ext cx="19050" cy="28575"/>
              </a:xfrm>
              <a:custGeom>
                <a:avLst/>
                <a:gdLst>
                  <a:gd name="connsiteX0" fmla="*/ 12408 w 19050"/>
                  <a:gd name="connsiteY0" fmla="*/ 23460 h 28575"/>
                  <a:gd name="connsiteX1" fmla="*/ 7931 w 19050"/>
                  <a:gd name="connsiteY1" fmla="*/ 15936 h 28575"/>
                  <a:gd name="connsiteX2" fmla="*/ 7931 w 19050"/>
                  <a:gd name="connsiteY2" fmla="*/ 7173 h 28575"/>
                  <a:gd name="connsiteX3" fmla="*/ 12313 w 19050"/>
                  <a:gd name="connsiteY3" fmla="*/ 14698 h 28575"/>
                  <a:gd name="connsiteX4" fmla="*/ 12408 w 19050"/>
                  <a:gd name="connsiteY4" fmla="*/ 2346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2408" y="23460"/>
                    </a:moveTo>
                    <a:cubicBezTo>
                      <a:pt x="11074" y="23460"/>
                      <a:pt x="9074" y="20412"/>
                      <a:pt x="7931" y="15936"/>
                    </a:cubicBezTo>
                    <a:cubicBezTo>
                      <a:pt x="6788" y="11459"/>
                      <a:pt x="6979" y="7554"/>
                      <a:pt x="7931" y="7173"/>
                    </a:cubicBezTo>
                    <a:cubicBezTo>
                      <a:pt x="8884" y="6792"/>
                      <a:pt x="11265" y="10221"/>
                      <a:pt x="12313" y="14698"/>
                    </a:cubicBezTo>
                    <a:cubicBezTo>
                      <a:pt x="13360" y="19174"/>
                      <a:pt x="13646" y="23175"/>
                      <a:pt x="12408" y="234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4" name="Полилиния: фигура 513">
                <a:extLst>
                  <a:ext uri="{FF2B5EF4-FFF2-40B4-BE49-F238E27FC236}">
                    <a16:creationId xmlns:a16="http://schemas.microsoft.com/office/drawing/2014/main" id="{463561D8-7746-4A30-9903-4A6F74B09A2F}"/>
                  </a:ext>
                </a:extLst>
              </p:cNvPr>
              <p:cNvSpPr/>
              <p:nvPr/>
            </p:nvSpPr>
            <p:spPr>
              <a:xfrm>
                <a:off x="3863489" y="4284033"/>
                <a:ext cx="19050" cy="28575"/>
              </a:xfrm>
              <a:custGeom>
                <a:avLst/>
                <a:gdLst>
                  <a:gd name="connsiteX0" fmla="*/ 9104 w 19050"/>
                  <a:gd name="connsiteY0" fmla="*/ 28575 h 28575"/>
                  <a:gd name="connsiteX1" fmla="*/ 7199 w 19050"/>
                  <a:gd name="connsiteY1" fmla="*/ 17717 h 28575"/>
                  <a:gd name="connsiteX2" fmla="*/ 10151 w 19050"/>
                  <a:gd name="connsiteY2" fmla="*/ 7144 h 28575"/>
                  <a:gd name="connsiteX3" fmla="*/ 12152 w 19050"/>
                  <a:gd name="connsiteY3" fmla="*/ 18002 h 28575"/>
                  <a:gd name="connsiteX4" fmla="*/ 9104 w 19050"/>
                  <a:gd name="connsiteY4" fmla="*/ 285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9104" y="28575"/>
                    </a:moveTo>
                    <a:cubicBezTo>
                      <a:pt x="7770" y="28575"/>
                      <a:pt x="6913" y="23622"/>
                      <a:pt x="7199" y="17717"/>
                    </a:cubicBezTo>
                    <a:cubicBezTo>
                      <a:pt x="7484" y="11811"/>
                      <a:pt x="8818" y="7144"/>
                      <a:pt x="10151" y="7144"/>
                    </a:cubicBezTo>
                    <a:cubicBezTo>
                      <a:pt x="11485" y="7144"/>
                      <a:pt x="12438" y="12097"/>
                      <a:pt x="12152" y="18002"/>
                    </a:cubicBezTo>
                    <a:cubicBezTo>
                      <a:pt x="11866" y="23908"/>
                      <a:pt x="10151" y="28670"/>
                      <a:pt x="9104" y="285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5" name="Полилиния: фигура 514">
                <a:extLst>
                  <a:ext uri="{FF2B5EF4-FFF2-40B4-BE49-F238E27FC236}">
                    <a16:creationId xmlns:a16="http://schemas.microsoft.com/office/drawing/2014/main" id="{BDF02502-EFB9-40EE-9F32-37A825516B90}"/>
                  </a:ext>
                </a:extLst>
              </p:cNvPr>
              <p:cNvSpPr/>
              <p:nvPr/>
            </p:nvSpPr>
            <p:spPr>
              <a:xfrm>
                <a:off x="3757430" y="4244309"/>
                <a:ext cx="19050" cy="38100"/>
              </a:xfrm>
              <a:custGeom>
                <a:avLst/>
                <a:gdLst>
                  <a:gd name="connsiteX0" fmla="*/ 7816 w 19050"/>
                  <a:gd name="connsiteY0" fmla="*/ 31628 h 38100"/>
                  <a:gd name="connsiteX1" fmla="*/ 7816 w 19050"/>
                  <a:gd name="connsiteY1" fmla="*/ 19245 h 38100"/>
                  <a:gd name="connsiteX2" fmla="*/ 10578 w 19050"/>
                  <a:gd name="connsiteY2" fmla="*/ 7148 h 38100"/>
                  <a:gd name="connsiteX3" fmla="*/ 12673 w 19050"/>
                  <a:gd name="connsiteY3" fmla="*/ 19817 h 38100"/>
                  <a:gd name="connsiteX4" fmla="*/ 7816 w 19050"/>
                  <a:gd name="connsiteY4" fmla="*/ 3162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7816" y="31628"/>
                    </a:moveTo>
                    <a:cubicBezTo>
                      <a:pt x="6578" y="31151"/>
                      <a:pt x="7339" y="25722"/>
                      <a:pt x="7816" y="19245"/>
                    </a:cubicBezTo>
                    <a:cubicBezTo>
                      <a:pt x="8292" y="12768"/>
                      <a:pt x="9149" y="7339"/>
                      <a:pt x="10578" y="7148"/>
                    </a:cubicBezTo>
                    <a:cubicBezTo>
                      <a:pt x="12007" y="6958"/>
                      <a:pt x="13626" y="12768"/>
                      <a:pt x="12673" y="19817"/>
                    </a:cubicBezTo>
                    <a:cubicBezTo>
                      <a:pt x="11721" y="26865"/>
                      <a:pt x="9054" y="32104"/>
                      <a:pt x="7816" y="3162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6" name="Полилиния: фигура 515">
                <a:extLst>
                  <a:ext uri="{FF2B5EF4-FFF2-40B4-BE49-F238E27FC236}">
                    <a16:creationId xmlns:a16="http://schemas.microsoft.com/office/drawing/2014/main" id="{10E1EC0E-3EB8-406C-AFDA-F198519219B2}"/>
                  </a:ext>
                </a:extLst>
              </p:cNvPr>
              <p:cNvSpPr/>
              <p:nvPr/>
            </p:nvSpPr>
            <p:spPr>
              <a:xfrm>
                <a:off x="3817103" y="4142101"/>
                <a:ext cx="28575" cy="19050"/>
              </a:xfrm>
              <a:custGeom>
                <a:avLst/>
                <a:gdLst>
                  <a:gd name="connsiteX0" fmla="*/ 25581 w 28575"/>
                  <a:gd name="connsiteY0" fmla="*/ 7535 h 19050"/>
                  <a:gd name="connsiteX1" fmla="*/ 17771 w 28575"/>
                  <a:gd name="connsiteY1" fmla="*/ 15250 h 19050"/>
                  <a:gd name="connsiteX2" fmla="*/ 7293 w 28575"/>
                  <a:gd name="connsiteY2" fmla="*/ 18679 h 19050"/>
                  <a:gd name="connsiteX3" fmla="*/ 15104 w 28575"/>
                  <a:gd name="connsiteY3" fmla="*/ 10964 h 19050"/>
                  <a:gd name="connsiteX4" fmla="*/ 25581 w 28575"/>
                  <a:gd name="connsiteY4" fmla="*/ 7535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19050">
                    <a:moveTo>
                      <a:pt x="25581" y="7535"/>
                    </a:moveTo>
                    <a:cubicBezTo>
                      <a:pt x="26343" y="8678"/>
                      <a:pt x="22819" y="12107"/>
                      <a:pt x="17771" y="15250"/>
                    </a:cubicBezTo>
                    <a:cubicBezTo>
                      <a:pt x="12723" y="18393"/>
                      <a:pt x="8246" y="19917"/>
                      <a:pt x="7293" y="18679"/>
                    </a:cubicBezTo>
                    <a:cubicBezTo>
                      <a:pt x="6341" y="17441"/>
                      <a:pt x="10056" y="14107"/>
                      <a:pt x="15104" y="10964"/>
                    </a:cubicBezTo>
                    <a:cubicBezTo>
                      <a:pt x="20152" y="7821"/>
                      <a:pt x="24915" y="6392"/>
                      <a:pt x="25581" y="753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7" name="Полилиния: фигура 516">
                <a:extLst>
                  <a:ext uri="{FF2B5EF4-FFF2-40B4-BE49-F238E27FC236}">
                    <a16:creationId xmlns:a16="http://schemas.microsoft.com/office/drawing/2014/main" id="{E0604099-E885-4997-92EB-FA32FEF19503}"/>
                  </a:ext>
                </a:extLst>
              </p:cNvPr>
              <p:cNvSpPr/>
              <p:nvPr/>
            </p:nvSpPr>
            <p:spPr>
              <a:xfrm>
                <a:off x="3908283" y="4252498"/>
                <a:ext cx="19050" cy="28575"/>
              </a:xfrm>
              <a:custGeom>
                <a:avLst/>
                <a:gdLst>
                  <a:gd name="connsiteX0" fmla="*/ 10792 w 19050"/>
                  <a:gd name="connsiteY0" fmla="*/ 23439 h 28575"/>
                  <a:gd name="connsiteX1" fmla="*/ 7363 w 19050"/>
                  <a:gd name="connsiteY1" fmla="*/ 15628 h 28575"/>
                  <a:gd name="connsiteX2" fmla="*/ 8792 w 19050"/>
                  <a:gd name="connsiteY2" fmla="*/ 7151 h 28575"/>
                  <a:gd name="connsiteX3" fmla="*/ 12221 w 19050"/>
                  <a:gd name="connsiteY3" fmla="*/ 14962 h 28575"/>
                  <a:gd name="connsiteX4" fmla="*/ 10792 w 19050"/>
                  <a:gd name="connsiteY4" fmla="*/ 2343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0792" y="23439"/>
                    </a:moveTo>
                    <a:cubicBezTo>
                      <a:pt x="9458" y="23439"/>
                      <a:pt x="7934" y="20105"/>
                      <a:pt x="7363" y="15628"/>
                    </a:cubicBezTo>
                    <a:cubicBezTo>
                      <a:pt x="6791" y="11152"/>
                      <a:pt x="7363" y="7342"/>
                      <a:pt x="8792" y="7151"/>
                    </a:cubicBezTo>
                    <a:cubicBezTo>
                      <a:pt x="10220" y="6961"/>
                      <a:pt x="11744" y="10485"/>
                      <a:pt x="12221" y="14962"/>
                    </a:cubicBezTo>
                    <a:cubicBezTo>
                      <a:pt x="12697" y="19438"/>
                      <a:pt x="11935" y="23248"/>
                      <a:pt x="10792" y="2343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8" name="Полилиния: фигура 517">
                <a:extLst>
                  <a:ext uri="{FF2B5EF4-FFF2-40B4-BE49-F238E27FC236}">
                    <a16:creationId xmlns:a16="http://schemas.microsoft.com/office/drawing/2014/main" id="{A4A3C2B8-FA70-4B1C-B7FA-6540A94FB6D1}"/>
                  </a:ext>
                </a:extLst>
              </p:cNvPr>
              <p:cNvSpPr/>
              <p:nvPr/>
            </p:nvSpPr>
            <p:spPr>
              <a:xfrm>
                <a:off x="4053989" y="4237170"/>
                <a:ext cx="19050" cy="28575"/>
              </a:xfrm>
              <a:custGeom>
                <a:avLst/>
                <a:gdLst>
                  <a:gd name="connsiteX0" fmla="*/ 9104 w 19050"/>
                  <a:gd name="connsiteY0" fmla="*/ 30575 h 28575"/>
                  <a:gd name="connsiteX1" fmla="*/ 7199 w 19050"/>
                  <a:gd name="connsiteY1" fmla="*/ 18764 h 28575"/>
                  <a:gd name="connsiteX2" fmla="*/ 10151 w 19050"/>
                  <a:gd name="connsiteY2" fmla="*/ 7144 h 28575"/>
                  <a:gd name="connsiteX3" fmla="*/ 12152 w 19050"/>
                  <a:gd name="connsiteY3" fmla="*/ 19050 h 28575"/>
                  <a:gd name="connsiteX4" fmla="*/ 9104 w 19050"/>
                  <a:gd name="connsiteY4" fmla="*/ 305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9104" y="30575"/>
                    </a:moveTo>
                    <a:cubicBezTo>
                      <a:pt x="7770" y="30575"/>
                      <a:pt x="6913" y="25241"/>
                      <a:pt x="7199" y="18764"/>
                    </a:cubicBezTo>
                    <a:cubicBezTo>
                      <a:pt x="7484" y="12287"/>
                      <a:pt x="8818" y="7144"/>
                      <a:pt x="10151" y="7144"/>
                    </a:cubicBezTo>
                    <a:cubicBezTo>
                      <a:pt x="11485" y="7144"/>
                      <a:pt x="12438" y="12573"/>
                      <a:pt x="12152" y="19050"/>
                    </a:cubicBezTo>
                    <a:cubicBezTo>
                      <a:pt x="11866" y="25527"/>
                      <a:pt x="10151" y="30671"/>
                      <a:pt x="9104" y="305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9" name="Полилиния: фигура 518">
                <a:extLst>
                  <a:ext uri="{FF2B5EF4-FFF2-40B4-BE49-F238E27FC236}">
                    <a16:creationId xmlns:a16="http://schemas.microsoft.com/office/drawing/2014/main" id="{5983906B-8638-42C4-A644-137035FAE622}"/>
                  </a:ext>
                </a:extLst>
              </p:cNvPr>
              <p:cNvSpPr/>
              <p:nvPr/>
            </p:nvSpPr>
            <p:spPr>
              <a:xfrm>
                <a:off x="4044778" y="4672176"/>
                <a:ext cx="19050" cy="28575"/>
              </a:xfrm>
              <a:custGeom>
                <a:avLst/>
                <a:gdLst>
                  <a:gd name="connsiteX0" fmla="*/ 10885 w 19050"/>
                  <a:gd name="connsiteY0" fmla="*/ 30576 h 28575"/>
                  <a:gd name="connsiteX1" fmla="*/ 7361 w 19050"/>
                  <a:gd name="connsiteY1" fmla="*/ 19051 h 28575"/>
                  <a:gd name="connsiteX2" fmla="*/ 8885 w 19050"/>
                  <a:gd name="connsiteY2" fmla="*/ 7145 h 28575"/>
                  <a:gd name="connsiteX3" fmla="*/ 12314 w 19050"/>
                  <a:gd name="connsiteY3" fmla="*/ 18670 h 28575"/>
                  <a:gd name="connsiteX4" fmla="*/ 10885 w 19050"/>
                  <a:gd name="connsiteY4" fmla="*/ 3057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0885" y="30576"/>
                    </a:moveTo>
                    <a:cubicBezTo>
                      <a:pt x="9552" y="30576"/>
                      <a:pt x="7933" y="25528"/>
                      <a:pt x="7361" y="19051"/>
                    </a:cubicBezTo>
                    <a:cubicBezTo>
                      <a:pt x="6790" y="12574"/>
                      <a:pt x="7361" y="7240"/>
                      <a:pt x="8885" y="7145"/>
                    </a:cubicBezTo>
                    <a:cubicBezTo>
                      <a:pt x="10409" y="7050"/>
                      <a:pt x="11743" y="12193"/>
                      <a:pt x="12314" y="18670"/>
                    </a:cubicBezTo>
                    <a:cubicBezTo>
                      <a:pt x="12885" y="25147"/>
                      <a:pt x="12219" y="30481"/>
                      <a:pt x="10885" y="3057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0" name="Полилиния: фигура 519">
                <a:extLst>
                  <a:ext uri="{FF2B5EF4-FFF2-40B4-BE49-F238E27FC236}">
                    <a16:creationId xmlns:a16="http://schemas.microsoft.com/office/drawing/2014/main" id="{FE7DF039-A5B0-4461-9077-18E3986CCB4F}"/>
                  </a:ext>
                </a:extLst>
              </p:cNvPr>
              <p:cNvSpPr/>
              <p:nvPr/>
            </p:nvSpPr>
            <p:spPr>
              <a:xfrm>
                <a:off x="3984270" y="4706560"/>
                <a:ext cx="19050" cy="28575"/>
              </a:xfrm>
              <a:custGeom>
                <a:avLst/>
                <a:gdLst>
                  <a:gd name="connsiteX0" fmla="*/ 10242 w 19050"/>
                  <a:gd name="connsiteY0" fmla="*/ 22386 h 28575"/>
                  <a:gd name="connsiteX1" fmla="*/ 7195 w 19050"/>
                  <a:gd name="connsiteY1" fmla="*/ 14956 h 28575"/>
                  <a:gd name="connsiteX2" fmla="*/ 9195 w 19050"/>
                  <a:gd name="connsiteY2" fmla="*/ 7146 h 28575"/>
                  <a:gd name="connsiteX3" fmla="*/ 12148 w 19050"/>
                  <a:gd name="connsiteY3" fmla="*/ 14575 h 28575"/>
                  <a:gd name="connsiteX4" fmla="*/ 10242 w 19050"/>
                  <a:gd name="connsiteY4" fmla="*/ 2238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0242" y="22386"/>
                    </a:moveTo>
                    <a:cubicBezTo>
                      <a:pt x="8814" y="22386"/>
                      <a:pt x="7480" y="19147"/>
                      <a:pt x="7195" y="14956"/>
                    </a:cubicBezTo>
                    <a:cubicBezTo>
                      <a:pt x="6909" y="10765"/>
                      <a:pt x="7861" y="7241"/>
                      <a:pt x="9195" y="7146"/>
                    </a:cubicBezTo>
                    <a:cubicBezTo>
                      <a:pt x="10528" y="7051"/>
                      <a:pt x="11862" y="10384"/>
                      <a:pt x="12148" y="14575"/>
                    </a:cubicBezTo>
                    <a:cubicBezTo>
                      <a:pt x="12433" y="18766"/>
                      <a:pt x="11576" y="22386"/>
                      <a:pt x="10242" y="2238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1" name="Полилиния: фигура 520">
                <a:extLst>
                  <a:ext uri="{FF2B5EF4-FFF2-40B4-BE49-F238E27FC236}">
                    <a16:creationId xmlns:a16="http://schemas.microsoft.com/office/drawing/2014/main" id="{3C717F04-DD58-40E7-A7C8-58213BD4FD2D}"/>
                  </a:ext>
                </a:extLst>
              </p:cNvPr>
              <p:cNvSpPr/>
              <p:nvPr/>
            </p:nvSpPr>
            <p:spPr>
              <a:xfrm>
                <a:off x="3869842" y="4775018"/>
                <a:ext cx="19050" cy="28575"/>
              </a:xfrm>
              <a:custGeom>
                <a:avLst/>
                <a:gdLst>
                  <a:gd name="connsiteX0" fmla="*/ 12276 w 19050"/>
                  <a:gd name="connsiteY0" fmla="*/ 23460 h 28575"/>
                  <a:gd name="connsiteX1" fmla="*/ 7894 w 19050"/>
                  <a:gd name="connsiteY1" fmla="*/ 15936 h 28575"/>
                  <a:gd name="connsiteX2" fmla="*/ 7894 w 19050"/>
                  <a:gd name="connsiteY2" fmla="*/ 7173 h 28575"/>
                  <a:gd name="connsiteX3" fmla="*/ 12276 w 19050"/>
                  <a:gd name="connsiteY3" fmla="*/ 14698 h 28575"/>
                  <a:gd name="connsiteX4" fmla="*/ 12276 w 19050"/>
                  <a:gd name="connsiteY4" fmla="*/ 2346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2276" y="23460"/>
                    </a:moveTo>
                    <a:cubicBezTo>
                      <a:pt x="10942" y="23460"/>
                      <a:pt x="8942" y="20413"/>
                      <a:pt x="7894" y="15936"/>
                    </a:cubicBezTo>
                    <a:cubicBezTo>
                      <a:pt x="6846" y="11459"/>
                      <a:pt x="6942" y="7554"/>
                      <a:pt x="7894" y="7173"/>
                    </a:cubicBezTo>
                    <a:cubicBezTo>
                      <a:pt x="8847" y="6792"/>
                      <a:pt x="11133" y="10221"/>
                      <a:pt x="12276" y="14698"/>
                    </a:cubicBezTo>
                    <a:cubicBezTo>
                      <a:pt x="13419" y="19174"/>
                      <a:pt x="13895" y="23175"/>
                      <a:pt x="12276" y="234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2" name="Полилиния: фигура 521">
                <a:extLst>
                  <a:ext uri="{FF2B5EF4-FFF2-40B4-BE49-F238E27FC236}">
                    <a16:creationId xmlns:a16="http://schemas.microsoft.com/office/drawing/2014/main" id="{35DB7FA5-CBAA-44AB-82BE-708C6BAE49F3}"/>
                  </a:ext>
                </a:extLst>
              </p:cNvPr>
              <p:cNvSpPr/>
              <p:nvPr/>
            </p:nvSpPr>
            <p:spPr>
              <a:xfrm>
                <a:off x="3883854" y="4636428"/>
                <a:ext cx="19050" cy="28575"/>
              </a:xfrm>
              <a:custGeom>
                <a:avLst/>
                <a:gdLst>
                  <a:gd name="connsiteX0" fmla="*/ 9790 w 19050"/>
                  <a:gd name="connsiteY0" fmla="*/ 22509 h 28575"/>
                  <a:gd name="connsiteX1" fmla="*/ 7885 w 19050"/>
                  <a:gd name="connsiteY1" fmla="*/ 14984 h 28575"/>
                  <a:gd name="connsiteX2" fmla="*/ 7885 w 19050"/>
                  <a:gd name="connsiteY2" fmla="*/ 7269 h 28575"/>
                  <a:gd name="connsiteX3" fmla="*/ 13028 w 19050"/>
                  <a:gd name="connsiteY3" fmla="*/ 14317 h 28575"/>
                  <a:gd name="connsiteX4" fmla="*/ 9790 w 19050"/>
                  <a:gd name="connsiteY4" fmla="*/ 2250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9790" y="22509"/>
                    </a:moveTo>
                    <a:cubicBezTo>
                      <a:pt x="8456" y="22033"/>
                      <a:pt x="8456" y="18699"/>
                      <a:pt x="7885" y="14984"/>
                    </a:cubicBezTo>
                    <a:cubicBezTo>
                      <a:pt x="7313" y="11269"/>
                      <a:pt x="6551" y="8031"/>
                      <a:pt x="7885" y="7269"/>
                    </a:cubicBezTo>
                    <a:cubicBezTo>
                      <a:pt x="9218" y="6507"/>
                      <a:pt x="12362" y="9269"/>
                      <a:pt x="13028" y="14317"/>
                    </a:cubicBezTo>
                    <a:cubicBezTo>
                      <a:pt x="13695" y="19366"/>
                      <a:pt x="11028" y="23080"/>
                      <a:pt x="9790" y="2250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3" name="Полилиния: фигура 522">
                <a:extLst>
                  <a:ext uri="{FF2B5EF4-FFF2-40B4-BE49-F238E27FC236}">
                    <a16:creationId xmlns:a16="http://schemas.microsoft.com/office/drawing/2014/main" id="{09EE0EF8-E1F5-406E-BD2A-7C5090685EA7}"/>
                  </a:ext>
                </a:extLst>
              </p:cNvPr>
              <p:cNvSpPr/>
              <p:nvPr/>
            </p:nvSpPr>
            <p:spPr>
              <a:xfrm>
                <a:off x="4003399" y="4764646"/>
                <a:ext cx="19050" cy="28575"/>
              </a:xfrm>
              <a:custGeom>
                <a:avLst/>
                <a:gdLst>
                  <a:gd name="connsiteX0" fmla="*/ 11497 w 19050"/>
                  <a:gd name="connsiteY0" fmla="*/ 21450 h 28575"/>
                  <a:gd name="connsiteX1" fmla="*/ 7496 w 19050"/>
                  <a:gd name="connsiteY1" fmla="*/ 14878 h 28575"/>
                  <a:gd name="connsiteX2" fmla="*/ 8449 w 19050"/>
                  <a:gd name="connsiteY2" fmla="*/ 7163 h 28575"/>
                  <a:gd name="connsiteX3" fmla="*/ 12354 w 19050"/>
                  <a:gd name="connsiteY3" fmla="*/ 13830 h 28575"/>
                  <a:gd name="connsiteX4" fmla="*/ 11497 w 19050"/>
                  <a:gd name="connsiteY4" fmla="*/ 2145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1497" y="21450"/>
                    </a:moveTo>
                    <a:cubicBezTo>
                      <a:pt x="10163" y="21450"/>
                      <a:pt x="8354" y="18783"/>
                      <a:pt x="7496" y="14878"/>
                    </a:cubicBezTo>
                    <a:cubicBezTo>
                      <a:pt x="6639" y="10973"/>
                      <a:pt x="7496" y="7449"/>
                      <a:pt x="8449" y="7163"/>
                    </a:cubicBezTo>
                    <a:cubicBezTo>
                      <a:pt x="9402" y="6877"/>
                      <a:pt x="11497" y="9830"/>
                      <a:pt x="12354" y="13830"/>
                    </a:cubicBezTo>
                    <a:cubicBezTo>
                      <a:pt x="13212" y="17831"/>
                      <a:pt x="12830" y="21450"/>
                      <a:pt x="11497" y="2145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4" name="Полилиния: фигура 523">
                <a:extLst>
                  <a:ext uri="{FF2B5EF4-FFF2-40B4-BE49-F238E27FC236}">
                    <a16:creationId xmlns:a16="http://schemas.microsoft.com/office/drawing/2014/main" id="{0CB69EBD-BB37-4F64-981F-3D3F4D0D6695}"/>
                  </a:ext>
                </a:extLst>
              </p:cNvPr>
              <p:cNvSpPr/>
              <p:nvPr/>
            </p:nvSpPr>
            <p:spPr>
              <a:xfrm>
                <a:off x="4000133" y="4565211"/>
                <a:ext cx="19050" cy="38100"/>
              </a:xfrm>
              <a:custGeom>
                <a:avLst/>
                <a:gdLst>
                  <a:gd name="connsiteX0" fmla="*/ 9620 w 19050"/>
                  <a:gd name="connsiteY0" fmla="*/ 38767 h 38100"/>
                  <a:gd name="connsiteX1" fmla="*/ 7144 w 19050"/>
                  <a:gd name="connsiteY1" fmla="*/ 22955 h 38100"/>
                  <a:gd name="connsiteX2" fmla="*/ 9620 w 19050"/>
                  <a:gd name="connsiteY2" fmla="*/ 7144 h 38100"/>
                  <a:gd name="connsiteX3" fmla="*/ 12097 w 19050"/>
                  <a:gd name="connsiteY3" fmla="*/ 22955 h 38100"/>
                  <a:gd name="connsiteX4" fmla="*/ 9620 w 19050"/>
                  <a:gd name="connsiteY4" fmla="*/ 38767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9620" y="38767"/>
                    </a:moveTo>
                    <a:cubicBezTo>
                      <a:pt x="8287" y="38767"/>
                      <a:pt x="7144" y="31623"/>
                      <a:pt x="7144" y="22955"/>
                    </a:cubicBezTo>
                    <a:cubicBezTo>
                      <a:pt x="7144" y="14288"/>
                      <a:pt x="8287" y="7144"/>
                      <a:pt x="9620" y="7144"/>
                    </a:cubicBezTo>
                    <a:cubicBezTo>
                      <a:pt x="10954" y="7144"/>
                      <a:pt x="12097" y="14192"/>
                      <a:pt x="12097" y="22955"/>
                    </a:cubicBezTo>
                    <a:cubicBezTo>
                      <a:pt x="12097" y="31718"/>
                      <a:pt x="11049" y="38767"/>
                      <a:pt x="9620" y="3876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5" name="Полилиния: фигура 524">
                <a:extLst>
                  <a:ext uri="{FF2B5EF4-FFF2-40B4-BE49-F238E27FC236}">
                    <a16:creationId xmlns:a16="http://schemas.microsoft.com/office/drawing/2014/main" id="{A61409F4-AF02-4F43-8486-E7BD61BCCCCF}"/>
                  </a:ext>
                </a:extLst>
              </p:cNvPr>
              <p:cNvSpPr/>
              <p:nvPr/>
            </p:nvSpPr>
            <p:spPr>
              <a:xfrm>
                <a:off x="4048400" y="4606835"/>
                <a:ext cx="19050" cy="28575"/>
              </a:xfrm>
              <a:custGeom>
                <a:avLst/>
                <a:gdLst>
                  <a:gd name="connsiteX0" fmla="*/ 8217 w 19050"/>
                  <a:gd name="connsiteY0" fmla="*/ 26861 h 28575"/>
                  <a:gd name="connsiteX1" fmla="*/ 8217 w 19050"/>
                  <a:gd name="connsiteY1" fmla="*/ 16669 h 28575"/>
                  <a:gd name="connsiteX2" fmla="*/ 12693 w 19050"/>
                  <a:gd name="connsiteY2" fmla="*/ 7144 h 28575"/>
                  <a:gd name="connsiteX3" fmla="*/ 12693 w 19050"/>
                  <a:gd name="connsiteY3" fmla="*/ 17336 h 28575"/>
                  <a:gd name="connsiteX4" fmla="*/ 8217 w 19050"/>
                  <a:gd name="connsiteY4" fmla="*/ 2686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8217" y="26861"/>
                    </a:moveTo>
                    <a:cubicBezTo>
                      <a:pt x="6883" y="26861"/>
                      <a:pt x="6693" y="22003"/>
                      <a:pt x="8217" y="16669"/>
                    </a:cubicBezTo>
                    <a:cubicBezTo>
                      <a:pt x="9741" y="11335"/>
                      <a:pt x="11360" y="7144"/>
                      <a:pt x="12693" y="7144"/>
                    </a:cubicBezTo>
                    <a:cubicBezTo>
                      <a:pt x="14027" y="7144"/>
                      <a:pt x="14217" y="11906"/>
                      <a:pt x="12693" y="17336"/>
                    </a:cubicBezTo>
                    <a:cubicBezTo>
                      <a:pt x="11169" y="22765"/>
                      <a:pt x="9550" y="26861"/>
                      <a:pt x="8217" y="268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6" name="Полилиния: фигура 525">
                <a:extLst>
                  <a:ext uri="{FF2B5EF4-FFF2-40B4-BE49-F238E27FC236}">
                    <a16:creationId xmlns:a16="http://schemas.microsoft.com/office/drawing/2014/main" id="{252400BA-5727-43A2-A01B-03F931E77961}"/>
                  </a:ext>
                </a:extLst>
              </p:cNvPr>
              <p:cNvSpPr/>
              <p:nvPr/>
            </p:nvSpPr>
            <p:spPr>
              <a:xfrm>
                <a:off x="4104642" y="4645687"/>
                <a:ext cx="19050" cy="38100"/>
              </a:xfrm>
              <a:custGeom>
                <a:avLst/>
                <a:gdLst>
                  <a:gd name="connsiteX0" fmla="*/ 14077 w 19050"/>
                  <a:gd name="connsiteY0" fmla="*/ 32586 h 38100"/>
                  <a:gd name="connsiteX1" fmla="*/ 8648 w 19050"/>
                  <a:gd name="connsiteY1" fmla="*/ 20490 h 38100"/>
                  <a:gd name="connsiteX2" fmla="*/ 7981 w 19050"/>
                  <a:gd name="connsiteY2" fmla="*/ 7155 h 38100"/>
                  <a:gd name="connsiteX3" fmla="*/ 13506 w 19050"/>
                  <a:gd name="connsiteY3" fmla="*/ 19347 h 38100"/>
                  <a:gd name="connsiteX4" fmla="*/ 14077 w 19050"/>
                  <a:gd name="connsiteY4" fmla="*/ 32586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14077" y="32586"/>
                    </a:moveTo>
                    <a:cubicBezTo>
                      <a:pt x="12744" y="32586"/>
                      <a:pt x="10363" y="27538"/>
                      <a:pt x="8648" y="20490"/>
                    </a:cubicBezTo>
                    <a:cubicBezTo>
                      <a:pt x="6933" y="13441"/>
                      <a:pt x="6648" y="7440"/>
                      <a:pt x="7981" y="7155"/>
                    </a:cubicBezTo>
                    <a:cubicBezTo>
                      <a:pt x="9315" y="6869"/>
                      <a:pt x="11791" y="12298"/>
                      <a:pt x="13506" y="19347"/>
                    </a:cubicBezTo>
                    <a:cubicBezTo>
                      <a:pt x="15220" y="26395"/>
                      <a:pt x="15601" y="32301"/>
                      <a:pt x="14077" y="3258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7" name="Полилиния: фигура 526">
                <a:extLst>
                  <a:ext uri="{FF2B5EF4-FFF2-40B4-BE49-F238E27FC236}">
                    <a16:creationId xmlns:a16="http://schemas.microsoft.com/office/drawing/2014/main" id="{FD332C95-BBA0-4F9C-A9EA-890AACA773BF}"/>
                  </a:ext>
                </a:extLst>
              </p:cNvPr>
              <p:cNvSpPr/>
              <p:nvPr/>
            </p:nvSpPr>
            <p:spPr>
              <a:xfrm>
                <a:off x="4175421" y="4621218"/>
                <a:ext cx="19050" cy="28575"/>
              </a:xfrm>
              <a:custGeom>
                <a:avLst/>
                <a:gdLst>
                  <a:gd name="connsiteX0" fmla="*/ 11497 w 19050"/>
                  <a:gd name="connsiteY0" fmla="*/ 25527 h 28575"/>
                  <a:gd name="connsiteX1" fmla="*/ 7496 w 19050"/>
                  <a:gd name="connsiteY1" fmla="*/ 16669 h 28575"/>
                  <a:gd name="connsiteX2" fmla="*/ 8449 w 19050"/>
                  <a:gd name="connsiteY2" fmla="*/ 7144 h 28575"/>
                  <a:gd name="connsiteX3" fmla="*/ 12450 w 19050"/>
                  <a:gd name="connsiteY3" fmla="*/ 15907 h 28575"/>
                  <a:gd name="connsiteX4" fmla="*/ 11497 w 19050"/>
                  <a:gd name="connsiteY4" fmla="*/ 2552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1497" y="25527"/>
                    </a:moveTo>
                    <a:cubicBezTo>
                      <a:pt x="10163" y="25527"/>
                      <a:pt x="8354" y="21812"/>
                      <a:pt x="7496" y="16669"/>
                    </a:cubicBezTo>
                    <a:cubicBezTo>
                      <a:pt x="6639" y="11525"/>
                      <a:pt x="7496" y="7144"/>
                      <a:pt x="8449" y="7144"/>
                    </a:cubicBezTo>
                    <a:cubicBezTo>
                      <a:pt x="9402" y="7144"/>
                      <a:pt x="11592" y="10858"/>
                      <a:pt x="12450" y="15907"/>
                    </a:cubicBezTo>
                    <a:cubicBezTo>
                      <a:pt x="13307" y="20955"/>
                      <a:pt x="13116" y="25241"/>
                      <a:pt x="11497" y="2552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8" name="Полилиния: фигура 527">
                <a:extLst>
                  <a:ext uri="{FF2B5EF4-FFF2-40B4-BE49-F238E27FC236}">
                    <a16:creationId xmlns:a16="http://schemas.microsoft.com/office/drawing/2014/main" id="{F0890CEF-9F38-4253-9254-32EB40192195}"/>
                  </a:ext>
                </a:extLst>
              </p:cNvPr>
              <p:cNvSpPr/>
              <p:nvPr/>
            </p:nvSpPr>
            <p:spPr>
              <a:xfrm>
                <a:off x="4172127" y="4685415"/>
                <a:ext cx="19050" cy="28575"/>
              </a:xfrm>
              <a:custGeom>
                <a:avLst/>
                <a:gdLst>
                  <a:gd name="connsiteX0" fmla="*/ 10885 w 19050"/>
                  <a:gd name="connsiteY0" fmla="*/ 28576 h 28575"/>
                  <a:gd name="connsiteX1" fmla="*/ 7361 w 19050"/>
                  <a:gd name="connsiteY1" fmla="*/ 18099 h 28575"/>
                  <a:gd name="connsiteX2" fmla="*/ 8885 w 19050"/>
                  <a:gd name="connsiteY2" fmla="*/ 7145 h 28575"/>
                  <a:gd name="connsiteX3" fmla="*/ 12314 w 19050"/>
                  <a:gd name="connsiteY3" fmla="*/ 17623 h 28575"/>
                  <a:gd name="connsiteX4" fmla="*/ 10885 w 19050"/>
                  <a:gd name="connsiteY4" fmla="*/ 2857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0885" y="28576"/>
                    </a:moveTo>
                    <a:cubicBezTo>
                      <a:pt x="9552" y="28576"/>
                      <a:pt x="7933" y="24005"/>
                      <a:pt x="7361" y="18099"/>
                    </a:cubicBezTo>
                    <a:cubicBezTo>
                      <a:pt x="6790" y="12193"/>
                      <a:pt x="7361" y="7241"/>
                      <a:pt x="8885" y="7145"/>
                    </a:cubicBezTo>
                    <a:cubicBezTo>
                      <a:pt x="10409" y="7050"/>
                      <a:pt x="11743" y="11717"/>
                      <a:pt x="12314" y="17623"/>
                    </a:cubicBezTo>
                    <a:cubicBezTo>
                      <a:pt x="12885" y="23528"/>
                      <a:pt x="12219" y="28386"/>
                      <a:pt x="10885" y="2857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9" name="Полилиния: фигура 528">
                <a:extLst>
                  <a:ext uri="{FF2B5EF4-FFF2-40B4-BE49-F238E27FC236}">
                    <a16:creationId xmlns:a16="http://schemas.microsoft.com/office/drawing/2014/main" id="{41C4ABDB-35C0-4E3E-AC78-75301D38F30E}"/>
                  </a:ext>
                </a:extLst>
              </p:cNvPr>
              <p:cNvSpPr/>
              <p:nvPr/>
            </p:nvSpPr>
            <p:spPr>
              <a:xfrm>
                <a:off x="4132749" y="4711444"/>
                <a:ext cx="19050" cy="28575"/>
              </a:xfrm>
              <a:custGeom>
                <a:avLst/>
                <a:gdLst>
                  <a:gd name="connsiteX0" fmla="*/ 11497 w 19050"/>
                  <a:gd name="connsiteY0" fmla="*/ 24932 h 28575"/>
                  <a:gd name="connsiteX1" fmla="*/ 7496 w 19050"/>
                  <a:gd name="connsiteY1" fmla="*/ 16740 h 28575"/>
                  <a:gd name="connsiteX2" fmla="*/ 8449 w 19050"/>
                  <a:gd name="connsiteY2" fmla="*/ 7215 h 28575"/>
                  <a:gd name="connsiteX3" fmla="*/ 12354 w 19050"/>
                  <a:gd name="connsiteY3" fmla="*/ 15502 h 28575"/>
                  <a:gd name="connsiteX4" fmla="*/ 11497 w 19050"/>
                  <a:gd name="connsiteY4" fmla="*/ 2493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1497" y="24932"/>
                    </a:moveTo>
                    <a:cubicBezTo>
                      <a:pt x="10163" y="24932"/>
                      <a:pt x="8354" y="21503"/>
                      <a:pt x="7496" y="16740"/>
                    </a:cubicBezTo>
                    <a:cubicBezTo>
                      <a:pt x="6639" y="11978"/>
                      <a:pt x="7496" y="7882"/>
                      <a:pt x="8449" y="7215"/>
                    </a:cubicBezTo>
                    <a:cubicBezTo>
                      <a:pt x="9401" y="6548"/>
                      <a:pt x="11592" y="10644"/>
                      <a:pt x="12354" y="15502"/>
                    </a:cubicBezTo>
                    <a:cubicBezTo>
                      <a:pt x="13116" y="20359"/>
                      <a:pt x="12830" y="24646"/>
                      <a:pt x="11497" y="2493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0" name="Полилиния: фигура 529">
                <a:extLst>
                  <a:ext uri="{FF2B5EF4-FFF2-40B4-BE49-F238E27FC236}">
                    <a16:creationId xmlns:a16="http://schemas.microsoft.com/office/drawing/2014/main" id="{DABAEC12-8B68-451D-BFB6-7EF669F23057}"/>
                  </a:ext>
                </a:extLst>
              </p:cNvPr>
              <p:cNvSpPr/>
              <p:nvPr/>
            </p:nvSpPr>
            <p:spPr>
              <a:xfrm>
                <a:off x="4103847" y="4745482"/>
                <a:ext cx="19050" cy="28575"/>
              </a:xfrm>
              <a:custGeom>
                <a:avLst/>
                <a:gdLst>
                  <a:gd name="connsiteX0" fmla="*/ 11824 w 19050"/>
                  <a:gd name="connsiteY0" fmla="*/ 24516 h 28575"/>
                  <a:gd name="connsiteX1" fmla="*/ 7252 w 19050"/>
                  <a:gd name="connsiteY1" fmla="*/ 16230 h 28575"/>
                  <a:gd name="connsiteX2" fmla="*/ 9824 w 19050"/>
                  <a:gd name="connsiteY2" fmla="*/ 7181 h 28575"/>
                  <a:gd name="connsiteX3" fmla="*/ 12110 w 19050"/>
                  <a:gd name="connsiteY3" fmla="*/ 15658 h 28575"/>
                  <a:gd name="connsiteX4" fmla="*/ 11824 w 19050"/>
                  <a:gd name="connsiteY4" fmla="*/ 2451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1824" y="24516"/>
                    </a:moveTo>
                    <a:cubicBezTo>
                      <a:pt x="10681" y="25088"/>
                      <a:pt x="7824" y="21564"/>
                      <a:pt x="7252" y="16230"/>
                    </a:cubicBezTo>
                    <a:cubicBezTo>
                      <a:pt x="6681" y="10896"/>
                      <a:pt x="8490" y="6705"/>
                      <a:pt x="9824" y="7181"/>
                    </a:cubicBezTo>
                    <a:cubicBezTo>
                      <a:pt x="11157" y="7657"/>
                      <a:pt x="11538" y="11277"/>
                      <a:pt x="12110" y="15658"/>
                    </a:cubicBezTo>
                    <a:cubicBezTo>
                      <a:pt x="12681" y="20039"/>
                      <a:pt x="13158" y="23945"/>
                      <a:pt x="11824" y="2451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1" name="Полилиния: фигура 530">
                <a:extLst>
                  <a:ext uri="{FF2B5EF4-FFF2-40B4-BE49-F238E27FC236}">
                    <a16:creationId xmlns:a16="http://schemas.microsoft.com/office/drawing/2014/main" id="{91ED49CE-0008-4D58-A530-9664CC2D64C9}"/>
                  </a:ext>
                </a:extLst>
              </p:cNvPr>
              <p:cNvSpPr/>
              <p:nvPr/>
            </p:nvSpPr>
            <p:spPr>
              <a:xfrm>
                <a:off x="4217112" y="4724088"/>
                <a:ext cx="19050" cy="28575"/>
              </a:xfrm>
              <a:custGeom>
                <a:avLst/>
                <a:gdLst>
                  <a:gd name="connsiteX0" fmla="*/ 9620 w 19050"/>
                  <a:gd name="connsiteY0" fmla="*/ 30575 h 28575"/>
                  <a:gd name="connsiteX1" fmla="*/ 7144 w 19050"/>
                  <a:gd name="connsiteY1" fmla="*/ 18860 h 28575"/>
                  <a:gd name="connsiteX2" fmla="*/ 9620 w 19050"/>
                  <a:gd name="connsiteY2" fmla="*/ 7144 h 28575"/>
                  <a:gd name="connsiteX3" fmla="*/ 12097 w 19050"/>
                  <a:gd name="connsiteY3" fmla="*/ 18860 h 28575"/>
                  <a:gd name="connsiteX4" fmla="*/ 9620 w 19050"/>
                  <a:gd name="connsiteY4" fmla="*/ 305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9620" y="30575"/>
                    </a:moveTo>
                    <a:cubicBezTo>
                      <a:pt x="8287" y="30575"/>
                      <a:pt x="7144" y="25337"/>
                      <a:pt x="7144" y="18860"/>
                    </a:cubicBezTo>
                    <a:cubicBezTo>
                      <a:pt x="7144" y="12383"/>
                      <a:pt x="8287" y="7144"/>
                      <a:pt x="9620" y="7144"/>
                    </a:cubicBezTo>
                    <a:cubicBezTo>
                      <a:pt x="10954" y="7144"/>
                      <a:pt x="12097" y="12478"/>
                      <a:pt x="12097" y="18860"/>
                    </a:cubicBezTo>
                    <a:cubicBezTo>
                      <a:pt x="12097" y="25241"/>
                      <a:pt x="10954" y="30575"/>
                      <a:pt x="9620" y="305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2" name="Полилиния: фигура 531">
                <a:extLst>
                  <a:ext uri="{FF2B5EF4-FFF2-40B4-BE49-F238E27FC236}">
                    <a16:creationId xmlns:a16="http://schemas.microsoft.com/office/drawing/2014/main" id="{54C300B1-41CA-40D5-9D50-AF6B4D1159BD}"/>
                  </a:ext>
                </a:extLst>
              </p:cNvPr>
              <p:cNvSpPr/>
              <p:nvPr/>
            </p:nvSpPr>
            <p:spPr>
              <a:xfrm>
                <a:off x="4290331" y="4719419"/>
                <a:ext cx="19050" cy="28575"/>
              </a:xfrm>
              <a:custGeom>
                <a:avLst/>
                <a:gdLst>
                  <a:gd name="connsiteX0" fmla="*/ 10887 w 19050"/>
                  <a:gd name="connsiteY0" fmla="*/ 27148 h 28575"/>
                  <a:gd name="connsiteX1" fmla="*/ 7363 w 19050"/>
                  <a:gd name="connsiteY1" fmla="*/ 17623 h 28575"/>
                  <a:gd name="connsiteX2" fmla="*/ 8791 w 19050"/>
                  <a:gd name="connsiteY2" fmla="*/ 7145 h 28575"/>
                  <a:gd name="connsiteX3" fmla="*/ 12316 w 19050"/>
                  <a:gd name="connsiteY3" fmla="*/ 16670 h 28575"/>
                  <a:gd name="connsiteX4" fmla="*/ 10887 w 19050"/>
                  <a:gd name="connsiteY4" fmla="*/ 27148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0887" y="27148"/>
                    </a:moveTo>
                    <a:cubicBezTo>
                      <a:pt x="9458" y="27148"/>
                      <a:pt x="7934" y="22861"/>
                      <a:pt x="7363" y="17623"/>
                    </a:cubicBezTo>
                    <a:cubicBezTo>
                      <a:pt x="6791" y="12384"/>
                      <a:pt x="7363" y="7241"/>
                      <a:pt x="8791" y="7145"/>
                    </a:cubicBezTo>
                    <a:cubicBezTo>
                      <a:pt x="10220" y="7050"/>
                      <a:pt x="11744" y="11432"/>
                      <a:pt x="12316" y="16670"/>
                    </a:cubicBezTo>
                    <a:cubicBezTo>
                      <a:pt x="12887" y="21909"/>
                      <a:pt x="12125" y="26957"/>
                      <a:pt x="10887" y="2714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3" name="Полилиния: фигура 532">
                <a:extLst>
                  <a:ext uri="{FF2B5EF4-FFF2-40B4-BE49-F238E27FC236}">
                    <a16:creationId xmlns:a16="http://schemas.microsoft.com/office/drawing/2014/main" id="{C994AFA9-956C-4286-9C63-53D5AB1BE5B0}"/>
                  </a:ext>
                </a:extLst>
              </p:cNvPr>
              <p:cNvSpPr/>
              <p:nvPr/>
            </p:nvSpPr>
            <p:spPr>
              <a:xfrm>
                <a:off x="4266587" y="4667129"/>
                <a:ext cx="19050" cy="28575"/>
              </a:xfrm>
              <a:custGeom>
                <a:avLst/>
                <a:gdLst>
                  <a:gd name="connsiteX0" fmla="*/ 10151 w 19050"/>
                  <a:gd name="connsiteY0" fmla="*/ 29527 h 28575"/>
                  <a:gd name="connsiteX1" fmla="*/ 7198 w 19050"/>
                  <a:gd name="connsiteY1" fmla="*/ 18383 h 28575"/>
                  <a:gd name="connsiteX2" fmla="*/ 9199 w 19050"/>
                  <a:gd name="connsiteY2" fmla="*/ 7144 h 28575"/>
                  <a:gd name="connsiteX3" fmla="*/ 12152 w 19050"/>
                  <a:gd name="connsiteY3" fmla="*/ 18193 h 28575"/>
                  <a:gd name="connsiteX4" fmla="*/ 10151 w 19050"/>
                  <a:gd name="connsiteY4" fmla="*/ 2952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0151" y="29527"/>
                    </a:moveTo>
                    <a:cubicBezTo>
                      <a:pt x="8818" y="29527"/>
                      <a:pt x="7484" y="24574"/>
                      <a:pt x="7198" y="18383"/>
                    </a:cubicBezTo>
                    <a:cubicBezTo>
                      <a:pt x="6913" y="12192"/>
                      <a:pt x="7770" y="7144"/>
                      <a:pt x="9199" y="7144"/>
                    </a:cubicBezTo>
                    <a:cubicBezTo>
                      <a:pt x="10628" y="7144"/>
                      <a:pt x="11866" y="12001"/>
                      <a:pt x="12152" y="18193"/>
                    </a:cubicBezTo>
                    <a:cubicBezTo>
                      <a:pt x="12437" y="24384"/>
                      <a:pt x="11580" y="29432"/>
                      <a:pt x="10151" y="2952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4" name="Полилиния: фигура 533">
                <a:extLst>
                  <a:ext uri="{FF2B5EF4-FFF2-40B4-BE49-F238E27FC236}">
                    <a16:creationId xmlns:a16="http://schemas.microsoft.com/office/drawing/2014/main" id="{3C790B13-2835-4A03-BCFE-5E749E191E08}"/>
                  </a:ext>
                </a:extLst>
              </p:cNvPr>
              <p:cNvSpPr/>
              <p:nvPr/>
            </p:nvSpPr>
            <p:spPr>
              <a:xfrm>
                <a:off x="4217538" y="4660936"/>
                <a:ext cx="19050" cy="28575"/>
              </a:xfrm>
              <a:custGeom>
                <a:avLst/>
                <a:gdLst>
                  <a:gd name="connsiteX0" fmla="*/ 10243 w 19050"/>
                  <a:gd name="connsiteY0" fmla="*/ 27529 h 28575"/>
                  <a:gd name="connsiteX1" fmla="*/ 7195 w 19050"/>
                  <a:gd name="connsiteY1" fmla="*/ 17528 h 28575"/>
                  <a:gd name="connsiteX2" fmla="*/ 9195 w 19050"/>
                  <a:gd name="connsiteY2" fmla="*/ 7145 h 28575"/>
                  <a:gd name="connsiteX3" fmla="*/ 12147 w 19050"/>
                  <a:gd name="connsiteY3" fmla="*/ 17242 h 28575"/>
                  <a:gd name="connsiteX4" fmla="*/ 10243 w 19050"/>
                  <a:gd name="connsiteY4" fmla="*/ 2752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0243" y="27529"/>
                    </a:moveTo>
                    <a:cubicBezTo>
                      <a:pt x="8814" y="27529"/>
                      <a:pt x="7480" y="23147"/>
                      <a:pt x="7195" y="17528"/>
                    </a:cubicBezTo>
                    <a:cubicBezTo>
                      <a:pt x="6909" y="11908"/>
                      <a:pt x="7861" y="7241"/>
                      <a:pt x="9195" y="7145"/>
                    </a:cubicBezTo>
                    <a:cubicBezTo>
                      <a:pt x="10528" y="7050"/>
                      <a:pt x="11862" y="11622"/>
                      <a:pt x="12147" y="17242"/>
                    </a:cubicBezTo>
                    <a:cubicBezTo>
                      <a:pt x="12433" y="22862"/>
                      <a:pt x="11576" y="27529"/>
                      <a:pt x="10243" y="2752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5" name="Полилиния: фигура 534">
                <a:extLst>
                  <a:ext uri="{FF2B5EF4-FFF2-40B4-BE49-F238E27FC236}">
                    <a16:creationId xmlns:a16="http://schemas.microsoft.com/office/drawing/2014/main" id="{2AA7A115-B52C-4B58-B24B-1B1BF3BCB4D4}"/>
                  </a:ext>
                </a:extLst>
              </p:cNvPr>
              <p:cNvSpPr/>
              <p:nvPr/>
            </p:nvSpPr>
            <p:spPr>
              <a:xfrm>
                <a:off x="4235496" y="4617218"/>
                <a:ext cx="19050" cy="19050"/>
              </a:xfrm>
              <a:custGeom>
                <a:avLst/>
                <a:gdLst>
                  <a:gd name="connsiteX0" fmla="*/ 9620 w 19050"/>
                  <a:gd name="connsiteY0" fmla="*/ 17240 h 19050"/>
                  <a:gd name="connsiteX1" fmla="*/ 7144 w 19050"/>
                  <a:gd name="connsiteY1" fmla="*/ 12192 h 19050"/>
                  <a:gd name="connsiteX2" fmla="*/ 9620 w 19050"/>
                  <a:gd name="connsiteY2" fmla="*/ 7144 h 19050"/>
                  <a:gd name="connsiteX3" fmla="*/ 12097 w 19050"/>
                  <a:gd name="connsiteY3" fmla="*/ 12192 h 19050"/>
                  <a:gd name="connsiteX4" fmla="*/ 9620 w 19050"/>
                  <a:gd name="connsiteY4" fmla="*/ 1724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9620" y="17240"/>
                    </a:moveTo>
                    <a:cubicBezTo>
                      <a:pt x="8191" y="17240"/>
                      <a:pt x="7144" y="15050"/>
                      <a:pt x="7144" y="12192"/>
                    </a:cubicBezTo>
                    <a:cubicBezTo>
                      <a:pt x="7144" y="9334"/>
                      <a:pt x="8191" y="7144"/>
                      <a:pt x="9620" y="7144"/>
                    </a:cubicBezTo>
                    <a:cubicBezTo>
                      <a:pt x="11049" y="7144"/>
                      <a:pt x="12097" y="9334"/>
                      <a:pt x="12097" y="12192"/>
                    </a:cubicBezTo>
                    <a:cubicBezTo>
                      <a:pt x="12097" y="15050"/>
                      <a:pt x="10954" y="17240"/>
                      <a:pt x="9620" y="1724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6" name="Полилиния: фигура 535">
                <a:extLst>
                  <a:ext uri="{FF2B5EF4-FFF2-40B4-BE49-F238E27FC236}">
                    <a16:creationId xmlns:a16="http://schemas.microsoft.com/office/drawing/2014/main" id="{93663CC9-DB8D-40A8-BE00-6D8621A9DF7F}"/>
                  </a:ext>
                </a:extLst>
              </p:cNvPr>
              <p:cNvSpPr/>
              <p:nvPr/>
            </p:nvSpPr>
            <p:spPr>
              <a:xfrm>
                <a:off x="3828492" y="4516524"/>
                <a:ext cx="514350" cy="180975"/>
              </a:xfrm>
              <a:custGeom>
                <a:avLst/>
                <a:gdLst>
                  <a:gd name="connsiteX0" fmla="*/ 515493 w 514350"/>
                  <a:gd name="connsiteY0" fmla="*/ 166607 h 180975"/>
                  <a:gd name="connsiteX1" fmla="*/ 505492 w 514350"/>
                  <a:gd name="connsiteY1" fmla="*/ 155748 h 180975"/>
                  <a:gd name="connsiteX2" fmla="*/ 433388 w 514350"/>
                  <a:gd name="connsiteY2" fmla="*/ 109362 h 180975"/>
                  <a:gd name="connsiteX3" fmla="*/ 364903 w 514350"/>
                  <a:gd name="connsiteY3" fmla="*/ 78025 h 180975"/>
                  <a:gd name="connsiteX4" fmla="*/ 285179 w 514350"/>
                  <a:gd name="connsiteY4" fmla="*/ 87550 h 180975"/>
                  <a:gd name="connsiteX5" fmla="*/ 264890 w 514350"/>
                  <a:gd name="connsiteY5" fmla="*/ 84502 h 180975"/>
                  <a:gd name="connsiteX6" fmla="*/ 262985 w 514350"/>
                  <a:gd name="connsiteY6" fmla="*/ 54974 h 180975"/>
                  <a:gd name="connsiteX7" fmla="*/ 216598 w 514350"/>
                  <a:gd name="connsiteY7" fmla="*/ 7349 h 180975"/>
                  <a:gd name="connsiteX8" fmla="*/ 154305 w 514350"/>
                  <a:gd name="connsiteY8" fmla="*/ 28876 h 180975"/>
                  <a:gd name="connsiteX9" fmla="*/ 164687 w 514350"/>
                  <a:gd name="connsiteY9" fmla="*/ 63451 h 180975"/>
                  <a:gd name="connsiteX10" fmla="*/ 7144 w 514350"/>
                  <a:gd name="connsiteY10" fmla="*/ 137937 h 180975"/>
                  <a:gd name="connsiteX11" fmla="*/ 104680 w 514350"/>
                  <a:gd name="connsiteY11" fmla="*/ 115077 h 180975"/>
                  <a:gd name="connsiteX12" fmla="*/ 185166 w 514350"/>
                  <a:gd name="connsiteY12" fmla="*/ 71452 h 180975"/>
                  <a:gd name="connsiteX13" fmla="*/ 209931 w 514350"/>
                  <a:gd name="connsiteY13" fmla="*/ 60213 h 180975"/>
                  <a:gd name="connsiteX14" fmla="*/ 218313 w 514350"/>
                  <a:gd name="connsiteY14" fmla="*/ 80120 h 180975"/>
                  <a:gd name="connsiteX15" fmla="*/ 212217 w 514350"/>
                  <a:gd name="connsiteY15" fmla="*/ 102694 h 180975"/>
                  <a:gd name="connsiteX16" fmla="*/ 243421 w 514350"/>
                  <a:gd name="connsiteY16" fmla="*/ 141730 h 180975"/>
                  <a:gd name="connsiteX17" fmla="*/ 244602 w 514350"/>
                  <a:gd name="connsiteY17" fmla="*/ 141842 h 180975"/>
                  <a:gd name="connsiteX18" fmla="*/ 303752 w 514350"/>
                  <a:gd name="connsiteY18" fmla="*/ 127936 h 180975"/>
                  <a:gd name="connsiteX19" fmla="*/ 347758 w 514350"/>
                  <a:gd name="connsiteY19" fmla="*/ 155082 h 180975"/>
                  <a:gd name="connsiteX20" fmla="*/ 474726 w 514350"/>
                  <a:gd name="connsiteY20" fmla="*/ 172322 h 180975"/>
                  <a:gd name="connsiteX21" fmla="*/ 498920 w 514350"/>
                  <a:gd name="connsiteY21" fmla="*/ 181847 h 180975"/>
                  <a:gd name="connsiteX22" fmla="*/ 515493 w 514350"/>
                  <a:gd name="connsiteY22" fmla="*/ 166607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14350" h="180975">
                    <a:moveTo>
                      <a:pt x="515493" y="166607"/>
                    </a:moveTo>
                    <a:cubicBezTo>
                      <a:pt x="513674" y="161840"/>
                      <a:pt x="510094" y="157953"/>
                      <a:pt x="505492" y="155748"/>
                    </a:cubicBezTo>
                    <a:lnTo>
                      <a:pt x="433388" y="109362"/>
                    </a:lnTo>
                    <a:cubicBezTo>
                      <a:pt x="412147" y="95646"/>
                      <a:pt x="389954" y="81644"/>
                      <a:pt x="364903" y="78025"/>
                    </a:cubicBezTo>
                    <a:cubicBezTo>
                      <a:pt x="338233" y="74215"/>
                      <a:pt x="311658" y="82501"/>
                      <a:pt x="285179" y="87550"/>
                    </a:cubicBezTo>
                    <a:cubicBezTo>
                      <a:pt x="278312" y="89765"/>
                      <a:pt x="270803" y="88637"/>
                      <a:pt x="264890" y="84502"/>
                    </a:cubicBezTo>
                    <a:cubicBezTo>
                      <a:pt x="257461" y="77358"/>
                      <a:pt x="262128" y="65452"/>
                      <a:pt x="262985" y="54974"/>
                    </a:cubicBezTo>
                    <a:cubicBezTo>
                      <a:pt x="265176" y="30590"/>
                      <a:pt x="241078" y="10016"/>
                      <a:pt x="216598" y="7349"/>
                    </a:cubicBezTo>
                    <a:cubicBezTo>
                      <a:pt x="192119" y="4682"/>
                      <a:pt x="154305" y="28876"/>
                      <a:pt x="154305" y="28876"/>
                    </a:cubicBezTo>
                    <a:cubicBezTo>
                      <a:pt x="156781" y="29542"/>
                      <a:pt x="164687" y="63451"/>
                      <a:pt x="164687" y="63451"/>
                    </a:cubicBezTo>
                    <a:lnTo>
                      <a:pt x="7144" y="137937"/>
                    </a:lnTo>
                    <a:cubicBezTo>
                      <a:pt x="40187" y="132792"/>
                      <a:pt x="72792" y="125150"/>
                      <a:pt x="104680" y="115077"/>
                    </a:cubicBezTo>
                    <a:cubicBezTo>
                      <a:pt x="134703" y="107415"/>
                      <a:pt x="162357" y="92426"/>
                      <a:pt x="185166" y="71452"/>
                    </a:cubicBezTo>
                    <a:cubicBezTo>
                      <a:pt x="192119" y="64785"/>
                      <a:pt x="200978" y="56689"/>
                      <a:pt x="209931" y="60213"/>
                    </a:cubicBezTo>
                    <a:cubicBezTo>
                      <a:pt x="216863" y="64227"/>
                      <a:pt x="220286" y="72356"/>
                      <a:pt x="218313" y="80120"/>
                    </a:cubicBezTo>
                    <a:cubicBezTo>
                      <a:pt x="217170" y="87835"/>
                      <a:pt x="213360" y="94979"/>
                      <a:pt x="212217" y="102694"/>
                    </a:cubicBezTo>
                    <a:cubicBezTo>
                      <a:pt x="210054" y="122091"/>
                      <a:pt x="224025" y="139568"/>
                      <a:pt x="243421" y="141730"/>
                    </a:cubicBezTo>
                    <a:cubicBezTo>
                      <a:pt x="243814" y="141774"/>
                      <a:pt x="244208" y="141812"/>
                      <a:pt x="244602" y="141842"/>
                    </a:cubicBezTo>
                    <a:cubicBezTo>
                      <a:pt x="265081" y="142699"/>
                      <a:pt x="283464" y="125269"/>
                      <a:pt x="303752" y="127936"/>
                    </a:cubicBezTo>
                    <a:cubicBezTo>
                      <a:pt x="321088" y="130317"/>
                      <a:pt x="332804" y="146128"/>
                      <a:pt x="347758" y="155082"/>
                    </a:cubicBezTo>
                    <a:cubicBezTo>
                      <a:pt x="384905" y="177275"/>
                      <a:pt x="435293" y="154510"/>
                      <a:pt x="474726" y="172322"/>
                    </a:cubicBezTo>
                    <a:cubicBezTo>
                      <a:pt x="482171" y="176889"/>
                      <a:pt x="490359" y="180113"/>
                      <a:pt x="498920" y="181847"/>
                    </a:cubicBezTo>
                    <a:cubicBezTo>
                      <a:pt x="507587" y="182323"/>
                      <a:pt x="517588" y="175084"/>
                      <a:pt x="515493" y="166607"/>
                    </a:cubicBez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7" name="Полилиния: фигура 536">
                <a:extLst>
                  <a:ext uri="{FF2B5EF4-FFF2-40B4-BE49-F238E27FC236}">
                    <a16:creationId xmlns:a16="http://schemas.microsoft.com/office/drawing/2014/main" id="{174CCBEC-14C6-4E64-8DF6-A8396B647056}"/>
                  </a:ext>
                </a:extLst>
              </p:cNvPr>
              <p:cNvSpPr/>
              <p:nvPr/>
            </p:nvSpPr>
            <p:spPr>
              <a:xfrm>
                <a:off x="3979082" y="4552353"/>
                <a:ext cx="9525" cy="9525"/>
              </a:xfrm>
              <a:custGeom>
                <a:avLst/>
                <a:gdLst>
                  <a:gd name="connsiteX0" fmla="*/ 7811 w 9525"/>
                  <a:gd name="connsiteY0" fmla="*/ 7144 h 9525"/>
                  <a:gd name="connsiteX1" fmla="*/ 7144 w 9525"/>
                  <a:gd name="connsiteY1" fmla="*/ 7144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525">
                    <a:moveTo>
                      <a:pt x="7811" y="7144"/>
                    </a:moveTo>
                    <a:lnTo>
                      <a:pt x="7144" y="7144"/>
                    </a:lnTo>
                    <a:close/>
                  </a:path>
                </a:pathLst>
              </a:custGeom>
              <a:solidFill>
                <a:srgbClr val="F8AD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8" name="Полилиния: фигура 537">
                <a:extLst>
                  <a:ext uri="{FF2B5EF4-FFF2-40B4-BE49-F238E27FC236}">
                    <a16:creationId xmlns:a16="http://schemas.microsoft.com/office/drawing/2014/main" id="{0CA47B12-8553-4FEB-9023-DF895629D015}"/>
                  </a:ext>
                </a:extLst>
              </p:cNvPr>
              <p:cNvSpPr/>
              <p:nvPr/>
            </p:nvSpPr>
            <p:spPr>
              <a:xfrm>
                <a:off x="55449" y="221672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9525"/>
                </a:pathLst>
              </a:custGeom>
              <a:solidFill>
                <a:srgbClr val="F8AD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9" name="Полилиния: фигура 538">
                <a:extLst>
                  <a:ext uri="{FF2B5EF4-FFF2-40B4-BE49-F238E27FC236}">
                    <a16:creationId xmlns:a16="http://schemas.microsoft.com/office/drawing/2014/main" id="{82C8A21C-9716-44F5-B6FB-FE85D7141159}"/>
                  </a:ext>
                </a:extLst>
              </p:cNvPr>
              <p:cNvSpPr/>
              <p:nvPr/>
            </p:nvSpPr>
            <p:spPr>
              <a:xfrm>
                <a:off x="3963081" y="4388427"/>
                <a:ext cx="266700" cy="171450"/>
              </a:xfrm>
              <a:custGeom>
                <a:avLst/>
                <a:gdLst>
                  <a:gd name="connsiteX0" fmla="*/ 195739 w 266700"/>
                  <a:gd name="connsiteY0" fmla="*/ 7144 h 171450"/>
                  <a:gd name="connsiteX1" fmla="*/ 112966 w 266700"/>
                  <a:gd name="connsiteY1" fmla="*/ 16669 h 171450"/>
                  <a:gd name="connsiteX2" fmla="*/ 7144 w 266700"/>
                  <a:gd name="connsiteY2" fmla="*/ 91630 h 171450"/>
                  <a:gd name="connsiteX3" fmla="*/ 24003 w 266700"/>
                  <a:gd name="connsiteY3" fmla="*/ 171355 h 171450"/>
                  <a:gd name="connsiteX4" fmla="*/ 81153 w 266700"/>
                  <a:gd name="connsiteY4" fmla="*/ 146304 h 171450"/>
                  <a:gd name="connsiteX5" fmla="*/ 89059 w 266700"/>
                  <a:gd name="connsiteY5" fmla="*/ 122015 h 171450"/>
                  <a:gd name="connsiteX6" fmla="*/ 103061 w 266700"/>
                  <a:gd name="connsiteY6" fmla="*/ 128683 h 171450"/>
                  <a:gd name="connsiteX7" fmla="*/ 118301 w 266700"/>
                  <a:gd name="connsiteY7" fmla="*/ 162782 h 171450"/>
                  <a:gd name="connsiteX8" fmla="*/ 141446 w 266700"/>
                  <a:gd name="connsiteY8" fmla="*/ 167640 h 171450"/>
                  <a:gd name="connsiteX9" fmla="*/ 142589 w 266700"/>
                  <a:gd name="connsiteY9" fmla="*/ 150590 h 171450"/>
                  <a:gd name="connsiteX10" fmla="*/ 164592 w 266700"/>
                  <a:gd name="connsiteY10" fmla="*/ 150590 h 171450"/>
                  <a:gd name="connsiteX11" fmla="*/ 166973 w 266700"/>
                  <a:gd name="connsiteY11" fmla="*/ 87916 h 171450"/>
                  <a:gd name="connsiteX12" fmla="*/ 142018 w 266700"/>
                  <a:gd name="connsiteY12" fmla="*/ 59341 h 171450"/>
                  <a:gd name="connsiteX13" fmla="*/ 169450 w 266700"/>
                  <a:gd name="connsiteY13" fmla="*/ 60579 h 171450"/>
                  <a:gd name="connsiteX14" fmla="*/ 202883 w 266700"/>
                  <a:gd name="connsiteY14" fmla="*/ 84772 h 171450"/>
                  <a:gd name="connsiteX15" fmla="*/ 242506 w 266700"/>
                  <a:gd name="connsiteY15" fmla="*/ 81248 h 171450"/>
                  <a:gd name="connsiteX16" fmla="*/ 192596 w 266700"/>
                  <a:gd name="connsiteY16" fmla="*/ 30099 h 171450"/>
                  <a:gd name="connsiteX17" fmla="*/ 200501 w 266700"/>
                  <a:gd name="connsiteY17" fmla="*/ 33147 h 171450"/>
                  <a:gd name="connsiteX18" fmla="*/ 244983 w 266700"/>
                  <a:gd name="connsiteY18" fmla="*/ 52673 h 171450"/>
                  <a:gd name="connsiteX19" fmla="*/ 259556 w 266700"/>
                  <a:gd name="connsiteY19" fmla="*/ 36862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66700" h="171450">
                    <a:moveTo>
                      <a:pt x="195739" y="7144"/>
                    </a:moveTo>
                    <a:lnTo>
                      <a:pt x="112966" y="16669"/>
                    </a:lnTo>
                    <a:lnTo>
                      <a:pt x="7144" y="91630"/>
                    </a:lnTo>
                    <a:lnTo>
                      <a:pt x="24003" y="171355"/>
                    </a:lnTo>
                    <a:cubicBezTo>
                      <a:pt x="43489" y="164036"/>
                      <a:pt x="62566" y="155674"/>
                      <a:pt x="81153" y="146304"/>
                    </a:cubicBezTo>
                    <a:cubicBezTo>
                      <a:pt x="90678" y="140303"/>
                      <a:pt x="89059" y="122015"/>
                      <a:pt x="89059" y="122015"/>
                    </a:cubicBezTo>
                    <a:lnTo>
                      <a:pt x="103061" y="128683"/>
                    </a:lnTo>
                    <a:cubicBezTo>
                      <a:pt x="103061" y="128683"/>
                      <a:pt x="111538" y="146971"/>
                      <a:pt x="118301" y="162782"/>
                    </a:cubicBezTo>
                    <a:cubicBezTo>
                      <a:pt x="125063" y="178594"/>
                      <a:pt x="141446" y="167640"/>
                      <a:pt x="141446" y="167640"/>
                    </a:cubicBezTo>
                    <a:lnTo>
                      <a:pt x="142589" y="150590"/>
                    </a:lnTo>
                    <a:cubicBezTo>
                      <a:pt x="152114" y="159163"/>
                      <a:pt x="164592" y="150590"/>
                      <a:pt x="164592" y="150590"/>
                    </a:cubicBezTo>
                    <a:lnTo>
                      <a:pt x="166973" y="87916"/>
                    </a:lnTo>
                    <a:lnTo>
                      <a:pt x="142018" y="59341"/>
                    </a:lnTo>
                    <a:lnTo>
                      <a:pt x="169450" y="60579"/>
                    </a:lnTo>
                    <a:cubicBezTo>
                      <a:pt x="181535" y="67257"/>
                      <a:pt x="192761" y="75381"/>
                      <a:pt x="202883" y="84772"/>
                    </a:cubicBezTo>
                    <a:cubicBezTo>
                      <a:pt x="219932" y="100584"/>
                      <a:pt x="242506" y="81248"/>
                      <a:pt x="242506" y="81248"/>
                    </a:cubicBezTo>
                    <a:lnTo>
                      <a:pt x="192596" y="30099"/>
                    </a:lnTo>
                    <a:lnTo>
                      <a:pt x="200501" y="33147"/>
                    </a:lnTo>
                    <a:cubicBezTo>
                      <a:pt x="200501" y="33147"/>
                      <a:pt x="232124" y="52673"/>
                      <a:pt x="244983" y="52673"/>
                    </a:cubicBezTo>
                    <a:cubicBezTo>
                      <a:pt x="257842" y="52673"/>
                      <a:pt x="259556" y="36862"/>
                      <a:pt x="259556" y="36862"/>
                    </a:cubicBezTo>
                    <a:close/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0" name="Полилиния: фигура 539">
                <a:extLst>
                  <a:ext uri="{FF2B5EF4-FFF2-40B4-BE49-F238E27FC236}">
                    <a16:creationId xmlns:a16="http://schemas.microsoft.com/office/drawing/2014/main" id="{56970CBC-85DE-4C8D-A411-DEB00E5B00B9}"/>
                  </a:ext>
                </a:extLst>
              </p:cNvPr>
              <p:cNvSpPr/>
              <p:nvPr/>
            </p:nvSpPr>
            <p:spPr>
              <a:xfrm>
                <a:off x="4038328" y="4462735"/>
                <a:ext cx="66675" cy="76200"/>
              </a:xfrm>
              <a:custGeom>
                <a:avLst/>
                <a:gdLst>
                  <a:gd name="connsiteX0" fmla="*/ 7144 w 66675"/>
                  <a:gd name="connsiteY0" fmla="*/ 9036 h 76200"/>
                  <a:gd name="connsiteX1" fmla="*/ 23051 w 66675"/>
                  <a:gd name="connsiteY1" fmla="*/ 7893 h 76200"/>
                  <a:gd name="connsiteX2" fmla="*/ 39529 w 66675"/>
                  <a:gd name="connsiteY2" fmla="*/ 12847 h 76200"/>
                  <a:gd name="connsiteX3" fmla="*/ 58008 w 66675"/>
                  <a:gd name="connsiteY3" fmla="*/ 24276 h 76200"/>
                  <a:gd name="connsiteX4" fmla="*/ 65627 w 66675"/>
                  <a:gd name="connsiteY4" fmla="*/ 44755 h 76200"/>
                  <a:gd name="connsiteX5" fmla="*/ 66294 w 66675"/>
                  <a:gd name="connsiteY5" fmla="*/ 61805 h 76200"/>
                  <a:gd name="connsiteX6" fmla="*/ 67246 w 66675"/>
                  <a:gd name="connsiteY6" fmla="*/ 77331 h 76200"/>
                  <a:gd name="connsiteX7" fmla="*/ 62770 w 66675"/>
                  <a:gd name="connsiteY7" fmla="*/ 62091 h 76200"/>
                  <a:gd name="connsiteX8" fmla="*/ 61055 w 66675"/>
                  <a:gd name="connsiteY8" fmla="*/ 45327 h 76200"/>
                  <a:gd name="connsiteX9" fmla="*/ 54197 w 66675"/>
                  <a:gd name="connsiteY9" fmla="*/ 27420 h 76200"/>
                  <a:gd name="connsiteX10" fmla="*/ 37910 w 66675"/>
                  <a:gd name="connsiteY10" fmla="*/ 17133 h 76200"/>
                  <a:gd name="connsiteX11" fmla="*/ 22288 w 66675"/>
                  <a:gd name="connsiteY11" fmla="*/ 11322 h 76200"/>
                  <a:gd name="connsiteX12" fmla="*/ 7144 w 66675"/>
                  <a:gd name="connsiteY12" fmla="*/ 9036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6675" h="76200">
                    <a:moveTo>
                      <a:pt x="7144" y="9036"/>
                    </a:moveTo>
                    <a:cubicBezTo>
                      <a:pt x="7144" y="8465"/>
                      <a:pt x="13145" y="5893"/>
                      <a:pt x="23051" y="7893"/>
                    </a:cubicBezTo>
                    <a:cubicBezTo>
                      <a:pt x="28651" y="9160"/>
                      <a:pt x="34158" y="10815"/>
                      <a:pt x="39529" y="12847"/>
                    </a:cubicBezTo>
                    <a:cubicBezTo>
                      <a:pt x="46592" y="14953"/>
                      <a:pt x="52969" y="18898"/>
                      <a:pt x="58008" y="24276"/>
                    </a:cubicBezTo>
                    <a:cubicBezTo>
                      <a:pt x="62492" y="30212"/>
                      <a:pt x="65141" y="37331"/>
                      <a:pt x="65627" y="44755"/>
                    </a:cubicBezTo>
                    <a:cubicBezTo>
                      <a:pt x="66294" y="51327"/>
                      <a:pt x="65627" y="57042"/>
                      <a:pt x="66294" y="61805"/>
                    </a:cubicBezTo>
                    <a:cubicBezTo>
                      <a:pt x="66294" y="71330"/>
                      <a:pt x="67913" y="77045"/>
                      <a:pt x="67246" y="77331"/>
                    </a:cubicBezTo>
                    <a:cubicBezTo>
                      <a:pt x="66580" y="77616"/>
                      <a:pt x="63722" y="71901"/>
                      <a:pt x="62770" y="62091"/>
                    </a:cubicBezTo>
                    <a:cubicBezTo>
                      <a:pt x="62198" y="57233"/>
                      <a:pt x="62008" y="51423"/>
                      <a:pt x="61055" y="45327"/>
                    </a:cubicBezTo>
                    <a:cubicBezTo>
                      <a:pt x="60389" y="38857"/>
                      <a:pt x="58023" y="32679"/>
                      <a:pt x="54197" y="27420"/>
                    </a:cubicBezTo>
                    <a:cubicBezTo>
                      <a:pt x="49689" y="22712"/>
                      <a:pt x="44097" y="19180"/>
                      <a:pt x="37910" y="17133"/>
                    </a:cubicBezTo>
                    <a:cubicBezTo>
                      <a:pt x="32004" y="14751"/>
                      <a:pt x="26765" y="12656"/>
                      <a:pt x="22288" y="11322"/>
                    </a:cubicBezTo>
                    <a:cubicBezTo>
                      <a:pt x="17298" y="10216"/>
                      <a:pt x="12238" y="9452"/>
                      <a:pt x="7144" y="9036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1" name="Полилиния: фигура 540">
                <a:extLst>
                  <a:ext uri="{FF2B5EF4-FFF2-40B4-BE49-F238E27FC236}">
                    <a16:creationId xmlns:a16="http://schemas.microsoft.com/office/drawing/2014/main" id="{1C5026ED-67EC-4A9A-95BD-C3E990F9BA41}"/>
                  </a:ext>
                </a:extLst>
              </p:cNvPr>
              <p:cNvSpPr/>
              <p:nvPr/>
            </p:nvSpPr>
            <p:spPr>
              <a:xfrm>
                <a:off x="4082714" y="4407130"/>
                <a:ext cx="114300" cy="57150"/>
              </a:xfrm>
              <a:custGeom>
                <a:avLst/>
                <a:gdLst>
                  <a:gd name="connsiteX0" fmla="*/ 114395 w 114300"/>
                  <a:gd name="connsiteY0" fmla="*/ 53973 h 57150"/>
                  <a:gd name="connsiteX1" fmla="*/ 70104 w 114300"/>
                  <a:gd name="connsiteY1" fmla="*/ 12253 h 57150"/>
                  <a:gd name="connsiteX2" fmla="*/ 71533 w 114300"/>
                  <a:gd name="connsiteY2" fmla="*/ 13015 h 57150"/>
                  <a:gd name="connsiteX3" fmla="*/ 69437 w 114300"/>
                  <a:gd name="connsiteY3" fmla="*/ 13015 h 57150"/>
                  <a:gd name="connsiteX4" fmla="*/ 7144 w 114300"/>
                  <a:gd name="connsiteY4" fmla="*/ 14349 h 57150"/>
                  <a:gd name="connsiteX5" fmla="*/ 25051 w 114300"/>
                  <a:gd name="connsiteY5" fmla="*/ 9301 h 57150"/>
                  <a:gd name="connsiteX6" fmla="*/ 70009 w 114300"/>
                  <a:gd name="connsiteY6" fmla="*/ 8062 h 57150"/>
                  <a:gd name="connsiteX7" fmla="*/ 72104 w 114300"/>
                  <a:gd name="connsiteY7" fmla="*/ 8062 h 57150"/>
                  <a:gd name="connsiteX8" fmla="*/ 72962 w 114300"/>
                  <a:gd name="connsiteY8" fmla="*/ 8062 h 57150"/>
                  <a:gd name="connsiteX9" fmla="*/ 73628 w 114300"/>
                  <a:gd name="connsiteY9" fmla="*/ 8634 h 57150"/>
                  <a:gd name="connsiteX10" fmla="*/ 114395 w 114300"/>
                  <a:gd name="connsiteY10" fmla="*/ 53973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4300" h="57150">
                    <a:moveTo>
                      <a:pt x="114395" y="53973"/>
                    </a:moveTo>
                    <a:cubicBezTo>
                      <a:pt x="98541" y="41272"/>
                      <a:pt x="83730" y="27321"/>
                      <a:pt x="70104" y="12253"/>
                    </a:cubicBezTo>
                    <a:lnTo>
                      <a:pt x="71533" y="13015"/>
                    </a:lnTo>
                    <a:lnTo>
                      <a:pt x="69437" y="13015"/>
                    </a:lnTo>
                    <a:cubicBezTo>
                      <a:pt x="48672" y="11709"/>
                      <a:pt x="27834" y="12155"/>
                      <a:pt x="7144" y="14349"/>
                    </a:cubicBezTo>
                    <a:cubicBezTo>
                      <a:pt x="12742" y="11554"/>
                      <a:pt x="18817" y="9842"/>
                      <a:pt x="25051" y="9301"/>
                    </a:cubicBezTo>
                    <a:cubicBezTo>
                      <a:pt x="39918" y="6926"/>
                      <a:pt x="55033" y="6510"/>
                      <a:pt x="70009" y="8062"/>
                    </a:cubicBezTo>
                    <a:lnTo>
                      <a:pt x="72104" y="8062"/>
                    </a:lnTo>
                    <a:lnTo>
                      <a:pt x="72962" y="8062"/>
                    </a:lnTo>
                    <a:lnTo>
                      <a:pt x="73628" y="8634"/>
                    </a:lnTo>
                    <a:cubicBezTo>
                      <a:pt x="88411" y="22630"/>
                      <a:pt x="102043" y="37792"/>
                      <a:pt x="114395" y="53973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2" name="Полилиния: фигура 541">
                <a:extLst>
                  <a:ext uri="{FF2B5EF4-FFF2-40B4-BE49-F238E27FC236}">
                    <a16:creationId xmlns:a16="http://schemas.microsoft.com/office/drawing/2014/main" id="{F5E90C80-E558-4732-9CED-AF8ADA44BAA1}"/>
                  </a:ext>
                </a:extLst>
              </p:cNvPr>
              <p:cNvSpPr/>
              <p:nvPr/>
            </p:nvSpPr>
            <p:spPr>
              <a:xfrm>
                <a:off x="4065760" y="4413478"/>
                <a:ext cx="352425" cy="209550"/>
              </a:xfrm>
              <a:custGeom>
                <a:avLst/>
                <a:gdLst>
                  <a:gd name="connsiteX0" fmla="*/ 113347 w 352425"/>
                  <a:gd name="connsiteY0" fmla="*/ 52673 h 209550"/>
                  <a:gd name="connsiteX1" fmla="*/ 7144 w 352425"/>
                  <a:gd name="connsiteY1" fmla="*/ 206597 h 209550"/>
                  <a:gd name="connsiteX2" fmla="*/ 231838 w 352425"/>
                  <a:gd name="connsiteY2" fmla="*/ 171164 h 209550"/>
                  <a:gd name="connsiteX3" fmla="*/ 348234 w 352425"/>
                  <a:gd name="connsiteY3" fmla="*/ 7144 h 209550"/>
                  <a:gd name="connsiteX4" fmla="*/ 113347 w 352425"/>
                  <a:gd name="connsiteY4" fmla="*/ 52673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425" h="209550">
                    <a:moveTo>
                      <a:pt x="113347" y="52673"/>
                    </a:moveTo>
                    <a:lnTo>
                      <a:pt x="7144" y="206597"/>
                    </a:lnTo>
                    <a:lnTo>
                      <a:pt x="231838" y="171164"/>
                    </a:lnTo>
                    <a:lnTo>
                      <a:pt x="348234" y="7144"/>
                    </a:lnTo>
                    <a:lnTo>
                      <a:pt x="113347" y="52673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3" name="Полилиния: фигура 542">
                <a:extLst>
                  <a:ext uri="{FF2B5EF4-FFF2-40B4-BE49-F238E27FC236}">
                    <a16:creationId xmlns:a16="http://schemas.microsoft.com/office/drawing/2014/main" id="{643CF6D6-BEBA-4D34-9A1D-0CD0F8872A9B}"/>
                  </a:ext>
                </a:extLst>
              </p:cNvPr>
              <p:cNvSpPr/>
              <p:nvPr/>
            </p:nvSpPr>
            <p:spPr>
              <a:xfrm>
                <a:off x="4063188" y="4411859"/>
                <a:ext cx="352425" cy="209550"/>
              </a:xfrm>
              <a:custGeom>
                <a:avLst/>
                <a:gdLst>
                  <a:gd name="connsiteX0" fmla="*/ 7144 w 352425"/>
                  <a:gd name="connsiteY0" fmla="*/ 209836 h 209550"/>
                  <a:gd name="connsiteX1" fmla="*/ 115252 w 352425"/>
                  <a:gd name="connsiteY1" fmla="*/ 53245 h 209550"/>
                  <a:gd name="connsiteX2" fmla="*/ 115729 w 352425"/>
                  <a:gd name="connsiteY2" fmla="*/ 53245 h 209550"/>
                  <a:gd name="connsiteX3" fmla="*/ 353854 w 352425"/>
                  <a:gd name="connsiteY3" fmla="*/ 7144 h 209550"/>
                  <a:gd name="connsiteX4" fmla="*/ 235077 w 352425"/>
                  <a:gd name="connsiteY4" fmla="*/ 174212 h 209550"/>
                  <a:gd name="connsiteX5" fmla="*/ 234601 w 352425"/>
                  <a:gd name="connsiteY5" fmla="*/ 174212 h 209550"/>
                  <a:gd name="connsiteX6" fmla="*/ 116681 w 352425"/>
                  <a:gd name="connsiteY6" fmla="*/ 55435 h 209550"/>
                  <a:gd name="connsiteX7" fmla="*/ 11906 w 352425"/>
                  <a:gd name="connsiteY7" fmla="*/ 206597 h 209550"/>
                  <a:gd name="connsiteX8" fmla="*/ 233458 w 352425"/>
                  <a:gd name="connsiteY8" fmla="*/ 171640 h 209550"/>
                  <a:gd name="connsiteX9" fmla="*/ 347758 w 352425"/>
                  <a:gd name="connsiteY9" fmla="*/ 10573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52425" h="209550">
                    <a:moveTo>
                      <a:pt x="7144" y="209836"/>
                    </a:moveTo>
                    <a:lnTo>
                      <a:pt x="115252" y="53245"/>
                    </a:lnTo>
                    <a:lnTo>
                      <a:pt x="115729" y="53245"/>
                    </a:lnTo>
                    <a:lnTo>
                      <a:pt x="353854" y="7144"/>
                    </a:lnTo>
                    <a:lnTo>
                      <a:pt x="235077" y="174212"/>
                    </a:lnTo>
                    <a:lnTo>
                      <a:pt x="234601" y="174212"/>
                    </a:lnTo>
                    <a:close/>
                    <a:moveTo>
                      <a:pt x="116681" y="55435"/>
                    </a:moveTo>
                    <a:lnTo>
                      <a:pt x="11906" y="206597"/>
                    </a:lnTo>
                    <a:lnTo>
                      <a:pt x="233458" y="171640"/>
                    </a:lnTo>
                    <a:lnTo>
                      <a:pt x="347758" y="10573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4" name="Полилиния: фигура 543">
                <a:extLst>
                  <a:ext uri="{FF2B5EF4-FFF2-40B4-BE49-F238E27FC236}">
                    <a16:creationId xmlns:a16="http://schemas.microsoft.com/office/drawing/2014/main" id="{DAF7BD76-A881-4E64-A0E0-44DB058ECDED}"/>
                  </a:ext>
                </a:extLst>
              </p:cNvPr>
              <p:cNvSpPr/>
              <p:nvPr/>
            </p:nvSpPr>
            <p:spPr>
              <a:xfrm>
                <a:off x="4103561" y="4480179"/>
                <a:ext cx="276225" cy="171450"/>
              </a:xfrm>
              <a:custGeom>
                <a:avLst/>
                <a:gdLst>
                  <a:gd name="connsiteX0" fmla="*/ 272428 w 276225"/>
                  <a:gd name="connsiteY0" fmla="*/ 10642 h 171450"/>
                  <a:gd name="connsiteX1" fmla="*/ 272428 w 276225"/>
                  <a:gd name="connsiteY1" fmla="*/ 23215 h 171450"/>
                  <a:gd name="connsiteX2" fmla="*/ 266904 w 276225"/>
                  <a:gd name="connsiteY2" fmla="*/ 36646 h 171450"/>
                  <a:gd name="connsiteX3" fmla="*/ 266904 w 276225"/>
                  <a:gd name="connsiteY3" fmla="*/ 78841 h 171450"/>
                  <a:gd name="connsiteX4" fmla="*/ 257379 w 276225"/>
                  <a:gd name="connsiteY4" fmla="*/ 103511 h 171450"/>
                  <a:gd name="connsiteX5" fmla="*/ 265570 w 276225"/>
                  <a:gd name="connsiteY5" fmla="*/ 103511 h 171450"/>
                  <a:gd name="connsiteX6" fmla="*/ 269857 w 276225"/>
                  <a:gd name="connsiteY6" fmla="*/ 131324 h 171450"/>
                  <a:gd name="connsiteX7" fmla="*/ 240615 w 276225"/>
                  <a:gd name="connsiteY7" fmla="*/ 159899 h 171450"/>
                  <a:gd name="connsiteX8" fmla="*/ 203468 w 276225"/>
                  <a:gd name="connsiteY8" fmla="*/ 169424 h 171450"/>
                  <a:gd name="connsiteX9" fmla="*/ 102407 w 276225"/>
                  <a:gd name="connsiteY9" fmla="*/ 144468 h 171450"/>
                  <a:gd name="connsiteX10" fmla="*/ 24493 w 276225"/>
                  <a:gd name="connsiteY10" fmla="*/ 117608 h 171450"/>
                  <a:gd name="connsiteX11" fmla="*/ 20302 w 276225"/>
                  <a:gd name="connsiteY11" fmla="*/ 111988 h 171450"/>
                  <a:gd name="connsiteX12" fmla="*/ 7157 w 276225"/>
                  <a:gd name="connsiteY12" fmla="*/ 101320 h 171450"/>
                  <a:gd name="connsiteX13" fmla="*/ 18302 w 276225"/>
                  <a:gd name="connsiteY13" fmla="*/ 89509 h 171450"/>
                  <a:gd name="connsiteX14" fmla="*/ 65927 w 276225"/>
                  <a:gd name="connsiteY14" fmla="*/ 98082 h 171450"/>
                  <a:gd name="connsiteX15" fmla="*/ 94502 w 276225"/>
                  <a:gd name="connsiteY15" fmla="*/ 102749 h 171450"/>
                  <a:gd name="connsiteX16" fmla="*/ 40209 w 276225"/>
                  <a:gd name="connsiteY16" fmla="*/ 83699 h 171450"/>
                  <a:gd name="connsiteX17" fmla="*/ 61069 w 276225"/>
                  <a:gd name="connsiteY17" fmla="*/ 60077 h 171450"/>
                  <a:gd name="connsiteX18" fmla="*/ 124219 w 276225"/>
                  <a:gd name="connsiteY18" fmla="*/ 80937 h 171450"/>
                  <a:gd name="connsiteX19" fmla="*/ 145555 w 276225"/>
                  <a:gd name="connsiteY19" fmla="*/ 89985 h 171450"/>
                  <a:gd name="connsiteX20" fmla="*/ 155080 w 276225"/>
                  <a:gd name="connsiteY20" fmla="*/ 85604 h 171450"/>
                  <a:gd name="connsiteX21" fmla="*/ 148127 w 276225"/>
                  <a:gd name="connsiteY21" fmla="*/ 73983 h 171450"/>
                  <a:gd name="connsiteX22" fmla="*/ 115171 w 276225"/>
                  <a:gd name="connsiteY22" fmla="*/ 40646 h 171450"/>
                  <a:gd name="connsiteX23" fmla="*/ 113837 w 276225"/>
                  <a:gd name="connsiteY23" fmla="*/ 24358 h 171450"/>
                  <a:gd name="connsiteX24" fmla="*/ 150032 w 276225"/>
                  <a:gd name="connsiteY24" fmla="*/ 29692 h 171450"/>
                  <a:gd name="connsiteX25" fmla="*/ 192228 w 276225"/>
                  <a:gd name="connsiteY25" fmla="*/ 70554 h 171450"/>
                  <a:gd name="connsiteX26" fmla="*/ 205753 w 276225"/>
                  <a:gd name="connsiteY26" fmla="*/ 69126 h 171450"/>
                  <a:gd name="connsiteX27" fmla="*/ 230614 w 276225"/>
                  <a:gd name="connsiteY27" fmla="*/ 53314 h 171450"/>
                  <a:gd name="connsiteX28" fmla="*/ 241472 w 276225"/>
                  <a:gd name="connsiteY28" fmla="*/ 19977 h 171450"/>
                  <a:gd name="connsiteX29" fmla="*/ 272428 w 276225"/>
                  <a:gd name="connsiteY29" fmla="*/ 10642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76225" h="171450">
                    <a:moveTo>
                      <a:pt x="272428" y="10642"/>
                    </a:moveTo>
                    <a:cubicBezTo>
                      <a:pt x="273095" y="11880"/>
                      <a:pt x="275286" y="13881"/>
                      <a:pt x="272428" y="23215"/>
                    </a:cubicBezTo>
                    <a:cubicBezTo>
                      <a:pt x="271183" y="27915"/>
                      <a:pt x="269325" y="32430"/>
                      <a:pt x="266904" y="36646"/>
                    </a:cubicBezTo>
                    <a:lnTo>
                      <a:pt x="266904" y="78841"/>
                    </a:lnTo>
                    <a:lnTo>
                      <a:pt x="257379" y="103511"/>
                    </a:lnTo>
                    <a:lnTo>
                      <a:pt x="265570" y="103511"/>
                    </a:lnTo>
                    <a:cubicBezTo>
                      <a:pt x="271626" y="111454"/>
                      <a:pt x="273240" y="121926"/>
                      <a:pt x="269857" y="131324"/>
                    </a:cubicBezTo>
                    <a:cubicBezTo>
                      <a:pt x="264301" y="144361"/>
                      <a:pt x="253777" y="154645"/>
                      <a:pt x="240615" y="159899"/>
                    </a:cubicBezTo>
                    <a:cubicBezTo>
                      <a:pt x="228739" y="164795"/>
                      <a:pt x="216235" y="168002"/>
                      <a:pt x="203468" y="169424"/>
                    </a:cubicBezTo>
                    <a:lnTo>
                      <a:pt x="102407" y="144468"/>
                    </a:lnTo>
                    <a:lnTo>
                      <a:pt x="24493" y="117608"/>
                    </a:lnTo>
                    <a:cubicBezTo>
                      <a:pt x="22084" y="116760"/>
                      <a:pt x="20428" y="114539"/>
                      <a:pt x="20302" y="111988"/>
                    </a:cubicBezTo>
                    <a:lnTo>
                      <a:pt x="7157" y="101320"/>
                    </a:lnTo>
                    <a:cubicBezTo>
                      <a:pt x="7157" y="101320"/>
                      <a:pt x="6300" y="93414"/>
                      <a:pt x="18302" y="89509"/>
                    </a:cubicBezTo>
                    <a:cubicBezTo>
                      <a:pt x="30303" y="85604"/>
                      <a:pt x="64307" y="97129"/>
                      <a:pt x="65927" y="98082"/>
                    </a:cubicBezTo>
                    <a:cubicBezTo>
                      <a:pt x="67546" y="99034"/>
                      <a:pt x="94502" y="102749"/>
                      <a:pt x="94502" y="102749"/>
                    </a:cubicBezTo>
                    <a:cubicBezTo>
                      <a:pt x="76897" y="95072"/>
                      <a:pt x="58750" y="88705"/>
                      <a:pt x="40209" y="83699"/>
                    </a:cubicBezTo>
                    <a:cubicBezTo>
                      <a:pt x="40209" y="83699"/>
                      <a:pt x="31446" y="55124"/>
                      <a:pt x="61069" y="60077"/>
                    </a:cubicBezTo>
                    <a:cubicBezTo>
                      <a:pt x="82849" y="64585"/>
                      <a:pt x="104039" y="71584"/>
                      <a:pt x="124219" y="80937"/>
                    </a:cubicBezTo>
                    <a:lnTo>
                      <a:pt x="145555" y="89985"/>
                    </a:lnTo>
                    <a:lnTo>
                      <a:pt x="155080" y="85604"/>
                    </a:lnTo>
                    <a:lnTo>
                      <a:pt x="148127" y="73983"/>
                    </a:lnTo>
                    <a:cubicBezTo>
                      <a:pt x="148127" y="73983"/>
                      <a:pt x="115647" y="42170"/>
                      <a:pt x="115171" y="40646"/>
                    </a:cubicBezTo>
                    <a:cubicBezTo>
                      <a:pt x="114694" y="39122"/>
                      <a:pt x="106408" y="29406"/>
                      <a:pt x="113837" y="24358"/>
                    </a:cubicBezTo>
                    <a:cubicBezTo>
                      <a:pt x="125902" y="18867"/>
                      <a:pt x="140064" y="20954"/>
                      <a:pt x="150032" y="29692"/>
                    </a:cubicBezTo>
                    <a:cubicBezTo>
                      <a:pt x="159557" y="39217"/>
                      <a:pt x="192228" y="70554"/>
                      <a:pt x="192228" y="70554"/>
                    </a:cubicBezTo>
                    <a:cubicBezTo>
                      <a:pt x="196622" y="69310"/>
                      <a:pt x="201196" y="68826"/>
                      <a:pt x="205753" y="69126"/>
                    </a:cubicBezTo>
                    <a:cubicBezTo>
                      <a:pt x="215869" y="67518"/>
                      <a:pt x="224869" y="61794"/>
                      <a:pt x="230614" y="53314"/>
                    </a:cubicBezTo>
                    <a:cubicBezTo>
                      <a:pt x="231661" y="49695"/>
                      <a:pt x="231757" y="31121"/>
                      <a:pt x="241472" y="19977"/>
                    </a:cubicBezTo>
                    <a:cubicBezTo>
                      <a:pt x="251188" y="8832"/>
                      <a:pt x="268237" y="2927"/>
                      <a:pt x="272428" y="10642"/>
                    </a:cubicBezTo>
                    <a:close/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5" name="Полилиния: фигура 544">
                <a:extLst>
                  <a:ext uri="{FF2B5EF4-FFF2-40B4-BE49-F238E27FC236}">
                    <a16:creationId xmlns:a16="http://schemas.microsoft.com/office/drawing/2014/main" id="{1D1EB336-AD3D-4316-B5FE-2B08D6D8CDE8}"/>
                  </a:ext>
                </a:extLst>
              </p:cNvPr>
              <p:cNvSpPr/>
              <p:nvPr/>
            </p:nvSpPr>
            <p:spPr>
              <a:xfrm>
                <a:off x="3890972" y="3612857"/>
                <a:ext cx="342900" cy="266700"/>
              </a:xfrm>
              <a:custGeom>
                <a:avLst/>
                <a:gdLst>
                  <a:gd name="connsiteX0" fmla="*/ 30198 w 342900"/>
                  <a:gd name="connsiteY0" fmla="*/ 178352 h 266700"/>
                  <a:gd name="connsiteX1" fmla="*/ 8528 w 342900"/>
                  <a:gd name="connsiteY1" fmla="*/ 138004 h 266700"/>
                  <a:gd name="connsiteX2" fmla="*/ 14101 w 342900"/>
                  <a:gd name="connsiteY2" fmla="*/ 127298 h 266700"/>
                  <a:gd name="connsiteX3" fmla="*/ 24960 w 342900"/>
                  <a:gd name="connsiteY3" fmla="*/ 113773 h 266700"/>
                  <a:gd name="connsiteX4" fmla="*/ 23150 w 342900"/>
                  <a:gd name="connsiteY4" fmla="*/ 76816 h 266700"/>
                  <a:gd name="connsiteX5" fmla="*/ 47058 w 342900"/>
                  <a:gd name="connsiteY5" fmla="*/ 53765 h 266700"/>
                  <a:gd name="connsiteX6" fmla="*/ 79061 w 342900"/>
                  <a:gd name="connsiteY6" fmla="*/ 40621 h 266700"/>
                  <a:gd name="connsiteX7" fmla="*/ 101350 w 342900"/>
                  <a:gd name="connsiteY7" fmla="*/ 17856 h 266700"/>
                  <a:gd name="connsiteX8" fmla="*/ 143260 w 342900"/>
                  <a:gd name="connsiteY8" fmla="*/ 8807 h 266700"/>
                  <a:gd name="connsiteX9" fmla="*/ 185551 w 342900"/>
                  <a:gd name="connsiteY9" fmla="*/ 26143 h 266700"/>
                  <a:gd name="connsiteX10" fmla="*/ 218603 w 342900"/>
                  <a:gd name="connsiteY10" fmla="*/ 22523 h 266700"/>
                  <a:gd name="connsiteX11" fmla="*/ 274229 w 342900"/>
                  <a:gd name="connsiteY11" fmla="*/ 64052 h 266700"/>
                  <a:gd name="connsiteX12" fmla="*/ 286135 w 342900"/>
                  <a:gd name="connsiteY12" fmla="*/ 92627 h 266700"/>
                  <a:gd name="connsiteX13" fmla="*/ 317949 w 342900"/>
                  <a:gd name="connsiteY13" fmla="*/ 120155 h 266700"/>
                  <a:gd name="connsiteX14" fmla="*/ 317949 w 342900"/>
                  <a:gd name="connsiteY14" fmla="*/ 145205 h 266700"/>
                  <a:gd name="connsiteX15" fmla="*/ 312043 w 342900"/>
                  <a:gd name="connsiteY15" fmla="*/ 170161 h 266700"/>
                  <a:gd name="connsiteX16" fmla="*/ 335760 w 342900"/>
                  <a:gd name="connsiteY16" fmla="*/ 198736 h 266700"/>
                  <a:gd name="connsiteX17" fmla="*/ 319949 w 342900"/>
                  <a:gd name="connsiteY17" fmla="*/ 217786 h 266700"/>
                  <a:gd name="connsiteX18" fmla="*/ 338999 w 342900"/>
                  <a:gd name="connsiteY18" fmla="*/ 222167 h 266700"/>
                  <a:gd name="connsiteX19" fmla="*/ 306042 w 342900"/>
                  <a:gd name="connsiteY19" fmla="*/ 258077 h 266700"/>
                  <a:gd name="connsiteX20" fmla="*/ 257274 w 342900"/>
                  <a:gd name="connsiteY20" fmla="*/ 258744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42900" h="266700">
                    <a:moveTo>
                      <a:pt x="30198" y="178352"/>
                    </a:moveTo>
                    <a:cubicBezTo>
                      <a:pt x="13072" y="173195"/>
                      <a:pt x="3370" y="155130"/>
                      <a:pt x="8528" y="138004"/>
                    </a:cubicBezTo>
                    <a:cubicBezTo>
                      <a:pt x="9699" y="134118"/>
                      <a:pt x="11589" y="130486"/>
                      <a:pt x="14101" y="127298"/>
                    </a:cubicBezTo>
                    <a:cubicBezTo>
                      <a:pt x="18269" y="123259"/>
                      <a:pt x="21916" y="118715"/>
                      <a:pt x="24960" y="113773"/>
                    </a:cubicBezTo>
                    <a:cubicBezTo>
                      <a:pt x="29913" y="102248"/>
                      <a:pt x="20959" y="89103"/>
                      <a:pt x="23150" y="76816"/>
                    </a:cubicBezTo>
                    <a:cubicBezTo>
                      <a:pt x="26650" y="65548"/>
                      <a:pt x="35669" y="56852"/>
                      <a:pt x="47058" y="53765"/>
                    </a:cubicBezTo>
                    <a:cubicBezTo>
                      <a:pt x="58266" y="50837"/>
                      <a:pt x="69030" y="46416"/>
                      <a:pt x="79061" y="40621"/>
                    </a:cubicBezTo>
                    <a:cubicBezTo>
                      <a:pt x="87634" y="34334"/>
                      <a:pt x="93254" y="24714"/>
                      <a:pt x="101350" y="17856"/>
                    </a:cubicBezTo>
                    <a:cubicBezTo>
                      <a:pt x="112997" y="8162"/>
                      <a:pt x="128651" y="4782"/>
                      <a:pt x="143260" y="8807"/>
                    </a:cubicBezTo>
                    <a:cubicBezTo>
                      <a:pt x="158024" y="12998"/>
                      <a:pt x="170311" y="24428"/>
                      <a:pt x="185551" y="26143"/>
                    </a:cubicBezTo>
                    <a:cubicBezTo>
                      <a:pt x="196654" y="25922"/>
                      <a:pt x="207715" y="24711"/>
                      <a:pt x="218603" y="22523"/>
                    </a:cubicBezTo>
                    <a:cubicBezTo>
                      <a:pt x="244579" y="21643"/>
                      <a:pt x="267690" y="38897"/>
                      <a:pt x="274229" y="64052"/>
                    </a:cubicBezTo>
                    <a:cubicBezTo>
                      <a:pt x="275873" y="74387"/>
                      <a:pt x="279954" y="84183"/>
                      <a:pt x="286135" y="92627"/>
                    </a:cubicBezTo>
                    <a:cubicBezTo>
                      <a:pt x="295184" y="103867"/>
                      <a:pt x="310900" y="107582"/>
                      <a:pt x="317949" y="120155"/>
                    </a:cubicBezTo>
                    <a:cubicBezTo>
                      <a:pt x="321330" y="128162"/>
                      <a:pt x="321330" y="137197"/>
                      <a:pt x="317949" y="145205"/>
                    </a:cubicBezTo>
                    <a:cubicBezTo>
                      <a:pt x="314687" y="153164"/>
                      <a:pt x="312694" y="161585"/>
                      <a:pt x="312043" y="170161"/>
                    </a:cubicBezTo>
                    <a:cubicBezTo>
                      <a:pt x="312564" y="183958"/>
                      <a:pt x="322295" y="195682"/>
                      <a:pt x="335760" y="198736"/>
                    </a:cubicBezTo>
                    <a:cubicBezTo>
                      <a:pt x="333401" y="207025"/>
                      <a:pt x="327662" y="213940"/>
                      <a:pt x="319949" y="217786"/>
                    </a:cubicBezTo>
                    <a:cubicBezTo>
                      <a:pt x="325760" y="221008"/>
                      <a:pt x="332363" y="222527"/>
                      <a:pt x="338999" y="222167"/>
                    </a:cubicBezTo>
                    <a:cubicBezTo>
                      <a:pt x="333308" y="238093"/>
                      <a:pt x="321423" y="251044"/>
                      <a:pt x="306042" y="258077"/>
                    </a:cubicBezTo>
                    <a:cubicBezTo>
                      <a:pt x="290562" y="264962"/>
                      <a:pt x="272937" y="265203"/>
                      <a:pt x="257274" y="258744"/>
                    </a:cubicBezTo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6" name="Полилиния: фигура 545">
                <a:extLst>
                  <a:ext uri="{FF2B5EF4-FFF2-40B4-BE49-F238E27FC236}">
                    <a16:creationId xmlns:a16="http://schemas.microsoft.com/office/drawing/2014/main" id="{8D688E11-0EA3-4BD1-B6EA-ADE4160B24BB}"/>
                  </a:ext>
                </a:extLst>
              </p:cNvPr>
              <p:cNvSpPr/>
              <p:nvPr/>
            </p:nvSpPr>
            <p:spPr>
              <a:xfrm>
                <a:off x="4156247" y="3835998"/>
                <a:ext cx="57150" cy="85725"/>
              </a:xfrm>
              <a:custGeom>
                <a:avLst/>
                <a:gdLst>
                  <a:gd name="connsiteX0" fmla="*/ 8668 w 57150"/>
                  <a:gd name="connsiteY0" fmla="*/ 9695 h 85725"/>
                  <a:gd name="connsiteX1" fmla="*/ 57055 w 57150"/>
                  <a:gd name="connsiteY1" fmla="*/ 43318 h 85725"/>
                  <a:gd name="connsiteX2" fmla="*/ 7144 w 57150"/>
                  <a:gd name="connsiteY2" fmla="*/ 80179 h 85725"/>
                  <a:gd name="connsiteX3" fmla="*/ 8668 w 57150"/>
                  <a:gd name="connsiteY3" fmla="*/ 9695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50" h="85725">
                    <a:moveTo>
                      <a:pt x="8668" y="9695"/>
                    </a:moveTo>
                    <a:cubicBezTo>
                      <a:pt x="9906" y="9123"/>
                      <a:pt x="57721" y="-5736"/>
                      <a:pt x="57055" y="43318"/>
                    </a:cubicBezTo>
                    <a:cubicBezTo>
                      <a:pt x="56388" y="92371"/>
                      <a:pt x="7144" y="81418"/>
                      <a:pt x="7144" y="80179"/>
                    </a:cubicBezTo>
                    <a:cubicBezTo>
                      <a:pt x="7144" y="78941"/>
                      <a:pt x="8668" y="9695"/>
                      <a:pt x="8668" y="9695"/>
                    </a:cubicBezTo>
                    <a:close/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7" name="Полилиния: фигура 546">
                <a:extLst>
                  <a:ext uri="{FF2B5EF4-FFF2-40B4-BE49-F238E27FC236}">
                    <a16:creationId xmlns:a16="http://schemas.microsoft.com/office/drawing/2014/main" id="{02ECE5F5-EFF3-4587-BB39-DDA508ED5278}"/>
                  </a:ext>
                </a:extLst>
              </p:cNvPr>
              <p:cNvSpPr/>
              <p:nvPr/>
            </p:nvSpPr>
            <p:spPr>
              <a:xfrm>
                <a:off x="4171435" y="3851547"/>
                <a:ext cx="28575" cy="47625"/>
              </a:xfrm>
              <a:custGeom>
                <a:avLst/>
                <a:gdLst>
                  <a:gd name="connsiteX0" fmla="*/ 7197 w 28575"/>
                  <a:gd name="connsiteY0" fmla="*/ 46247 h 47625"/>
                  <a:gd name="connsiteX1" fmla="*/ 9482 w 28575"/>
                  <a:gd name="connsiteY1" fmla="*/ 47581 h 47625"/>
                  <a:gd name="connsiteX2" fmla="*/ 15864 w 28575"/>
                  <a:gd name="connsiteY2" fmla="*/ 47581 h 47625"/>
                  <a:gd name="connsiteX3" fmla="*/ 25961 w 28575"/>
                  <a:gd name="connsiteY3" fmla="*/ 28531 h 47625"/>
                  <a:gd name="connsiteX4" fmla="*/ 23675 w 28575"/>
                  <a:gd name="connsiteY4" fmla="*/ 16244 h 47625"/>
                  <a:gd name="connsiteX5" fmla="*/ 17388 w 28575"/>
                  <a:gd name="connsiteY5" fmla="*/ 9576 h 47625"/>
                  <a:gd name="connsiteX6" fmla="*/ 12340 w 28575"/>
                  <a:gd name="connsiteY6" fmla="*/ 11862 h 47625"/>
                  <a:gd name="connsiteX7" fmla="*/ 11673 w 28575"/>
                  <a:gd name="connsiteY7" fmla="*/ 14339 h 47625"/>
                  <a:gd name="connsiteX8" fmla="*/ 11006 w 28575"/>
                  <a:gd name="connsiteY8" fmla="*/ 11481 h 47625"/>
                  <a:gd name="connsiteX9" fmla="*/ 13007 w 28575"/>
                  <a:gd name="connsiteY9" fmla="*/ 8433 h 47625"/>
                  <a:gd name="connsiteX10" fmla="*/ 17769 w 28575"/>
                  <a:gd name="connsiteY10" fmla="*/ 7195 h 47625"/>
                  <a:gd name="connsiteX11" fmla="*/ 26627 w 28575"/>
                  <a:gd name="connsiteY11" fmla="*/ 15005 h 47625"/>
                  <a:gd name="connsiteX12" fmla="*/ 29390 w 28575"/>
                  <a:gd name="connsiteY12" fmla="*/ 28721 h 47625"/>
                  <a:gd name="connsiteX13" fmla="*/ 16531 w 28575"/>
                  <a:gd name="connsiteY13" fmla="*/ 49676 h 47625"/>
                  <a:gd name="connsiteX14" fmla="*/ 8720 w 28575"/>
                  <a:gd name="connsiteY14" fmla="*/ 48247 h 47625"/>
                  <a:gd name="connsiteX15" fmla="*/ 7197 w 28575"/>
                  <a:gd name="connsiteY15" fmla="*/ 46247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75" h="47625">
                    <a:moveTo>
                      <a:pt x="7197" y="46247"/>
                    </a:moveTo>
                    <a:cubicBezTo>
                      <a:pt x="7197" y="46247"/>
                      <a:pt x="8054" y="46819"/>
                      <a:pt x="9482" y="47581"/>
                    </a:cubicBezTo>
                    <a:cubicBezTo>
                      <a:pt x="11526" y="48422"/>
                      <a:pt x="13820" y="48422"/>
                      <a:pt x="15864" y="47581"/>
                    </a:cubicBezTo>
                    <a:cubicBezTo>
                      <a:pt x="22457" y="43552"/>
                      <a:pt x="26328" y="36249"/>
                      <a:pt x="25961" y="28531"/>
                    </a:cubicBezTo>
                    <a:cubicBezTo>
                      <a:pt x="26115" y="24317"/>
                      <a:pt x="25334" y="20120"/>
                      <a:pt x="23675" y="16244"/>
                    </a:cubicBezTo>
                    <a:cubicBezTo>
                      <a:pt x="22781" y="13135"/>
                      <a:pt x="20439" y="10651"/>
                      <a:pt x="17388" y="9576"/>
                    </a:cubicBezTo>
                    <a:cubicBezTo>
                      <a:pt x="15376" y="9042"/>
                      <a:pt x="13266" y="9998"/>
                      <a:pt x="12340" y="11862"/>
                    </a:cubicBezTo>
                    <a:cubicBezTo>
                      <a:pt x="11578" y="13291"/>
                      <a:pt x="12340" y="14243"/>
                      <a:pt x="11673" y="14339"/>
                    </a:cubicBezTo>
                    <a:cubicBezTo>
                      <a:pt x="11006" y="14434"/>
                      <a:pt x="10625" y="13481"/>
                      <a:pt x="11006" y="11481"/>
                    </a:cubicBezTo>
                    <a:cubicBezTo>
                      <a:pt x="11335" y="10279"/>
                      <a:pt x="12035" y="9213"/>
                      <a:pt x="13007" y="8433"/>
                    </a:cubicBezTo>
                    <a:cubicBezTo>
                      <a:pt x="14378" y="7428"/>
                      <a:pt x="16082" y="6985"/>
                      <a:pt x="17769" y="7195"/>
                    </a:cubicBezTo>
                    <a:cubicBezTo>
                      <a:pt x="21862" y="8115"/>
                      <a:pt x="25202" y="11060"/>
                      <a:pt x="26627" y="15005"/>
                    </a:cubicBezTo>
                    <a:cubicBezTo>
                      <a:pt x="28609" y="19298"/>
                      <a:pt x="29555" y="23996"/>
                      <a:pt x="29390" y="28721"/>
                    </a:cubicBezTo>
                    <a:cubicBezTo>
                      <a:pt x="29718" y="37659"/>
                      <a:pt x="24648" y="45920"/>
                      <a:pt x="16531" y="49676"/>
                    </a:cubicBezTo>
                    <a:cubicBezTo>
                      <a:pt x="13843" y="50360"/>
                      <a:pt x="10992" y="49838"/>
                      <a:pt x="8720" y="48247"/>
                    </a:cubicBezTo>
                    <a:cubicBezTo>
                      <a:pt x="7292" y="47485"/>
                      <a:pt x="7006" y="46343"/>
                      <a:pt x="7197" y="46247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8" name="Полилиния: фигура 547">
                <a:extLst>
                  <a:ext uri="{FF2B5EF4-FFF2-40B4-BE49-F238E27FC236}">
                    <a16:creationId xmlns:a16="http://schemas.microsoft.com/office/drawing/2014/main" id="{31E4424A-2ACA-4C52-8938-B508C64F3A39}"/>
                  </a:ext>
                </a:extLst>
              </p:cNvPr>
              <p:cNvSpPr/>
              <p:nvPr/>
            </p:nvSpPr>
            <p:spPr>
              <a:xfrm>
                <a:off x="3908990" y="3642620"/>
                <a:ext cx="266700" cy="466725"/>
              </a:xfrm>
              <a:custGeom>
                <a:avLst/>
                <a:gdLst>
                  <a:gd name="connsiteX0" fmla="*/ 7323 w 266700"/>
                  <a:gd name="connsiteY0" fmla="*/ 303276 h 466725"/>
                  <a:gd name="connsiteX1" fmla="*/ 14086 w 266700"/>
                  <a:gd name="connsiteY1" fmla="*/ 132398 h 466725"/>
                  <a:gd name="connsiteX2" fmla="*/ 145150 w 266700"/>
                  <a:gd name="connsiteY2" fmla="*/ 7144 h 466725"/>
                  <a:gd name="connsiteX3" fmla="*/ 152103 w 266700"/>
                  <a:gd name="connsiteY3" fmla="*/ 7144 h 466725"/>
                  <a:gd name="connsiteX4" fmla="*/ 260878 w 266700"/>
                  <a:gd name="connsiteY4" fmla="*/ 150019 h 466725"/>
                  <a:gd name="connsiteX5" fmla="*/ 254401 w 266700"/>
                  <a:gd name="connsiteY5" fmla="*/ 396431 h 466725"/>
                  <a:gd name="connsiteX6" fmla="*/ 162676 w 266700"/>
                  <a:gd name="connsiteY6" fmla="*/ 468916 h 466725"/>
                  <a:gd name="connsiteX7" fmla="*/ 81999 w 266700"/>
                  <a:gd name="connsiteY7" fmla="*/ 404432 h 466725"/>
                  <a:gd name="connsiteX8" fmla="*/ 81427 w 266700"/>
                  <a:gd name="connsiteY8" fmla="*/ 385382 h 466725"/>
                  <a:gd name="connsiteX9" fmla="*/ 7323 w 266700"/>
                  <a:gd name="connsiteY9" fmla="*/ 303276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6700" h="466725">
                    <a:moveTo>
                      <a:pt x="7323" y="303276"/>
                    </a:moveTo>
                    <a:cubicBezTo>
                      <a:pt x="6275" y="268605"/>
                      <a:pt x="9990" y="197072"/>
                      <a:pt x="14086" y="132398"/>
                    </a:cubicBezTo>
                    <a:cubicBezTo>
                      <a:pt x="18311" y="62803"/>
                      <a:pt x="75435" y="8211"/>
                      <a:pt x="145150" y="7144"/>
                    </a:cubicBezTo>
                    <a:lnTo>
                      <a:pt x="152103" y="7144"/>
                    </a:lnTo>
                    <a:cubicBezTo>
                      <a:pt x="226874" y="10192"/>
                      <a:pt x="266403" y="75438"/>
                      <a:pt x="260878" y="150019"/>
                    </a:cubicBezTo>
                    <a:lnTo>
                      <a:pt x="254401" y="396431"/>
                    </a:lnTo>
                    <a:lnTo>
                      <a:pt x="162676" y="468916"/>
                    </a:lnTo>
                    <a:lnTo>
                      <a:pt x="81999" y="404432"/>
                    </a:lnTo>
                    <a:lnTo>
                      <a:pt x="81427" y="385382"/>
                    </a:lnTo>
                    <a:cubicBezTo>
                      <a:pt x="81427" y="385382"/>
                      <a:pt x="9418" y="374999"/>
                      <a:pt x="7323" y="303276"/>
                    </a:cubicBezTo>
                    <a:close/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9" name="Полилиния: фигура 548">
                <a:extLst>
                  <a:ext uri="{FF2B5EF4-FFF2-40B4-BE49-F238E27FC236}">
                    <a16:creationId xmlns:a16="http://schemas.microsoft.com/office/drawing/2014/main" id="{E926673E-BE36-4144-94D5-378EDBEFF676}"/>
                  </a:ext>
                </a:extLst>
              </p:cNvPr>
              <p:cNvSpPr/>
              <p:nvPr/>
            </p:nvSpPr>
            <p:spPr>
              <a:xfrm>
                <a:off x="3983178" y="3991806"/>
                <a:ext cx="104775" cy="57150"/>
              </a:xfrm>
              <a:custGeom>
                <a:avLst/>
                <a:gdLst>
                  <a:gd name="connsiteX0" fmla="*/ 7144 w 104775"/>
                  <a:gd name="connsiteY0" fmla="*/ 35719 h 57150"/>
                  <a:gd name="connsiteX1" fmla="*/ 100203 w 104775"/>
                  <a:gd name="connsiteY1" fmla="*/ 7144 h 57150"/>
                  <a:gd name="connsiteX2" fmla="*/ 7811 w 104775"/>
                  <a:gd name="connsiteY2" fmla="*/ 54769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57150">
                    <a:moveTo>
                      <a:pt x="7144" y="35719"/>
                    </a:moveTo>
                    <a:cubicBezTo>
                      <a:pt x="40314" y="35654"/>
                      <a:pt x="72712" y="25706"/>
                      <a:pt x="100203" y="7144"/>
                    </a:cubicBezTo>
                    <a:cubicBezTo>
                      <a:pt x="100203" y="7144"/>
                      <a:pt x="79534" y="60008"/>
                      <a:pt x="7811" y="54769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0" name="Полилиния: фигура 549">
                <a:extLst>
                  <a:ext uri="{FF2B5EF4-FFF2-40B4-BE49-F238E27FC236}">
                    <a16:creationId xmlns:a16="http://schemas.microsoft.com/office/drawing/2014/main" id="{810DB1A5-68FC-432E-86AD-61878D70F73E}"/>
                  </a:ext>
                </a:extLst>
              </p:cNvPr>
              <p:cNvSpPr/>
              <p:nvPr/>
            </p:nvSpPr>
            <p:spPr>
              <a:xfrm>
                <a:off x="3933267" y="3816888"/>
                <a:ext cx="28575" cy="28575"/>
              </a:xfrm>
              <a:custGeom>
                <a:avLst/>
                <a:gdLst>
                  <a:gd name="connsiteX0" fmla="*/ 7144 w 28575"/>
                  <a:gd name="connsiteY0" fmla="*/ 16708 h 28575"/>
                  <a:gd name="connsiteX1" fmla="*/ 17240 w 28575"/>
                  <a:gd name="connsiteY1" fmla="*/ 26900 h 28575"/>
                  <a:gd name="connsiteX2" fmla="*/ 27584 w 28575"/>
                  <a:gd name="connsiteY2" fmla="*/ 18271 h 28575"/>
                  <a:gd name="connsiteX3" fmla="*/ 27623 w 28575"/>
                  <a:gd name="connsiteY3" fmla="*/ 17375 h 28575"/>
                  <a:gd name="connsiteX4" fmla="*/ 17526 w 28575"/>
                  <a:gd name="connsiteY4" fmla="*/ 7183 h 28575"/>
                  <a:gd name="connsiteX5" fmla="*/ 7182 w 28575"/>
                  <a:gd name="connsiteY5" fmla="*/ 15812 h 28575"/>
                  <a:gd name="connsiteX6" fmla="*/ 7144 w 28575"/>
                  <a:gd name="connsiteY6" fmla="*/ 16708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28575">
                    <a:moveTo>
                      <a:pt x="7144" y="16708"/>
                    </a:moveTo>
                    <a:cubicBezTo>
                      <a:pt x="7194" y="22279"/>
                      <a:pt x="11670" y="26797"/>
                      <a:pt x="17240" y="26900"/>
                    </a:cubicBezTo>
                    <a:cubicBezTo>
                      <a:pt x="22480" y="27373"/>
                      <a:pt x="27110" y="23510"/>
                      <a:pt x="27584" y="18271"/>
                    </a:cubicBezTo>
                    <a:cubicBezTo>
                      <a:pt x="27611" y="17973"/>
                      <a:pt x="27624" y="17674"/>
                      <a:pt x="27623" y="17375"/>
                    </a:cubicBezTo>
                    <a:cubicBezTo>
                      <a:pt x="27572" y="11804"/>
                      <a:pt x="23096" y="7286"/>
                      <a:pt x="17526" y="7183"/>
                    </a:cubicBezTo>
                    <a:cubicBezTo>
                      <a:pt x="12287" y="6710"/>
                      <a:pt x="7656" y="10573"/>
                      <a:pt x="7182" y="15812"/>
                    </a:cubicBezTo>
                    <a:cubicBezTo>
                      <a:pt x="7155" y="16110"/>
                      <a:pt x="7143" y="16409"/>
                      <a:pt x="7144" y="16708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1" name="Полилиния: фигура 550">
                <a:extLst>
                  <a:ext uri="{FF2B5EF4-FFF2-40B4-BE49-F238E27FC236}">
                    <a16:creationId xmlns:a16="http://schemas.microsoft.com/office/drawing/2014/main" id="{F5B8B188-D458-4590-8AE1-2FBA67DE3476}"/>
                  </a:ext>
                </a:extLst>
              </p:cNvPr>
              <p:cNvSpPr/>
              <p:nvPr/>
            </p:nvSpPr>
            <p:spPr>
              <a:xfrm>
                <a:off x="4044519" y="3814212"/>
                <a:ext cx="28575" cy="28575"/>
              </a:xfrm>
              <a:custGeom>
                <a:avLst/>
                <a:gdLst>
                  <a:gd name="connsiteX0" fmla="*/ 7144 w 28575"/>
                  <a:gd name="connsiteY0" fmla="*/ 16717 h 28575"/>
                  <a:gd name="connsiteX1" fmla="*/ 17240 w 28575"/>
                  <a:gd name="connsiteY1" fmla="*/ 26909 h 28575"/>
                  <a:gd name="connsiteX2" fmla="*/ 27584 w 28575"/>
                  <a:gd name="connsiteY2" fmla="*/ 18280 h 28575"/>
                  <a:gd name="connsiteX3" fmla="*/ 27623 w 28575"/>
                  <a:gd name="connsiteY3" fmla="*/ 17384 h 28575"/>
                  <a:gd name="connsiteX4" fmla="*/ 17621 w 28575"/>
                  <a:gd name="connsiteY4" fmla="*/ 7192 h 28575"/>
                  <a:gd name="connsiteX5" fmla="*/ 7192 w 28575"/>
                  <a:gd name="connsiteY5" fmla="*/ 15717 h 28575"/>
                  <a:gd name="connsiteX6" fmla="*/ 7144 w 28575"/>
                  <a:gd name="connsiteY6" fmla="*/ 1671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28575">
                    <a:moveTo>
                      <a:pt x="7144" y="16717"/>
                    </a:moveTo>
                    <a:cubicBezTo>
                      <a:pt x="7244" y="22267"/>
                      <a:pt x="11692" y="26757"/>
                      <a:pt x="17240" y="26909"/>
                    </a:cubicBezTo>
                    <a:cubicBezTo>
                      <a:pt x="22480" y="27383"/>
                      <a:pt x="27110" y="23519"/>
                      <a:pt x="27584" y="18280"/>
                    </a:cubicBezTo>
                    <a:cubicBezTo>
                      <a:pt x="27611" y="17982"/>
                      <a:pt x="27624" y="17683"/>
                      <a:pt x="27623" y="17384"/>
                    </a:cubicBezTo>
                    <a:cubicBezTo>
                      <a:pt x="27623" y="11829"/>
                      <a:pt x="23175" y="7296"/>
                      <a:pt x="17621" y="7192"/>
                    </a:cubicBezTo>
                    <a:cubicBezTo>
                      <a:pt x="12387" y="6666"/>
                      <a:pt x="7718" y="10483"/>
                      <a:pt x="7192" y="15717"/>
                    </a:cubicBezTo>
                    <a:cubicBezTo>
                      <a:pt x="7158" y="16049"/>
                      <a:pt x="7142" y="16383"/>
                      <a:pt x="7144" y="1671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2" name="Полилиния: фигура 551">
                <a:extLst>
                  <a:ext uri="{FF2B5EF4-FFF2-40B4-BE49-F238E27FC236}">
                    <a16:creationId xmlns:a16="http://schemas.microsoft.com/office/drawing/2014/main" id="{62199878-DA95-4BD0-902A-E6A703CADE0B}"/>
                  </a:ext>
                </a:extLst>
              </p:cNvPr>
              <p:cNvSpPr/>
              <p:nvPr/>
            </p:nvSpPr>
            <p:spPr>
              <a:xfrm>
                <a:off x="3931143" y="3794719"/>
                <a:ext cx="47625" cy="19050"/>
              </a:xfrm>
              <a:custGeom>
                <a:avLst/>
                <a:gdLst>
                  <a:gd name="connsiteX0" fmla="*/ 7267 w 47625"/>
                  <a:gd name="connsiteY0" fmla="*/ 18303 h 19050"/>
                  <a:gd name="connsiteX1" fmla="*/ 27270 w 47625"/>
                  <a:gd name="connsiteY1" fmla="*/ 13541 h 19050"/>
                  <a:gd name="connsiteX2" fmla="*/ 47653 w 47625"/>
                  <a:gd name="connsiteY2" fmla="*/ 17351 h 19050"/>
                  <a:gd name="connsiteX3" fmla="*/ 43367 w 47625"/>
                  <a:gd name="connsiteY3" fmla="*/ 11921 h 19050"/>
                  <a:gd name="connsiteX4" fmla="*/ 26984 w 47625"/>
                  <a:gd name="connsiteY4" fmla="*/ 7159 h 19050"/>
                  <a:gd name="connsiteX5" fmla="*/ 11173 w 47625"/>
                  <a:gd name="connsiteY5" fmla="*/ 12588 h 19050"/>
                  <a:gd name="connsiteX6" fmla="*/ 7267 w 47625"/>
                  <a:gd name="connsiteY6" fmla="*/ 18303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7267" y="18303"/>
                    </a:moveTo>
                    <a:cubicBezTo>
                      <a:pt x="8601" y="19541"/>
                      <a:pt x="16221" y="13731"/>
                      <a:pt x="27270" y="13541"/>
                    </a:cubicBezTo>
                    <a:cubicBezTo>
                      <a:pt x="38319" y="13350"/>
                      <a:pt x="46320" y="18779"/>
                      <a:pt x="47653" y="17351"/>
                    </a:cubicBezTo>
                    <a:cubicBezTo>
                      <a:pt x="48987" y="15922"/>
                      <a:pt x="46891" y="14398"/>
                      <a:pt x="43367" y="11921"/>
                    </a:cubicBezTo>
                    <a:cubicBezTo>
                      <a:pt x="38551" y="8633"/>
                      <a:pt x="32813" y="6965"/>
                      <a:pt x="26984" y="7159"/>
                    </a:cubicBezTo>
                    <a:cubicBezTo>
                      <a:pt x="21269" y="7234"/>
                      <a:pt x="15728" y="9137"/>
                      <a:pt x="11173" y="12588"/>
                    </a:cubicBezTo>
                    <a:cubicBezTo>
                      <a:pt x="8125" y="15255"/>
                      <a:pt x="6696" y="17637"/>
                      <a:pt x="7267" y="1830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3" name="Полилиния: фигура 552">
                <a:extLst>
                  <a:ext uri="{FF2B5EF4-FFF2-40B4-BE49-F238E27FC236}">
                    <a16:creationId xmlns:a16="http://schemas.microsoft.com/office/drawing/2014/main" id="{62797C73-6E23-47BE-B2A0-EED93A31C60E}"/>
                  </a:ext>
                </a:extLst>
              </p:cNvPr>
              <p:cNvSpPr/>
              <p:nvPr/>
            </p:nvSpPr>
            <p:spPr>
              <a:xfrm>
                <a:off x="4041937" y="3788918"/>
                <a:ext cx="47625" cy="19050"/>
              </a:xfrm>
              <a:custGeom>
                <a:avLst/>
                <a:gdLst>
                  <a:gd name="connsiteX0" fmla="*/ 7345 w 47625"/>
                  <a:gd name="connsiteY0" fmla="*/ 19627 h 19050"/>
                  <a:gd name="connsiteX1" fmla="*/ 27062 w 47625"/>
                  <a:gd name="connsiteY1" fmla="*/ 13627 h 19050"/>
                  <a:gd name="connsiteX2" fmla="*/ 47636 w 47625"/>
                  <a:gd name="connsiteY2" fmla="*/ 16198 h 19050"/>
                  <a:gd name="connsiteX3" fmla="*/ 42969 w 47625"/>
                  <a:gd name="connsiteY3" fmla="*/ 10960 h 19050"/>
                  <a:gd name="connsiteX4" fmla="*/ 26300 w 47625"/>
                  <a:gd name="connsiteY4" fmla="*/ 7245 h 19050"/>
                  <a:gd name="connsiteX5" fmla="*/ 10774 w 47625"/>
                  <a:gd name="connsiteY5" fmla="*/ 13722 h 19050"/>
                  <a:gd name="connsiteX6" fmla="*/ 7345 w 47625"/>
                  <a:gd name="connsiteY6" fmla="*/ 19627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7345" y="19627"/>
                    </a:moveTo>
                    <a:cubicBezTo>
                      <a:pt x="8774" y="20866"/>
                      <a:pt x="16013" y="14484"/>
                      <a:pt x="27062" y="13627"/>
                    </a:cubicBezTo>
                    <a:cubicBezTo>
                      <a:pt x="38111" y="12769"/>
                      <a:pt x="46112" y="17627"/>
                      <a:pt x="47636" y="16198"/>
                    </a:cubicBezTo>
                    <a:cubicBezTo>
                      <a:pt x="49160" y="14770"/>
                      <a:pt x="46683" y="13246"/>
                      <a:pt x="42969" y="10960"/>
                    </a:cubicBezTo>
                    <a:cubicBezTo>
                      <a:pt x="37921" y="8051"/>
                      <a:pt x="32105" y="6755"/>
                      <a:pt x="26300" y="7245"/>
                    </a:cubicBezTo>
                    <a:cubicBezTo>
                      <a:pt x="20566" y="7692"/>
                      <a:pt x="15126" y="9962"/>
                      <a:pt x="10774" y="13722"/>
                    </a:cubicBezTo>
                    <a:cubicBezTo>
                      <a:pt x="7631" y="16579"/>
                      <a:pt x="6678" y="19056"/>
                      <a:pt x="7345" y="1962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4" name="Полилиния: фигура 553">
                <a:extLst>
                  <a:ext uri="{FF2B5EF4-FFF2-40B4-BE49-F238E27FC236}">
                    <a16:creationId xmlns:a16="http://schemas.microsoft.com/office/drawing/2014/main" id="{16D2CB99-BCFE-4B1F-9048-C01E2B3106D4}"/>
                  </a:ext>
                </a:extLst>
              </p:cNvPr>
              <p:cNvSpPr/>
              <p:nvPr/>
            </p:nvSpPr>
            <p:spPr>
              <a:xfrm>
                <a:off x="3973681" y="3793400"/>
                <a:ext cx="38100" cy="104775"/>
              </a:xfrm>
              <a:custGeom>
                <a:avLst/>
                <a:gdLst>
                  <a:gd name="connsiteX0" fmla="*/ 35215 w 38100"/>
                  <a:gd name="connsiteY0" fmla="*/ 99060 h 104775"/>
                  <a:gd name="connsiteX1" fmla="*/ 17308 w 38100"/>
                  <a:gd name="connsiteY1" fmla="*/ 96202 h 104775"/>
                  <a:gd name="connsiteX2" fmla="*/ 11307 w 38100"/>
                  <a:gd name="connsiteY2" fmla="*/ 93536 h 104775"/>
                  <a:gd name="connsiteX3" fmla="*/ 13021 w 38100"/>
                  <a:gd name="connsiteY3" fmla="*/ 85154 h 104775"/>
                  <a:gd name="connsiteX4" fmla="*/ 20927 w 38100"/>
                  <a:gd name="connsiteY4" fmla="*/ 63532 h 104775"/>
                  <a:gd name="connsiteX5" fmla="*/ 38644 w 38100"/>
                  <a:gd name="connsiteY5" fmla="*/ 7144 h 104775"/>
                  <a:gd name="connsiteX6" fmla="*/ 16451 w 38100"/>
                  <a:gd name="connsiteY6" fmla="*/ 62008 h 104775"/>
                  <a:gd name="connsiteX7" fmla="*/ 8831 w 38100"/>
                  <a:gd name="connsiteY7" fmla="*/ 83725 h 104775"/>
                  <a:gd name="connsiteX8" fmla="*/ 7592 w 38100"/>
                  <a:gd name="connsiteY8" fmla="*/ 94774 h 104775"/>
                  <a:gd name="connsiteX9" fmla="*/ 12260 w 38100"/>
                  <a:gd name="connsiteY9" fmla="*/ 98774 h 104775"/>
                  <a:gd name="connsiteX10" fmla="*/ 17117 w 38100"/>
                  <a:gd name="connsiteY10" fmla="*/ 99346 h 104775"/>
                  <a:gd name="connsiteX11" fmla="*/ 35215 w 38100"/>
                  <a:gd name="connsiteY11" fmla="*/ 9906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100" h="104775">
                    <a:moveTo>
                      <a:pt x="35215" y="99060"/>
                    </a:moveTo>
                    <a:cubicBezTo>
                      <a:pt x="29375" y="97424"/>
                      <a:pt x="23367" y="96465"/>
                      <a:pt x="17308" y="96202"/>
                    </a:cubicBezTo>
                    <a:cubicBezTo>
                      <a:pt x="14450" y="96203"/>
                      <a:pt x="11783" y="95441"/>
                      <a:pt x="11307" y="93536"/>
                    </a:cubicBezTo>
                    <a:cubicBezTo>
                      <a:pt x="10963" y="90630"/>
                      <a:pt x="11565" y="87691"/>
                      <a:pt x="13021" y="85154"/>
                    </a:cubicBezTo>
                    <a:lnTo>
                      <a:pt x="20927" y="63532"/>
                    </a:lnTo>
                    <a:cubicBezTo>
                      <a:pt x="28329" y="45239"/>
                      <a:pt x="34254" y="26383"/>
                      <a:pt x="38644" y="7144"/>
                    </a:cubicBezTo>
                    <a:cubicBezTo>
                      <a:pt x="29793" y="24810"/>
                      <a:pt x="22371" y="43156"/>
                      <a:pt x="16451" y="62008"/>
                    </a:cubicBezTo>
                    <a:cubicBezTo>
                      <a:pt x="13784" y="69533"/>
                      <a:pt x="11307" y="76771"/>
                      <a:pt x="8831" y="83725"/>
                    </a:cubicBezTo>
                    <a:cubicBezTo>
                      <a:pt x="7143" y="87151"/>
                      <a:pt x="6705" y="91059"/>
                      <a:pt x="7592" y="94774"/>
                    </a:cubicBezTo>
                    <a:cubicBezTo>
                      <a:pt x="8404" y="96788"/>
                      <a:pt x="10145" y="98280"/>
                      <a:pt x="12260" y="98774"/>
                    </a:cubicBezTo>
                    <a:cubicBezTo>
                      <a:pt x="13837" y="99225"/>
                      <a:pt x="15478" y="99418"/>
                      <a:pt x="17117" y="99346"/>
                    </a:cubicBezTo>
                    <a:cubicBezTo>
                      <a:pt x="23134" y="100087"/>
                      <a:pt x="29225" y="99991"/>
                      <a:pt x="35215" y="9906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5" name="Полилиния: фигура 554">
                <a:extLst>
                  <a:ext uri="{FF2B5EF4-FFF2-40B4-BE49-F238E27FC236}">
                    <a16:creationId xmlns:a16="http://schemas.microsoft.com/office/drawing/2014/main" id="{20963C60-A7C0-4BA8-8E82-AB0834FF198F}"/>
                  </a:ext>
                </a:extLst>
              </p:cNvPr>
              <p:cNvSpPr/>
              <p:nvPr/>
            </p:nvSpPr>
            <p:spPr>
              <a:xfrm>
                <a:off x="3999752" y="3892458"/>
                <a:ext cx="47625" cy="38100"/>
              </a:xfrm>
              <a:custGeom>
                <a:avLst/>
                <a:gdLst>
                  <a:gd name="connsiteX0" fmla="*/ 41720 w 47625"/>
                  <a:gd name="connsiteY0" fmla="*/ 7146 h 38100"/>
                  <a:gd name="connsiteX1" fmla="*/ 30004 w 47625"/>
                  <a:gd name="connsiteY1" fmla="*/ 27625 h 38100"/>
                  <a:gd name="connsiteX2" fmla="*/ 7144 w 47625"/>
                  <a:gd name="connsiteY2" fmla="*/ 37150 h 38100"/>
                  <a:gd name="connsiteX3" fmla="*/ 15430 w 47625"/>
                  <a:gd name="connsiteY3" fmla="*/ 39436 h 38100"/>
                  <a:gd name="connsiteX4" fmla="*/ 34480 w 47625"/>
                  <a:gd name="connsiteY4" fmla="*/ 32387 h 38100"/>
                  <a:gd name="connsiteX5" fmla="*/ 43529 w 47625"/>
                  <a:gd name="connsiteY5" fmla="*/ 15147 h 38100"/>
                  <a:gd name="connsiteX6" fmla="*/ 41720 w 47625"/>
                  <a:gd name="connsiteY6" fmla="*/ 7146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38100">
                    <a:moveTo>
                      <a:pt x="41720" y="7146"/>
                    </a:moveTo>
                    <a:cubicBezTo>
                      <a:pt x="39910" y="7146"/>
                      <a:pt x="40100" y="18957"/>
                      <a:pt x="30004" y="27625"/>
                    </a:cubicBezTo>
                    <a:cubicBezTo>
                      <a:pt x="19907" y="36293"/>
                      <a:pt x="7144" y="35245"/>
                      <a:pt x="7144" y="37150"/>
                    </a:cubicBezTo>
                    <a:cubicBezTo>
                      <a:pt x="7144" y="39055"/>
                      <a:pt x="10001" y="39436"/>
                      <a:pt x="15430" y="39436"/>
                    </a:cubicBezTo>
                    <a:cubicBezTo>
                      <a:pt x="22411" y="39397"/>
                      <a:pt x="29155" y="36901"/>
                      <a:pt x="34480" y="32387"/>
                    </a:cubicBezTo>
                    <a:cubicBezTo>
                      <a:pt x="39577" y="27998"/>
                      <a:pt x="42812" y="21834"/>
                      <a:pt x="43529" y="15147"/>
                    </a:cubicBezTo>
                    <a:cubicBezTo>
                      <a:pt x="44291" y="10004"/>
                      <a:pt x="42577" y="7051"/>
                      <a:pt x="41720" y="714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6" name="Полилиния: фигура 555">
                <a:extLst>
                  <a:ext uri="{FF2B5EF4-FFF2-40B4-BE49-F238E27FC236}">
                    <a16:creationId xmlns:a16="http://schemas.microsoft.com/office/drawing/2014/main" id="{5CF3B9AD-7F68-4544-B59D-50D00B283ED7}"/>
                  </a:ext>
                </a:extLst>
              </p:cNvPr>
              <p:cNvSpPr/>
              <p:nvPr/>
            </p:nvSpPr>
            <p:spPr>
              <a:xfrm>
                <a:off x="4036899" y="3744391"/>
                <a:ext cx="57150" cy="19050"/>
              </a:xfrm>
              <a:custGeom>
                <a:avLst/>
                <a:gdLst>
                  <a:gd name="connsiteX0" fmla="*/ 7144 w 57150"/>
                  <a:gd name="connsiteY0" fmla="*/ 17386 h 19050"/>
                  <a:gd name="connsiteX1" fmla="*/ 32385 w 57150"/>
                  <a:gd name="connsiteY1" fmla="*/ 17958 h 19050"/>
                  <a:gd name="connsiteX2" fmla="*/ 57626 w 57150"/>
                  <a:gd name="connsiteY2" fmla="*/ 17958 h 19050"/>
                  <a:gd name="connsiteX3" fmla="*/ 51626 w 57150"/>
                  <a:gd name="connsiteY3" fmla="*/ 11481 h 19050"/>
                  <a:gd name="connsiteX4" fmla="*/ 13526 w 57150"/>
                  <a:gd name="connsiteY4" fmla="*/ 11481 h 19050"/>
                  <a:gd name="connsiteX5" fmla="*/ 7144 w 57150"/>
                  <a:gd name="connsiteY5" fmla="*/ 17386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150" h="19050">
                    <a:moveTo>
                      <a:pt x="7144" y="17386"/>
                    </a:moveTo>
                    <a:cubicBezTo>
                      <a:pt x="8477" y="20244"/>
                      <a:pt x="19336" y="17386"/>
                      <a:pt x="32385" y="17958"/>
                    </a:cubicBezTo>
                    <a:cubicBezTo>
                      <a:pt x="45434" y="18529"/>
                      <a:pt x="56102" y="20720"/>
                      <a:pt x="57626" y="17958"/>
                    </a:cubicBezTo>
                    <a:cubicBezTo>
                      <a:pt x="58198" y="16624"/>
                      <a:pt x="56102" y="13957"/>
                      <a:pt x="51626" y="11481"/>
                    </a:cubicBezTo>
                    <a:cubicBezTo>
                      <a:pt x="39584" y="5698"/>
                      <a:pt x="25567" y="5698"/>
                      <a:pt x="13526" y="11481"/>
                    </a:cubicBezTo>
                    <a:cubicBezTo>
                      <a:pt x="9049" y="13481"/>
                      <a:pt x="7144" y="16053"/>
                      <a:pt x="7144" y="17386"/>
                    </a:cubicBezTo>
                    <a:close/>
                  </a:path>
                </a:pathLst>
              </a:custGeom>
              <a:solidFill>
                <a:srgbClr val="35353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7" name="Полилиния: фигура 556">
                <a:extLst>
                  <a:ext uri="{FF2B5EF4-FFF2-40B4-BE49-F238E27FC236}">
                    <a16:creationId xmlns:a16="http://schemas.microsoft.com/office/drawing/2014/main" id="{074DF34A-5789-4979-A148-FB8D5A7197DF}"/>
                  </a:ext>
                </a:extLst>
              </p:cNvPr>
              <p:cNvSpPr/>
              <p:nvPr/>
            </p:nvSpPr>
            <p:spPr>
              <a:xfrm>
                <a:off x="3932631" y="3764475"/>
                <a:ext cx="47625" cy="19050"/>
              </a:xfrm>
              <a:custGeom>
                <a:avLst/>
                <a:gdLst>
                  <a:gd name="connsiteX0" fmla="*/ 7399 w 47625"/>
                  <a:gd name="connsiteY0" fmla="*/ 18924 h 19050"/>
                  <a:gd name="connsiteX1" fmla="*/ 26449 w 47625"/>
                  <a:gd name="connsiteY1" fmla="*/ 18352 h 19050"/>
                  <a:gd name="connsiteX2" fmla="*/ 45023 w 47625"/>
                  <a:gd name="connsiteY2" fmla="*/ 17114 h 19050"/>
                  <a:gd name="connsiteX3" fmla="*/ 41118 w 47625"/>
                  <a:gd name="connsiteY3" fmla="*/ 11018 h 19050"/>
                  <a:gd name="connsiteX4" fmla="*/ 25878 w 47625"/>
                  <a:gd name="connsiteY4" fmla="*/ 7208 h 19050"/>
                  <a:gd name="connsiteX5" fmla="*/ 11114 w 47625"/>
                  <a:gd name="connsiteY5" fmla="*/ 12447 h 19050"/>
                  <a:gd name="connsiteX6" fmla="*/ 7399 w 47625"/>
                  <a:gd name="connsiteY6" fmla="*/ 18924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7399" y="18924"/>
                    </a:moveTo>
                    <a:cubicBezTo>
                      <a:pt x="9400" y="21400"/>
                      <a:pt x="16924" y="18924"/>
                      <a:pt x="26449" y="18352"/>
                    </a:cubicBezTo>
                    <a:cubicBezTo>
                      <a:pt x="35974" y="17781"/>
                      <a:pt x="43309" y="19781"/>
                      <a:pt x="45023" y="17114"/>
                    </a:cubicBezTo>
                    <a:cubicBezTo>
                      <a:pt x="46738" y="14447"/>
                      <a:pt x="44547" y="13304"/>
                      <a:pt x="41118" y="11018"/>
                    </a:cubicBezTo>
                    <a:cubicBezTo>
                      <a:pt x="36573" y="8159"/>
                      <a:pt x="31234" y="6825"/>
                      <a:pt x="25878" y="7208"/>
                    </a:cubicBezTo>
                    <a:cubicBezTo>
                      <a:pt x="20533" y="7383"/>
                      <a:pt x="15374" y="9213"/>
                      <a:pt x="11114" y="12447"/>
                    </a:cubicBezTo>
                    <a:cubicBezTo>
                      <a:pt x="7495" y="15114"/>
                      <a:pt x="6637" y="17686"/>
                      <a:pt x="7399" y="18924"/>
                    </a:cubicBezTo>
                    <a:close/>
                  </a:path>
                </a:pathLst>
              </a:custGeom>
              <a:solidFill>
                <a:srgbClr val="35353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8" name="Полилиния: фигура 557">
                <a:extLst>
                  <a:ext uri="{FF2B5EF4-FFF2-40B4-BE49-F238E27FC236}">
                    <a16:creationId xmlns:a16="http://schemas.microsoft.com/office/drawing/2014/main" id="{7484C90F-C4D8-4AFE-8E36-463A2A57F891}"/>
                  </a:ext>
                </a:extLst>
              </p:cNvPr>
              <p:cNvSpPr/>
              <p:nvPr/>
            </p:nvSpPr>
            <p:spPr>
              <a:xfrm>
                <a:off x="3941364" y="3629829"/>
                <a:ext cx="247650" cy="247650"/>
              </a:xfrm>
              <a:custGeom>
                <a:avLst/>
                <a:gdLst>
                  <a:gd name="connsiteX0" fmla="*/ 60103 w 247650"/>
                  <a:gd name="connsiteY0" fmla="*/ 14125 h 247650"/>
                  <a:gd name="connsiteX1" fmla="*/ 138017 w 247650"/>
                  <a:gd name="connsiteY1" fmla="*/ 10600 h 247650"/>
                  <a:gd name="connsiteX2" fmla="*/ 196215 w 247650"/>
                  <a:gd name="connsiteY2" fmla="*/ 31365 h 247650"/>
                  <a:gd name="connsiteX3" fmla="*/ 241554 w 247650"/>
                  <a:gd name="connsiteY3" fmla="*/ 115852 h 247650"/>
                  <a:gd name="connsiteX4" fmla="*/ 234410 w 247650"/>
                  <a:gd name="connsiteY4" fmla="*/ 212911 h 247650"/>
                  <a:gd name="connsiteX5" fmla="*/ 231743 w 247650"/>
                  <a:gd name="connsiteY5" fmla="*/ 212340 h 247650"/>
                  <a:gd name="connsiteX6" fmla="*/ 232981 w 247650"/>
                  <a:gd name="connsiteY6" fmla="*/ 237295 h 247650"/>
                  <a:gd name="connsiteX7" fmla="*/ 213931 w 247650"/>
                  <a:gd name="connsiteY7" fmla="*/ 248821 h 247650"/>
                  <a:gd name="connsiteX8" fmla="*/ 204406 w 247650"/>
                  <a:gd name="connsiteY8" fmla="*/ 222913 h 247650"/>
                  <a:gd name="connsiteX9" fmla="*/ 201263 w 247650"/>
                  <a:gd name="connsiteY9" fmla="*/ 123376 h 247650"/>
                  <a:gd name="connsiteX10" fmla="*/ 164021 w 247650"/>
                  <a:gd name="connsiteY10" fmla="*/ 57749 h 247650"/>
                  <a:gd name="connsiteX11" fmla="*/ 71914 w 247650"/>
                  <a:gd name="connsiteY11" fmla="*/ 63750 h 247650"/>
                  <a:gd name="connsiteX12" fmla="*/ 7144 w 247650"/>
                  <a:gd name="connsiteY12" fmla="*/ 75085 h 247650"/>
                  <a:gd name="connsiteX13" fmla="*/ 60103 w 247650"/>
                  <a:gd name="connsiteY13" fmla="*/ 14125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7650" h="247650">
                    <a:moveTo>
                      <a:pt x="60103" y="14125"/>
                    </a:moveTo>
                    <a:cubicBezTo>
                      <a:pt x="85058" y="3266"/>
                      <a:pt x="110966" y="7552"/>
                      <a:pt x="138017" y="10600"/>
                    </a:cubicBezTo>
                    <a:cubicBezTo>
                      <a:pt x="158859" y="12493"/>
                      <a:pt x="178882" y="19637"/>
                      <a:pt x="196215" y="31365"/>
                    </a:cubicBezTo>
                    <a:cubicBezTo>
                      <a:pt x="223429" y="51132"/>
                      <a:pt x="240126" y="82246"/>
                      <a:pt x="241554" y="115852"/>
                    </a:cubicBezTo>
                    <a:cubicBezTo>
                      <a:pt x="244185" y="148380"/>
                      <a:pt x="241775" y="181119"/>
                      <a:pt x="234410" y="212911"/>
                    </a:cubicBezTo>
                    <a:lnTo>
                      <a:pt x="231743" y="212340"/>
                    </a:lnTo>
                    <a:cubicBezTo>
                      <a:pt x="234369" y="220400"/>
                      <a:pt x="234797" y="229015"/>
                      <a:pt x="232981" y="237295"/>
                    </a:cubicBezTo>
                    <a:cubicBezTo>
                      <a:pt x="230741" y="245617"/>
                      <a:pt x="222343" y="250698"/>
                      <a:pt x="213931" y="248821"/>
                    </a:cubicBezTo>
                    <a:cubicBezTo>
                      <a:pt x="204406" y="245201"/>
                      <a:pt x="204406" y="232723"/>
                      <a:pt x="204406" y="222913"/>
                    </a:cubicBezTo>
                    <a:cubicBezTo>
                      <a:pt x="205739" y="189701"/>
                      <a:pt x="204689" y="156437"/>
                      <a:pt x="201263" y="123376"/>
                    </a:cubicBezTo>
                    <a:cubicBezTo>
                      <a:pt x="198977" y="98612"/>
                      <a:pt x="183737" y="68798"/>
                      <a:pt x="164021" y="57749"/>
                    </a:cubicBezTo>
                    <a:cubicBezTo>
                      <a:pt x="119634" y="33175"/>
                      <a:pt x="86868" y="57749"/>
                      <a:pt x="71914" y="63750"/>
                    </a:cubicBezTo>
                    <a:cubicBezTo>
                      <a:pt x="47339" y="44224"/>
                      <a:pt x="21146" y="56797"/>
                      <a:pt x="7144" y="75085"/>
                    </a:cubicBezTo>
                    <a:cubicBezTo>
                      <a:pt x="11239" y="48224"/>
                      <a:pt x="35052" y="25079"/>
                      <a:pt x="60103" y="14125"/>
                    </a:cubicBezTo>
                    <a:close/>
                  </a:path>
                </a:pathLst>
              </a:custGeom>
              <a:solidFill>
                <a:srgbClr val="35353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9" name="Полилиния: фигура 558">
                <a:extLst>
                  <a:ext uri="{FF2B5EF4-FFF2-40B4-BE49-F238E27FC236}">
                    <a16:creationId xmlns:a16="http://schemas.microsoft.com/office/drawing/2014/main" id="{6B100FA4-D7B1-47B9-8A07-0818A0EDE8B0}"/>
                  </a:ext>
                </a:extLst>
              </p:cNvPr>
              <p:cNvSpPr/>
              <p:nvPr/>
            </p:nvSpPr>
            <p:spPr>
              <a:xfrm>
                <a:off x="4002957" y="3647223"/>
                <a:ext cx="200025" cy="85725"/>
              </a:xfrm>
              <a:custGeom>
                <a:avLst/>
                <a:gdLst>
                  <a:gd name="connsiteX0" fmla="*/ 195200 w 200025"/>
                  <a:gd name="connsiteY0" fmla="*/ 75693 h 85725"/>
                  <a:gd name="connsiteX1" fmla="*/ 186438 w 200025"/>
                  <a:gd name="connsiteY1" fmla="*/ 79979 h 85725"/>
                  <a:gd name="connsiteX2" fmla="*/ 161863 w 200025"/>
                  <a:gd name="connsiteY2" fmla="*/ 77217 h 85725"/>
                  <a:gd name="connsiteX3" fmla="*/ 129954 w 200025"/>
                  <a:gd name="connsiteY3" fmla="*/ 61405 h 85725"/>
                  <a:gd name="connsiteX4" fmla="*/ 96617 w 200025"/>
                  <a:gd name="connsiteY4" fmla="*/ 39497 h 85725"/>
                  <a:gd name="connsiteX5" fmla="*/ 63374 w 200025"/>
                  <a:gd name="connsiteY5" fmla="*/ 28734 h 85725"/>
                  <a:gd name="connsiteX6" fmla="*/ 34799 w 200025"/>
                  <a:gd name="connsiteY6" fmla="*/ 33592 h 85725"/>
                  <a:gd name="connsiteX7" fmla="*/ 7844 w 200025"/>
                  <a:gd name="connsiteY7" fmla="*/ 46451 h 85725"/>
                  <a:gd name="connsiteX8" fmla="*/ 7272 w 200025"/>
                  <a:gd name="connsiteY8" fmla="*/ 43403 h 85725"/>
                  <a:gd name="connsiteX9" fmla="*/ 9749 w 200025"/>
                  <a:gd name="connsiteY9" fmla="*/ 37021 h 85725"/>
                  <a:gd name="connsiteX10" fmla="*/ 27085 w 200025"/>
                  <a:gd name="connsiteY10" fmla="*/ 19019 h 85725"/>
                  <a:gd name="connsiteX11" fmla="*/ 63089 w 200025"/>
                  <a:gd name="connsiteY11" fmla="*/ 7208 h 85725"/>
                  <a:gd name="connsiteX12" fmla="*/ 85949 w 200025"/>
                  <a:gd name="connsiteY12" fmla="*/ 9875 h 85725"/>
                  <a:gd name="connsiteX13" fmla="*/ 107856 w 200025"/>
                  <a:gd name="connsiteY13" fmla="*/ 19400 h 85725"/>
                  <a:gd name="connsiteX14" fmla="*/ 142241 w 200025"/>
                  <a:gd name="connsiteY14" fmla="*/ 44069 h 85725"/>
                  <a:gd name="connsiteX15" fmla="*/ 168149 w 200025"/>
                  <a:gd name="connsiteY15" fmla="*/ 62262 h 85725"/>
                  <a:gd name="connsiteX16" fmla="*/ 187199 w 200025"/>
                  <a:gd name="connsiteY16" fmla="*/ 71216 h 85725"/>
                  <a:gd name="connsiteX17" fmla="*/ 195200 w 200025"/>
                  <a:gd name="connsiteY17" fmla="*/ 75693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00025" h="85725">
                    <a:moveTo>
                      <a:pt x="195200" y="75693"/>
                    </a:moveTo>
                    <a:cubicBezTo>
                      <a:pt x="195200" y="77216"/>
                      <a:pt x="192343" y="79122"/>
                      <a:pt x="186438" y="79979"/>
                    </a:cubicBezTo>
                    <a:cubicBezTo>
                      <a:pt x="178143" y="80863"/>
                      <a:pt x="169755" y="79920"/>
                      <a:pt x="161863" y="77217"/>
                    </a:cubicBezTo>
                    <a:cubicBezTo>
                      <a:pt x="150554" y="73430"/>
                      <a:pt x="139817" y="68110"/>
                      <a:pt x="129954" y="61405"/>
                    </a:cubicBezTo>
                    <a:cubicBezTo>
                      <a:pt x="119096" y="54261"/>
                      <a:pt x="108142" y="46070"/>
                      <a:pt x="96617" y="39497"/>
                    </a:cubicBezTo>
                    <a:cubicBezTo>
                      <a:pt x="86551" y="33315"/>
                      <a:pt x="75154" y="29625"/>
                      <a:pt x="63374" y="28734"/>
                    </a:cubicBezTo>
                    <a:cubicBezTo>
                      <a:pt x="53614" y="28322"/>
                      <a:pt x="43876" y="29978"/>
                      <a:pt x="34799" y="33592"/>
                    </a:cubicBezTo>
                    <a:cubicBezTo>
                      <a:pt x="18893" y="39783"/>
                      <a:pt x="10701" y="48546"/>
                      <a:pt x="7844" y="46451"/>
                    </a:cubicBezTo>
                    <a:cubicBezTo>
                      <a:pt x="7177" y="46451"/>
                      <a:pt x="6987" y="45022"/>
                      <a:pt x="7272" y="43403"/>
                    </a:cubicBezTo>
                    <a:cubicBezTo>
                      <a:pt x="7734" y="41152"/>
                      <a:pt x="8571" y="38994"/>
                      <a:pt x="9749" y="37021"/>
                    </a:cubicBezTo>
                    <a:cubicBezTo>
                      <a:pt x="13997" y="29714"/>
                      <a:pt x="19943" y="23539"/>
                      <a:pt x="27085" y="19019"/>
                    </a:cubicBezTo>
                    <a:cubicBezTo>
                      <a:pt x="37789" y="11882"/>
                      <a:pt x="50237" y="7799"/>
                      <a:pt x="63089" y="7208"/>
                    </a:cubicBezTo>
                    <a:cubicBezTo>
                      <a:pt x="70802" y="6885"/>
                      <a:pt x="78517" y="7785"/>
                      <a:pt x="85949" y="9875"/>
                    </a:cubicBezTo>
                    <a:cubicBezTo>
                      <a:pt x="93602" y="12173"/>
                      <a:pt x="100956" y="15371"/>
                      <a:pt x="107856" y="19400"/>
                    </a:cubicBezTo>
                    <a:cubicBezTo>
                      <a:pt x="119926" y="26741"/>
                      <a:pt x="131421" y="34988"/>
                      <a:pt x="142241" y="44069"/>
                    </a:cubicBezTo>
                    <a:cubicBezTo>
                      <a:pt x="150416" y="50766"/>
                      <a:pt x="159075" y="56847"/>
                      <a:pt x="168149" y="62262"/>
                    </a:cubicBezTo>
                    <a:cubicBezTo>
                      <a:pt x="174248" y="65755"/>
                      <a:pt x="180619" y="68749"/>
                      <a:pt x="187199" y="71216"/>
                    </a:cubicBezTo>
                    <a:cubicBezTo>
                      <a:pt x="192057" y="72740"/>
                      <a:pt x="195105" y="73978"/>
                      <a:pt x="195200" y="75693"/>
                    </a:cubicBezTo>
                    <a:close/>
                  </a:path>
                </a:pathLst>
              </a:custGeom>
              <a:solidFill>
                <a:srgbClr val="35353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0" name="Полилиния: фигура 559">
                <a:extLst>
                  <a:ext uri="{FF2B5EF4-FFF2-40B4-BE49-F238E27FC236}">
                    <a16:creationId xmlns:a16="http://schemas.microsoft.com/office/drawing/2014/main" id="{D3A4B378-9637-46F4-BF1E-26336DA2904B}"/>
                  </a:ext>
                </a:extLst>
              </p:cNvPr>
              <p:cNvSpPr/>
              <p:nvPr/>
            </p:nvSpPr>
            <p:spPr>
              <a:xfrm>
                <a:off x="4133768" y="3736727"/>
                <a:ext cx="66675" cy="28575"/>
              </a:xfrm>
              <a:custGeom>
                <a:avLst/>
                <a:gdLst>
                  <a:gd name="connsiteX0" fmla="*/ 66104 w 66675"/>
                  <a:gd name="connsiteY0" fmla="*/ 26194 h 28575"/>
                  <a:gd name="connsiteX1" fmla="*/ 56579 w 66675"/>
                  <a:gd name="connsiteY1" fmla="*/ 28194 h 28575"/>
                  <a:gd name="connsiteX2" fmla="*/ 33719 w 66675"/>
                  <a:gd name="connsiteY2" fmla="*/ 25432 h 28575"/>
                  <a:gd name="connsiteX3" fmla="*/ 13526 w 66675"/>
                  <a:gd name="connsiteY3" fmla="*/ 14192 h 28575"/>
                  <a:gd name="connsiteX4" fmla="*/ 7144 w 66675"/>
                  <a:gd name="connsiteY4" fmla="*/ 7144 h 28575"/>
                  <a:gd name="connsiteX5" fmla="*/ 14573 w 66675"/>
                  <a:gd name="connsiteY5" fmla="*/ 12954 h 28575"/>
                  <a:gd name="connsiteX6" fmla="*/ 34385 w 66675"/>
                  <a:gd name="connsiteY6" fmla="*/ 23241 h 28575"/>
                  <a:gd name="connsiteX7" fmla="*/ 56483 w 66675"/>
                  <a:gd name="connsiteY7" fmla="*/ 26479 h 28575"/>
                  <a:gd name="connsiteX8" fmla="*/ 66104 w 66675"/>
                  <a:gd name="connsiteY8" fmla="*/ 2619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675" h="28575">
                    <a:moveTo>
                      <a:pt x="66104" y="26194"/>
                    </a:moveTo>
                    <a:cubicBezTo>
                      <a:pt x="63076" y="27431"/>
                      <a:pt x="59848" y="28108"/>
                      <a:pt x="56579" y="28194"/>
                    </a:cubicBezTo>
                    <a:cubicBezTo>
                      <a:pt x="48853" y="28727"/>
                      <a:pt x="41095" y="27789"/>
                      <a:pt x="33719" y="25432"/>
                    </a:cubicBezTo>
                    <a:cubicBezTo>
                      <a:pt x="26325" y="23025"/>
                      <a:pt x="19467" y="19208"/>
                      <a:pt x="13526" y="14192"/>
                    </a:cubicBezTo>
                    <a:cubicBezTo>
                      <a:pt x="10988" y="12250"/>
                      <a:pt x="8825" y="9862"/>
                      <a:pt x="7144" y="7144"/>
                    </a:cubicBezTo>
                    <a:cubicBezTo>
                      <a:pt x="9757" y="8899"/>
                      <a:pt x="12240" y="10841"/>
                      <a:pt x="14573" y="12954"/>
                    </a:cubicBezTo>
                    <a:cubicBezTo>
                      <a:pt x="20601" y="17395"/>
                      <a:pt x="27286" y="20866"/>
                      <a:pt x="34385" y="23241"/>
                    </a:cubicBezTo>
                    <a:cubicBezTo>
                      <a:pt x="41522" y="25533"/>
                      <a:pt x="48989" y="26627"/>
                      <a:pt x="56483" y="26479"/>
                    </a:cubicBezTo>
                    <a:cubicBezTo>
                      <a:pt x="62675" y="26479"/>
                      <a:pt x="66008" y="25813"/>
                      <a:pt x="66104" y="2619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1" name="Полилиния: фигура 560">
                <a:extLst>
                  <a:ext uri="{FF2B5EF4-FFF2-40B4-BE49-F238E27FC236}">
                    <a16:creationId xmlns:a16="http://schemas.microsoft.com/office/drawing/2014/main" id="{EA70499C-37C9-467A-A26E-2896ADB38551}"/>
                  </a:ext>
                </a:extLst>
              </p:cNvPr>
              <p:cNvSpPr/>
              <p:nvPr/>
            </p:nvSpPr>
            <p:spPr>
              <a:xfrm>
                <a:off x="4136531" y="3749586"/>
                <a:ext cx="85725" cy="66675"/>
              </a:xfrm>
              <a:custGeom>
                <a:avLst/>
                <a:gdLst>
                  <a:gd name="connsiteX0" fmla="*/ 84963 w 85725"/>
                  <a:gd name="connsiteY0" fmla="*/ 62484 h 66675"/>
                  <a:gd name="connsiteX1" fmla="*/ 81153 w 85725"/>
                  <a:gd name="connsiteY1" fmla="*/ 61627 h 66675"/>
                  <a:gd name="connsiteX2" fmla="*/ 71628 w 85725"/>
                  <a:gd name="connsiteY2" fmla="*/ 58007 h 66675"/>
                  <a:gd name="connsiteX3" fmla="*/ 15812 w 85725"/>
                  <a:gd name="connsiteY3" fmla="*/ 18479 h 66675"/>
                  <a:gd name="connsiteX4" fmla="*/ 9239 w 85725"/>
                  <a:gd name="connsiteY4" fmla="*/ 10382 h 66675"/>
                  <a:gd name="connsiteX5" fmla="*/ 7144 w 85725"/>
                  <a:gd name="connsiteY5" fmla="*/ 7144 h 66675"/>
                  <a:gd name="connsiteX6" fmla="*/ 16668 w 85725"/>
                  <a:gd name="connsiteY6" fmla="*/ 17335 h 66675"/>
                  <a:gd name="connsiteX7" fmla="*/ 42481 w 85725"/>
                  <a:gd name="connsiteY7" fmla="*/ 39529 h 66675"/>
                  <a:gd name="connsiteX8" fmla="*/ 71913 w 85725"/>
                  <a:gd name="connsiteY8" fmla="*/ 56578 h 66675"/>
                  <a:gd name="connsiteX9" fmla="*/ 84963 w 85725"/>
                  <a:gd name="connsiteY9" fmla="*/ 62484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" h="66675">
                    <a:moveTo>
                      <a:pt x="84963" y="62484"/>
                    </a:moveTo>
                    <a:cubicBezTo>
                      <a:pt x="83664" y="62349"/>
                      <a:pt x="82385" y="62061"/>
                      <a:pt x="81153" y="61627"/>
                    </a:cubicBezTo>
                    <a:cubicBezTo>
                      <a:pt x="78867" y="60865"/>
                      <a:pt x="75438" y="59722"/>
                      <a:pt x="71628" y="58007"/>
                    </a:cubicBezTo>
                    <a:cubicBezTo>
                      <a:pt x="50279" y="49210"/>
                      <a:pt x="31197" y="35696"/>
                      <a:pt x="15812" y="18479"/>
                    </a:cubicBezTo>
                    <a:cubicBezTo>
                      <a:pt x="13486" y="15892"/>
                      <a:pt x="11293" y="13190"/>
                      <a:pt x="9239" y="10382"/>
                    </a:cubicBezTo>
                    <a:cubicBezTo>
                      <a:pt x="8368" y="9425"/>
                      <a:pt x="7660" y="8331"/>
                      <a:pt x="7144" y="7144"/>
                    </a:cubicBezTo>
                    <a:cubicBezTo>
                      <a:pt x="7143" y="7144"/>
                      <a:pt x="10858" y="11049"/>
                      <a:pt x="16668" y="17335"/>
                    </a:cubicBezTo>
                    <a:cubicBezTo>
                      <a:pt x="24568" y="25516"/>
                      <a:pt x="33209" y="32945"/>
                      <a:pt x="42481" y="39529"/>
                    </a:cubicBezTo>
                    <a:cubicBezTo>
                      <a:pt x="51794" y="46031"/>
                      <a:pt x="61640" y="51735"/>
                      <a:pt x="71913" y="56578"/>
                    </a:cubicBezTo>
                    <a:cubicBezTo>
                      <a:pt x="79915" y="60198"/>
                      <a:pt x="85058" y="62103"/>
                      <a:pt x="84963" y="6248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2" name="Полилиния: фигура 561">
                <a:extLst>
                  <a:ext uri="{FF2B5EF4-FFF2-40B4-BE49-F238E27FC236}">
                    <a16:creationId xmlns:a16="http://schemas.microsoft.com/office/drawing/2014/main" id="{BE6BFF5E-3675-4662-A264-D7D7E1C73678}"/>
                  </a:ext>
                </a:extLst>
              </p:cNvPr>
              <p:cNvSpPr/>
              <p:nvPr/>
            </p:nvSpPr>
            <p:spPr>
              <a:xfrm>
                <a:off x="3998969" y="3626904"/>
                <a:ext cx="57150" cy="66675"/>
              </a:xfrm>
              <a:custGeom>
                <a:avLst/>
                <a:gdLst>
                  <a:gd name="connsiteX0" fmla="*/ 51456 w 57150"/>
                  <a:gd name="connsiteY0" fmla="*/ 7144 h 66675"/>
                  <a:gd name="connsiteX1" fmla="*/ 40787 w 57150"/>
                  <a:gd name="connsiteY1" fmla="*/ 12001 h 66675"/>
                  <a:gd name="connsiteX2" fmla="*/ 18403 w 57150"/>
                  <a:gd name="connsiteY2" fmla="*/ 28194 h 66675"/>
                  <a:gd name="connsiteX3" fmla="*/ 8878 w 57150"/>
                  <a:gd name="connsiteY3" fmla="*/ 53530 h 66675"/>
                  <a:gd name="connsiteX4" fmla="*/ 10688 w 57150"/>
                  <a:gd name="connsiteY4" fmla="*/ 64865 h 66675"/>
                  <a:gd name="connsiteX5" fmla="*/ 9069 w 57150"/>
                  <a:gd name="connsiteY5" fmla="*/ 62103 h 66675"/>
                  <a:gd name="connsiteX6" fmla="*/ 7164 w 57150"/>
                  <a:gd name="connsiteY6" fmla="*/ 53531 h 66675"/>
                  <a:gd name="connsiteX7" fmla="*/ 16689 w 57150"/>
                  <a:gd name="connsiteY7" fmla="*/ 26765 h 66675"/>
                  <a:gd name="connsiteX8" fmla="*/ 40120 w 57150"/>
                  <a:gd name="connsiteY8" fmla="*/ 10478 h 66675"/>
                  <a:gd name="connsiteX9" fmla="*/ 51455 w 57150"/>
                  <a:gd name="connsiteY9" fmla="*/ 7144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7150" h="66675">
                    <a:moveTo>
                      <a:pt x="51456" y="7144"/>
                    </a:moveTo>
                    <a:cubicBezTo>
                      <a:pt x="51456" y="7144"/>
                      <a:pt x="47265" y="8954"/>
                      <a:pt x="40787" y="12001"/>
                    </a:cubicBezTo>
                    <a:cubicBezTo>
                      <a:pt x="32277" y="15777"/>
                      <a:pt x="24653" y="21293"/>
                      <a:pt x="18403" y="28194"/>
                    </a:cubicBezTo>
                    <a:cubicBezTo>
                      <a:pt x="12360" y="35264"/>
                      <a:pt x="8989" y="44230"/>
                      <a:pt x="8878" y="53530"/>
                    </a:cubicBezTo>
                    <a:cubicBezTo>
                      <a:pt x="9079" y="57362"/>
                      <a:pt x="9685" y="61162"/>
                      <a:pt x="10688" y="64865"/>
                    </a:cubicBezTo>
                    <a:cubicBezTo>
                      <a:pt x="10689" y="64865"/>
                      <a:pt x="9926" y="64008"/>
                      <a:pt x="9069" y="62103"/>
                    </a:cubicBezTo>
                    <a:cubicBezTo>
                      <a:pt x="8011" y="59356"/>
                      <a:pt x="7368" y="56467"/>
                      <a:pt x="7164" y="53531"/>
                    </a:cubicBezTo>
                    <a:cubicBezTo>
                      <a:pt x="6847" y="43726"/>
                      <a:pt x="10250" y="34165"/>
                      <a:pt x="16689" y="26765"/>
                    </a:cubicBezTo>
                    <a:cubicBezTo>
                      <a:pt x="23074" y="19528"/>
                      <a:pt x="31112" y="13940"/>
                      <a:pt x="40120" y="10478"/>
                    </a:cubicBezTo>
                    <a:cubicBezTo>
                      <a:pt x="43732" y="8863"/>
                      <a:pt x="47544" y="7742"/>
                      <a:pt x="51455" y="714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3" name="Полилиния: фигура 562">
                <a:extLst>
                  <a:ext uri="{FF2B5EF4-FFF2-40B4-BE49-F238E27FC236}">
                    <a16:creationId xmlns:a16="http://schemas.microsoft.com/office/drawing/2014/main" id="{C8F70EF6-53CE-42F5-855D-89094DA88F6D}"/>
                  </a:ext>
                </a:extLst>
              </p:cNvPr>
              <p:cNvSpPr/>
              <p:nvPr/>
            </p:nvSpPr>
            <p:spPr>
              <a:xfrm>
                <a:off x="3991238" y="3611337"/>
                <a:ext cx="38100" cy="76200"/>
              </a:xfrm>
              <a:custGeom>
                <a:avLst/>
                <a:gdLst>
                  <a:gd name="connsiteX0" fmla="*/ 32612 w 38100"/>
                  <a:gd name="connsiteY0" fmla="*/ 7185 h 76200"/>
                  <a:gd name="connsiteX1" fmla="*/ 23849 w 38100"/>
                  <a:gd name="connsiteY1" fmla="*/ 15091 h 76200"/>
                  <a:gd name="connsiteX2" fmla="*/ 10609 w 38100"/>
                  <a:gd name="connsiteY2" fmla="*/ 39570 h 76200"/>
                  <a:gd name="connsiteX3" fmla="*/ 12229 w 38100"/>
                  <a:gd name="connsiteY3" fmla="*/ 67288 h 76200"/>
                  <a:gd name="connsiteX4" fmla="*/ 16801 w 38100"/>
                  <a:gd name="connsiteY4" fmla="*/ 78241 h 76200"/>
                  <a:gd name="connsiteX5" fmla="*/ 14705 w 38100"/>
                  <a:gd name="connsiteY5" fmla="*/ 75670 h 76200"/>
                  <a:gd name="connsiteX6" fmla="*/ 10610 w 38100"/>
                  <a:gd name="connsiteY6" fmla="*/ 67859 h 76200"/>
                  <a:gd name="connsiteX7" fmla="*/ 22706 w 38100"/>
                  <a:gd name="connsiteY7" fmla="*/ 13852 h 76200"/>
                  <a:gd name="connsiteX8" fmla="*/ 29660 w 38100"/>
                  <a:gd name="connsiteY8" fmla="*/ 8518 h 76200"/>
                  <a:gd name="connsiteX9" fmla="*/ 32612 w 38100"/>
                  <a:gd name="connsiteY9" fmla="*/ 7185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" h="76200">
                    <a:moveTo>
                      <a:pt x="32612" y="7185"/>
                    </a:moveTo>
                    <a:cubicBezTo>
                      <a:pt x="32612" y="7185"/>
                      <a:pt x="28898" y="9852"/>
                      <a:pt x="23849" y="15091"/>
                    </a:cubicBezTo>
                    <a:cubicBezTo>
                      <a:pt x="17325" y="21919"/>
                      <a:pt x="12753" y="30372"/>
                      <a:pt x="10609" y="39570"/>
                    </a:cubicBezTo>
                    <a:cubicBezTo>
                      <a:pt x="8623" y="48785"/>
                      <a:pt x="9182" y="58367"/>
                      <a:pt x="12229" y="67288"/>
                    </a:cubicBezTo>
                    <a:cubicBezTo>
                      <a:pt x="14515" y="74241"/>
                      <a:pt x="17182" y="77956"/>
                      <a:pt x="16801" y="78241"/>
                    </a:cubicBezTo>
                    <a:cubicBezTo>
                      <a:pt x="15945" y="77525"/>
                      <a:pt x="15234" y="76653"/>
                      <a:pt x="14705" y="75670"/>
                    </a:cubicBezTo>
                    <a:cubicBezTo>
                      <a:pt x="13078" y="73213"/>
                      <a:pt x="11705" y="70595"/>
                      <a:pt x="10610" y="67859"/>
                    </a:cubicBezTo>
                    <a:cubicBezTo>
                      <a:pt x="3160" y="49082"/>
                      <a:pt x="7958" y="27658"/>
                      <a:pt x="22706" y="13852"/>
                    </a:cubicBezTo>
                    <a:cubicBezTo>
                      <a:pt x="24847" y="11854"/>
                      <a:pt x="27175" y="10068"/>
                      <a:pt x="29660" y="8518"/>
                    </a:cubicBezTo>
                    <a:cubicBezTo>
                      <a:pt x="31470" y="7471"/>
                      <a:pt x="32517" y="6994"/>
                      <a:pt x="32612" y="718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4" name="Полилиния: фигура 563">
                <a:extLst>
                  <a:ext uri="{FF2B5EF4-FFF2-40B4-BE49-F238E27FC236}">
                    <a16:creationId xmlns:a16="http://schemas.microsoft.com/office/drawing/2014/main" id="{13E19717-FE0D-442F-8383-111E852CC80F}"/>
                  </a:ext>
                </a:extLst>
              </p:cNvPr>
              <p:cNvSpPr/>
              <p:nvPr/>
            </p:nvSpPr>
            <p:spPr>
              <a:xfrm>
                <a:off x="4138340" y="3827405"/>
                <a:ext cx="38100" cy="28575"/>
              </a:xfrm>
              <a:custGeom>
                <a:avLst/>
                <a:gdLst>
                  <a:gd name="connsiteX0" fmla="*/ 34862 w 38100"/>
                  <a:gd name="connsiteY0" fmla="*/ 25241 h 28575"/>
                  <a:gd name="connsiteX1" fmla="*/ 18669 w 38100"/>
                  <a:gd name="connsiteY1" fmla="*/ 19907 h 28575"/>
                  <a:gd name="connsiteX2" fmla="*/ 7144 w 38100"/>
                  <a:gd name="connsiteY2" fmla="*/ 7144 h 28575"/>
                  <a:gd name="connsiteX3" fmla="*/ 19907 w 38100"/>
                  <a:gd name="connsiteY3" fmla="*/ 17907 h 28575"/>
                  <a:gd name="connsiteX4" fmla="*/ 34862 w 38100"/>
                  <a:gd name="connsiteY4" fmla="*/ 2524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34862" y="25241"/>
                    </a:moveTo>
                    <a:cubicBezTo>
                      <a:pt x="29027" y="25276"/>
                      <a:pt x="23341" y="23403"/>
                      <a:pt x="18669" y="19907"/>
                    </a:cubicBezTo>
                    <a:cubicBezTo>
                      <a:pt x="13554" y="17003"/>
                      <a:pt x="9512" y="12527"/>
                      <a:pt x="7144" y="7144"/>
                    </a:cubicBezTo>
                    <a:cubicBezTo>
                      <a:pt x="11193" y="10969"/>
                      <a:pt x="15454" y="14562"/>
                      <a:pt x="19907" y="17907"/>
                    </a:cubicBezTo>
                    <a:cubicBezTo>
                      <a:pt x="24734" y="20661"/>
                      <a:pt x="29729" y="23111"/>
                      <a:pt x="34862" y="252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5" name="Полилиния: фигура 564">
                <a:extLst>
                  <a:ext uri="{FF2B5EF4-FFF2-40B4-BE49-F238E27FC236}">
                    <a16:creationId xmlns:a16="http://schemas.microsoft.com/office/drawing/2014/main" id="{7738EC7C-E4D3-4F50-9F01-B0398D327CA3}"/>
                  </a:ext>
                </a:extLst>
              </p:cNvPr>
              <p:cNvSpPr/>
              <p:nvPr/>
            </p:nvSpPr>
            <p:spPr>
              <a:xfrm>
                <a:off x="4137293" y="3838263"/>
                <a:ext cx="38100" cy="28575"/>
              </a:xfrm>
              <a:custGeom>
                <a:avLst/>
                <a:gdLst>
                  <a:gd name="connsiteX0" fmla="*/ 38862 w 38100"/>
                  <a:gd name="connsiteY0" fmla="*/ 23908 h 28575"/>
                  <a:gd name="connsiteX1" fmla="*/ 7144 w 38100"/>
                  <a:gd name="connsiteY1" fmla="*/ 7144 h 28575"/>
                  <a:gd name="connsiteX2" fmla="*/ 21717 w 38100"/>
                  <a:gd name="connsiteY2" fmla="*/ 17907 h 28575"/>
                  <a:gd name="connsiteX3" fmla="*/ 38862 w 38100"/>
                  <a:gd name="connsiteY3" fmla="*/ 23908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0" h="28575">
                    <a:moveTo>
                      <a:pt x="38862" y="23908"/>
                    </a:moveTo>
                    <a:cubicBezTo>
                      <a:pt x="25981" y="24715"/>
                      <a:pt x="13732" y="18241"/>
                      <a:pt x="7144" y="7144"/>
                    </a:cubicBezTo>
                    <a:cubicBezTo>
                      <a:pt x="11643" y="11193"/>
                      <a:pt x="16524" y="14797"/>
                      <a:pt x="21717" y="17907"/>
                    </a:cubicBezTo>
                    <a:cubicBezTo>
                      <a:pt x="27261" y="20365"/>
                      <a:pt x="32995" y="22372"/>
                      <a:pt x="38862" y="2390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6" name="Полилиния: фигура 565">
                <a:extLst>
                  <a:ext uri="{FF2B5EF4-FFF2-40B4-BE49-F238E27FC236}">
                    <a16:creationId xmlns:a16="http://schemas.microsoft.com/office/drawing/2014/main" id="{8025C061-4D65-4247-9766-3134CDFA7F33}"/>
                  </a:ext>
                </a:extLst>
              </p:cNvPr>
              <p:cNvSpPr/>
              <p:nvPr/>
            </p:nvSpPr>
            <p:spPr>
              <a:xfrm>
                <a:off x="3912855" y="3671862"/>
                <a:ext cx="28575" cy="47625"/>
              </a:xfrm>
              <a:custGeom>
                <a:avLst/>
                <a:gdLst>
                  <a:gd name="connsiteX0" fmla="*/ 29747 w 28575"/>
                  <a:gd name="connsiteY0" fmla="*/ 43910 h 47625"/>
                  <a:gd name="connsiteX1" fmla="*/ 23270 w 28575"/>
                  <a:gd name="connsiteY1" fmla="*/ 41720 h 47625"/>
                  <a:gd name="connsiteX2" fmla="*/ 11554 w 28575"/>
                  <a:gd name="connsiteY2" fmla="*/ 29908 h 47625"/>
                  <a:gd name="connsiteX3" fmla="*/ 7172 w 28575"/>
                  <a:gd name="connsiteY3" fmla="*/ 13907 h 47625"/>
                  <a:gd name="connsiteX4" fmla="*/ 8411 w 28575"/>
                  <a:gd name="connsiteY4" fmla="*/ 7144 h 47625"/>
                  <a:gd name="connsiteX5" fmla="*/ 8411 w 28575"/>
                  <a:gd name="connsiteY5" fmla="*/ 13811 h 47625"/>
                  <a:gd name="connsiteX6" fmla="*/ 13173 w 28575"/>
                  <a:gd name="connsiteY6" fmla="*/ 28766 h 47625"/>
                  <a:gd name="connsiteX7" fmla="*/ 23841 w 28575"/>
                  <a:gd name="connsiteY7" fmla="*/ 40291 h 47625"/>
                  <a:gd name="connsiteX8" fmla="*/ 29747 w 28575"/>
                  <a:gd name="connsiteY8" fmla="*/ 4391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" h="47625">
                    <a:moveTo>
                      <a:pt x="29747" y="43910"/>
                    </a:moveTo>
                    <a:cubicBezTo>
                      <a:pt x="27431" y="43769"/>
                      <a:pt x="25195" y="43012"/>
                      <a:pt x="23270" y="41720"/>
                    </a:cubicBezTo>
                    <a:cubicBezTo>
                      <a:pt x="18416" y="38853"/>
                      <a:pt x="14382" y="34785"/>
                      <a:pt x="11554" y="29908"/>
                    </a:cubicBezTo>
                    <a:cubicBezTo>
                      <a:pt x="8737" y="25042"/>
                      <a:pt x="7227" y="19529"/>
                      <a:pt x="7172" y="13907"/>
                    </a:cubicBezTo>
                    <a:cubicBezTo>
                      <a:pt x="7025" y="11585"/>
                      <a:pt x="7450" y="9263"/>
                      <a:pt x="8411" y="7144"/>
                    </a:cubicBezTo>
                    <a:cubicBezTo>
                      <a:pt x="8553" y="9364"/>
                      <a:pt x="8553" y="11591"/>
                      <a:pt x="8411" y="13811"/>
                    </a:cubicBezTo>
                    <a:cubicBezTo>
                      <a:pt x="8967" y="19067"/>
                      <a:pt x="10588" y="24155"/>
                      <a:pt x="13173" y="28766"/>
                    </a:cubicBezTo>
                    <a:cubicBezTo>
                      <a:pt x="15843" y="33342"/>
                      <a:pt x="19484" y="37276"/>
                      <a:pt x="23841" y="40291"/>
                    </a:cubicBezTo>
                    <a:cubicBezTo>
                      <a:pt x="27556" y="42577"/>
                      <a:pt x="29937" y="43529"/>
                      <a:pt x="29747" y="4391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7" name="Полилиния: фигура 566">
                <a:extLst>
                  <a:ext uri="{FF2B5EF4-FFF2-40B4-BE49-F238E27FC236}">
                    <a16:creationId xmlns:a16="http://schemas.microsoft.com/office/drawing/2014/main" id="{96576AE2-69C8-4BD1-83DB-280EF7D0E995}"/>
                  </a:ext>
                </a:extLst>
              </p:cNvPr>
              <p:cNvSpPr/>
              <p:nvPr/>
            </p:nvSpPr>
            <p:spPr>
              <a:xfrm>
                <a:off x="3924885" y="3663099"/>
                <a:ext cx="28575" cy="38100"/>
              </a:xfrm>
              <a:custGeom>
                <a:avLst/>
                <a:gdLst>
                  <a:gd name="connsiteX0" fmla="*/ 25051 w 28575"/>
                  <a:gd name="connsiteY0" fmla="*/ 38481 h 38100"/>
                  <a:gd name="connsiteX1" fmla="*/ 13716 w 28575"/>
                  <a:gd name="connsiteY1" fmla="*/ 24098 h 38100"/>
                  <a:gd name="connsiteX2" fmla="*/ 7144 w 28575"/>
                  <a:gd name="connsiteY2" fmla="*/ 7144 h 38100"/>
                  <a:gd name="connsiteX3" fmla="*/ 15812 w 28575"/>
                  <a:gd name="connsiteY3" fmla="*/ 22955 h 38100"/>
                  <a:gd name="connsiteX4" fmla="*/ 25051 w 28575"/>
                  <a:gd name="connsiteY4" fmla="*/ 3848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38100">
                    <a:moveTo>
                      <a:pt x="25051" y="38481"/>
                    </a:moveTo>
                    <a:cubicBezTo>
                      <a:pt x="20339" y="34502"/>
                      <a:pt x="16484" y="29609"/>
                      <a:pt x="13716" y="24098"/>
                    </a:cubicBezTo>
                    <a:cubicBezTo>
                      <a:pt x="10348" y="18976"/>
                      <a:pt x="8108" y="13197"/>
                      <a:pt x="7144" y="7144"/>
                    </a:cubicBezTo>
                    <a:cubicBezTo>
                      <a:pt x="7811" y="7144"/>
                      <a:pt x="10859" y="14383"/>
                      <a:pt x="15812" y="22955"/>
                    </a:cubicBezTo>
                    <a:cubicBezTo>
                      <a:pt x="20765" y="31528"/>
                      <a:pt x="25622" y="38005"/>
                      <a:pt x="25051" y="3848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8" name="Полилиния: фигура 567">
                <a:extLst>
                  <a:ext uri="{FF2B5EF4-FFF2-40B4-BE49-F238E27FC236}">
                    <a16:creationId xmlns:a16="http://schemas.microsoft.com/office/drawing/2014/main" id="{90B914DB-F73E-49FB-8821-1407C8E944BF}"/>
                  </a:ext>
                </a:extLst>
              </p:cNvPr>
              <p:cNvSpPr/>
              <p:nvPr/>
            </p:nvSpPr>
            <p:spPr>
              <a:xfrm>
                <a:off x="4091763" y="3803592"/>
                <a:ext cx="28575" cy="19050"/>
              </a:xfrm>
              <a:custGeom>
                <a:avLst/>
                <a:gdLst>
                  <a:gd name="connsiteX0" fmla="*/ 23813 w 28575"/>
                  <a:gd name="connsiteY0" fmla="*/ 7144 h 19050"/>
                  <a:gd name="connsiteX1" fmla="*/ 16097 w 28575"/>
                  <a:gd name="connsiteY1" fmla="*/ 12002 h 19050"/>
                  <a:gd name="connsiteX2" fmla="*/ 7144 w 28575"/>
                  <a:gd name="connsiteY2" fmla="*/ 13621 h 19050"/>
                  <a:gd name="connsiteX3" fmla="*/ 15335 w 28575"/>
                  <a:gd name="connsiteY3" fmla="*/ 10192 h 19050"/>
                  <a:gd name="connsiteX4" fmla="*/ 23813 w 28575"/>
                  <a:gd name="connsiteY4" fmla="*/ 7144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19050">
                    <a:moveTo>
                      <a:pt x="23813" y="7144"/>
                    </a:moveTo>
                    <a:cubicBezTo>
                      <a:pt x="21770" y="9481"/>
                      <a:pt x="19088" y="11170"/>
                      <a:pt x="16097" y="12002"/>
                    </a:cubicBezTo>
                    <a:cubicBezTo>
                      <a:pt x="13340" y="13418"/>
                      <a:pt x="10223" y="13982"/>
                      <a:pt x="7144" y="13621"/>
                    </a:cubicBezTo>
                    <a:cubicBezTo>
                      <a:pt x="7144" y="13049"/>
                      <a:pt x="10858" y="11906"/>
                      <a:pt x="15335" y="10192"/>
                    </a:cubicBezTo>
                    <a:cubicBezTo>
                      <a:pt x="18006" y="8788"/>
                      <a:pt x="20859" y="7762"/>
                      <a:pt x="23813" y="7144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9" name="Полилиния: фигура 568">
                <a:extLst>
                  <a:ext uri="{FF2B5EF4-FFF2-40B4-BE49-F238E27FC236}">
                    <a16:creationId xmlns:a16="http://schemas.microsoft.com/office/drawing/2014/main" id="{DADCC2CA-6BF5-407A-A102-7813D28EB8C4}"/>
                  </a:ext>
                </a:extLst>
              </p:cNvPr>
              <p:cNvSpPr/>
              <p:nvPr/>
            </p:nvSpPr>
            <p:spPr>
              <a:xfrm>
                <a:off x="4094907" y="3812182"/>
                <a:ext cx="28575" cy="9525"/>
              </a:xfrm>
              <a:custGeom>
                <a:avLst/>
                <a:gdLst>
                  <a:gd name="connsiteX0" fmla="*/ 28384 w 28575"/>
                  <a:gd name="connsiteY0" fmla="*/ 9317 h 9525"/>
                  <a:gd name="connsiteX1" fmla="*/ 17716 w 28575"/>
                  <a:gd name="connsiteY1" fmla="*/ 9317 h 9525"/>
                  <a:gd name="connsiteX2" fmla="*/ 7144 w 28575"/>
                  <a:gd name="connsiteY2" fmla="*/ 7602 h 9525"/>
                  <a:gd name="connsiteX3" fmla="*/ 17812 w 28575"/>
                  <a:gd name="connsiteY3" fmla="*/ 7602 h 9525"/>
                  <a:gd name="connsiteX4" fmla="*/ 28384 w 28575"/>
                  <a:gd name="connsiteY4" fmla="*/ 9317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9525">
                    <a:moveTo>
                      <a:pt x="28384" y="9317"/>
                    </a:moveTo>
                    <a:cubicBezTo>
                      <a:pt x="24862" y="10015"/>
                      <a:pt x="21238" y="10015"/>
                      <a:pt x="17716" y="9317"/>
                    </a:cubicBezTo>
                    <a:cubicBezTo>
                      <a:pt x="14115" y="9433"/>
                      <a:pt x="10524" y="8851"/>
                      <a:pt x="7144" y="7602"/>
                    </a:cubicBezTo>
                    <a:cubicBezTo>
                      <a:pt x="10673" y="6991"/>
                      <a:pt x="14282" y="6991"/>
                      <a:pt x="17812" y="7602"/>
                    </a:cubicBezTo>
                    <a:cubicBezTo>
                      <a:pt x="21408" y="7570"/>
                      <a:pt x="24983" y="8150"/>
                      <a:pt x="28384" y="9317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0" name="Полилиния: фигура 569">
                <a:extLst>
                  <a:ext uri="{FF2B5EF4-FFF2-40B4-BE49-F238E27FC236}">
                    <a16:creationId xmlns:a16="http://schemas.microsoft.com/office/drawing/2014/main" id="{67BF1688-E7CD-42E5-AB4F-469919F70288}"/>
                  </a:ext>
                </a:extLst>
              </p:cNvPr>
              <p:cNvSpPr/>
              <p:nvPr/>
            </p:nvSpPr>
            <p:spPr>
              <a:xfrm>
                <a:off x="3917741" y="3821023"/>
                <a:ext cx="19050" cy="9525"/>
              </a:xfrm>
              <a:custGeom>
                <a:avLst/>
                <a:gdLst>
                  <a:gd name="connsiteX0" fmla="*/ 18860 w 19050"/>
                  <a:gd name="connsiteY0" fmla="*/ 8001 h 9525"/>
                  <a:gd name="connsiteX1" fmla="*/ 12954 w 19050"/>
                  <a:gd name="connsiteY1" fmla="*/ 9049 h 9525"/>
                  <a:gd name="connsiteX2" fmla="*/ 7144 w 19050"/>
                  <a:gd name="connsiteY2" fmla="*/ 8192 h 9525"/>
                  <a:gd name="connsiteX3" fmla="*/ 12954 w 19050"/>
                  <a:gd name="connsiteY3" fmla="*/ 7144 h 9525"/>
                  <a:gd name="connsiteX4" fmla="*/ 18860 w 19050"/>
                  <a:gd name="connsiteY4" fmla="*/ 8001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9525">
                    <a:moveTo>
                      <a:pt x="18860" y="8001"/>
                    </a:moveTo>
                    <a:cubicBezTo>
                      <a:pt x="18860" y="8573"/>
                      <a:pt x="16288" y="9049"/>
                      <a:pt x="12954" y="9049"/>
                    </a:cubicBezTo>
                    <a:cubicBezTo>
                      <a:pt x="9620" y="9049"/>
                      <a:pt x="7144" y="9049"/>
                      <a:pt x="7144" y="8192"/>
                    </a:cubicBezTo>
                    <a:cubicBezTo>
                      <a:pt x="7144" y="7334"/>
                      <a:pt x="9716" y="7144"/>
                      <a:pt x="12954" y="7144"/>
                    </a:cubicBezTo>
                    <a:cubicBezTo>
                      <a:pt x="16193" y="7144"/>
                      <a:pt x="18860" y="7525"/>
                      <a:pt x="18860" y="8001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1" name="Полилиния: фигура 570">
                <a:extLst>
                  <a:ext uri="{FF2B5EF4-FFF2-40B4-BE49-F238E27FC236}">
                    <a16:creationId xmlns:a16="http://schemas.microsoft.com/office/drawing/2014/main" id="{3EDDDB4C-26D4-44AA-A107-E0199777260E}"/>
                  </a:ext>
                </a:extLst>
              </p:cNvPr>
              <p:cNvSpPr/>
              <p:nvPr/>
            </p:nvSpPr>
            <p:spPr>
              <a:xfrm>
                <a:off x="3917618" y="3810755"/>
                <a:ext cx="19050" cy="19050"/>
              </a:xfrm>
              <a:custGeom>
                <a:avLst/>
                <a:gdLst>
                  <a:gd name="connsiteX0" fmla="*/ 16221 w 19050"/>
                  <a:gd name="connsiteY0" fmla="*/ 12745 h 19050"/>
                  <a:gd name="connsiteX1" fmla="*/ 11268 w 19050"/>
                  <a:gd name="connsiteY1" fmla="*/ 10840 h 19050"/>
                  <a:gd name="connsiteX2" fmla="*/ 7172 w 19050"/>
                  <a:gd name="connsiteY2" fmla="*/ 7315 h 19050"/>
                  <a:gd name="connsiteX3" fmla="*/ 12220 w 19050"/>
                  <a:gd name="connsiteY3" fmla="*/ 9221 h 19050"/>
                  <a:gd name="connsiteX4" fmla="*/ 16221 w 19050"/>
                  <a:gd name="connsiteY4" fmla="*/ 12745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6221" y="12745"/>
                    </a:moveTo>
                    <a:cubicBezTo>
                      <a:pt x="16221" y="13221"/>
                      <a:pt x="13744" y="12745"/>
                      <a:pt x="11268" y="10840"/>
                    </a:cubicBezTo>
                    <a:cubicBezTo>
                      <a:pt x="8791" y="8935"/>
                      <a:pt x="6886" y="7792"/>
                      <a:pt x="7172" y="7315"/>
                    </a:cubicBezTo>
                    <a:cubicBezTo>
                      <a:pt x="7458" y="6839"/>
                      <a:pt x="9744" y="7315"/>
                      <a:pt x="12220" y="9221"/>
                    </a:cubicBezTo>
                    <a:cubicBezTo>
                      <a:pt x="14697" y="11126"/>
                      <a:pt x="16506" y="12269"/>
                      <a:pt x="16221" y="12745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2" name="Полилиния: фигура 571">
                <a:extLst>
                  <a:ext uri="{FF2B5EF4-FFF2-40B4-BE49-F238E27FC236}">
                    <a16:creationId xmlns:a16="http://schemas.microsoft.com/office/drawing/2014/main" id="{B4E7474F-799A-4008-9F91-7E3E226A75BD}"/>
                  </a:ext>
                </a:extLst>
              </p:cNvPr>
              <p:cNvSpPr/>
              <p:nvPr/>
            </p:nvSpPr>
            <p:spPr>
              <a:xfrm>
                <a:off x="3978892" y="3718629"/>
                <a:ext cx="66675" cy="28575"/>
              </a:xfrm>
              <a:custGeom>
                <a:avLst/>
                <a:gdLst>
                  <a:gd name="connsiteX0" fmla="*/ 68294 w 66675"/>
                  <a:gd name="connsiteY0" fmla="*/ 7144 h 28575"/>
                  <a:gd name="connsiteX1" fmla="*/ 59436 w 66675"/>
                  <a:gd name="connsiteY1" fmla="*/ 10382 h 28575"/>
                  <a:gd name="connsiteX2" fmla="*/ 38767 w 66675"/>
                  <a:gd name="connsiteY2" fmla="*/ 19907 h 28575"/>
                  <a:gd name="connsiteX3" fmla="*/ 16478 w 66675"/>
                  <a:gd name="connsiteY3" fmla="*/ 25146 h 28575"/>
                  <a:gd name="connsiteX4" fmla="*/ 9620 w 66675"/>
                  <a:gd name="connsiteY4" fmla="*/ 24289 h 28575"/>
                  <a:gd name="connsiteX5" fmla="*/ 7144 w 66675"/>
                  <a:gd name="connsiteY5" fmla="*/ 23432 h 28575"/>
                  <a:gd name="connsiteX6" fmla="*/ 16669 w 66675"/>
                  <a:gd name="connsiteY6" fmla="*/ 23432 h 28575"/>
                  <a:gd name="connsiteX7" fmla="*/ 38195 w 66675"/>
                  <a:gd name="connsiteY7" fmla="*/ 17717 h 28575"/>
                  <a:gd name="connsiteX8" fmla="*/ 59246 w 66675"/>
                  <a:gd name="connsiteY8" fmla="*/ 8954 h 28575"/>
                  <a:gd name="connsiteX9" fmla="*/ 68294 w 66675"/>
                  <a:gd name="connsiteY9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6675" h="28575">
                    <a:moveTo>
                      <a:pt x="68294" y="7144"/>
                    </a:moveTo>
                    <a:cubicBezTo>
                      <a:pt x="68294" y="7144"/>
                      <a:pt x="64865" y="8192"/>
                      <a:pt x="59436" y="10382"/>
                    </a:cubicBezTo>
                    <a:cubicBezTo>
                      <a:pt x="54007" y="12573"/>
                      <a:pt x="46958" y="16097"/>
                      <a:pt x="38767" y="19907"/>
                    </a:cubicBezTo>
                    <a:cubicBezTo>
                      <a:pt x="31776" y="23165"/>
                      <a:pt x="24189" y="24948"/>
                      <a:pt x="16478" y="25146"/>
                    </a:cubicBezTo>
                    <a:cubicBezTo>
                      <a:pt x="14163" y="25191"/>
                      <a:pt x="11853" y="24903"/>
                      <a:pt x="9620" y="24289"/>
                    </a:cubicBezTo>
                    <a:cubicBezTo>
                      <a:pt x="8748" y="24163"/>
                      <a:pt x="7908" y="23872"/>
                      <a:pt x="7144" y="23432"/>
                    </a:cubicBezTo>
                    <a:cubicBezTo>
                      <a:pt x="7144" y="23432"/>
                      <a:pt x="10763" y="24098"/>
                      <a:pt x="16669" y="23432"/>
                    </a:cubicBezTo>
                    <a:cubicBezTo>
                      <a:pt x="24126" y="22817"/>
                      <a:pt x="31415" y="20882"/>
                      <a:pt x="38195" y="17717"/>
                    </a:cubicBezTo>
                    <a:cubicBezTo>
                      <a:pt x="46291" y="14288"/>
                      <a:pt x="53626" y="10668"/>
                      <a:pt x="59246" y="8954"/>
                    </a:cubicBezTo>
                    <a:cubicBezTo>
                      <a:pt x="62140" y="7852"/>
                      <a:pt x="65198" y="7241"/>
                      <a:pt x="68294" y="7144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3" name="Полилиния: фигура 572">
                <a:extLst>
                  <a:ext uri="{FF2B5EF4-FFF2-40B4-BE49-F238E27FC236}">
                    <a16:creationId xmlns:a16="http://schemas.microsoft.com/office/drawing/2014/main" id="{E1A32F37-3CE4-4735-A6AE-E858054AF8EE}"/>
                  </a:ext>
                </a:extLst>
              </p:cNvPr>
              <p:cNvSpPr/>
              <p:nvPr/>
            </p:nvSpPr>
            <p:spPr>
              <a:xfrm>
                <a:off x="3980702" y="3716957"/>
                <a:ext cx="57150" cy="19050"/>
              </a:xfrm>
              <a:custGeom>
                <a:avLst/>
                <a:gdLst>
                  <a:gd name="connsiteX0" fmla="*/ 51911 w 57150"/>
                  <a:gd name="connsiteY0" fmla="*/ 7197 h 19050"/>
                  <a:gd name="connsiteX1" fmla="*/ 30099 w 57150"/>
                  <a:gd name="connsiteY1" fmla="*/ 14531 h 19050"/>
                  <a:gd name="connsiteX2" fmla="*/ 7144 w 57150"/>
                  <a:gd name="connsiteY2" fmla="*/ 13769 h 19050"/>
                  <a:gd name="connsiteX3" fmla="*/ 29814 w 57150"/>
                  <a:gd name="connsiteY3" fmla="*/ 12626 h 19050"/>
                  <a:gd name="connsiteX4" fmla="*/ 51911 w 57150"/>
                  <a:gd name="connsiteY4" fmla="*/ 7197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19050">
                    <a:moveTo>
                      <a:pt x="51911" y="7197"/>
                    </a:moveTo>
                    <a:cubicBezTo>
                      <a:pt x="45270" y="11219"/>
                      <a:pt x="37822" y="13724"/>
                      <a:pt x="30099" y="14531"/>
                    </a:cubicBezTo>
                    <a:cubicBezTo>
                      <a:pt x="22481" y="15923"/>
                      <a:pt x="14653" y="15663"/>
                      <a:pt x="7144" y="13769"/>
                    </a:cubicBezTo>
                    <a:cubicBezTo>
                      <a:pt x="7144" y="13102"/>
                      <a:pt x="17431" y="14436"/>
                      <a:pt x="29814" y="12626"/>
                    </a:cubicBezTo>
                    <a:cubicBezTo>
                      <a:pt x="42196" y="10816"/>
                      <a:pt x="51721" y="6625"/>
                      <a:pt x="51911" y="7197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4" name="Полилиния: фигура 573">
                <a:extLst>
                  <a:ext uri="{FF2B5EF4-FFF2-40B4-BE49-F238E27FC236}">
                    <a16:creationId xmlns:a16="http://schemas.microsoft.com/office/drawing/2014/main" id="{AA5D6862-FED2-44E1-B2BB-9244AA470DD2}"/>
                  </a:ext>
                </a:extLst>
              </p:cNvPr>
              <p:cNvSpPr/>
              <p:nvPr/>
            </p:nvSpPr>
            <p:spPr>
              <a:xfrm>
                <a:off x="4031851" y="3887219"/>
                <a:ext cx="28575" cy="19050"/>
              </a:xfrm>
              <a:custGeom>
                <a:avLst/>
                <a:gdLst>
                  <a:gd name="connsiteX0" fmla="*/ 23431 w 28575"/>
                  <a:gd name="connsiteY0" fmla="*/ 15052 h 19050"/>
                  <a:gd name="connsiteX1" fmla="*/ 16669 w 28575"/>
                  <a:gd name="connsiteY1" fmla="*/ 9242 h 19050"/>
                  <a:gd name="connsiteX2" fmla="*/ 7144 w 28575"/>
                  <a:gd name="connsiteY2" fmla="*/ 9242 h 19050"/>
                  <a:gd name="connsiteX3" fmla="*/ 9715 w 28575"/>
                  <a:gd name="connsiteY3" fmla="*/ 7622 h 19050"/>
                  <a:gd name="connsiteX4" fmla="*/ 22288 w 28575"/>
                  <a:gd name="connsiteY4" fmla="*/ 12671 h 19050"/>
                  <a:gd name="connsiteX5" fmla="*/ 23431 w 28575"/>
                  <a:gd name="connsiteY5" fmla="*/ 15052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575" h="19050">
                    <a:moveTo>
                      <a:pt x="23431" y="15052"/>
                    </a:moveTo>
                    <a:cubicBezTo>
                      <a:pt x="22955" y="15052"/>
                      <a:pt x="21241" y="11147"/>
                      <a:pt x="16669" y="9242"/>
                    </a:cubicBezTo>
                    <a:cubicBezTo>
                      <a:pt x="13527" y="8598"/>
                      <a:pt x="10286" y="8598"/>
                      <a:pt x="7144" y="9242"/>
                    </a:cubicBezTo>
                    <a:cubicBezTo>
                      <a:pt x="7144" y="9242"/>
                      <a:pt x="7906" y="8194"/>
                      <a:pt x="9715" y="7622"/>
                    </a:cubicBezTo>
                    <a:cubicBezTo>
                      <a:pt x="14573" y="6125"/>
                      <a:pt x="19815" y="8230"/>
                      <a:pt x="22288" y="12671"/>
                    </a:cubicBezTo>
                    <a:cubicBezTo>
                      <a:pt x="23622" y="13814"/>
                      <a:pt x="23717" y="15052"/>
                      <a:pt x="23431" y="15052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5" name="Полилиния: фигура 574">
                <a:extLst>
                  <a:ext uri="{FF2B5EF4-FFF2-40B4-BE49-F238E27FC236}">
                    <a16:creationId xmlns:a16="http://schemas.microsoft.com/office/drawing/2014/main" id="{B1BBEB91-5BC3-4AD8-A55C-2E4E949DE159}"/>
                  </a:ext>
                </a:extLst>
              </p:cNvPr>
              <p:cNvSpPr/>
              <p:nvPr/>
            </p:nvSpPr>
            <p:spPr>
              <a:xfrm>
                <a:off x="4041662" y="3881966"/>
                <a:ext cx="28575" cy="19050"/>
              </a:xfrm>
              <a:custGeom>
                <a:avLst/>
                <a:gdLst>
                  <a:gd name="connsiteX0" fmla="*/ 22955 w 28575"/>
                  <a:gd name="connsiteY0" fmla="*/ 18305 h 19050"/>
                  <a:gd name="connsiteX1" fmla="*/ 16669 w 28575"/>
                  <a:gd name="connsiteY1" fmla="*/ 10875 h 19050"/>
                  <a:gd name="connsiteX2" fmla="*/ 7144 w 28575"/>
                  <a:gd name="connsiteY2" fmla="*/ 8113 h 19050"/>
                  <a:gd name="connsiteX3" fmla="*/ 10096 w 28575"/>
                  <a:gd name="connsiteY3" fmla="*/ 7160 h 19050"/>
                  <a:gd name="connsiteX4" fmla="*/ 17526 w 28575"/>
                  <a:gd name="connsiteY4" fmla="*/ 9256 h 19050"/>
                  <a:gd name="connsiteX5" fmla="*/ 22479 w 28575"/>
                  <a:gd name="connsiteY5" fmla="*/ 15161 h 19050"/>
                  <a:gd name="connsiteX6" fmla="*/ 22955 w 28575"/>
                  <a:gd name="connsiteY6" fmla="*/ 18305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19050">
                    <a:moveTo>
                      <a:pt x="22955" y="18305"/>
                    </a:moveTo>
                    <a:cubicBezTo>
                      <a:pt x="22479" y="18305"/>
                      <a:pt x="21336" y="13733"/>
                      <a:pt x="16669" y="10875"/>
                    </a:cubicBezTo>
                    <a:cubicBezTo>
                      <a:pt x="13735" y="9266"/>
                      <a:pt x="10483" y="8322"/>
                      <a:pt x="7144" y="8113"/>
                    </a:cubicBezTo>
                    <a:cubicBezTo>
                      <a:pt x="7144" y="8113"/>
                      <a:pt x="8096" y="7256"/>
                      <a:pt x="10096" y="7160"/>
                    </a:cubicBezTo>
                    <a:cubicBezTo>
                      <a:pt x="12736" y="7022"/>
                      <a:pt x="15348" y="7758"/>
                      <a:pt x="17526" y="9256"/>
                    </a:cubicBezTo>
                    <a:cubicBezTo>
                      <a:pt x="19768" y="10642"/>
                      <a:pt x="21504" y="12713"/>
                      <a:pt x="22479" y="15161"/>
                    </a:cubicBezTo>
                    <a:cubicBezTo>
                      <a:pt x="23336" y="16876"/>
                      <a:pt x="23241" y="18305"/>
                      <a:pt x="22955" y="18305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6" name="Полилиния: фигура 575">
                <a:extLst>
                  <a:ext uri="{FF2B5EF4-FFF2-40B4-BE49-F238E27FC236}">
                    <a16:creationId xmlns:a16="http://schemas.microsoft.com/office/drawing/2014/main" id="{365CFE4F-42CE-41E3-B617-0BD6005AD578}"/>
                  </a:ext>
                </a:extLst>
              </p:cNvPr>
              <p:cNvSpPr/>
              <p:nvPr/>
            </p:nvSpPr>
            <p:spPr>
              <a:xfrm>
                <a:off x="3897281" y="3801878"/>
                <a:ext cx="95250" cy="57150"/>
              </a:xfrm>
              <a:custGeom>
                <a:avLst/>
                <a:gdLst>
                  <a:gd name="connsiteX0" fmla="*/ 55227 w 95250"/>
                  <a:gd name="connsiteY0" fmla="*/ 56674 h 57150"/>
                  <a:gd name="connsiteX1" fmla="*/ 60180 w 95250"/>
                  <a:gd name="connsiteY1" fmla="*/ 56007 h 57150"/>
                  <a:gd name="connsiteX2" fmla="*/ 73420 w 95250"/>
                  <a:gd name="connsiteY2" fmla="*/ 51340 h 57150"/>
                  <a:gd name="connsiteX3" fmla="*/ 81231 w 95250"/>
                  <a:gd name="connsiteY3" fmla="*/ 45244 h 57150"/>
                  <a:gd name="connsiteX4" fmla="*/ 87993 w 95250"/>
                  <a:gd name="connsiteY4" fmla="*/ 35719 h 57150"/>
                  <a:gd name="connsiteX5" fmla="*/ 91708 w 95250"/>
                  <a:gd name="connsiteY5" fmla="*/ 23241 h 57150"/>
                  <a:gd name="connsiteX6" fmla="*/ 91708 w 95250"/>
                  <a:gd name="connsiteY6" fmla="*/ 8668 h 57150"/>
                  <a:gd name="connsiteX7" fmla="*/ 92565 w 95250"/>
                  <a:gd name="connsiteY7" fmla="*/ 9525 h 57150"/>
                  <a:gd name="connsiteX8" fmla="*/ 8174 w 95250"/>
                  <a:gd name="connsiteY8" fmla="*/ 9525 h 57150"/>
                  <a:gd name="connsiteX9" fmla="*/ 9126 w 95250"/>
                  <a:gd name="connsiteY9" fmla="*/ 8668 h 57150"/>
                  <a:gd name="connsiteX10" fmla="*/ 9602 w 95250"/>
                  <a:gd name="connsiteY10" fmla="*/ 24956 h 57150"/>
                  <a:gd name="connsiteX11" fmla="*/ 14746 w 95250"/>
                  <a:gd name="connsiteY11" fmla="*/ 38576 h 57150"/>
                  <a:gd name="connsiteX12" fmla="*/ 33319 w 95250"/>
                  <a:gd name="connsiteY12" fmla="*/ 53721 h 57150"/>
                  <a:gd name="connsiteX13" fmla="*/ 49131 w 95250"/>
                  <a:gd name="connsiteY13" fmla="*/ 56197 h 57150"/>
                  <a:gd name="connsiteX14" fmla="*/ 53417 w 95250"/>
                  <a:gd name="connsiteY14" fmla="*/ 56198 h 57150"/>
                  <a:gd name="connsiteX15" fmla="*/ 54941 w 95250"/>
                  <a:gd name="connsiteY15" fmla="*/ 56198 h 57150"/>
                  <a:gd name="connsiteX16" fmla="*/ 53417 w 95250"/>
                  <a:gd name="connsiteY16" fmla="*/ 56198 h 57150"/>
                  <a:gd name="connsiteX17" fmla="*/ 49131 w 95250"/>
                  <a:gd name="connsiteY17" fmla="*/ 56198 h 57150"/>
                  <a:gd name="connsiteX18" fmla="*/ 32938 w 95250"/>
                  <a:gd name="connsiteY18" fmla="*/ 54197 h 57150"/>
                  <a:gd name="connsiteX19" fmla="*/ 13412 w 95250"/>
                  <a:gd name="connsiteY19" fmla="*/ 38862 h 57150"/>
                  <a:gd name="connsiteX20" fmla="*/ 7888 w 95250"/>
                  <a:gd name="connsiteY20" fmla="*/ 24670 h 57150"/>
                  <a:gd name="connsiteX21" fmla="*/ 7221 w 95250"/>
                  <a:gd name="connsiteY21" fmla="*/ 8096 h 57150"/>
                  <a:gd name="connsiteX22" fmla="*/ 7221 w 95250"/>
                  <a:gd name="connsiteY22" fmla="*/ 7144 h 57150"/>
                  <a:gd name="connsiteX23" fmla="*/ 93518 w 95250"/>
                  <a:gd name="connsiteY23" fmla="*/ 7144 h 57150"/>
                  <a:gd name="connsiteX24" fmla="*/ 93518 w 95250"/>
                  <a:gd name="connsiteY24" fmla="*/ 8096 h 57150"/>
                  <a:gd name="connsiteX25" fmla="*/ 93518 w 95250"/>
                  <a:gd name="connsiteY25" fmla="*/ 22860 h 57150"/>
                  <a:gd name="connsiteX26" fmla="*/ 89422 w 95250"/>
                  <a:gd name="connsiteY26" fmla="*/ 35814 h 57150"/>
                  <a:gd name="connsiteX27" fmla="*/ 82278 w 95250"/>
                  <a:gd name="connsiteY27" fmla="*/ 45339 h 57150"/>
                  <a:gd name="connsiteX28" fmla="*/ 74087 w 95250"/>
                  <a:gd name="connsiteY28" fmla="*/ 51435 h 57150"/>
                  <a:gd name="connsiteX29" fmla="*/ 60371 w 95250"/>
                  <a:gd name="connsiteY29" fmla="*/ 55721 h 57150"/>
                  <a:gd name="connsiteX30" fmla="*/ 56561 w 95250"/>
                  <a:gd name="connsiteY30" fmla="*/ 55721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95250" h="57150">
                    <a:moveTo>
                      <a:pt x="55227" y="56674"/>
                    </a:moveTo>
                    <a:cubicBezTo>
                      <a:pt x="56864" y="56355"/>
                      <a:pt x="58518" y="56132"/>
                      <a:pt x="60180" y="56007"/>
                    </a:cubicBezTo>
                    <a:cubicBezTo>
                      <a:pt x="64852" y="55314"/>
                      <a:pt x="69346" y="53729"/>
                      <a:pt x="73420" y="51340"/>
                    </a:cubicBezTo>
                    <a:cubicBezTo>
                      <a:pt x="76268" y="49642"/>
                      <a:pt x="78892" y="47594"/>
                      <a:pt x="81231" y="45244"/>
                    </a:cubicBezTo>
                    <a:cubicBezTo>
                      <a:pt x="83961" y="42435"/>
                      <a:pt x="86242" y="39222"/>
                      <a:pt x="87993" y="35719"/>
                    </a:cubicBezTo>
                    <a:cubicBezTo>
                      <a:pt x="89996" y="31826"/>
                      <a:pt x="91255" y="27595"/>
                      <a:pt x="91708" y="23241"/>
                    </a:cubicBezTo>
                    <a:cubicBezTo>
                      <a:pt x="91708" y="18669"/>
                      <a:pt x="91708" y="13716"/>
                      <a:pt x="91708" y="8668"/>
                    </a:cubicBezTo>
                    <a:lnTo>
                      <a:pt x="92565" y="9525"/>
                    </a:lnTo>
                    <a:lnTo>
                      <a:pt x="8174" y="9525"/>
                    </a:lnTo>
                    <a:lnTo>
                      <a:pt x="9126" y="8668"/>
                    </a:lnTo>
                    <a:cubicBezTo>
                      <a:pt x="8846" y="14101"/>
                      <a:pt x="9005" y="19548"/>
                      <a:pt x="9602" y="24956"/>
                    </a:cubicBezTo>
                    <a:cubicBezTo>
                      <a:pt x="10358" y="29802"/>
                      <a:pt x="12109" y="34440"/>
                      <a:pt x="14746" y="38576"/>
                    </a:cubicBezTo>
                    <a:cubicBezTo>
                      <a:pt x="19147" y="45491"/>
                      <a:pt x="25660" y="50802"/>
                      <a:pt x="33319" y="53721"/>
                    </a:cubicBezTo>
                    <a:cubicBezTo>
                      <a:pt x="38390" y="55523"/>
                      <a:pt x="43752" y="56363"/>
                      <a:pt x="49131" y="56197"/>
                    </a:cubicBezTo>
                    <a:lnTo>
                      <a:pt x="53417" y="56198"/>
                    </a:lnTo>
                    <a:lnTo>
                      <a:pt x="54941" y="56198"/>
                    </a:lnTo>
                    <a:lnTo>
                      <a:pt x="53417" y="56198"/>
                    </a:lnTo>
                    <a:lnTo>
                      <a:pt x="49131" y="56198"/>
                    </a:lnTo>
                    <a:cubicBezTo>
                      <a:pt x="43653" y="56650"/>
                      <a:pt x="38141" y="55969"/>
                      <a:pt x="32938" y="54197"/>
                    </a:cubicBezTo>
                    <a:cubicBezTo>
                      <a:pt x="24900" y="51409"/>
                      <a:pt x="18026" y="46011"/>
                      <a:pt x="13412" y="38862"/>
                    </a:cubicBezTo>
                    <a:cubicBezTo>
                      <a:pt x="10620" y="34559"/>
                      <a:pt x="8740" y="29728"/>
                      <a:pt x="7888" y="24670"/>
                    </a:cubicBezTo>
                    <a:cubicBezTo>
                      <a:pt x="7232" y="19171"/>
                      <a:pt x="7009" y="13630"/>
                      <a:pt x="7221" y="8096"/>
                    </a:cubicBezTo>
                    <a:lnTo>
                      <a:pt x="7221" y="7144"/>
                    </a:lnTo>
                    <a:lnTo>
                      <a:pt x="93518" y="7144"/>
                    </a:lnTo>
                    <a:lnTo>
                      <a:pt x="93518" y="8096"/>
                    </a:lnTo>
                    <a:cubicBezTo>
                      <a:pt x="93518" y="13145"/>
                      <a:pt x="93518" y="17621"/>
                      <a:pt x="93518" y="22860"/>
                    </a:cubicBezTo>
                    <a:cubicBezTo>
                      <a:pt x="92939" y="27389"/>
                      <a:pt x="91552" y="31776"/>
                      <a:pt x="89422" y="35814"/>
                    </a:cubicBezTo>
                    <a:cubicBezTo>
                      <a:pt x="87535" y="39332"/>
                      <a:pt x="85126" y="42543"/>
                      <a:pt x="82278" y="45339"/>
                    </a:cubicBezTo>
                    <a:cubicBezTo>
                      <a:pt x="79809" y="47701"/>
                      <a:pt x="77058" y="49749"/>
                      <a:pt x="74087" y="51435"/>
                    </a:cubicBezTo>
                    <a:cubicBezTo>
                      <a:pt x="69856" y="53786"/>
                      <a:pt x="65188" y="55244"/>
                      <a:pt x="60371" y="55721"/>
                    </a:cubicBezTo>
                    <a:cubicBezTo>
                      <a:pt x="59104" y="55849"/>
                      <a:pt x="57828" y="55849"/>
                      <a:pt x="56561" y="55721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7" name="Полилиния: фигура 576">
                <a:extLst>
                  <a:ext uri="{FF2B5EF4-FFF2-40B4-BE49-F238E27FC236}">
                    <a16:creationId xmlns:a16="http://schemas.microsoft.com/office/drawing/2014/main" id="{D8DD976D-4C23-420E-9160-B7C84C7759AE}"/>
                  </a:ext>
                </a:extLst>
              </p:cNvPr>
              <p:cNvSpPr/>
              <p:nvPr/>
            </p:nvSpPr>
            <p:spPr>
              <a:xfrm>
                <a:off x="4017200" y="3801687"/>
                <a:ext cx="95250" cy="57150"/>
              </a:xfrm>
              <a:custGeom>
                <a:avLst/>
                <a:gdLst>
                  <a:gd name="connsiteX0" fmla="*/ 54179 w 95250"/>
                  <a:gd name="connsiteY0" fmla="*/ 56864 h 57150"/>
                  <a:gd name="connsiteX1" fmla="*/ 59227 w 95250"/>
                  <a:gd name="connsiteY1" fmla="*/ 56197 h 57150"/>
                  <a:gd name="connsiteX2" fmla="*/ 72467 w 95250"/>
                  <a:gd name="connsiteY2" fmla="*/ 51530 h 57150"/>
                  <a:gd name="connsiteX3" fmla="*/ 80278 w 95250"/>
                  <a:gd name="connsiteY3" fmla="*/ 45434 h 57150"/>
                  <a:gd name="connsiteX4" fmla="*/ 87041 w 95250"/>
                  <a:gd name="connsiteY4" fmla="*/ 35909 h 57150"/>
                  <a:gd name="connsiteX5" fmla="*/ 90756 w 95250"/>
                  <a:gd name="connsiteY5" fmla="*/ 23431 h 57150"/>
                  <a:gd name="connsiteX6" fmla="*/ 90755 w 95250"/>
                  <a:gd name="connsiteY6" fmla="*/ 8858 h 57150"/>
                  <a:gd name="connsiteX7" fmla="*/ 91708 w 95250"/>
                  <a:gd name="connsiteY7" fmla="*/ 9716 h 57150"/>
                  <a:gd name="connsiteX8" fmla="*/ 7793 w 95250"/>
                  <a:gd name="connsiteY8" fmla="*/ 9716 h 57150"/>
                  <a:gd name="connsiteX9" fmla="*/ 8650 w 95250"/>
                  <a:gd name="connsiteY9" fmla="*/ 8858 h 57150"/>
                  <a:gd name="connsiteX10" fmla="*/ 9126 w 95250"/>
                  <a:gd name="connsiteY10" fmla="*/ 25146 h 57150"/>
                  <a:gd name="connsiteX11" fmla="*/ 32843 w 95250"/>
                  <a:gd name="connsiteY11" fmla="*/ 53721 h 57150"/>
                  <a:gd name="connsiteX12" fmla="*/ 48655 w 95250"/>
                  <a:gd name="connsiteY12" fmla="*/ 56198 h 57150"/>
                  <a:gd name="connsiteX13" fmla="*/ 53036 w 95250"/>
                  <a:gd name="connsiteY13" fmla="*/ 56198 h 57150"/>
                  <a:gd name="connsiteX14" fmla="*/ 54465 w 95250"/>
                  <a:gd name="connsiteY14" fmla="*/ 56198 h 57150"/>
                  <a:gd name="connsiteX15" fmla="*/ 53036 w 95250"/>
                  <a:gd name="connsiteY15" fmla="*/ 56198 h 57150"/>
                  <a:gd name="connsiteX16" fmla="*/ 48655 w 95250"/>
                  <a:gd name="connsiteY16" fmla="*/ 56198 h 57150"/>
                  <a:gd name="connsiteX17" fmla="*/ 32462 w 95250"/>
                  <a:gd name="connsiteY17" fmla="*/ 54197 h 57150"/>
                  <a:gd name="connsiteX18" fmla="*/ 13412 w 95250"/>
                  <a:gd name="connsiteY18" fmla="*/ 38862 h 57150"/>
                  <a:gd name="connsiteX19" fmla="*/ 7888 w 95250"/>
                  <a:gd name="connsiteY19" fmla="*/ 24670 h 57150"/>
                  <a:gd name="connsiteX20" fmla="*/ 7221 w 95250"/>
                  <a:gd name="connsiteY20" fmla="*/ 8096 h 57150"/>
                  <a:gd name="connsiteX21" fmla="*/ 7221 w 95250"/>
                  <a:gd name="connsiteY21" fmla="*/ 7144 h 57150"/>
                  <a:gd name="connsiteX22" fmla="*/ 93422 w 95250"/>
                  <a:gd name="connsiteY22" fmla="*/ 7144 h 57150"/>
                  <a:gd name="connsiteX23" fmla="*/ 93422 w 95250"/>
                  <a:gd name="connsiteY23" fmla="*/ 8096 h 57150"/>
                  <a:gd name="connsiteX24" fmla="*/ 93422 w 95250"/>
                  <a:gd name="connsiteY24" fmla="*/ 22860 h 57150"/>
                  <a:gd name="connsiteX25" fmla="*/ 89422 w 95250"/>
                  <a:gd name="connsiteY25" fmla="*/ 35814 h 57150"/>
                  <a:gd name="connsiteX26" fmla="*/ 73991 w 95250"/>
                  <a:gd name="connsiteY26" fmla="*/ 51530 h 57150"/>
                  <a:gd name="connsiteX27" fmla="*/ 60370 w 95250"/>
                  <a:gd name="connsiteY27" fmla="*/ 55817 h 57150"/>
                  <a:gd name="connsiteX28" fmla="*/ 56560 w 95250"/>
                  <a:gd name="connsiteY28" fmla="*/ 55817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95250" h="57150">
                    <a:moveTo>
                      <a:pt x="54179" y="56864"/>
                    </a:moveTo>
                    <a:cubicBezTo>
                      <a:pt x="55849" y="56552"/>
                      <a:pt x="57534" y="56330"/>
                      <a:pt x="59227" y="56197"/>
                    </a:cubicBezTo>
                    <a:cubicBezTo>
                      <a:pt x="63899" y="55504"/>
                      <a:pt x="68394" y="53920"/>
                      <a:pt x="72467" y="51530"/>
                    </a:cubicBezTo>
                    <a:cubicBezTo>
                      <a:pt x="75315" y="49832"/>
                      <a:pt x="77939" y="47784"/>
                      <a:pt x="80278" y="45434"/>
                    </a:cubicBezTo>
                    <a:cubicBezTo>
                      <a:pt x="82973" y="42596"/>
                      <a:pt x="85250" y="39389"/>
                      <a:pt x="87041" y="35909"/>
                    </a:cubicBezTo>
                    <a:cubicBezTo>
                      <a:pt x="89043" y="32017"/>
                      <a:pt x="90303" y="27785"/>
                      <a:pt x="90756" y="23431"/>
                    </a:cubicBezTo>
                    <a:cubicBezTo>
                      <a:pt x="91232" y="18860"/>
                      <a:pt x="90755" y="13907"/>
                      <a:pt x="90755" y="8858"/>
                    </a:cubicBezTo>
                    <a:lnTo>
                      <a:pt x="91708" y="9716"/>
                    </a:lnTo>
                    <a:lnTo>
                      <a:pt x="7793" y="9716"/>
                    </a:lnTo>
                    <a:lnTo>
                      <a:pt x="8650" y="8858"/>
                    </a:lnTo>
                    <a:cubicBezTo>
                      <a:pt x="8465" y="14292"/>
                      <a:pt x="8624" y="19732"/>
                      <a:pt x="9126" y="25146"/>
                    </a:cubicBezTo>
                    <a:cubicBezTo>
                      <a:pt x="11541" y="38140"/>
                      <a:pt x="20516" y="48954"/>
                      <a:pt x="32843" y="53721"/>
                    </a:cubicBezTo>
                    <a:cubicBezTo>
                      <a:pt x="37917" y="55510"/>
                      <a:pt x="43277" y="56350"/>
                      <a:pt x="48655" y="56198"/>
                    </a:cubicBezTo>
                    <a:lnTo>
                      <a:pt x="53036" y="56198"/>
                    </a:lnTo>
                    <a:lnTo>
                      <a:pt x="54465" y="56198"/>
                    </a:lnTo>
                    <a:lnTo>
                      <a:pt x="53036" y="56198"/>
                    </a:lnTo>
                    <a:lnTo>
                      <a:pt x="48655" y="56198"/>
                    </a:lnTo>
                    <a:cubicBezTo>
                      <a:pt x="43177" y="56650"/>
                      <a:pt x="37665" y="55969"/>
                      <a:pt x="32462" y="54197"/>
                    </a:cubicBezTo>
                    <a:cubicBezTo>
                      <a:pt x="24600" y="51318"/>
                      <a:pt x="17905" y="45928"/>
                      <a:pt x="13412" y="38862"/>
                    </a:cubicBezTo>
                    <a:cubicBezTo>
                      <a:pt x="10580" y="34579"/>
                      <a:pt x="8696" y="29740"/>
                      <a:pt x="7888" y="24670"/>
                    </a:cubicBezTo>
                    <a:cubicBezTo>
                      <a:pt x="7232" y="19171"/>
                      <a:pt x="7009" y="13630"/>
                      <a:pt x="7221" y="8096"/>
                    </a:cubicBezTo>
                    <a:lnTo>
                      <a:pt x="7221" y="7144"/>
                    </a:lnTo>
                    <a:lnTo>
                      <a:pt x="93422" y="7144"/>
                    </a:lnTo>
                    <a:lnTo>
                      <a:pt x="93422" y="8096"/>
                    </a:lnTo>
                    <a:cubicBezTo>
                      <a:pt x="93422" y="13145"/>
                      <a:pt x="93422" y="17621"/>
                      <a:pt x="93422" y="22860"/>
                    </a:cubicBezTo>
                    <a:cubicBezTo>
                      <a:pt x="92886" y="27385"/>
                      <a:pt x="91530" y="31775"/>
                      <a:pt x="89422" y="35814"/>
                    </a:cubicBezTo>
                    <a:cubicBezTo>
                      <a:pt x="85966" y="42478"/>
                      <a:pt x="80591" y="47953"/>
                      <a:pt x="73991" y="51530"/>
                    </a:cubicBezTo>
                    <a:cubicBezTo>
                      <a:pt x="69788" y="53866"/>
                      <a:pt x="65154" y="55324"/>
                      <a:pt x="60370" y="55817"/>
                    </a:cubicBezTo>
                    <a:cubicBezTo>
                      <a:pt x="59104" y="55944"/>
                      <a:pt x="57827" y="55944"/>
                      <a:pt x="56560" y="55817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8" name="Полилиния: фигура 577">
                <a:extLst>
                  <a:ext uri="{FF2B5EF4-FFF2-40B4-BE49-F238E27FC236}">
                    <a16:creationId xmlns:a16="http://schemas.microsoft.com/office/drawing/2014/main" id="{4A639EA4-C2E6-4217-A918-A37DE202A9A4}"/>
                  </a:ext>
                </a:extLst>
              </p:cNvPr>
              <p:cNvSpPr/>
              <p:nvPr/>
            </p:nvSpPr>
            <p:spPr>
              <a:xfrm>
                <a:off x="3983419" y="3804447"/>
                <a:ext cx="47625" cy="19050"/>
              </a:xfrm>
              <a:custGeom>
                <a:avLst/>
                <a:gdLst>
                  <a:gd name="connsiteX0" fmla="*/ 40622 w 47625"/>
                  <a:gd name="connsiteY0" fmla="*/ 17529 h 19050"/>
                  <a:gd name="connsiteX1" fmla="*/ 36431 w 47625"/>
                  <a:gd name="connsiteY1" fmla="*/ 13623 h 19050"/>
                  <a:gd name="connsiteX2" fmla="*/ 24143 w 47625"/>
                  <a:gd name="connsiteY2" fmla="*/ 9051 h 19050"/>
                  <a:gd name="connsiteX3" fmla="*/ 11570 w 47625"/>
                  <a:gd name="connsiteY3" fmla="*/ 13147 h 19050"/>
                  <a:gd name="connsiteX4" fmla="*/ 7189 w 47625"/>
                  <a:gd name="connsiteY4" fmla="*/ 16767 h 19050"/>
                  <a:gd name="connsiteX5" fmla="*/ 10713 w 47625"/>
                  <a:gd name="connsiteY5" fmla="*/ 12004 h 19050"/>
                  <a:gd name="connsiteX6" fmla="*/ 24144 w 47625"/>
                  <a:gd name="connsiteY6" fmla="*/ 7146 h 19050"/>
                  <a:gd name="connsiteX7" fmla="*/ 37288 w 47625"/>
                  <a:gd name="connsiteY7" fmla="*/ 12576 h 19050"/>
                  <a:gd name="connsiteX8" fmla="*/ 40622 w 47625"/>
                  <a:gd name="connsiteY8" fmla="*/ 17529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625" h="19050">
                    <a:moveTo>
                      <a:pt x="40622" y="17529"/>
                    </a:moveTo>
                    <a:cubicBezTo>
                      <a:pt x="40622" y="17529"/>
                      <a:pt x="39098" y="15814"/>
                      <a:pt x="36431" y="13623"/>
                    </a:cubicBezTo>
                    <a:cubicBezTo>
                      <a:pt x="32898" y="10881"/>
                      <a:pt x="28610" y="9285"/>
                      <a:pt x="24143" y="9051"/>
                    </a:cubicBezTo>
                    <a:cubicBezTo>
                      <a:pt x="19618" y="9010"/>
                      <a:pt x="15203" y="10448"/>
                      <a:pt x="11570" y="13147"/>
                    </a:cubicBezTo>
                    <a:cubicBezTo>
                      <a:pt x="8808" y="15147"/>
                      <a:pt x="7475" y="16957"/>
                      <a:pt x="7189" y="16767"/>
                    </a:cubicBezTo>
                    <a:cubicBezTo>
                      <a:pt x="6903" y="16576"/>
                      <a:pt x="7951" y="14481"/>
                      <a:pt x="10713" y="12004"/>
                    </a:cubicBezTo>
                    <a:cubicBezTo>
                      <a:pt x="14445" y="8795"/>
                      <a:pt x="19223" y="7067"/>
                      <a:pt x="24144" y="7146"/>
                    </a:cubicBezTo>
                    <a:cubicBezTo>
                      <a:pt x="29050" y="7249"/>
                      <a:pt x="33740" y="9186"/>
                      <a:pt x="37288" y="12576"/>
                    </a:cubicBezTo>
                    <a:cubicBezTo>
                      <a:pt x="39955" y="15243"/>
                      <a:pt x="40813" y="17433"/>
                      <a:pt x="40622" y="17529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9" name="Полилиния: фигура 578">
                <a:extLst>
                  <a:ext uri="{FF2B5EF4-FFF2-40B4-BE49-F238E27FC236}">
                    <a16:creationId xmlns:a16="http://schemas.microsoft.com/office/drawing/2014/main" id="{F0E883E8-A8BA-4888-96D9-66F2B64663F3}"/>
                  </a:ext>
                </a:extLst>
              </p:cNvPr>
              <p:cNvSpPr/>
              <p:nvPr/>
            </p:nvSpPr>
            <p:spPr>
              <a:xfrm>
                <a:off x="4101288" y="3819142"/>
                <a:ext cx="85725" cy="19050"/>
              </a:xfrm>
              <a:custGeom>
                <a:avLst/>
                <a:gdLst>
                  <a:gd name="connsiteX0" fmla="*/ 80391 w 85725"/>
                  <a:gd name="connsiteY0" fmla="*/ 20931 h 19050"/>
                  <a:gd name="connsiteX1" fmla="*/ 69723 w 85725"/>
                  <a:gd name="connsiteY1" fmla="*/ 18836 h 19050"/>
                  <a:gd name="connsiteX2" fmla="*/ 43910 w 85725"/>
                  <a:gd name="connsiteY2" fmla="*/ 13502 h 19050"/>
                  <a:gd name="connsiteX3" fmla="*/ 17907 w 85725"/>
                  <a:gd name="connsiteY3" fmla="*/ 9120 h 19050"/>
                  <a:gd name="connsiteX4" fmla="*/ 7144 w 85725"/>
                  <a:gd name="connsiteY4" fmla="*/ 7215 h 19050"/>
                  <a:gd name="connsiteX5" fmla="*/ 18097 w 85725"/>
                  <a:gd name="connsiteY5" fmla="*/ 7787 h 19050"/>
                  <a:gd name="connsiteX6" fmla="*/ 44196 w 85725"/>
                  <a:gd name="connsiteY6" fmla="*/ 11597 h 19050"/>
                  <a:gd name="connsiteX7" fmla="*/ 70009 w 85725"/>
                  <a:gd name="connsiteY7" fmla="*/ 17502 h 19050"/>
                  <a:gd name="connsiteX8" fmla="*/ 80391 w 85725"/>
                  <a:gd name="connsiteY8" fmla="*/ 2093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725" h="19050">
                    <a:moveTo>
                      <a:pt x="80391" y="20931"/>
                    </a:moveTo>
                    <a:cubicBezTo>
                      <a:pt x="76798" y="20435"/>
                      <a:pt x="73237" y="19736"/>
                      <a:pt x="69723" y="18836"/>
                    </a:cubicBezTo>
                    <a:cubicBezTo>
                      <a:pt x="63055" y="17312"/>
                      <a:pt x="54007" y="15407"/>
                      <a:pt x="43910" y="13502"/>
                    </a:cubicBezTo>
                    <a:cubicBezTo>
                      <a:pt x="33814" y="11597"/>
                      <a:pt x="24860" y="10168"/>
                      <a:pt x="17907" y="9120"/>
                    </a:cubicBezTo>
                    <a:cubicBezTo>
                      <a:pt x="14269" y="8815"/>
                      <a:pt x="10666" y="8177"/>
                      <a:pt x="7144" y="7215"/>
                    </a:cubicBezTo>
                    <a:cubicBezTo>
                      <a:pt x="10805" y="7024"/>
                      <a:pt x="14476" y="7216"/>
                      <a:pt x="18097" y="7787"/>
                    </a:cubicBezTo>
                    <a:cubicBezTo>
                      <a:pt x="24765" y="8454"/>
                      <a:pt x="34099" y="9692"/>
                      <a:pt x="44196" y="11597"/>
                    </a:cubicBezTo>
                    <a:cubicBezTo>
                      <a:pt x="52898" y="13110"/>
                      <a:pt x="61514" y="15082"/>
                      <a:pt x="70009" y="17502"/>
                    </a:cubicBezTo>
                    <a:cubicBezTo>
                      <a:pt x="73582" y="18272"/>
                      <a:pt x="77062" y="19421"/>
                      <a:pt x="80391" y="20931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0" name="Полилиния: фигура 579">
                <a:extLst>
                  <a:ext uri="{FF2B5EF4-FFF2-40B4-BE49-F238E27FC236}">
                    <a16:creationId xmlns:a16="http://schemas.microsoft.com/office/drawing/2014/main" id="{9772EFBA-77F8-457C-9E5C-EF5542D26CAA}"/>
                  </a:ext>
                </a:extLst>
              </p:cNvPr>
              <p:cNvSpPr/>
              <p:nvPr/>
            </p:nvSpPr>
            <p:spPr>
              <a:xfrm>
                <a:off x="3901420" y="3807402"/>
                <a:ext cx="47625" cy="47625"/>
              </a:xfrm>
              <a:custGeom>
                <a:avLst/>
                <a:gdLst>
                  <a:gd name="connsiteX0" fmla="*/ 48135 w 47625"/>
                  <a:gd name="connsiteY0" fmla="*/ 46577 h 47625"/>
                  <a:gd name="connsiteX1" fmla="*/ 38610 w 47625"/>
                  <a:gd name="connsiteY1" fmla="*/ 45815 h 47625"/>
                  <a:gd name="connsiteX2" fmla="*/ 18798 w 47625"/>
                  <a:gd name="connsiteY2" fmla="*/ 35719 h 47625"/>
                  <a:gd name="connsiteX3" fmla="*/ 7749 w 47625"/>
                  <a:gd name="connsiteY3" fmla="*/ 16669 h 47625"/>
                  <a:gd name="connsiteX4" fmla="*/ 7749 w 47625"/>
                  <a:gd name="connsiteY4" fmla="*/ 7144 h 47625"/>
                  <a:gd name="connsiteX5" fmla="*/ 9463 w 47625"/>
                  <a:gd name="connsiteY5" fmla="*/ 16097 h 47625"/>
                  <a:gd name="connsiteX6" fmla="*/ 20512 w 47625"/>
                  <a:gd name="connsiteY6" fmla="*/ 34290 h 47625"/>
                  <a:gd name="connsiteX7" fmla="*/ 39562 w 47625"/>
                  <a:gd name="connsiteY7" fmla="*/ 44672 h 47625"/>
                  <a:gd name="connsiteX8" fmla="*/ 48135 w 47625"/>
                  <a:gd name="connsiteY8" fmla="*/ 46577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625" h="47625">
                    <a:moveTo>
                      <a:pt x="48135" y="46577"/>
                    </a:moveTo>
                    <a:cubicBezTo>
                      <a:pt x="44941" y="46972"/>
                      <a:pt x="41700" y="46713"/>
                      <a:pt x="38610" y="45815"/>
                    </a:cubicBezTo>
                    <a:cubicBezTo>
                      <a:pt x="31244" y="44218"/>
                      <a:pt x="24419" y="40739"/>
                      <a:pt x="18798" y="35719"/>
                    </a:cubicBezTo>
                    <a:cubicBezTo>
                      <a:pt x="13269" y="30635"/>
                      <a:pt x="9416" y="23992"/>
                      <a:pt x="7749" y="16669"/>
                    </a:cubicBezTo>
                    <a:cubicBezTo>
                      <a:pt x="6942" y="13545"/>
                      <a:pt x="6942" y="10268"/>
                      <a:pt x="7749" y="7144"/>
                    </a:cubicBezTo>
                    <a:cubicBezTo>
                      <a:pt x="7749" y="7144"/>
                      <a:pt x="7749" y="10668"/>
                      <a:pt x="9463" y="16097"/>
                    </a:cubicBezTo>
                    <a:cubicBezTo>
                      <a:pt x="11404" y="23062"/>
                      <a:pt x="15227" y="29356"/>
                      <a:pt x="20512" y="34290"/>
                    </a:cubicBezTo>
                    <a:cubicBezTo>
                      <a:pt x="25952" y="39208"/>
                      <a:pt x="32481" y="42766"/>
                      <a:pt x="39562" y="44672"/>
                    </a:cubicBezTo>
                    <a:cubicBezTo>
                      <a:pt x="44610" y="46006"/>
                      <a:pt x="48135" y="46196"/>
                      <a:pt x="48135" y="4657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1" name="Полилиния: фигура 580">
                <a:extLst>
                  <a:ext uri="{FF2B5EF4-FFF2-40B4-BE49-F238E27FC236}">
                    <a16:creationId xmlns:a16="http://schemas.microsoft.com/office/drawing/2014/main" id="{B2316D7E-E2CA-4E45-B111-DBF7E2BD3CBE}"/>
                  </a:ext>
                </a:extLst>
              </p:cNvPr>
              <p:cNvSpPr/>
              <p:nvPr/>
            </p:nvSpPr>
            <p:spPr>
              <a:xfrm>
                <a:off x="4022628" y="3808069"/>
                <a:ext cx="47625" cy="47625"/>
              </a:xfrm>
              <a:custGeom>
                <a:avLst/>
                <a:gdLst>
                  <a:gd name="connsiteX0" fmla="*/ 47513 w 47625"/>
                  <a:gd name="connsiteY0" fmla="*/ 43625 h 47625"/>
                  <a:gd name="connsiteX1" fmla="*/ 38655 w 47625"/>
                  <a:gd name="connsiteY1" fmla="*/ 42672 h 47625"/>
                  <a:gd name="connsiteX2" fmla="*/ 18748 w 47625"/>
                  <a:gd name="connsiteY2" fmla="*/ 34385 h 47625"/>
                  <a:gd name="connsiteX3" fmla="*/ 7413 w 47625"/>
                  <a:gd name="connsiteY3" fmla="*/ 16097 h 47625"/>
                  <a:gd name="connsiteX4" fmla="*/ 7413 w 47625"/>
                  <a:gd name="connsiteY4" fmla="*/ 9430 h 47625"/>
                  <a:gd name="connsiteX5" fmla="*/ 8270 w 47625"/>
                  <a:gd name="connsiteY5" fmla="*/ 7144 h 47625"/>
                  <a:gd name="connsiteX6" fmla="*/ 8270 w 47625"/>
                  <a:gd name="connsiteY6" fmla="*/ 15812 h 47625"/>
                  <a:gd name="connsiteX7" fmla="*/ 19319 w 47625"/>
                  <a:gd name="connsiteY7" fmla="*/ 32861 h 47625"/>
                  <a:gd name="connsiteX8" fmla="*/ 38369 w 47625"/>
                  <a:gd name="connsiteY8" fmla="*/ 41338 h 47625"/>
                  <a:gd name="connsiteX9" fmla="*/ 47513 w 47625"/>
                  <a:gd name="connsiteY9" fmla="*/ 43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7625" h="47625">
                    <a:moveTo>
                      <a:pt x="47513" y="43625"/>
                    </a:moveTo>
                    <a:cubicBezTo>
                      <a:pt x="44529" y="43783"/>
                      <a:pt x="41538" y="43462"/>
                      <a:pt x="38655" y="42672"/>
                    </a:cubicBezTo>
                    <a:cubicBezTo>
                      <a:pt x="31482" y="41436"/>
                      <a:pt x="24679" y="38604"/>
                      <a:pt x="18748" y="34385"/>
                    </a:cubicBezTo>
                    <a:cubicBezTo>
                      <a:pt x="12731" y="29999"/>
                      <a:pt x="8665" y="23437"/>
                      <a:pt x="7413" y="16097"/>
                    </a:cubicBezTo>
                    <a:cubicBezTo>
                      <a:pt x="7054" y="13889"/>
                      <a:pt x="7054" y="11638"/>
                      <a:pt x="7413" y="9430"/>
                    </a:cubicBezTo>
                    <a:cubicBezTo>
                      <a:pt x="7537" y="8616"/>
                      <a:pt x="7829" y="7838"/>
                      <a:pt x="8270" y="7144"/>
                    </a:cubicBezTo>
                    <a:cubicBezTo>
                      <a:pt x="7996" y="10026"/>
                      <a:pt x="7996" y="12929"/>
                      <a:pt x="8270" y="15812"/>
                    </a:cubicBezTo>
                    <a:cubicBezTo>
                      <a:pt x="9805" y="22629"/>
                      <a:pt x="13723" y="28675"/>
                      <a:pt x="19319" y="32861"/>
                    </a:cubicBezTo>
                    <a:cubicBezTo>
                      <a:pt x="25082" y="36856"/>
                      <a:pt x="31544" y="39732"/>
                      <a:pt x="38369" y="41338"/>
                    </a:cubicBezTo>
                    <a:cubicBezTo>
                      <a:pt x="41471" y="41867"/>
                      <a:pt x="44528" y="42632"/>
                      <a:pt x="47513" y="436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4" name="Полилиния: фигура 583">
                <a:extLst>
                  <a:ext uri="{FF2B5EF4-FFF2-40B4-BE49-F238E27FC236}">
                    <a16:creationId xmlns:a16="http://schemas.microsoft.com/office/drawing/2014/main" id="{10B7B6FE-E422-4D27-80D8-BC0B5EE84AD7}"/>
                  </a:ext>
                </a:extLst>
              </p:cNvPr>
              <p:cNvSpPr/>
              <p:nvPr/>
            </p:nvSpPr>
            <p:spPr>
              <a:xfrm>
                <a:off x="2541474" y="5807748"/>
                <a:ext cx="47625" cy="600075"/>
              </a:xfrm>
              <a:custGeom>
                <a:avLst/>
                <a:gdLst>
                  <a:gd name="connsiteX0" fmla="*/ 7144 w 47625"/>
                  <a:gd name="connsiteY0" fmla="*/ 7144 h 600075"/>
                  <a:gd name="connsiteX1" fmla="*/ 45625 w 47625"/>
                  <a:gd name="connsiteY1" fmla="*/ 7144 h 600075"/>
                  <a:gd name="connsiteX2" fmla="*/ 45625 w 47625"/>
                  <a:gd name="connsiteY2" fmla="*/ 597218 h 600075"/>
                  <a:gd name="connsiteX3" fmla="*/ 7144 w 47625"/>
                  <a:gd name="connsiteY3" fmla="*/ 597218 h 600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600075">
                    <a:moveTo>
                      <a:pt x="7144" y="7144"/>
                    </a:moveTo>
                    <a:lnTo>
                      <a:pt x="45625" y="7144"/>
                    </a:lnTo>
                    <a:lnTo>
                      <a:pt x="45625" y="597218"/>
                    </a:lnTo>
                    <a:lnTo>
                      <a:pt x="7144" y="597218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5" name="Полилиния: фигура 584">
                <a:extLst>
                  <a:ext uri="{FF2B5EF4-FFF2-40B4-BE49-F238E27FC236}">
                    <a16:creationId xmlns:a16="http://schemas.microsoft.com/office/drawing/2014/main" id="{C514D7F0-7D39-4286-86F7-E5BA696716C2}"/>
                  </a:ext>
                </a:extLst>
              </p:cNvPr>
              <p:cNvSpPr/>
              <p:nvPr/>
            </p:nvSpPr>
            <p:spPr>
              <a:xfrm>
                <a:off x="3023630" y="5807748"/>
                <a:ext cx="47625" cy="600075"/>
              </a:xfrm>
              <a:custGeom>
                <a:avLst/>
                <a:gdLst>
                  <a:gd name="connsiteX0" fmla="*/ 7144 w 47625"/>
                  <a:gd name="connsiteY0" fmla="*/ 7144 h 600075"/>
                  <a:gd name="connsiteX1" fmla="*/ 45625 w 47625"/>
                  <a:gd name="connsiteY1" fmla="*/ 7144 h 600075"/>
                  <a:gd name="connsiteX2" fmla="*/ 45625 w 47625"/>
                  <a:gd name="connsiteY2" fmla="*/ 597218 h 600075"/>
                  <a:gd name="connsiteX3" fmla="*/ 7144 w 47625"/>
                  <a:gd name="connsiteY3" fmla="*/ 597218 h 600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600075">
                    <a:moveTo>
                      <a:pt x="7144" y="7144"/>
                    </a:moveTo>
                    <a:lnTo>
                      <a:pt x="45625" y="7144"/>
                    </a:lnTo>
                    <a:lnTo>
                      <a:pt x="45625" y="597218"/>
                    </a:lnTo>
                    <a:lnTo>
                      <a:pt x="7144" y="597218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6" name="Полилиния: фигура 585">
                <a:extLst>
                  <a:ext uri="{FF2B5EF4-FFF2-40B4-BE49-F238E27FC236}">
                    <a16:creationId xmlns:a16="http://schemas.microsoft.com/office/drawing/2014/main" id="{31CD80D0-B952-418C-A136-31F5E5A14B8E}"/>
                  </a:ext>
                </a:extLst>
              </p:cNvPr>
              <p:cNvSpPr/>
              <p:nvPr/>
            </p:nvSpPr>
            <p:spPr>
              <a:xfrm>
                <a:off x="2525377" y="5743168"/>
                <a:ext cx="571500" cy="85725"/>
              </a:xfrm>
              <a:custGeom>
                <a:avLst/>
                <a:gdLst>
                  <a:gd name="connsiteX0" fmla="*/ 7144 w 571500"/>
                  <a:gd name="connsiteY0" fmla="*/ 7144 h 85725"/>
                  <a:gd name="connsiteX1" fmla="*/ 569976 w 571500"/>
                  <a:gd name="connsiteY1" fmla="*/ 7144 h 85725"/>
                  <a:gd name="connsiteX2" fmla="*/ 569976 w 571500"/>
                  <a:gd name="connsiteY2" fmla="*/ 81439 h 85725"/>
                  <a:gd name="connsiteX3" fmla="*/ 7144 w 571500"/>
                  <a:gd name="connsiteY3" fmla="*/ 81439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500" h="85725">
                    <a:moveTo>
                      <a:pt x="7144" y="7144"/>
                    </a:moveTo>
                    <a:lnTo>
                      <a:pt x="569976" y="7144"/>
                    </a:lnTo>
                    <a:lnTo>
                      <a:pt x="569976" y="81439"/>
                    </a:lnTo>
                    <a:lnTo>
                      <a:pt x="7144" y="81439"/>
                    </a:ln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7" name="Полилиния: фигура 586">
                <a:extLst>
                  <a:ext uri="{FF2B5EF4-FFF2-40B4-BE49-F238E27FC236}">
                    <a16:creationId xmlns:a16="http://schemas.microsoft.com/office/drawing/2014/main" id="{90665327-59D9-4ACD-8758-6FF354C18322}"/>
                  </a:ext>
                </a:extLst>
              </p:cNvPr>
              <p:cNvSpPr/>
              <p:nvPr/>
            </p:nvSpPr>
            <p:spPr>
              <a:xfrm>
                <a:off x="2356505" y="5114045"/>
                <a:ext cx="276225" cy="714375"/>
              </a:xfrm>
              <a:custGeom>
                <a:avLst/>
                <a:gdLst>
                  <a:gd name="connsiteX0" fmla="*/ 8787 w 276225"/>
                  <a:gd name="connsiteY0" fmla="*/ 30976 h 714375"/>
                  <a:gd name="connsiteX1" fmla="*/ 91570 w 276225"/>
                  <a:gd name="connsiteY1" fmla="*/ 8787 h 714375"/>
                  <a:gd name="connsiteX2" fmla="*/ 273023 w 276225"/>
                  <a:gd name="connsiteY2" fmla="*/ 685746 h 714375"/>
                  <a:gd name="connsiteX3" fmla="*/ 190240 w 276225"/>
                  <a:gd name="connsiteY3" fmla="*/ 707936 h 714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6225" h="714375">
                    <a:moveTo>
                      <a:pt x="8787" y="30976"/>
                    </a:moveTo>
                    <a:lnTo>
                      <a:pt x="91570" y="8787"/>
                    </a:lnTo>
                    <a:lnTo>
                      <a:pt x="273023" y="685746"/>
                    </a:lnTo>
                    <a:lnTo>
                      <a:pt x="190240" y="707936"/>
                    </a:ln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8" name="Полилиния: фигура 587">
                <a:extLst>
                  <a:ext uri="{FF2B5EF4-FFF2-40B4-BE49-F238E27FC236}">
                    <a16:creationId xmlns:a16="http://schemas.microsoft.com/office/drawing/2014/main" id="{BCFD84D8-FB7F-4285-BC2F-574DE912C644}"/>
                  </a:ext>
                </a:extLst>
              </p:cNvPr>
              <p:cNvSpPr/>
              <p:nvPr/>
            </p:nvSpPr>
            <p:spPr>
              <a:xfrm>
                <a:off x="3012200" y="6031966"/>
                <a:ext cx="276225" cy="381000"/>
              </a:xfrm>
              <a:custGeom>
                <a:avLst/>
                <a:gdLst>
                  <a:gd name="connsiteX0" fmla="*/ 162211 w 276225"/>
                  <a:gd name="connsiteY0" fmla="*/ 7144 h 381000"/>
                  <a:gd name="connsiteX1" fmla="*/ 7144 w 276225"/>
                  <a:gd name="connsiteY1" fmla="*/ 182880 h 381000"/>
                  <a:gd name="connsiteX2" fmla="*/ 224314 w 276225"/>
                  <a:gd name="connsiteY2" fmla="*/ 376809 h 381000"/>
                  <a:gd name="connsiteX3" fmla="*/ 166402 w 276225"/>
                  <a:gd name="connsiteY3" fmla="*/ 212979 h 381000"/>
                  <a:gd name="connsiteX4" fmla="*/ 270319 w 276225"/>
                  <a:gd name="connsiteY4" fmla="*/ 104680 h 38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225" h="381000">
                    <a:moveTo>
                      <a:pt x="162211" y="7144"/>
                    </a:moveTo>
                    <a:lnTo>
                      <a:pt x="7144" y="182880"/>
                    </a:lnTo>
                    <a:lnTo>
                      <a:pt x="224314" y="376809"/>
                    </a:lnTo>
                    <a:cubicBezTo>
                      <a:pt x="241554" y="354902"/>
                      <a:pt x="166402" y="212979"/>
                      <a:pt x="166402" y="212979"/>
                    </a:cubicBezTo>
                    <a:lnTo>
                      <a:pt x="270319" y="104680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9" name="Полилиния: фигура 588">
                <a:extLst>
                  <a:ext uri="{FF2B5EF4-FFF2-40B4-BE49-F238E27FC236}">
                    <a16:creationId xmlns:a16="http://schemas.microsoft.com/office/drawing/2014/main" id="{3F3E7E5C-1DCF-482C-A405-629F88859023}"/>
                  </a:ext>
                </a:extLst>
              </p:cNvPr>
              <p:cNvSpPr/>
              <p:nvPr/>
            </p:nvSpPr>
            <p:spPr>
              <a:xfrm>
                <a:off x="3096503" y="6166894"/>
                <a:ext cx="28575" cy="28575"/>
              </a:xfrm>
              <a:custGeom>
                <a:avLst/>
                <a:gdLst>
                  <a:gd name="connsiteX0" fmla="*/ 23615 w 28575"/>
                  <a:gd name="connsiteY0" fmla="*/ 8233 h 28575"/>
                  <a:gd name="connsiteX1" fmla="*/ 8375 w 28575"/>
                  <a:gd name="connsiteY1" fmla="*/ 12900 h 28575"/>
                  <a:gd name="connsiteX2" fmla="*/ 12851 w 28575"/>
                  <a:gd name="connsiteY2" fmla="*/ 27949 h 28575"/>
                  <a:gd name="connsiteX3" fmla="*/ 28949 w 28575"/>
                  <a:gd name="connsiteY3" fmla="*/ 22997 h 28575"/>
                  <a:gd name="connsiteX4" fmla="*/ 22567 w 28575"/>
                  <a:gd name="connsiteY4" fmla="*/ 775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23615" y="8233"/>
                    </a:moveTo>
                    <a:cubicBezTo>
                      <a:pt x="18086" y="5704"/>
                      <a:pt x="11539" y="7709"/>
                      <a:pt x="8375" y="12900"/>
                    </a:cubicBezTo>
                    <a:cubicBezTo>
                      <a:pt x="5640" y="18310"/>
                      <a:pt x="7605" y="24914"/>
                      <a:pt x="12851" y="27949"/>
                    </a:cubicBezTo>
                    <a:cubicBezTo>
                      <a:pt x="18697" y="30621"/>
                      <a:pt x="25616" y="28492"/>
                      <a:pt x="28949" y="22997"/>
                    </a:cubicBezTo>
                    <a:cubicBezTo>
                      <a:pt x="31213" y="17028"/>
                      <a:pt x="28409" y="10331"/>
                      <a:pt x="22567" y="7757"/>
                    </a:cubicBez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0" name="Полилиния: фигура 589">
                <a:extLst>
                  <a:ext uri="{FF2B5EF4-FFF2-40B4-BE49-F238E27FC236}">
                    <a16:creationId xmlns:a16="http://schemas.microsoft.com/office/drawing/2014/main" id="{0C9C60CD-808D-4F52-9386-60BD24C2ED4B}"/>
                  </a:ext>
                </a:extLst>
              </p:cNvPr>
              <p:cNvSpPr/>
              <p:nvPr/>
            </p:nvSpPr>
            <p:spPr>
              <a:xfrm>
                <a:off x="3012866" y="6188748"/>
                <a:ext cx="228600" cy="219075"/>
              </a:xfrm>
              <a:custGeom>
                <a:avLst/>
                <a:gdLst>
                  <a:gd name="connsiteX0" fmla="*/ 7144 w 228600"/>
                  <a:gd name="connsiteY0" fmla="*/ 24955 h 219075"/>
                  <a:gd name="connsiteX1" fmla="*/ 22670 w 228600"/>
                  <a:gd name="connsiteY1" fmla="*/ 7144 h 219075"/>
                  <a:gd name="connsiteX2" fmla="*/ 224314 w 228600"/>
                  <a:gd name="connsiteY2" fmla="*/ 201644 h 219075"/>
                  <a:gd name="connsiteX3" fmla="*/ 222980 w 228600"/>
                  <a:gd name="connsiteY3" fmla="*/ 220694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600" h="219075">
                    <a:moveTo>
                      <a:pt x="7144" y="24955"/>
                    </a:moveTo>
                    <a:lnTo>
                      <a:pt x="22670" y="7144"/>
                    </a:lnTo>
                    <a:lnTo>
                      <a:pt x="224314" y="201644"/>
                    </a:lnTo>
                    <a:cubicBezTo>
                      <a:pt x="224314" y="201644"/>
                      <a:pt x="230124" y="214598"/>
                      <a:pt x="222980" y="220694"/>
                    </a:cubicBez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1" name="Полилиния: фигура 590">
                <a:extLst>
                  <a:ext uri="{FF2B5EF4-FFF2-40B4-BE49-F238E27FC236}">
                    <a16:creationId xmlns:a16="http://schemas.microsoft.com/office/drawing/2014/main" id="{BAD58205-C8DE-43DA-93F4-2152B21C7AAD}"/>
                  </a:ext>
                </a:extLst>
              </p:cNvPr>
              <p:cNvSpPr/>
              <p:nvPr/>
            </p:nvSpPr>
            <p:spPr>
              <a:xfrm>
                <a:off x="3145316" y="6229712"/>
                <a:ext cx="38100" cy="19050"/>
              </a:xfrm>
              <a:custGeom>
                <a:avLst/>
                <a:gdLst>
                  <a:gd name="connsiteX0" fmla="*/ 37857 w 38100"/>
                  <a:gd name="connsiteY0" fmla="*/ 16852 h 19050"/>
                  <a:gd name="connsiteX1" fmla="*/ 22808 w 38100"/>
                  <a:gd name="connsiteY1" fmla="*/ 12375 h 19050"/>
                  <a:gd name="connsiteX2" fmla="*/ 7187 w 38100"/>
                  <a:gd name="connsiteY2" fmla="*/ 11803 h 19050"/>
                  <a:gd name="connsiteX3" fmla="*/ 23665 w 38100"/>
                  <a:gd name="connsiteY3" fmla="*/ 7517 h 19050"/>
                  <a:gd name="connsiteX4" fmla="*/ 37857 w 38100"/>
                  <a:gd name="connsiteY4" fmla="*/ 16852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37857" y="16852"/>
                    </a:moveTo>
                    <a:cubicBezTo>
                      <a:pt x="36810" y="17900"/>
                      <a:pt x="31095" y="13613"/>
                      <a:pt x="22808" y="12375"/>
                    </a:cubicBezTo>
                    <a:cubicBezTo>
                      <a:pt x="14521" y="11137"/>
                      <a:pt x="7854" y="13137"/>
                      <a:pt x="7187" y="11803"/>
                    </a:cubicBezTo>
                    <a:cubicBezTo>
                      <a:pt x="6520" y="10470"/>
                      <a:pt x="13664" y="5803"/>
                      <a:pt x="23665" y="7517"/>
                    </a:cubicBezTo>
                    <a:cubicBezTo>
                      <a:pt x="33666" y="9232"/>
                      <a:pt x="38905" y="16090"/>
                      <a:pt x="37857" y="1685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2" name="Полилиния: фигура 591">
                <a:extLst>
                  <a:ext uri="{FF2B5EF4-FFF2-40B4-BE49-F238E27FC236}">
                    <a16:creationId xmlns:a16="http://schemas.microsoft.com/office/drawing/2014/main" id="{6425B4B2-8EDB-49AE-82B4-03D2C778D88B}"/>
                  </a:ext>
                </a:extLst>
              </p:cNvPr>
              <p:cNvSpPr/>
              <p:nvPr/>
            </p:nvSpPr>
            <p:spPr>
              <a:xfrm>
                <a:off x="3161790" y="6263447"/>
                <a:ext cx="38100" cy="19050"/>
              </a:xfrm>
              <a:custGeom>
                <a:avLst/>
                <a:gdLst>
                  <a:gd name="connsiteX0" fmla="*/ 35671 w 38100"/>
                  <a:gd name="connsiteY0" fmla="*/ 12930 h 19050"/>
                  <a:gd name="connsiteX1" fmla="*/ 21193 w 38100"/>
                  <a:gd name="connsiteY1" fmla="*/ 12930 h 19050"/>
                  <a:gd name="connsiteX2" fmla="*/ 7286 w 38100"/>
                  <a:gd name="connsiteY2" fmla="*/ 17026 h 19050"/>
                  <a:gd name="connsiteX3" fmla="*/ 20431 w 38100"/>
                  <a:gd name="connsiteY3" fmla="*/ 7501 h 19050"/>
                  <a:gd name="connsiteX4" fmla="*/ 35671 w 38100"/>
                  <a:gd name="connsiteY4" fmla="*/ 1293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35671" y="12930"/>
                    </a:moveTo>
                    <a:cubicBezTo>
                      <a:pt x="35004" y="14168"/>
                      <a:pt x="28813" y="11787"/>
                      <a:pt x="21193" y="12930"/>
                    </a:cubicBezTo>
                    <a:cubicBezTo>
                      <a:pt x="13573" y="14073"/>
                      <a:pt x="8334" y="17978"/>
                      <a:pt x="7286" y="17026"/>
                    </a:cubicBezTo>
                    <a:cubicBezTo>
                      <a:pt x="6238" y="16073"/>
                      <a:pt x="11001" y="9406"/>
                      <a:pt x="20431" y="7501"/>
                    </a:cubicBezTo>
                    <a:cubicBezTo>
                      <a:pt x="29861" y="5596"/>
                      <a:pt x="36623" y="11882"/>
                      <a:pt x="35671" y="1293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3" name="Полилиния: фигура 592">
                <a:extLst>
                  <a:ext uri="{FF2B5EF4-FFF2-40B4-BE49-F238E27FC236}">
                    <a16:creationId xmlns:a16="http://schemas.microsoft.com/office/drawing/2014/main" id="{DCA30A65-9B5D-4D6C-A730-74F2F3DE9192}"/>
                  </a:ext>
                </a:extLst>
              </p:cNvPr>
              <p:cNvSpPr/>
              <p:nvPr/>
            </p:nvSpPr>
            <p:spPr>
              <a:xfrm>
                <a:off x="3178664" y="6295603"/>
                <a:ext cx="38100" cy="19050"/>
              </a:xfrm>
              <a:custGeom>
                <a:avLst/>
                <a:gdLst>
                  <a:gd name="connsiteX0" fmla="*/ 7367 w 38100"/>
                  <a:gd name="connsiteY0" fmla="*/ 19541 h 19050"/>
                  <a:gd name="connsiteX1" fmla="*/ 17368 w 38100"/>
                  <a:gd name="connsiteY1" fmla="*/ 8968 h 19050"/>
                  <a:gd name="connsiteX2" fmla="*/ 32037 w 38100"/>
                  <a:gd name="connsiteY2" fmla="*/ 8968 h 19050"/>
                  <a:gd name="connsiteX3" fmla="*/ 19368 w 38100"/>
                  <a:gd name="connsiteY3" fmla="*/ 13445 h 19050"/>
                  <a:gd name="connsiteX4" fmla="*/ 7367 w 38100"/>
                  <a:gd name="connsiteY4" fmla="*/ 1954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7367" y="19541"/>
                    </a:moveTo>
                    <a:cubicBezTo>
                      <a:pt x="6224" y="18874"/>
                      <a:pt x="9462" y="12302"/>
                      <a:pt x="17368" y="8968"/>
                    </a:cubicBezTo>
                    <a:cubicBezTo>
                      <a:pt x="25274" y="5634"/>
                      <a:pt x="32322" y="7635"/>
                      <a:pt x="32037" y="8968"/>
                    </a:cubicBezTo>
                    <a:cubicBezTo>
                      <a:pt x="31751" y="10302"/>
                      <a:pt x="25845" y="10587"/>
                      <a:pt x="19368" y="13445"/>
                    </a:cubicBezTo>
                    <a:cubicBezTo>
                      <a:pt x="12891" y="16302"/>
                      <a:pt x="8605" y="20398"/>
                      <a:pt x="7367" y="1954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4" name="Полилиния: фигура 593">
                <a:extLst>
                  <a:ext uri="{FF2B5EF4-FFF2-40B4-BE49-F238E27FC236}">
                    <a16:creationId xmlns:a16="http://schemas.microsoft.com/office/drawing/2014/main" id="{B2F3C7D0-9783-4A1A-97C0-9F2B882D7EF8}"/>
                  </a:ext>
                </a:extLst>
              </p:cNvPr>
              <p:cNvSpPr/>
              <p:nvPr/>
            </p:nvSpPr>
            <p:spPr>
              <a:xfrm>
                <a:off x="3173258" y="6192601"/>
                <a:ext cx="38100" cy="28575"/>
              </a:xfrm>
              <a:custGeom>
                <a:avLst/>
                <a:gdLst>
                  <a:gd name="connsiteX0" fmla="*/ 30870 w 38100"/>
                  <a:gd name="connsiteY0" fmla="*/ 26626 h 28575"/>
                  <a:gd name="connsiteX1" fmla="*/ 19631 w 38100"/>
                  <a:gd name="connsiteY1" fmla="*/ 16530 h 28575"/>
                  <a:gd name="connsiteX2" fmla="*/ 7153 w 38100"/>
                  <a:gd name="connsiteY2" fmla="*/ 7862 h 28575"/>
                  <a:gd name="connsiteX3" fmla="*/ 22679 w 38100"/>
                  <a:gd name="connsiteY3" fmla="*/ 12624 h 28575"/>
                  <a:gd name="connsiteX4" fmla="*/ 30870 w 38100"/>
                  <a:gd name="connsiteY4" fmla="*/ 2662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30870" y="26626"/>
                    </a:moveTo>
                    <a:cubicBezTo>
                      <a:pt x="29537" y="27198"/>
                      <a:pt x="25917" y="21387"/>
                      <a:pt x="19631" y="16530"/>
                    </a:cubicBezTo>
                    <a:cubicBezTo>
                      <a:pt x="13344" y="11672"/>
                      <a:pt x="6867" y="9291"/>
                      <a:pt x="7153" y="7862"/>
                    </a:cubicBezTo>
                    <a:cubicBezTo>
                      <a:pt x="7439" y="6433"/>
                      <a:pt x="15249" y="6719"/>
                      <a:pt x="22679" y="12624"/>
                    </a:cubicBezTo>
                    <a:cubicBezTo>
                      <a:pt x="30108" y="18530"/>
                      <a:pt x="32585" y="26340"/>
                      <a:pt x="30870" y="2662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5" name="Полилиния: фигура 594">
                <a:extLst>
                  <a:ext uri="{FF2B5EF4-FFF2-40B4-BE49-F238E27FC236}">
                    <a16:creationId xmlns:a16="http://schemas.microsoft.com/office/drawing/2014/main" id="{9C27176C-44A9-413E-A06B-DF3C022F685B}"/>
                  </a:ext>
                </a:extLst>
              </p:cNvPr>
              <p:cNvSpPr/>
              <p:nvPr/>
            </p:nvSpPr>
            <p:spPr>
              <a:xfrm>
                <a:off x="3191459" y="6137894"/>
                <a:ext cx="38100" cy="57150"/>
              </a:xfrm>
              <a:custGeom>
                <a:avLst/>
                <a:gdLst>
                  <a:gd name="connsiteX0" fmla="*/ 30481 w 38100"/>
                  <a:gd name="connsiteY0" fmla="*/ 50948 h 57150"/>
                  <a:gd name="connsiteX1" fmla="*/ 19623 w 38100"/>
                  <a:gd name="connsiteY1" fmla="*/ 41423 h 57150"/>
                  <a:gd name="connsiteX2" fmla="*/ 11431 w 38100"/>
                  <a:gd name="connsiteY2" fmla="*/ 27803 h 57150"/>
                  <a:gd name="connsiteX3" fmla="*/ 8098 w 38100"/>
                  <a:gd name="connsiteY3" fmla="*/ 18849 h 57150"/>
                  <a:gd name="connsiteX4" fmla="*/ 7145 w 38100"/>
                  <a:gd name="connsiteY4" fmla="*/ 13325 h 57150"/>
                  <a:gd name="connsiteX5" fmla="*/ 11622 w 38100"/>
                  <a:gd name="connsiteY5" fmla="*/ 7324 h 57150"/>
                  <a:gd name="connsiteX6" fmla="*/ 18480 w 38100"/>
                  <a:gd name="connsiteY6" fmla="*/ 9038 h 57150"/>
                  <a:gd name="connsiteX7" fmla="*/ 22004 w 38100"/>
                  <a:gd name="connsiteY7" fmla="*/ 13229 h 57150"/>
                  <a:gd name="connsiteX8" fmla="*/ 26766 w 38100"/>
                  <a:gd name="connsiteY8" fmla="*/ 21611 h 57150"/>
                  <a:gd name="connsiteX9" fmla="*/ 30862 w 38100"/>
                  <a:gd name="connsiteY9" fmla="*/ 37137 h 57150"/>
                  <a:gd name="connsiteX10" fmla="*/ 29433 w 38100"/>
                  <a:gd name="connsiteY10" fmla="*/ 51710 h 57150"/>
                  <a:gd name="connsiteX11" fmla="*/ 27433 w 38100"/>
                  <a:gd name="connsiteY11" fmla="*/ 37613 h 57150"/>
                  <a:gd name="connsiteX12" fmla="*/ 22575 w 38100"/>
                  <a:gd name="connsiteY12" fmla="*/ 23516 h 57150"/>
                  <a:gd name="connsiteX13" fmla="*/ 18099 w 38100"/>
                  <a:gd name="connsiteY13" fmla="*/ 15991 h 57150"/>
                  <a:gd name="connsiteX14" fmla="*/ 12860 w 38100"/>
                  <a:gd name="connsiteY14" fmla="*/ 12086 h 57150"/>
                  <a:gd name="connsiteX15" fmla="*/ 12003 w 38100"/>
                  <a:gd name="connsiteY15" fmla="*/ 13515 h 57150"/>
                  <a:gd name="connsiteX16" fmla="*/ 12765 w 38100"/>
                  <a:gd name="connsiteY16" fmla="*/ 17516 h 57150"/>
                  <a:gd name="connsiteX17" fmla="*/ 22290 w 38100"/>
                  <a:gd name="connsiteY17" fmla="*/ 39423 h 57150"/>
                  <a:gd name="connsiteX18" fmla="*/ 30481 w 38100"/>
                  <a:gd name="connsiteY18" fmla="*/ 50948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8100" h="57150">
                    <a:moveTo>
                      <a:pt x="30481" y="50948"/>
                    </a:moveTo>
                    <a:cubicBezTo>
                      <a:pt x="30481" y="51425"/>
                      <a:pt x="25338" y="48377"/>
                      <a:pt x="19623" y="41423"/>
                    </a:cubicBezTo>
                    <a:cubicBezTo>
                      <a:pt x="16374" y="37216"/>
                      <a:pt x="13625" y="32645"/>
                      <a:pt x="11431" y="27803"/>
                    </a:cubicBezTo>
                    <a:cubicBezTo>
                      <a:pt x="10134" y="24891"/>
                      <a:pt x="9020" y="21900"/>
                      <a:pt x="8098" y="18849"/>
                    </a:cubicBezTo>
                    <a:cubicBezTo>
                      <a:pt x="7484" y="17071"/>
                      <a:pt x="7162" y="15205"/>
                      <a:pt x="7145" y="13325"/>
                    </a:cubicBezTo>
                    <a:cubicBezTo>
                      <a:pt x="7089" y="10536"/>
                      <a:pt x="8932" y="8064"/>
                      <a:pt x="11622" y="7324"/>
                    </a:cubicBezTo>
                    <a:cubicBezTo>
                      <a:pt x="14050" y="6800"/>
                      <a:pt x="16584" y="7433"/>
                      <a:pt x="18480" y="9038"/>
                    </a:cubicBezTo>
                    <a:cubicBezTo>
                      <a:pt x="19872" y="10237"/>
                      <a:pt x="21061" y="11652"/>
                      <a:pt x="22004" y="13229"/>
                    </a:cubicBezTo>
                    <a:cubicBezTo>
                      <a:pt x="23841" y="15875"/>
                      <a:pt x="25434" y="18680"/>
                      <a:pt x="26766" y="21611"/>
                    </a:cubicBezTo>
                    <a:cubicBezTo>
                      <a:pt x="28977" y="26526"/>
                      <a:pt x="30361" y="31772"/>
                      <a:pt x="30862" y="37137"/>
                    </a:cubicBezTo>
                    <a:cubicBezTo>
                      <a:pt x="31803" y="42031"/>
                      <a:pt x="31306" y="47092"/>
                      <a:pt x="29433" y="51710"/>
                    </a:cubicBezTo>
                    <a:cubicBezTo>
                      <a:pt x="28576" y="51710"/>
                      <a:pt x="29433" y="46091"/>
                      <a:pt x="27433" y="37613"/>
                    </a:cubicBezTo>
                    <a:cubicBezTo>
                      <a:pt x="26415" y="32728"/>
                      <a:pt x="24783" y="27992"/>
                      <a:pt x="22575" y="23516"/>
                    </a:cubicBezTo>
                    <a:cubicBezTo>
                      <a:pt x="21261" y="20907"/>
                      <a:pt x="19765" y="18392"/>
                      <a:pt x="18099" y="15991"/>
                    </a:cubicBezTo>
                    <a:cubicBezTo>
                      <a:pt x="16289" y="13325"/>
                      <a:pt x="14384" y="11610"/>
                      <a:pt x="12860" y="12086"/>
                    </a:cubicBezTo>
                    <a:cubicBezTo>
                      <a:pt x="11336" y="12563"/>
                      <a:pt x="12193" y="12086"/>
                      <a:pt x="12003" y="13515"/>
                    </a:cubicBezTo>
                    <a:cubicBezTo>
                      <a:pt x="12113" y="14872"/>
                      <a:pt x="12369" y="16213"/>
                      <a:pt x="12765" y="17516"/>
                    </a:cubicBezTo>
                    <a:cubicBezTo>
                      <a:pt x="14851" y="25245"/>
                      <a:pt x="18060" y="32626"/>
                      <a:pt x="22290" y="39423"/>
                    </a:cubicBezTo>
                    <a:cubicBezTo>
                      <a:pt x="25238" y="43106"/>
                      <a:pt x="27973" y="46954"/>
                      <a:pt x="30481" y="50948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6" name="Полилиния: фигура 595">
                <a:extLst>
                  <a:ext uri="{FF2B5EF4-FFF2-40B4-BE49-F238E27FC236}">
                    <a16:creationId xmlns:a16="http://schemas.microsoft.com/office/drawing/2014/main" id="{9C66D59F-C800-496E-B340-89D1E6C7A694}"/>
                  </a:ext>
                </a:extLst>
              </p:cNvPr>
              <p:cNvSpPr/>
              <p:nvPr/>
            </p:nvSpPr>
            <p:spPr>
              <a:xfrm>
                <a:off x="3212034" y="6153025"/>
                <a:ext cx="47625" cy="38100"/>
              </a:xfrm>
              <a:custGeom>
                <a:avLst/>
                <a:gdLst>
                  <a:gd name="connsiteX0" fmla="*/ 7144 w 47625"/>
                  <a:gd name="connsiteY0" fmla="*/ 36199 h 38100"/>
                  <a:gd name="connsiteX1" fmla="*/ 13716 w 47625"/>
                  <a:gd name="connsiteY1" fmla="*/ 23054 h 38100"/>
                  <a:gd name="connsiteX2" fmla="*/ 25813 w 47625"/>
                  <a:gd name="connsiteY2" fmla="*/ 12481 h 38100"/>
                  <a:gd name="connsiteX3" fmla="*/ 34480 w 47625"/>
                  <a:gd name="connsiteY3" fmla="*/ 8386 h 38100"/>
                  <a:gd name="connsiteX4" fmla="*/ 46291 w 47625"/>
                  <a:gd name="connsiteY4" fmla="*/ 9053 h 38100"/>
                  <a:gd name="connsiteX5" fmla="*/ 48101 w 47625"/>
                  <a:gd name="connsiteY5" fmla="*/ 16196 h 38100"/>
                  <a:gd name="connsiteX6" fmla="*/ 45720 w 47625"/>
                  <a:gd name="connsiteY6" fmla="*/ 21149 h 38100"/>
                  <a:gd name="connsiteX7" fmla="*/ 39148 w 47625"/>
                  <a:gd name="connsiteY7" fmla="*/ 28483 h 38100"/>
                  <a:gd name="connsiteX8" fmla="*/ 24479 w 47625"/>
                  <a:gd name="connsiteY8" fmla="*/ 35532 h 38100"/>
                  <a:gd name="connsiteX9" fmla="*/ 9906 w 47625"/>
                  <a:gd name="connsiteY9" fmla="*/ 34294 h 38100"/>
                  <a:gd name="connsiteX10" fmla="*/ 23622 w 47625"/>
                  <a:gd name="connsiteY10" fmla="*/ 32198 h 38100"/>
                  <a:gd name="connsiteX11" fmla="*/ 36195 w 47625"/>
                  <a:gd name="connsiteY11" fmla="*/ 25054 h 38100"/>
                  <a:gd name="connsiteX12" fmla="*/ 41624 w 47625"/>
                  <a:gd name="connsiteY12" fmla="*/ 18577 h 38100"/>
                  <a:gd name="connsiteX13" fmla="*/ 43053 w 47625"/>
                  <a:gd name="connsiteY13" fmla="*/ 12767 h 38100"/>
                  <a:gd name="connsiteX14" fmla="*/ 36005 w 47625"/>
                  <a:gd name="connsiteY14" fmla="*/ 12767 h 38100"/>
                  <a:gd name="connsiteX15" fmla="*/ 28099 w 47625"/>
                  <a:gd name="connsiteY15" fmla="*/ 16291 h 38100"/>
                  <a:gd name="connsiteX16" fmla="*/ 16288 w 47625"/>
                  <a:gd name="connsiteY16" fmla="*/ 25245 h 38100"/>
                  <a:gd name="connsiteX17" fmla="*/ 7144 w 47625"/>
                  <a:gd name="connsiteY17" fmla="*/ 36199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7625" h="38100">
                    <a:moveTo>
                      <a:pt x="7144" y="36199"/>
                    </a:moveTo>
                    <a:cubicBezTo>
                      <a:pt x="7875" y="31228"/>
                      <a:pt x="10178" y="26621"/>
                      <a:pt x="13716" y="23054"/>
                    </a:cubicBezTo>
                    <a:cubicBezTo>
                      <a:pt x="17131" y="18881"/>
                      <a:pt x="21220" y="15307"/>
                      <a:pt x="25813" y="12481"/>
                    </a:cubicBezTo>
                    <a:cubicBezTo>
                      <a:pt x="28570" y="10853"/>
                      <a:pt x="31471" y="9482"/>
                      <a:pt x="34480" y="8386"/>
                    </a:cubicBezTo>
                    <a:cubicBezTo>
                      <a:pt x="38261" y="6518"/>
                      <a:pt x="42745" y="6770"/>
                      <a:pt x="46291" y="9053"/>
                    </a:cubicBezTo>
                    <a:cubicBezTo>
                      <a:pt x="48211" y="10892"/>
                      <a:pt x="48913" y="13665"/>
                      <a:pt x="48101" y="16196"/>
                    </a:cubicBezTo>
                    <a:cubicBezTo>
                      <a:pt x="47559" y="17957"/>
                      <a:pt x="46756" y="19626"/>
                      <a:pt x="45720" y="21149"/>
                    </a:cubicBezTo>
                    <a:cubicBezTo>
                      <a:pt x="43885" y="23891"/>
                      <a:pt x="41673" y="26360"/>
                      <a:pt x="39148" y="28483"/>
                    </a:cubicBezTo>
                    <a:cubicBezTo>
                      <a:pt x="34935" y="32040"/>
                      <a:pt x="29887" y="34465"/>
                      <a:pt x="24479" y="35532"/>
                    </a:cubicBezTo>
                    <a:cubicBezTo>
                      <a:pt x="14954" y="37437"/>
                      <a:pt x="9620" y="34770"/>
                      <a:pt x="9906" y="34294"/>
                    </a:cubicBezTo>
                    <a:cubicBezTo>
                      <a:pt x="14512" y="33836"/>
                      <a:pt x="19090" y="33137"/>
                      <a:pt x="23622" y="32198"/>
                    </a:cubicBezTo>
                    <a:cubicBezTo>
                      <a:pt x="28278" y="30748"/>
                      <a:pt x="32567" y="28312"/>
                      <a:pt x="36195" y="25054"/>
                    </a:cubicBezTo>
                    <a:cubicBezTo>
                      <a:pt x="38300" y="23160"/>
                      <a:pt x="40127" y="20980"/>
                      <a:pt x="41624" y="18577"/>
                    </a:cubicBezTo>
                    <a:cubicBezTo>
                      <a:pt x="43339" y="16006"/>
                      <a:pt x="44101" y="13339"/>
                      <a:pt x="43053" y="12767"/>
                    </a:cubicBezTo>
                    <a:cubicBezTo>
                      <a:pt x="40812" y="11757"/>
                      <a:pt x="38246" y="11757"/>
                      <a:pt x="36005" y="12767"/>
                    </a:cubicBezTo>
                    <a:cubicBezTo>
                      <a:pt x="33265" y="13692"/>
                      <a:pt x="30618" y="14872"/>
                      <a:pt x="28099" y="16291"/>
                    </a:cubicBezTo>
                    <a:cubicBezTo>
                      <a:pt x="23742" y="18677"/>
                      <a:pt x="19762" y="21695"/>
                      <a:pt x="16288" y="25245"/>
                    </a:cubicBezTo>
                    <a:cubicBezTo>
                      <a:pt x="10287" y="31531"/>
                      <a:pt x="7906" y="36484"/>
                      <a:pt x="7144" y="3619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7" name="Полилиния: фигура 596">
                <a:extLst>
                  <a:ext uri="{FF2B5EF4-FFF2-40B4-BE49-F238E27FC236}">
                    <a16:creationId xmlns:a16="http://schemas.microsoft.com/office/drawing/2014/main" id="{987B8133-5FB7-4D1E-9139-379068C1F54B}"/>
                  </a:ext>
                </a:extLst>
              </p:cNvPr>
              <p:cNvSpPr/>
              <p:nvPr/>
            </p:nvSpPr>
            <p:spPr>
              <a:xfrm>
                <a:off x="3433967" y="6153981"/>
                <a:ext cx="304800" cy="257175"/>
              </a:xfrm>
              <a:custGeom>
                <a:avLst/>
                <a:gdLst>
                  <a:gd name="connsiteX0" fmla="*/ 10477 w 304800"/>
                  <a:gd name="connsiteY0" fmla="*/ 7144 h 257175"/>
                  <a:gd name="connsiteX1" fmla="*/ 7144 w 304800"/>
                  <a:gd name="connsiteY1" fmla="*/ 247650 h 257175"/>
                  <a:gd name="connsiteX2" fmla="*/ 306324 w 304800"/>
                  <a:gd name="connsiteY2" fmla="*/ 253365 h 257175"/>
                  <a:gd name="connsiteX3" fmla="*/ 151447 w 304800"/>
                  <a:gd name="connsiteY3" fmla="*/ 164402 h 257175"/>
                  <a:gd name="connsiteX4" fmla="*/ 159925 w 304800"/>
                  <a:gd name="connsiteY4" fmla="*/ 1038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4800" h="257175">
                    <a:moveTo>
                      <a:pt x="10477" y="7144"/>
                    </a:moveTo>
                    <a:lnTo>
                      <a:pt x="7144" y="247650"/>
                    </a:lnTo>
                    <a:lnTo>
                      <a:pt x="306324" y="253365"/>
                    </a:lnTo>
                    <a:cubicBezTo>
                      <a:pt x="305181" y="224790"/>
                      <a:pt x="151447" y="164402"/>
                      <a:pt x="151447" y="164402"/>
                    </a:cubicBezTo>
                    <a:lnTo>
                      <a:pt x="159925" y="10383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8" name="Полилиния: фигура 597">
                <a:extLst>
                  <a:ext uri="{FF2B5EF4-FFF2-40B4-BE49-F238E27FC236}">
                    <a16:creationId xmlns:a16="http://schemas.microsoft.com/office/drawing/2014/main" id="{8F9B8653-425F-4CC1-8450-CF35C861C8DD}"/>
                  </a:ext>
                </a:extLst>
              </p:cNvPr>
              <p:cNvSpPr/>
              <p:nvPr/>
            </p:nvSpPr>
            <p:spPr>
              <a:xfrm>
                <a:off x="3477058" y="6296290"/>
                <a:ext cx="28575" cy="28575"/>
              </a:xfrm>
              <a:custGeom>
                <a:avLst/>
                <a:gdLst>
                  <a:gd name="connsiteX0" fmla="*/ 16059 w 28575"/>
                  <a:gd name="connsiteY0" fmla="*/ 7329 h 28575"/>
                  <a:gd name="connsiteX1" fmla="*/ 7295 w 28575"/>
                  <a:gd name="connsiteY1" fmla="*/ 21140 h 28575"/>
                  <a:gd name="connsiteX2" fmla="*/ 20916 w 28575"/>
                  <a:gd name="connsiteY2" fmla="*/ 29904 h 28575"/>
                  <a:gd name="connsiteX3" fmla="*/ 30441 w 28575"/>
                  <a:gd name="connsiteY3" fmla="*/ 15235 h 28575"/>
                  <a:gd name="connsiteX4" fmla="*/ 15296 w 28575"/>
                  <a:gd name="connsiteY4" fmla="*/ 771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16059" y="7329"/>
                    </a:moveTo>
                    <a:cubicBezTo>
                      <a:pt x="10080" y="9074"/>
                      <a:pt x="6327" y="14988"/>
                      <a:pt x="7295" y="21140"/>
                    </a:cubicBezTo>
                    <a:cubicBezTo>
                      <a:pt x="8803" y="27205"/>
                      <a:pt x="14773" y="31045"/>
                      <a:pt x="20916" y="29904"/>
                    </a:cubicBezTo>
                    <a:cubicBezTo>
                      <a:pt x="27411" y="28219"/>
                      <a:pt x="31544" y="21854"/>
                      <a:pt x="30441" y="15235"/>
                    </a:cubicBezTo>
                    <a:cubicBezTo>
                      <a:pt x="28235" y="9064"/>
                      <a:pt x="21547" y="5741"/>
                      <a:pt x="15296" y="7710"/>
                    </a:cubicBez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9" name="Полилиния: фигура 598">
                <a:extLst>
                  <a:ext uri="{FF2B5EF4-FFF2-40B4-BE49-F238E27FC236}">
                    <a16:creationId xmlns:a16="http://schemas.microsoft.com/office/drawing/2014/main" id="{21180536-CF76-426F-9896-7604183C9EE5}"/>
                  </a:ext>
                </a:extLst>
              </p:cNvPr>
              <p:cNvSpPr/>
              <p:nvPr/>
            </p:nvSpPr>
            <p:spPr>
              <a:xfrm>
                <a:off x="3433967" y="6369246"/>
                <a:ext cx="304800" cy="38100"/>
              </a:xfrm>
              <a:custGeom>
                <a:avLst/>
                <a:gdLst>
                  <a:gd name="connsiteX0" fmla="*/ 7144 w 304800"/>
                  <a:gd name="connsiteY0" fmla="*/ 31433 h 38100"/>
                  <a:gd name="connsiteX1" fmla="*/ 7144 w 304800"/>
                  <a:gd name="connsiteY1" fmla="*/ 7144 h 38100"/>
                  <a:gd name="connsiteX2" fmla="*/ 294704 w 304800"/>
                  <a:gd name="connsiteY2" fmla="*/ 23527 h 38100"/>
                  <a:gd name="connsiteX3" fmla="*/ 306133 w 304800"/>
                  <a:gd name="connsiteY3" fmla="*/ 3905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800" h="38100">
                    <a:moveTo>
                      <a:pt x="7144" y="31433"/>
                    </a:moveTo>
                    <a:lnTo>
                      <a:pt x="7144" y="7144"/>
                    </a:lnTo>
                    <a:lnTo>
                      <a:pt x="294704" y="23527"/>
                    </a:lnTo>
                    <a:cubicBezTo>
                      <a:pt x="294704" y="23527"/>
                      <a:pt x="307848" y="29718"/>
                      <a:pt x="306133" y="39053"/>
                    </a:cubicBez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0" name="Полилиния: фигура 599">
                <a:extLst>
                  <a:ext uri="{FF2B5EF4-FFF2-40B4-BE49-F238E27FC236}">
                    <a16:creationId xmlns:a16="http://schemas.microsoft.com/office/drawing/2014/main" id="{AA7EE85F-147E-4803-9895-297A798667CE}"/>
                  </a:ext>
                </a:extLst>
              </p:cNvPr>
              <p:cNvSpPr/>
              <p:nvPr/>
            </p:nvSpPr>
            <p:spPr>
              <a:xfrm>
                <a:off x="3555540" y="6308403"/>
                <a:ext cx="38100" cy="28575"/>
              </a:xfrm>
              <a:custGeom>
                <a:avLst/>
                <a:gdLst>
                  <a:gd name="connsiteX0" fmla="*/ 34731 w 38100"/>
                  <a:gd name="connsiteY0" fmla="*/ 8551 h 28575"/>
                  <a:gd name="connsiteX1" fmla="*/ 20063 w 38100"/>
                  <a:gd name="connsiteY1" fmla="*/ 15028 h 28575"/>
                  <a:gd name="connsiteX2" fmla="*/ 7490 w 38100"/>
                  <a:gd name="connsiteY2" fmla="*/ 25124 h 28575"/>
                  <a:gd name="connsiteX3" fmla="*/ 17015 w 38100"/>
                  <a:gd name="connsiteY3" fmla="*/ 10742 h 28575"/>
                  <a:gd name="connsiteX4" fmla="*/ 34731 w 38100"/>
                  <a:gd name="connsiteY4" fmla="*/ 855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34731" y="8551"/>
                    </a:moveTo>
                    <a:cubicBezTo>
                      <a:pt x="34731" y="9979"/>
                      <a:pt x="27302" y="10551"/>
                      <a:pt x="20063" y="15028"/>
                    </a:cubicBezTo>
                    <a:cubicBezTo>
                      <a:pt x="12824" y="19504"/>
                      <a:pt x="8824" y="25696"/>
                      <a:pt x="7490" y="25124"/>
                    </a:cubicBezTo>
                    <a:cubicBezTo>
                      <a:pt x="6156" y="24553"/>
                      <a:pt x="8538" y="16076"/>
                      <a:pt x="17015" y="10742"/>
                    </a:cubicBezTo>
                    <a:cubicBezTo>
                      <a:pt x="25493" y="5408"/>
                      <a:pt x="35113" y="7217"/>
                      <a:pt x="34731" y="855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1" name="Полилиния: фигура 600">
                <a:extLst>
                  <a:ext uri="{FF2B5EF4-FFF2-40B4-BE49-F238E27FC236}">
                    <a16:creationId xmlns:a16="http://schemas.microsoft.com/office/drawing/2014/main" id="{895CB267-0844-4F73-B3FB-A5235C27F456}"/>
                  </a:ext>
                </a:extLst>
              </p:cNvPr>
              <p:cNvSpPr/>
              <p:nvPr/>
            </p:nvSpPr>
            <p:spPr>
              <a:xfrm>
                <a:off x="3594050" y="6322680"/>
                <a:ext cx="28575" cy="28575"/>
              </a:xfrm>
              <a:custGeom>
                <a:avLst/>
                <a:gdLst>
                  <a:gd name="connsiteX0" fmla="*/ 27369 w 28575"/>
                  <a:gd name="connsiteY0" fmla="*/ 7799 h 28575"/>
                  <a:gd name="connsiteX1" fmla="*/ 16225 w 28575"/>
                  <a:gd name="connsiteY1" fmla="*/ 17324 h 28575"/>
                  <a:gd name="connsiteX2" fmla="*/ 8128 w 28575"/>
                  <a:gd name="connsiteY2" fmla="*/ 29802 h 28575"/>
                  <a:gd name="connsiteX3" fmla="*/ 12319 w 28575"/>
                  <a:gd name="connsiteY3" fmla="*/ 13991 h 28575"/>
                  <a:gd name="connsiteX4" fmla="*/ 27369 w 28575"/>
                  <a:gd name="connsiteY4" fmla="*/ 779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27369" y="7799"/>
                    </a:moveTo>
                    <a:cubicBezTo>
                      <a:pt x="27369" y="9228"/>
                      <a:pt x="21273" y="11609"/>
                      <a:pt x="16225" y="17324"/>
                    </a:cubicBezTo>
                    <a:cubicBezTo>
                      <a:pt x="11176" y="23039"/>
                      <a:pt x="9557" y="29897"/>
                      <a:pt x="8128" y="29802"/>
                    </a:cubicBezTo>
                    <a:cubicBezTo>
                      <a:pt x="6700" y="29707"/>
                      <a:pt x="5938" y="21420"/>
                      <a:pt x="12319" y="13991"/>
                    </a:cubicBezTo>
                    <a:cubicBezTo>
                      <a:pt x="18701" y="6561"/>
                      <a:pt x="27369" y="6466"/>
                      <a:pt x="27369" y="779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2" name="Полилиния: фигура 601">
                <a:extLst>
                  <a:ext uri="{FF2B5EF4-FFF2-40B4-BE49-F238E27FC236}">
                    <a16:creationId xmlns:a16="http://schemas.microsoft.com/office/drawing/2014/main" id="{7471682D-18CE-4E2A-A535-793A3A64B7A8}"/>
                  </a:ext>
                </a:extLst>
              </p:cNvPr>
              <p:cNvSpPr/>
              <p:nvPr/>
            </p:nvSpPr>
            <p:spPr>
              <a:xfrm>
                <a:off x="3629763" y="6336425"/>
                <a:ext cx="19050" cy="38100"/>
              </a:xfrm>
              <a:custGeom>
                <a:avLst/>
                <a:gdLst>
                  <a:gd name="connsiteX0" fmla="*/ 8801 w 19050"/>
                  <a:gd name="connsiteY0" fmla="*/ 31963 h 38100"/>
                  <a:gd name="connsiteX1" fmla="*/ 9468 w 19050"/>
                  <a:gd name="connsiteY1" fmla="*/ 17009 h 38100"/>
                  <a:gd name="connsiteX2" fmla="*/ 20803 w 19050"/>
                  <a:gd name="connsiteY2" fmla="*/ 7484 h 38100"/>
                  <a:gd name="connsiteX3" fmla="*/ 14040 w 19050"/>
                  <a:gd name="connsiteY3" fmla="*/ 19486 h 38100"/>
                  <a:gd name="connsiteX4" fmla="*/ 8801 w 19050"/>
                  <a:gd name="connsiteY4" fmla="*/ 3196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8801" y="31963"/>
                    </a:moveTo>
                    <a:cubicBezTo>
                      <a:pt x="7468" y="31963"/>
                      <a:pt x="5563" y="24915"/>
                      <a:pt x="9468" y="17009"/>
                    </a:cubicBezTo>
                    <a:cubicBezTo>
                      <a:pt x="13373" y="9104"/>
                      <a:pt x="20231" y="6055"/>
                      <a:pt x="20803" y="7484"/>
                    </a:cubicBezTo>
                    <a:cubicBezTo>
                      <a:pt x="21374" y="8913"/>
                      <a:pt x="17088" y="12913"/>
                      <a:pt x="14040" y="19486"/>
                    </a:cubicBezTo>
                    <a:cubicBezTo>
                      <a:pt x="10992" y="26058"/>
                      <a:pt x="10230" y="31868"/>
                      <a:pt x="8801" y="3196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3" name="Полилиния: фигура 602">
                <a:extLst>
                  <a:ext uri="{FF2B5EF4-FFF2-40B4-BE49-F238E27FC236}">
                    <a16:creationId xmlns:a16="http://schemas.microsoft.com/office/drawing/2014/main" id="{08735150-3A9D-4FE4-BE7C-3F0920CB8B44}"/>
                  </a:ext>
                </a:extLst>
              </p:cNvPr>
              <p:cNvSpPr/>
              <p:nvPr/>
            </p:nvSpPr>
            <p:spPr>
              <a:xfrm>
                <a:off x="3550015" y="6269211"/>
                <a:ext cx="38100" cy="19050"/>
              </a:xfrm>
              <a:custGeom>
                <a:avLst/>
                <a:gdLst>
                  <a:gd name="connsiteX0" fmla="*/ 38257 w 38100"/>
                  <a:gd name="connsiteY0" fmla="*/ 12310 h 19050"/>
                  <a:gd name="connsiteX1" fmla="*/ 22731 w 38100"/>
                  <a:gd name="connsiteY1" fmla="*/ 12310 h 19050"/>
                  <a:gd name="connsiteX2" fmla="*/ 7205 w 38100"/>
                  <a:gd name="connsiteY2" fmla="*/ 13930 h 19050"/>
                  <a:gd name="connsiteX3" fmla="*/ 22540 w 38100"/>
                  <a:gd name="connsiteY3" fmla="*/ 7167 h 19050"/>
                  <a:gd name="connsiteX4" fmla="*/ 38257 w 38100"/>
                  <a:gd name="connsiteY4" fmla="*/ 1231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38257" y="12310"/>
                    </a:moveTo>
                    <a:cubicBezTo>
                      <a:pt x="37685" y="13644"/>
                      <a:pt x="31018" y="11453"/>
                      <a:pt x="22731" y="12310"/>
                    </a:cubicBezTo>
                    <a:cubicBezTo>
                      <a:pt x="14444" y="13167"/>
                      <a:pt x="7967" y="15168"/>
                      <a:pt x="7205" y="13930"/>
                    </a:cubicBezTo>
                    <a:cubicBezTo>
                      <a:pt x="6443" y="12691"/>
                      <a:pt x="12825" y="7548"/>
                      <a:pt x="22540" y="7167"/>
                    </a:cubicBezTo>
                    <a:cubicBezTo>
                      <a:pt x="32256" y="6786"/>
                      <a:pt x="39019" y="11263"/>
                      <a:pt x="38257" y="1231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4" name="Полилиния: фигура 603">
                <a:extLst>
                  <a:ext uri="{FF2B5EF4-FFF2-40B4-BE49-F238E27FC236}">
                    <a16:creationId xmlns:a16="http://schemas.microsoft.com/office/drawing/2014/main" id="{0A353C79-8397-40E4-AB5C-E280B2DE3840}"/>
                  </a:ext>
                </a:extLst>
              </p:cNvPr>
              <p:cNvSpPr/>
              <p:nvPr/>
            </p:nvSpPr>
            <p:spPr>
              <a:xfrm>
                <a:off x="3529812" y="6214369"/>
                <a:ext cx="57150" cy="38100"/>
              </a:xfrm>
              <a:custGeom>
                <a:avLst/>
                <a:gdLst>
                  <a:gd name="connsiteX0" fmla="*/ 52078 w 57150"/>
                  <a:gd name="connsiteY0" fmla="*/ 31623 h 38100"/>
                  <a:gd name="connsiteX1" fmla="*/ 37029 w 57150"/>
                  <a:gd name="connsiteY1" fmla="*/ 31623 h 38100"/>
                  <a:gd name="connsiteX2" fmla="*/ 21503 w 57150"/>
                  <a:gd name="connsiteY2" fmla="*/ 26480 h 38100"/>
                  <a:gd name="connsiteX3" fmla="*/ 12930 w 57150"/>
                  <a:gd name="connsiteY3" fmla="*/ 21812 h 38100"/>
                  <a:gd name="connsiteX4" fmla="*/ 8454 w 57150"/>
                  <a:gd name="connsiteY4" fmla="*/ 18193 h 38100"/>
                  <a:gd name="connsiteX5" fmla="*/ 8454 w 57150"/>
                  <a:gd name="connsiteY5" fmla="*/ 10382 h 38100"/>
                  <a:gd name="connsiteX6" fmla="*/ 14930 w 57150"/>
                  <a:gd name="connsiteY6" fmla="*/ 7144 h 38100"/>
                  <a:gd name="connsiteX7" fmla="*/ 20550 w 57150"/>
                  <a:gd name="connsiteY7" fmla="*/ 8096 h 38100"/>
                  <a:gd name="connsiteX8" fmla="*/ 43410 w 57150"/>
                  <a:gd name="connsiteY8" fmla="*/ 20765 h 38100"/>
                  <a:gd name="connsiteX9" fmla="*/ 51983 w 57150"/>
                  <a:gd name="connsiteY9" fmla="*/ 33052 h 38100"/>
                  <a:gd name="connsiteX10" fmla="*/ 41124 w 57150"/>
                  <a:gd name="connsiteY10" fmla="*/ 23527 h 38100"/>
                  <a:gd name="connsiteX11" fmla="*/ 27884 w 57150"/>
                  <a:gd name="connsiteY11" fmla="*/ 15717 h 38100"/>
                  <a:gd name="connsiteX12" fmla="*/ 19312 w 57150"/>
                  <a:gd name="connsiteY12" fmla="*/ 12859 h 38100"/>
                  <a:gd name="connsiteX13" fmla="*/ 12644 w 57150"/>
                  <a:gd name="connsiteY13" fmla="*/ 13335 h 38100"/>
                  <a:gd name="connsiteX14" fmla="*/ 12644 w 57150"/>
                  <a:gd name="connsiteY14" fmla="*/ 14954 h 38100"/>
                  <a:gd name="connsiteX15" fmla="*/ 15883 w 57150"/>
                  <a:gd name="connsiteY15" fmla="*/ 17621 h 38100"/>
                  <a:gd name="connsiteX16" fmla="*/ 23693 w 57150"/>
                  <a:gd name="connsiteY16" fmla="*/ 22289 h 38100"/>
                  <a:gd name="connsiteX17" fmla="*/ 38076 w 57150"/>
                  <a:gd name="connsiteY17" fmla="*/ 28099 h 38100"/>
                  <a:gd name="connsiteX18" fmla="*/ 52078 w 57150"/>
                  <a:gd name="connsiteY18" fmla="*/ 3162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7150" h="38100">
                    <a:moveTo>
                      <a:pt x="52078" y="31623"/>
                    </a:moveTo>
                    <a:cubicBezTo>
                      <a:pt x="47151" y="32968"/>
                      <a:pt x="41955" y="32968"/>
                      <a:pt x="37029" y="31623"/>
                    </a:cubicBezTo>
                    <a:cubicBezTo>
                      <a:pt x="31655" y="30578"/>
                      <a:pt x="26438" y="28849"/>
                      <a:pt x="21503" y="26480"/>
                    </a:cubicBezTo>
                    <a:cubicBezTo>
                      <a:pt x="18529" y="25147"/>
                      <a:pt x="15664" y="23586"/>
                      <a:pt x="12930" y="21812"/>
                    </a:cubicBezTo>
                    <a:cubicBezTo>
                      <a:pt x="11294" y="20795"/>
                      <a:pt x="9791" y="19580"/>
                      <a:pt x="8454" y="18193"/>
                    </a:cubicBezTo>
                    <a:cubicBezTo>
                      <a:pt x="6707" y="15882"/>
                      <a:pt x="6707" y="12693"/>
                      <a:pt x="8454" y="10382"/>
                    </a:cubicBezTo>
                    <a:cubicBezTo>
                      <a:pt x="9973" y="8332"/>
                      <a:pt x="12379" y="7129"/>
                      <a:pt x="14930" y="7144"/>
                    </a:cubicBezTo>
                    <a:cubicBezTo>
                      <a:pt x="16841" y="7178"/>
                      <a:pt x="18735" y="7499"/>
                      <a:pt x="20550" y="8096"/>
                    </a:cubicBezTo>
                    <a:cubicBezTo>
                      <a:pt x="29126" y="10300"/>
                      <a:pt x="36995" y="14661"/>
                      <a:pt x="43410" y="20765"/>
                    </a:cubicBezTo>
                    <a:cubicBezTo>
                      <a:pt x="50268" y="27337"/>
                      <a:pt x="52935" y="32862"/>
                      <a:pt x="51983" y="33052"/>
                    </a:cubicBezTo>
                    <a:cubicBezTo>
                      <a:pt x="51030" y="33243"/>
                      <a:pt x="48077" y="28956"/>
                      <a:pt x="41124" y="23527"/>
                    </a:cubicBezTo>
                    <a:cubicBezTo>
                      <a:pt x="37054" y="20381"/>
                      <a:pt x="32606" y="17757"/>
                      <a:pt x="27884" y="15717"/>
                    </a:cubicBezTo>
                    <a:cubicBezTo>
                      <a:pt x="25107" y="14537"/>
                      <a:pt x="22241" y="13582"/>
                      <a:pt x="19312" y="12859"/>
                    </a:cubicBezTo>
                    <a:cubicBezTo>
                      <a:pt x="16168" y="12002"/>
                      <a:pt x="13502" y="11907"/>
                      <a:pt x="12644" y="13335"/>
                    </a:cubicBezTo>
                    <a:cubicBezTo>
                      <a:pt x="11787" y="14764"/>
                      <a:pt x="12644" y="14097"/>
                      <a:pt x="12644" y="14954"/>
                    </a:cubicBezTo>
                    <a:cubicBezTo>
                      <a:pt x="13556" y="16030"/>
                      <a:pt x="14653" y="16933"/>
                      <a:pt x="15883" y="17621"/>
                    </a:cubicBezTo>
                    <a:cubicBezTo>
                      <a:pt x="18391" y="19332"/>
                      <a:pt x="20999" y="20890"/>
                      <a:pt x="23693" y="22289"/>
                    </a:cubicBezTo>
                    <a:cubicBezTo>
                      <a:pt x="28302" y="24656"/>
                      <a:pt x="33116" y="26601"/>
                      <a:pt x="38076" y="28099"/>
                    </a:cubicBezTo>
                    <a:cubicBezTo>
                      <a:pt x="42816" y="28964"/>
                      <a:pt x="47493" y="30141"/>
                      <a:pt x="52078" y="3162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5" name="Полилиния: фигура 604">
                <a:extLst>
                  <a:ext uri="{FF2B5EF4-FFF2-40B4-BE49-F238E27FC236}">
                    <a16:creationId xmlns:a16="http://schemas.microsoft.com/office/drawing/2014/main" id="{135F7123-1E1C-48FB-BA32-6D1B5BCCDC34}"/>
                  </a:ext>
                </a:extLst>
              </p:cNvPr>
              <p:cNvSpPr/>
              <p:nvPr/>
            </p:nvSpPr>
            <p:spPr>
              <a:xfrm>
                <a:off x="3569053" y="6193605"/>
                <a:ext cx="38100" cy="57150"/>
              </a:xfrm>
              <a:custGeom>
                <a:avLst/>
                <a:gdLst>
                  <a:gd name="connsiteX0" fmla="*/ 10837 w 38100"/>
                  <a:gd name="connsiteY0" fmla="*/ 54388 h 57150"/>
                  <a:gd name="connsiteX1" fmla="*/ 7217 w 38100"/>
                  <a:gd name="connsiteY1" fmla="*/ 39910 h 57150"/>
                  <a:gd name="connsiteX2" fmla="*/ 9503 w 38100"/>
                  <a:gd name="connsiteY2" fmla="*/ 23527 h 57150"/>
                  <a:gd name="connsiteX3" fmla="*/ 13504 w 38100"/>
                  <a:gd name="connsiteY3" fmla="*/ 14478 h 57150"/>
                  <a:gd name="connsiteX4" fmla="*/ 23029 w 38100"/>
                  <a:gd name="connsiteY4" fmla="*/ 7144 h 57150"/>
                  <a:gd name="connsiteX5" fmla="*/ 29220 w 38100"/>
                  <a:gd name="connsiteY5" fmla="*/ 11430 h 57150"/>
                  <a:gd name="connsiteX6" fmla="*/ 30649 w 38100"/>
                  <a:gd name="connsiteY6" fmla="*/ 16954 h 57150"/>
                  <a:gd name="connsiteX7" fmla="*/ 30649 w 38100"/>
                  <a:gd name="connsiteY7" fmla="*/ 27051 h 57150"/>
                  <a:gd name="connsiteX8" fmla="*/ 23981 w 38100"/>
                  <a:gd name="connsiteY8" fmla="*/ 42386 h 57150"/>
                  <a:gd name="connsiteX9" fmla="*/ 11694 w 38100"/>
                  <a:gd name="connsiteY9" fmla="*/ 51149 h 57150"/>
                  <a:gd name="connsiteX10" fmla="*/ 21219 w 38100"/>
                  <a:gd name="connsiteY10" fmla="*/ 40291 h 57150"/>
                  <a:gd name="connsiteX11" fmla="*/ 26267 w 38100"/>
                  <a:gd name="connsiteY11" fmla="*/ 26289 h 57150"/>
                  <a:gd name="connsiteX12" fmla="*/ 26267 w 38100"/>
                  <a:gd name="connsiteY12" fmla="*/ 17621 h 57150"/>
                  <a:gd name="connsiteX13" fmla="*/ 23505 w 38100"/>
                  <a:gd name="connsiteY13" fmla="*/ 12192 h 57150"/>
                  <a:gd name="connsiteX14" fmla="*/ 18171 w 38100"/>
                  <a:gd name="connsiteY14" fmla="*/ 16954 h 57150"/>
                  <a:gd name="connsiteX15" fmla="*/ 14361 w 38100"/>
                  <a:gd name="connsiteY15" fmla="*/ 25051 h 57150"/>
                  <a:gd name="connsiteX16" fmla="*/ 11123 w 38100"/>
                  <a:gd name="connsiteY16" fmla="*/ 39909 h 57150"/>
                  <a:gd name="connsiteX17" fmla="*/ 10837 w 38100"/>
                  <a:gd name="connsiteY17" fmla="*/ 54388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8100" h="57150">
                    <a:moveTo>
                      <a:pt x="10837" y="54388"/>
                    </a:moveTo>
                    <a:cubicBezTo>
                      <a:pt x="8084" y="50085"/>
                      <a:pt x="6813" y="45001"/>
                      <a:pt x="7217" y="39910"/>
                    </a:cubicBezTo>
                    <a:cubicBezTo>
                      <a:pt x="7018" y="34357"/>
                      <a:pt x="7791" y="28812"/>
                      <a:pt x="9503" y="23527"/>
                    </a:cubicBezTo>
                    <a:cubicBezTo>
                      <a:pt x="10555" y="20394"/>
                      <a:pt x="11894" y="17365"/>
                      <a:pt x="13504" y="14478"/>
                    </a:cubicBezTo>
                    <a:cubicBezTo>
                      <a:pt x="15184" y="10541"/>
                      <a:pt x="18793" y="7762"/>
                      <a:pt x="23029" y="7144"/>
                    </a:cubicBezTo>
                    <a:cubicBezTo>
                      <a:pt x="25762" y="7210"/>
                      <a:pt x="28195" y="8895"/>
                      <a:pt x="29220" y="11430"/>
                    </a:cubicBezTo>
                    <a:cubicBezTo>
                      <a:pt x="29984" y="13185"/>
                      <a:pt x="30466" y="15049"/>
                      <a:pt x="30649" y="16954"/>
                    </a:cubicBezTo>
                    <a:cubicBezTo>
                      <a:pt x="31175" y="20299"/>
                      <a:pt x="31175" y="23706"/>
                      <a:pt x="30649" y="27051"/>
                    </a:cubicBezTo>
                    <a:cubicBezTo>
                      <a:pt x="29718" y="32632"/>
                      <a:pt x="27428" y="37899"/>
                      <a:pt x="23981" y="42386"/>
                    </a:cubicBezTo>
                    <a:cubicBezTo>
                      <a:pt x="17980" y="50006"/>
                      <a:pt x="11885" y="51911"/>
                      <a:pt x="11694" y="51149"/>
                    </a:cubicBezTo>
                    <a:cubicBezTo>
                      <a:pt x="11503" y="50387"/>
                      <a:pt x="16361" y="47720"/>
                      <a:pt x="21219" y="40291"/>
                    </a:cubicBezTo>
                    <a:cubicBezTo>
                      <a:pt x="23879" y="36036"/>
                      <a:pt x="25600" y="31262"/>
                      <a:pt x="26267" y="26289"/>
                    </a:cubicBezTo>
                    <a:cubicBezTo>
                      <a:pt x="26645" y="23412"/>
                      <a:pt x="26645" y="20498"/>
                      <a:pt x="26267" y="17621"/>
                    </a:cubicBezTo>
                    <a:cubicBezTo>
                      <a:pt x="26267" y="14478"/>
                      <a:pt x="24743" y="11906"/>
                      <a:pt x="23505" y="12192"/>
                    </a:cubicBezTo>
                    <a:cubicBezTo>
                      <a:pt x="22267" y="12477"/>
                      <a:pt x="19504" y="14478"/>
                      <a:pt x="18171" y="16954"/>
                    </a:cubicBezTo>
                    <a:cubicBezTo>
                      <a:pt x="16670" y="19538"/>
                      <a:pt x="15395" y="22247"/>
                      <a:pt x="14361" y="25051"/>
                    </a:cubicBezTo>
                    <a:cubicBezTo>
                      <a:pt x="12625" y="29837"/>
                      <a:pt x="11535" y="34834"/>
                      <a:pt x="11123" y="39909"/>
                    </a:cubicBezTo>
                    <a:cubicBezTo>
                      <a:pt x="10170" y="48768"/>
                      <a:pt x="11694" y="54197"/>
                      <a:pt x="10837" y="54388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6" name="Полилиния: фигура 605">
                <a:extLst>
                  <a:ext uri="{FF2B5EF4-FFF2-40B4-BE49-F238E27FC236}">
                    <a16:creationId xmlns:a16="http://schemas.microsoft.com/office/drawing/2014/main" id="{581B02E2-0070-49F8-B258-F0FD29B3EA9D}"/>
                  </a:ext>
                </a:extLst>
              </p:cNvPr>
              <p:cNvSpPr/>
              <p:nvPr/>
            </p:nvSpPr>
            <p:spPr>
              <a:xfrm>
                <a:off x="2540426" y="4349279"/>
                <a:ext cx="276225" cy="571500"/>
              </a:xfrm>
              <a:custGeom>
                <a:avLst/>
                <a:gdLst>
                  <a:gd name="connsiteX0" fmla="*/ 13622 w 276225"/>
                  <a:gd name="connsiteY0" fmla="*/ 389192 h 571500"/>
                  <a:gd name="connsiteX1" fmla="*/ 70772 w 276225"/>
                  <a:gd name="connsiteY1" fmla="*/ 488061 h 571500"/>
                  <a:gd name="connsiteX2" fmla="*/ 150210 w 276225"/>
                  <a:gd name="connsiteY2" fmla="*/ 567404 h 571500"/>
                  <a:gd name="connsiteX3" fmla="*/ 196883 w 276225"/>
                  <a:gd name="connsiteY3" fmla="*/ 503301 h 571500"/>
                  <a:gd name="connsiteX4" fmla="*/ 196883 w 276225"/>
                  <a:gd name="connsiteY4" fmla="*/ 438722 h 571500"/>
                  <a:gd name="connsiteX5" fmla="*/ 196883 w 276225"/>
                  <a:gd name="connsiteY5" fmla="*/ 384619 h 571500"/>
                  <a:gd name="connsiteX6" fmla="*/ 270892 w 276225"/>
                  <a:gd name="connsiteY6" fmla="*/ 302990 h 571500"/>
                  <a:gd name="connsiteX7" fmla="*/ 264129 w 276225"/>
                  <a:gd name="connsiteY7" fmla="*/ 132302 h 571500"/>
                  <a:gd name="connsiteX8" fmla="*/ 133065 w 276225"/>
                  <a:gd name="connsiteY8" fmla="*/ 7144 h 571500"/>
                  <a:gd name="connsiteX9" fmla="*/ 126112 w 276225"/>
                  <a:gd name="connsiteY9" fmla="*/ 7144 h 571500"/>
                  <a:gd name="connsiteX10" fmla="*/ 7525 w 276225"/>
                  <a:gd name="connsiteY10" fmla="*/ 149447 h 571500"/>
                  <a:gd name="connsiteX11" fmla="*/ 12859 w 276225"/>
                  <a:gd name="connsiteY11" fmla="*/ 389287 h 57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6225" h="571500">
                    <a:moveTo>
                      <a:pt x="13622" y="389192"/>
                    </a:moveTo>
                    <a:lnTo>
                      <a:pt x="70772" y="488061"/>
                    </a:lnTo>
                    <a:lnTo>
                      <a:pt x="150210" y="567404"/>
                    </a:lnTo>
                    <a:lnTo>
                      <a:pt x="196883" y="503301"/>
                    </a:lnTo>
                    <a:lnTo>
                      <a:pt x="196883" y="438722"/>
                    </a:lnTo>
                    <a:lnTo>
                      <a:pt x="196883" y="384619"/>
                    </a:lnTo>
                    <a:cubicBezTo>
                      <a:pt x="196883" y="384619"/>
                      <a:pt x="268796" y="375094"/>
                      <a:pt x="270892" y="302990"/>
                    </a:cubicBezTo>
                    <a:cubicBezTo>
                      <a:pt x="271940" y="268415"/>
                      <a:pt x="268225" y="196977"/>
                      <a:pt x="264129" y="132302"/>
                    </a:cubicBezTo>
                    <a:cubicBezTo>
                      <a:pt x="259856" y="62745"/>
                      <a:pt x="202745" y="8207"/>
                      <a:pt x="133065" y="7144"/>
                    </a:cubicBezTo>
                    <a:lnTo>
                      <a:pt x="126112" y="7144"/>
                    </a:lnTo>
                    <a:cubicBezTo>
                      <a:pt x="51436" y="10192"/>
                      <a:pt x="2287" y="74962"/>
                      <a:pt x="7525" y="149447"/>
                    </a:cubicBezTo>
                    <a:lnTo>
                      <a:pt x="12859" y="389287"/>
                    </a:lnTo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7" name="Полилиния: фигура 606">
                <a:extLst>
                  <a:ext uri="{FF2B5EF4-FFF2-40B4-BE49-F238E27FC236}">
                    <a16:creationId xmlns:a16="http://schemas.microsoft.com/office/drawing/2014/main" id="{80E4392A-53AE-4B41-99B3-F2E89869C6F1}"/>
                  </a:ext>
                </a:extLst>
              </p:cNvPr>
              <p:cNvSpPr/>
              <p:nvPr/>
            </p:nvSpPr>
            <p:spPr>
              <a:xfrm>
                <a:off x="2756644" y="4512118"/>
                <a:ext cx="28575" cy="28575"/>
              </a:xfrm>
              <a:custGeom>
                <a:avLst/>
                <a:gdLst>
                  <a:gd name="connsiteX0" fmla="*/ 27527 w 28575"/>
                  <a:gd name="connsiteY0" fmla="*/ 16803 h 28575"/>
                  <a:gd name="connsiteX1" fmla="*/ 17526 w 28575"/>
                  <a:gd name="connsiteY1" fmla="*/ 26900 h 28575"/>
                  <a:gd name="connsiteX2" fmla="*/ 7182 w 28575"/>
                  <a:gd name="connsiteY2" fmla="*/ 18271 h 28575"/>
                  <a:gd name="connsiteX3" fmla="*/ 7144 w 28575"/>
                  <a:gd name="connsiteY3" fmla="*/ 17375 h 28575"/>
                  <a:gd name="connsiteX4" fmla="*/ 17145 w 28575"/>
                  <a:gd name="connsiteY4" fmla="*/ 7183 h 28575"/>
                  <a:gd name="connsiteX5" fmla="*/ 27489 w 28575"/>
                  <a:gd name="connsiteY5" fmla="*/ 15811 h 28575"/>
                  <a:gd name="connsiteX6" fmla="*/ 27527 w 28575"/>
                  <a:gd name="connsiteY6" fmla="*/ 16803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28575">
                    <a:moveTo>
                      <a:pt x="27527" y="16803"/>
                    </a:moveTo>
                    <a:cubicBezTo>
                      <a:pt x="27527" y="22343"/>
                      <a:pt x="23065" y="26848"/>
                      <a:pt x="17526" y="26900"/>
                    </a:cubicBezTo>
                    <a:cubicBezTo>
                      <a:pt x="12287" y="27373"/>
                      <a:pt x="7656" y="23510"/>
                      <a:pt x="7182" y="18271"/>
                    </a:cubicBezTo>
                    <a:cubicBezTo>
                      <a:pt x="7155" y="17973"/>
                      <a:pt x="7143" y="17674"/>
                      <a:pt x="7144" y="17375"/>
                    </a:cubicBezTo>
                    <a:cubicBezTo>
                      <a:pt x="7143" y="11820"/>
                      <a:pt x="11591" y="7287"/>
                      <a:pt x="17145" y="7183"/>
                    </a:cubicBezTo>
                    <a:cubicBezTo>
                      <a:pt x="22384" y="6709"/>
                      <a:pt x="27016" y="10572"/>
                      <a:pt x="27489" y="15811"/>
                    </a:cubicBezTo>
                    <a:cubicBezTo>
                      <a:pt x="27519" y="16141"/>
                      <a:pt x="27532" y="16472"/>
                      <a:pt x="27527" y="1680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8" name="Полилиния: фигура 607">
                <a:extLst>
                  <a:ext uri="{FF2B5EF4-FFF2-40B4-BE49-F238E27FC236}">
                    <a16:creationId xmlns:a16="http://schemas.microsoft.com/office/drawing/2014/main" id="{3A6CCAB7-856D-4191-B681-5E37B3356AA5}"/>
                  </a:ext>
                </a:extLst>
              </p:cNvPr>
              <p:cNvSpPr/>
              <p:nvPr/>
            </p:nvSpPr>
            <p:spPr>
              <a:xfrm>
                <a:off x="2742524" y="4494523"/>
                <a:ext cx="47625" cy="19050"/>
              </a:xfrm>
              <a:custGeom>
                <a:avLst/>
                <a:gdLst>
                  <a:gd name="connsiteX0" fmla="*/ 47934 w 47625"/>
                  <a:gd name="connsiteY0" fmla="*/ 18206 h 19050"/>
                  <a:gd name="connsiteX1" fmla="*/ 27932 w 47625"/>
                  <a:gd name="connsiteY1" fmla="*/ 13538 h 19050"/>
                  <a:gd name="connsiteX2" fmla="*/ 7548 w 47625"/>
                  <a:gd name="connsiteY2" fmla="*/ 17348 h 19050"/>
                  <a:gd name="connsiteX3" fmla="*/ 11929 w 47625"/>
                  <a:gd name="connsiteY3" fmla="*/ 11824 h 19050"/>
                  <a:gd name="connsiteX4" fmla="*/ 28217 w 47625"/>
                  <a:gd name="connsiteY4" fmla="*/ 7157 h 19050"/>
                  <a:gd name="connsiteX5" fmla="*/ 44124 w 47625"/>
                  <a:gd name="connsiteY5" fmla="*/ 12491 h 19050"/>
                  <a:gd name="connsiteX6" fmla="*/ 47934 w 47625"/>
                  <a:gd name="connsiteY6" fmla="*/ 18206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47934" y="18206"/>
                    </a:moveTo>
                    <a:cubicBezTo>
                      <a:pt x="46600" y="19539"/>
                      <a:pt x="38981" y="13634"/>
                      <a:pt x="27932" y="13538"/>
                    </a:cubicBezTo>
                    <a:cubicBezTo>
                      <a:pt x="16882" y="13443"/>
                      <a:pt x="8882" y="18682"/>
                      <a:pt x="7548" y="17348"/>
                    </a:cubicBezTo>
                    <a:cubicBezTo>
                      <a:pt x="6215" y="16015"/>
                      <a:pt x="8310" y="14300"/>
                      <a:pt x="11929" y="11824"/>
                    </a:cubicBezTo>
                    <a:cubicBezTo>
                      <a:pt x="16741" y="8612"/>
                      <a:pt x="22434" y="6981"/>
                      <a:pt x="28217" y="7157"/>
                    </a:cubicBezTo>
                    <a:cubicBezTo>
                      <a:pt x="33947" y="7223"/>
                      <a:pt x="39512" y="9089"/>
                      <a:pt x="44124" y="12491"/>
                    </a:cubicBezTo>
                    <a:cubicBezTo>
                      <a:pt x="47458" y="15348"/>
                      <a:pt x="48506" y="17634"/>
                      <a:pt x="47934" y="1820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9" name="Полилиния: фигура 608">
                <a:extLst>
                  <a:ext uri="{FF2B5EF4-FFF2-40B4-BE49-F238E27FC236}">
                    <a16:creationId xmlns:a16="http://schemas.microsoft.com/office/drawing/2014/main" id="{7F7DFA1F-E4EC-4518-AD30-9A153CB1EF9F}"/>
                  </a:ext>
                </a:extLst>
              </p:cNvPr>
              <p:cNvSpPr/>
              <p:nvPr/>
            </p:nvSpPr>
            <p:spPr>
              <a:xfrm>
                <a:off x="2653869" y="4512149"/>
                <a:ext cx="28575" cy="28575"/>
              </a:xfrm>
              <a:custGeom>
                <a:avLst/>
                <a:gdLst>
                  <a:gd name="connsiteX0" fmla="*/ 27146 w 28575"/>
                  <a:gd name="connsiteY0" fmla="*/ 16772 h 28575"/>
                  <a:gd name="connsiteX1" fmla="*/ 17621 w 28575"/>
                  <a:gd name="connsiteY1" fmla="*/ 26868 h 28575"/>
                  <a:gd name="connsiteX2" fmla="*/ 7192 w 28575"/>
                  <a:gd name="connsiteY2" fmla="*/ 18344 h 28575"/>
                  <a:gd name="connsiteX3" fmla="*/ 7144 w 28575"/>
                  <a:gd name="connsiteY3" fmla="*/ 17343 h 28575"/>
                  <a:gd name="connsiteX4" fmla="*/ 17240 w 28575"/>
                  <a:gd name="connsiteY4" fmla="*/ 7152 h 28575"/>
                  <a:gd name="connsiteX5" fmla="*/ 27139 w 28575"/>
                  <a:gd name="connsiteY5" fmla="*/ 16287 h 28575"/>
                  <a:gd name="connsiteX6" fmla="*/ 27146 w 28575"/>
                  <a:gd name="connsiteY6" fmla="*/ 1677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28575">
                    <a:moveTo>
                      <a:pt x="27146" y="16772"/>
                    </a:moveTo>
                    <a:cubicBezTo>
                      <a:pt x="27155" y="22132"/>
                      <a:pt x="22973" y="26565"/>
                      <a:pt x="17621" y="26868"/>
                    </a:cubicBezTo>
                    <a:cubicBezTo>
                      <a:pt x="12387" y="27394"/>
                      <a:pt x="7718" y="23578"/>
                      <a:pt x="7192" y="18344"/>
                    </a:cubicBezTo>
                    <a:cubicBezTo>
                      <a:pt x="7158" y="18011"/>
                      <a:pt x="7142" y="17677"/>
                      <a:pt x="7144" y="17343"/>
                    </a:cubicBezTo>
                    <a:cubicBezTo>
                      <a:pt x="7194" y="11773"/>
                      <a:pt x="11670" y="7255"/>
                      <a:pt x="17240" y="7152"/>
                    </a:cubicBezTo>
                    <a:cubicBezTo>
                      <a:pt x="22497" y="6941"/>
                      <a:pt x="26928" y="11031"/>
                      <a:pt x="27139" y="16287"/>
                    </a:cubicBezTo>
                    <a:cubicBezTo>
                      <a:pt x="27146" y="16449"/>
                      <a:pt x="27148" y="16610"/>
                      <a:pt x="27146" y="1677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0" name="Полилиния: фигура 609">
                <a:extLst>
                  <a:ext uri="{FF2B5EF4-FFF2-40B4-BE49-F238E27FC236}">
                    <a16:creationId xmlns:a16="http://schemas.microsoft.com/office/drawing/2014/main" id="{5B45EE43-FB19-4289-98D3-F2EE3B95F313}"/>
                  </a:ext>
                </a:extLst>
              </p:cNvPr>
              <p:cNvSpPr/>
              <p:nvPr/>
            </p:nvSpPr>
            <p:spPr>
              <a:xfrm>
                <a:off x="2632886" y="4491565"/>
                <a:ext cx="47625" cy="19050"/>
              </a:xfrm>
              <a:custGeom>
                <a:avLst/>
                <a:gdLst>
                  <a:gd name="connsiteX0" fmla="*/ 47844 w 47625"/>
                  <a:gd name="connsiteY0" fmla="*/ 16211 h 19050"/>
                  <a:gd name="connsiteX1" fmla="*/ 27460 w 47625"/>
                  <a:gd name="connsiteY1" fmla="*/ 13639 h 19050"/>
                  <a:gd name="connsiteX2" fmla="*/ 7648 w 47625"/>
                  <a:gd name="connsiteY2" fmla="*/ 19735 h 19050"/>
                  <a:gd name="connsiteX3" fmla="*/ 11363 w 47625"/>
                  <a:gd name="connsiteY3" fmla="*/ 13734 h 19050"/>
                  <a:gd name="connsiteX4" fmla="*/ 27079 w 47625"/>
                  <a:gd name="connsiteY4" fmla="*/ 7257 h 19050"/>
                  <a:gd name="connsiteX5" fmla="*/ 43367 w 47625"/>
                  <a:gd name="connsiteY5" fmla="*/ 10972 h 19050"/>
                  <a:gd name="connsiteX6" fmla="*/ 47844 w 47625"/>
                  <a:gd name="connsiteY6" fmla="*/ 1621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47844" y="16211"/>
                    </a:moveTo>
                    <a:cubicBezTo>
                      <a:pt x="46701" y="17639"/>
                      <a:pt x="38319" y="12591"/>
                      <a:pt x="27460" y="13639"/>
                    </a:cubicBezTo>
                    <a:cubicBezTo>
                      <a:pt x="16602" y="14687"/>
                      <a:pt x="8982" y="20973"/>
                      <a:pt x="7648" y="19735"/>
                    </a:cubicBezTo>
                    <a:cubicBezTo>
                      <a:pt x="6315" y="18497"/>
                      <a:pt x="7648" y="16592"/>
                      <a:pt x="11363" y="13734"/>
                    </a:cubicBezTo>
                    <a:cubicBezTo>
                      <a:pt x="15824" y="10031"/>
                      <a:pt x="21305" y="7772"/>
                      <a:pt x="27079" y="7257"/>
                    </a:cubicBezTo>
                    <a:cubicBezTo>
                      <a:pt x="32765" y="6733"/>
                      <a:pt x="38471" y="8034"/>
                      <a:pt x="43367" y="10972"/>
                    </a:cubicBezTo>
                    <a:cubicBezTo>
                      <a:pt x="46987" y="13258"/>
                      <a:pt x="48415" y="15544"/>
                      <a:pt x="47844" y="1621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1" name="Полилиния: фигура 610">
                <a:extLst>
                  <a:ext uri="{FF2B5EF4-FFF2-40B4-BE49-F238E27FC236}">
                    <a16:creationId xmlns:a16="http://schemas.microsoft.com/office/drawing/2014/main" id="{B077E371-8F79-4878-9BC4-F8ABE0BC3954}"/>
                  </a:ext>
                </a:extLst>
              </p:cNvPr>
              <p:cNvSpPr/>
              <p:nvPr/>
            </p:nvSpPr>
            <p:spPr>
              <a:xfrm>
                <a:off x="2709400" y="4500060"/>
                <a:ext cx="38100" cy="104775"/>
              </a:xfrm>
              <a:custGeom>
                <a:avLst/>
                <a:gdLst>
                  <a:gd name="connsiteX0" fmla="*/ 10668 w 38100"/>
                  <a:gd name="connsiteY0" fmla="*/ 99060 h 104775"/>
                  <a:gd name="connsiteX1" fmla="*/ 28575 w 38100"/>
                  <a:gd name="connsiteY1" fmla="*/ 96107 h 104775"/>
                  <a:gd name="connsiteX2" fmla="*/ 34576 w 38100"/>
                  <a:gd name="connsiteY2" fmla="*/ 93440 h 104775"/>
                  <a:gd name="connsiteX3" fmla="*/ 32861 w 38100"/>
                  <a:gd name="connsiteY3" fmla="*/ 85058 h 104775"/>
                  <a:gd name="connsiteX4" fmla="*/ 24860 w 38100"/>
                  <a:gd name="connsiteY4" fmla="*/ 63532 h 104775"/>
                  <a:gd name="connsiteX5" fmla="*/ 7144 w 38100"/>
                  <a:gd name="connsiteY5" fmla="*/ 7144 h 104775"/>
                  <a:gd name="connsiteX6" fmla="*/ 29337 w 38100"/>
                  <a:gd name="connsiteY6" fmla="*/ 61913 h 104775"/>
                  <a:gd name="connsiteX7" fmla="*/ 36957 w 38100"/>
                  <a:gd name="connsiteY7" fmla="*/ 83629 h 104775"/>
                  <a:gd name="connsiteX8" fmla="*/ 38291 w 38100"/>
                  <a:gd name="connsiteY8" fmla="*/ 94679 h 104775"/>
                  <a:gd name="connsiteX9" fmla="*/ 33528 w 38100"/>
                  <a:gd name="connsiteY9" fmla="*/ 98679 h 104775"/>
                  <a:gd name="connsiteX10" fmla="*/ 28766 w 38100"/>
                  <a:gd name="connsiteY10" fmla="*/ 99346 h 104775"/>
                  <a:gd name="connsiteX11" fmla="*/ 10668 w 38100"/>
                  <a:gd name="connsiteY11" fmla="*/ 9906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100" h="104775">
                    <a:moveTo>
                      <a:pt x="10668" y="99060"/>
                    </a:moveTo>
                    <a:cubicBezTo>
                      <a:pt x="16480" y="97288"/>
                      <a:pt x="22502" y="96295"/>
                      <a:pt x="28575" y="96107"/>
                    </a:cubicBezTo>
                    <a:cubicBezTo>
                      <a:pt x="31432" y="96107"/>
                      <a:pt x="34099" y="95345"/>
                      <a:pt x="34576" y="93440"/>
                    </a:cubicBezTo>
                    <a:cubicBezTo>
                      <a:pt x="34816" y="90540"/>
                      <a:pt x="34221" y="87631"/>
                      <a:pt x="32861" y="85058"/>
                    </a:cubicBezTo>
                    <a:lnTo>
                      <a:pt x="24860" y="63532"/>
                    </a:lnTo>
                    <a:cubicBezTo>
                      <a:pt x="17458" y="45239"/>
                      <a:pt x="11534" y="26383"/>
                      <a:pt x="7144" y="7144"/>
                    </a:cubicBezTo>
                    <a:cubicBezTo>
                      <a:pt x="16032" y="24760"/>
                      <a:pt x="23455" y="43078"/>
                      <a:pt x="29337" y="61913"/>
                    </a:cubicBezTo>
                    <a:cubicBezTo>
                      <a:pt x="32004" y="69533"/>
                      <a:pt x="34576" y="76676"/>
                      <a:pt x="36957" y="83629"/>
                    </a:cubicBezTo>
                    <a:cubicBezTo>
                      <a:pt x="38669" y="87046"/>
                      <a:pt x="39141" y="90952"/>
                      <a:pt x="38291" y="94679"/>
                    </a:cubicBezTo>
                    <a:cubicBezTo>
                      <a:pt x="37409" y="96678"/>
                      <a:pt x="35650" y="98156"/>
                      <a:pt x="33528" y="98679"/>
                    </a:cubicBezTo>
                    <a:cubicBezTo>
                      <a:pt x="31977" y="99109"/>
                      <a:pt x="30375" y="99333"/>
                      <a:pt x="28766" y="99346"/>
                    </a:cubicBezTo>
                    <a:cubicBezTo>
                      <a:pt x="22743" y="99970"/>
                      <a:pt x="16668" y="99874"/>
                      <a:pt x="10668" y="9906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2" name="Полилиния: фигура 611">
                <a:extLst>
                  <a:ext uri="{FF2B5EF4-FFF2-40B4-BE49-F238E27FC236}">
                    <a16:creationId xmlns:a16="http://schemas.microsoft.com/office/drawing/2014/main" id="{136ECD26-2453-47D4-B482-729834423370}"/>
                  </a:ext>
                </a:extLst>
              </p:cNvPr>
              <p:cNvSpPr/>
              <p:nvPr/>
            </p:nvSpPr>
            <p:spPr>
              <a:xfrm>
                <a:off x="2677587" y="4599023"/>
                <a:ext cx="47625" cy="38100"/>
              </a:xfrm>
              <a:custGeom>
                <a:avLst/>
                <a:gdLst>
                  <a:gd name="connsiteX0" fmla="*/ 9430 w 47625"/>
                  <a:gd name="connsiteY0" fmla="*/ 7146 h 38100"/>
                  <a:gd name="connsiteX1" fmla="*/ 21146 w 47625"/>
                  <a:gd name="connsiteY1" fmla="*/ 27625 h 38100"/>
                  <a:gd name="connsiteX2" fmla="*/ 44005 w 47625"/>
                  <a:gd name="connsiteY2" fmla="*/ 37150 h 38100"/>
                  <a:gd name="connsiteX3" fmla="*/ 35719 w 47625"/>
                  <a:gd name="connsiteY3" fmla="*/ 39531 h 38100"/>
                  <a:gd name="connsiteX4" fmla="*/ 16669 w 47625"/>
                  <a:gd name="connsiteY4" fmla="*/ 32482 h 38100"/>
                  <a:gd name="connsiteX5" fmla="*/ 7144 w 47625"/>
                  <a:gd name="connsiteY5" fmla="*/ 15242 h 38100"/>
                  <a:gd name="connsiteX6" fmla="*/ 9430 w 47625"/>
                  <a:gd name="connsiteY6" fmla="*/ 7146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38100">
                    <a:moveTo>
                      <a:pt x="9430" y="7146"/>
                    </a:moveTo>
                    <a:cubicBezTo>
                      <a:pt x="11239" y="7146"/>
                      <a:pt x="11049" y="19052"/>
                      <a:pt x="21146" y="27625"/>
                    </a:cubicBezTo>
                    <a:cubicBezTo>
                      <a:pt x="31242" y="36197"/>
                      <a:pt x="43910" y="35245"/>
                      <a:pt x="44005" y="37150"/>
                    </a:cubicBezTo>
                    <a:cubicBezTo>
                      <a:pt x="44101" y="39055"/>
                      <a:pt x="41148" y="39436"/>
                      <a:pt x="35719" y="39531"/>
                    </a:cubicBezTo>
                    <a:cubicBezTo>
                      <a:pt x="28732" y="39525"/>
                      <a:pt x="21977" y="37025"/>
                      <a:pt x="16669" y="32482"/>
                    </a:cubicBezTo>
                    <a:cubicBezTo>
                      <a:pt x="11323" y="28234"/>
                      <a:pt x="7895" y="22028"/>
                      <a:pt x="7144" y="15242"/>
                    </a:cubicBezTo>
                    <a:cubicBezTo>
                      <a:pt x="7239" y="10004"/>
                      <a:pt x="8572" y="7051"/>
                      <a:pt x="9430" y="714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3" name="Полилиния: фигура 612">
                <a:extLst>
                  <a:ext uri="{FF2B5EF4-FFF2-40B4-BE49-F238E27FC236}">
                    <a16:creationId xmlns:a16="http://schemas.microsoft.com/office/drawing/2014/main" id="{050FC403-F9C5-4F85-927D-4158FDEC6182}"/>
                  </a:ext>
                </a:extLst>
              </p:cNvPr>
              <p:cNvSpPr/>
              <p:nvPr/>
            </p:nvSpPr>
            <p:spPr>
              <a:xfrm>
                <a:off x="2622570" y="4457614"/>
                <a:ext cx="57150" cy="28575"/>
              </a:xfrm>
              <a:custGeom>
                <a:avLst/>
                <a:gdLst>
                  <a:gd name="connsiteX0" fmla="*/ 57398 w 57150"/>
                  <a:gd name="connsiteY0" fmla="*/ 14157 h 28575"/>
                  <a:gd name="connsiteX1" fmla="*/ 32632 w 57150"/>
                  <a:gd name="connsiteY1" fmla="*/ 18919 h 28575"/>
                  <a:gd name="connsiteX2" fmla="*/ 7772 w 57150"/>
                  <a:gd name="connsiteY2" fmla="*/ 23015 h 28575"/>
                  <a:gd name="connsiteX3" fmla="*/ 12535 w 57150"/>
                  <a:gd name="connsiteY3" fmla="*/ 15681 h 28575"/>
                  <a:gd name="connsiteX4" fmla="*/ 50635 w 57150"/>
                  <a:gd name="connsiteY4" fmla="*/ 8918 h 28575"/>
                  <a:gd name="connsiteX5" fmla="*/ 57398 w 57150"/>
                  <a:gd name="connsiteY5" fmla="*/ 1415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150" h="28575">
                    <a:moveTo>
                      <a:pt x="57398" y="14157"/>
                    </a:moveTo>
                    <a:cubicBezTo>
                      <a:pt x="56540" y="17205"/>
                      <a:pt x="45491" y="16538"/>
                      <a:pt x="32632" y="18919"/>
                    </a:cubicBezTo>
                    <a:cubicBezTo>
                      <a:pt x="19774" y="21301"/>
                      <a:pt x="9677" y="25587"/>
                      <a:pt x="7772" y="23015"/>
                    </a:cubicBezTo>
                    <a:cubicBezTo>
                      <a:pt x="5867" y="20443"/>
                      <a:pt x="8534" y="18824"/>
                      <a:pt x="12535" y="15681"/>
                    </a:cubicBezTo>
                    <a:cubicBezTo>
                      <a:pt x="23467" y="7567"/>
                      <a:pt x="37577" y="5063"/>
                      <a:pt x="50635" y="8918"/>
                    </a:cubicBezTo>
                    <a:cubicBezTo>
                      <a:pt x="55207" y="10252"/>
                      <a:pt x="57778" y="12442"/>
                      <a:pt x="57398" y="1415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4" name="Полилиния: фигура 613">
                <a:extLst>
                  <a:ext uri="{FF2B5EF4-FFF2-40B4-BE49-F238E27FC236}">
                    <a16:creationId xmlns:a16="http://schemas.microsoft.com/office/drawing/2014/main" id="{71B4D2DE-F5D6-4ED7-BF79-25DBA34C394B}"/>
                  </a:ext>
                </a:extLst>
              </p:cNvPr>
              <p:cNvSpPr/>
              <p:nvPr/>
            </p:nvSpPr>
            <p:spPr>
              <a:xfrm>
                <a:off x="2740807" y="4465641"/>
                <a:ext cx="47625" cy="19050"/>
              </a:xfrm>
              <a:custGeom>
                <a:avLst/>
                <a:gdLst>
                  <a:gd name="connsiteX0" fmla="*/ 44984 w 47625"/>
                  <a:gd name="connsiteY0" fmla="*/ 18894 h 19050"/>
                  <a:gd name="connsiteX1" fmla="*/ 25934 w 47625"/>
                  <a:gd name="connsiteY1" fmla="*/ 18322 h 19050"/>
                  <a:gd name="connsiteX2" fmla="*/ 7360 w 47625"/>
                  <a:gd name="connsiteY2" fmla="*/ 17084 h 19050"/>
                  <a:gd name="connsiteX3" fmla="*/ 11265 w 47625"/>
                  <a:gd name="connsiteY3" fmla="*/ 10988 h 19050"/>
                  <a:gd name="connsiteX4" fmla="*/ 41269 w 47625"/>
                  <a:gd name="connsiteY4" fmla="*/ 12417 h 19050"/>
                  <a:gd name="connsiteX5" fmla="*/ 44984 w 47625"/>
                  <a:gd name="connsiteY5" fmla="*/ 18894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625" h="19050">
                    <a:moveTo>
                      <a:pt x="44984" y="18894"/>
                    </a:moveTo>
                    <a:cubicBezTo>
                      <a:pt x="42984" y="21371"/>
                      <a:pt x="35459" y="18894"/>
                      <a:pt x="25934" y="18322"/>
                    </a:cubicBezTo>
                    <a:cubicBezTo>
                      <a:pt x="16409" y="17751"/>
                      <a:pt x="9075" y="19751"/>
                      <a:pt x="7360" y="17084"/>
                    </a:cubicBezTo>
                    <a:cubicBezTo>
                      <a:pt x="6598" y="15846"/>
                      <a:pt x="7836" y="13369"/>
                      <a:pt x="11265" y="10988"/>
                    </a:cubicBezTo>
                    <a:cubicBezTo>
                      <a:pt x="20643" y="5384"/>
                      <a:pt x="32466" y="5947"/>
                      <a:pt x="41269" y="12417"/>
                    </a:cubicBezTo>
                    <a:cubicBezTo>
                      <a:pt x="44889" y="15084"/>
                      <a:pt x="45936" y="17656"/>
                      <a:pt x="44984" y="1889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5" name="Полилиния: фигура 614">
                <a:extLst>
                  <a:ext uri="{FF2B5EF4-FFF2-40B4-BE49-F238E27FC236}">
                    <a16:creationId xmlns:a16="http://schemas.microsoft.com/office/drawing/2014/main" id="{A38C840B-888B-4ACE-B2A3-B195A9E7E80B}"/>
                  </a:ext>
                </a:extLst>
              </p:cNvPr>
              <p:cNvSpPr/>
              <p:nvPr/>
            </p:nvSpPr>
            <p:spPr>
              <a:xfrm>
                <a:off x="2537368" y="4380558"/>
                <a:ext cx="57150" cy="200025"/>
              </a:xfrm>
              <a:custGeom>
                <a:avLst/>
                <a:gdLst>
                  <a:gd name="connsiteX0" fmla="*/ 52874 w 57150"/>
                  <a:gd name="connsiteY0" fmla="*/ 7298 h 200025"/>
                  <a:gd name="connsiteX1" fmla="*/ 31920 w 57150"/>
                  <a:gd name="connsiteY1" fmla="*/ 24443 h 200025"/>
                  <a:gd name="connsiteX2" fmla="*/ 8012 w 57150"/>
                  <a:gd name="connsiteY2" fmla="*/ 92261 h 200025"/>
                  <a:gd name="connsiteX3" fmla="*/ 11250 w 57150"/>
                  <a:gd name="connsiteY3" fmla="*/ 157888 h 200025"/>
                  <a:gd name="connsiteX4" fmla="*/ 13822 w 57150"/>
                  <a:gd name="connsiteY4" fmla="*/ 172462 h 200025"/>
                  <a:gd name="connsiteX5" fmla="*/ 25252 w 57150"/>
                  <a:gd name="connsiteY5" fmla="*/ 201037 h 200025"/>
                  <a:gd name="connsiteX6" fmla="*/ 35920 w 57150"/>
                  <a:gd name="connsiteY6" fmla="*/ 158936 h 200025"/>
                  <a:gd name="connsiteX7" fmla="*/ 39730 w 57150"/>
                  <a:gd name="connsiteY7" fmla="*/ 132457 h 200025"/>
                  <a:gd name="connsiteX8" fmla="*/ 46302 w 57150"/>
                  <a:gd name="connsiteY8" fmla="*/ 89880 h 200025"/>
                  <a:gd name="connsiteX9" fmla="*/ 53065 w 57150"/>
                  <a:gd name="connsiteY9" fmla="*/ 20157 h 200025"/>
                  <a:gd name="connsiteX10" fmla="*/ 52874 w 57150"/>
                  <a:gd name="connsiteY10" fmla="*/ 7298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7150" h="200025">
                    <a:moveTo>
                      <a:pt x="52874" y="7298"/>
                    </a:moveTo>
                    <a:cubicBezTo>
                      <a:pt x="49446" y="5393"/>
                      <a:pt x="34777" y="21681"/>
                      <a:pt x="31920" y="24443"/>
                    </a:cubicBezTo>
                    <a:cubicBezTo>
                      <a:pt x="15346" y="40350"/>
                      <a:pt x="9250" y="69306"/>
                      <a:pt x="8012" y="92261"/>
                    </a:cubicBezTo>
                    <a:cubicBezTo>
                      <a:pt x="6171" y="114184"/>
                      <a:pt x="7261" y="136254"/>
                      <a:pt x="11250" y="157888"/>
                    </a:cubicBezTo>
                    <a:cubicBezTo>
                      <a:pt x="11822" y="160746"/>
                      <a:pt x="13822" y="172462"/>
                      <a:pt x="13822" y="172462"/>
                    </a:cubicBezTo>
                    <a:cubicBezTo>
                      <a:pt x="16965" y="175034"/>
                      <a:pt x="21156" y="200465"/>
                      <a:pt x="25252" y="201037"/>
                    </a:cubicBezTo>
                    <a:cubicBezTo>
                      <a:pt x="30967" y="201037"/>
                      <a:pt x="34777" y="161984"/>
                      <a:pt x="35920" y="158936"/>
                    </a:cubicBezTo>
                    <a:cubicBezTo>
                      <a:pt x="36535" y="150028"/>
                      <a:pt x="37808" y="141177"/>
                      <a:pt x="39730" y="132457"/>
                    </a:cubicBezTo>
                    <a:cubicBezTo>
                      <a:pt x="43148" y="118481"/>
                      <a:pt x="45347" y="104236"/>
                      <a:pt x="46302" y="89880"/>
                    </a:cubicBezTo>
                    <a:cubicBezTo>
                      <a:pt x="46302" y="69877"/>
                      <a:pt x="52874" y="40064"/>
                      <a:pt x="53065" y="20157"/>
                    </a:cubicBezTo>
                    <a:cubicBezTo>
                      <a:pt x="52970" y="15966"/>
                      <a:pt x="56208" y="9013"/>
                      <a:pt x="52874" y="7298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8" name="Полилиния: фигура 617">
                <a:extLst>
                  <a:ext uri="{FF2B5EF4-FFF2-40B4-BE49-F238E27FC236}">
                    <a16:creationId xmlns:a16="http://schemas.microsoft.com/office/drawing/2014/main" id="{25F4D6F2-0E1C-4024-B9F2-FA050A5FCAED}"/>
                  </a:ext>
                </a:extLst>
              </p:cNvPr>
              <p:cNvSpPr/>
              <p:nvPr/>
            </p:nvSpPr>
            <p:spPr>
              <a:xfrm>
                <a:off x="2506225" y="4541896"/>
                <a:ext cx="57150" cy="85725"/>
              </a:xfrm>
              <a:custGeom>
                <a:avLst/>
                <a:gdLst>
                  <a:gd name="connsiteX0" fmla="*/ 55442 w 57150"/>
                  <a:gd name="connsiteY0" fmla="*/ 9695 h 85725"/>
                  <a:gd name="connsiteX1" fmla="*/ 7151 w 57150"/>
                  <a:gd name="connsiteY1" fmla="*/ 43318 h 85725"/>
                  <a:gd name="connsiteX2" fmla="*/ 57062 w 57150"/>
                  <a:gd name="connsiteY2" fmla="*/ 80084 h 85725"/>
                  <a:gd name="connsiteX3" fmla="*/ 55442 w 57150"/>
                  <a:gd name="connsiteY3" fmla="*/ 9695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50" h="85725">
                    <a:moveTo>
                      <a:pt x="55442" y="9695"/>
                    </a:moveTo>
                    <a:cubicBezTo>
                      <a:pt x="54204" y="9123"/>
                      <a:pt x="6484" y="-5736"/>
                      <a:pt x="7151" y="43318"/>
                    </a:cubicBezTo>
                    <a:cubicBezTo>
                      <a:pt x="7817" y="92371"/>
                      <a:pt x="56967" y="81418"/>
                      <a:pt x="57062" y="80084"/>
                    </a:cubicBezTo>
                    <a:cubicBezTo>
                      <a:pt x="57157" y="78751"/>
                      <a:pt x="55442" y="9695"/>
                      <a:pt x="55442" y="9695"/>
                    </a:cubicBezTo>
                    <a:close/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9" name="Полилиния: фигура 618">
                <a:extLst>
                  <a:ext uri="{FF2B5EF4-FFF2-40B4-BE49-F238E27FC236}">
                    <a16:creationId xmlns:a16="http://schemas.microsoft.com/office/drawing/2014/main" id="{2D266A04-9FFA-4207-823F-EF8EDF4DD18D}"/>
                  </a:ext>
                </a:extLst>
              </p:cNvPr>
              <p:cNvSpPr/>
              <p:nvPr/>
            </p:nvSpPr>
            <p:spPr>
              <a:xfrm>
                <a:off x="2518676" y="4557406"/>
                <a:ext cx="28575" cy="47625"/>
              </a:xfrm>
              <a:custGeom>
                <a:avLst/>
                <a:gdLst>
                  <a:gd name="connsiteX0" fmla="*/ 29371 w 28575"/>
                  <a:gd name="connsiteY0" fmla="*/ 46191 h 47625"/>
                  <a:gd name="connsiteX1" fmla="*/ 27085 w 28575"/>
                  <a:gd name="connsiteY1" fmla="*/ 47525 h 47625"/>
                  <a:gd name="connsiteX2" fmla="*/ 20703 w 28575"/>
                  <a:gd name="connsiteY2" fmla="*/ 47525 h 47625"/>
                  <a:gd name="connsiteX3" fmla="*/ 10607 w 28575"/>
                  <a:gd name="connsiteY3" fmla="*/ 28475 h 47625"/>
                  <a:gd name="connsiteX4" fmla="*/ 12797 w 28575"/>
                  <a:gd name="connsiteY4" fmla="*/ 16283 h 47625"/>
                  <a:gd name="connsiteX5" fmla="*/ 19179 w 28575"/>
                  <a:gd name="connsiteY5" fmla="*/ 9615 h 47625"/>
                  <a:gd name="connsiteX6" fmla="*/ 24228 w 28575"/>
                  <a:gd name="connsiteY6" fmla="*/ 11902 h 47625"/>
                  <a:gd name="connsiteX7" fmla="*/ 24894 w 28575"/>
                  <a:gd name="connsiteY7" fmla="*/ 14283 h 47625"/>
                  <a:gd name="connsiteX8" fmla="*/ 25466 w 28575"/>
                  <a:gd name="connsiteY8" fmla="*/ 11425 h 47625"/>
                  <a:gd name="connsiteX9" fmla="*/ 23560 w 28575"/>
                  <a:gd name="connsiteY9" fmla="*/ 8377 h 47625"/>
                  <a:gd name="connsiteX10" fmla="*/ 18798 w 28575"/>
                  <a:gd name="connsiteY10" fmla="*/ 7234 h 47625"/>
                  <a:gd name="connsiteX11" fmla="*/ 9940 w 28575"/>
                  <a:gd name="connsiteY11" fmla="*/ 14949 h 47625"/>
                  <a:gd name="connsiteX12" fmla="*/ 7177 w 28575"/>
                  <a:gd name="connsiteY12" fmla="*/ 28665 h 47625"/>
                  <a:gd name="connsiteX13" fmla="*/ 19941 w 28575"/>
                  <a:gd name="connsiteY13" fmla="*/ 49620 h 47625"/>
                  <a:gd name="connsiteX14" fmla="*/ 27751 w 28575"/>
                  <a:gd name="connsiteY14" fmla="*/ 48192 h 47625"/>
                  <a:gd name="connsiteX15" fmla="*/ 29371 w 28575"/>
                  <a:gd name="connsiteY15" fmla="*/ 46191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75" h="47625">
                    <a:moveTo>
                      <a:pt x="29371" y="46191"/>
                    </a:moveTo>
                    <a:cubicBezTo>
                      <a:pt x="29371" y="46191"/>
                      <a:pt x="28514" y="46763"/>
                      <a:pt x="27085" y="47525"/>
                    </a:cubicBezTo>
                    <a:cubicBezTo>
                      <a:pt x="25041" y="48366"/>
                      <a:pt x="22747" y="48366"/>
                      <a:pt x="20703" y="47525"/>
                    </a:cubicBezTo>
                    <a:cubicBezTo>
                      <a:pt x="14110" y="43496"/>
                      <a:pt x="10239" y="36193"/>
                      <a:pt x="10607" y="28475"/>
                    </a:cubicBezTo>
                    <a:cubicBezTo>
                      <a:pt x="10437" y="24300"/>
                      <a:pt x="11184" y="20138"/>
                      <a:pt x="12797" y="16283"/>
                    </a:cubicBezTo>
                    <a:cubicBezTo>
                      <a:pt x="13725" y="13161"/>
                      <a:pt x="16101" y="10679"/>
                      <a:pt x="19179" y="9615"/>
                    </a:cubicBezTo>
                    <a:cubicBezTo>
                      <a:pt x="21198" y="8997"/>
                      <a:pt x="23361" y="9977"/>
                      <a:pt x="24228" y="11902"/>
                    </a:cubicBezTo>
                    <a:cubicBezTo>
                      <a:pt x="24894" y="13235"/>
                      <a:pt x="24227" y="14187"/>
                      <a:pt x="24894" y="14283"/>
                    </a:cubicBezTo>
                    <a:cubicBezTo>
                      <a:pt x="25561" y="14378"/>
                      <a:pt x="25942" y="13425"/>
                      <a:pt x="25466" y="11425"/>
                    </a:cubicBezTo>
                    <a:cubicBezTo>
                      <a:pt x="25195" y="10222"/>
                      <a:pt x="24523" y="9147"/>
                      <a:pt x="23560" y="8377"/>
                    </a:cubicBezTo>
                    <a:cubicBezTo>
                      <a:pt x="22197" y="7358"/>
                      <a:pt x="20475" y="6944"/>
                      <a:pt x="18798" y="7234"/>
                    </a:cubicBezTo>
                    <a:cubicBezTo>
                      <a:pt x="14694" y="8069"/>
                      <a:pt x="11330" y="10999"/>
                      <a:pt x="9940" y="14949"/>
                    </a:cubicBezTo>
                    <a:cubicBezTo>
                      <a:pt x="7897" y="19222"/>
                      <a:pt x="6948" y="23935"/>
                      <a:pt x="7177" y="28665"/>
                    </a:cubicBezTo>
                    <a:cubicBezTo>
                      <a:pt x="6833" y="37581"/>
                      <a:pt x="11861" y="45836"/>
                      <a:pt x="19941" y="49620"/>
                    </a:cubicBezTo>
                    <a:cubicBezTo>
                      <a:pt x="22624" y="50403"/>
                      <a:pt x="25519" y="49873"/>
                      <a:pt x="27751" y="48192"/>
                    </a:cubicBezTo>
                    <a:cubicBezTo>
                      <a:pt x="29276" y="47715"/>
                      <a:pt x="29942" y="46287"/>
                      <a:pt x="29371" y="46191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0" name="Полилиния: фигура 619">
                <a:extLst>
                  <a:ext uri="{FF2B5EF4-FFF2-40B4-BE49-F238E27FC236}">
                    <a16:creationId xmlns:a16="http://schemas.microsoft.com/office/drawing/2014/main" id="{14A8B98C-8036-4F8B-BD39-A81429560995}"/>
                  </a:ext>
                </a:extLst>
              </p:cNvPr>
              <p:cNvSpPr/>
              <p:nvPr/>
            </p:nvSpPr>
            <p:spPr>
              <a:xfrm>
                <a:off x="2635867" y="4696656"/>
                <a:ext cx="104775" cy="57150"/>
              </a:xfrm>
              <a:custGeom>
                <a:avLst/>
                <a:gdLst>
                  <a:gd name="connsiteX0" fmla="*/ 103251 w 104775"/>
                  <a:gd name="connsiteY0" fmla="*/ 36290 h 57150"/>
                  <a:gd name="connsiteX1" fmla="*/ 7144 w 104775"/>
                  <a:gd name="connsiteY1" fmla="*/ 7144 h 57150"/>
                  <a:gd name="connsiteX2" fmla="*/ 102394 w 104775"/>
                  <a:gd name="connsiteY2" fmla="*/ 56292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57150">
                    <a:moveTo>
                      <a:pt x="103251" y="36290"/>
                    </a:moveTo>
                    <a:cubicBezTo>
                      <a:pt x="69034" y="36322"/>
                      <a:pt x="35580" y="26176"/>
                      <a:pt x="7144" y="7144"/>
                    </a:cubicBezTo>
                    <a:cubicBezTo>
                      <a:pt x="7144" y="7143"/>
                      <a:pt x="28480" y="61626"/>
                      <a:pt x="102394" y="56292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1" name="Полилиния: фигура 620">
                <a:extLst>
                  <a:ext uri="{FF2B5EF4-FFF2-40B4-BE49-F238E27FC236}">
                    <a16:creationId xmlns:a16="http://schemas.microsoft.com/office/drawing/2014/main" id="{1CA20F5B-82E2-4EF0-90DB-78FA023B405D}"/>
                  </a:ext>
                </a:extLst>
              </p:cNvPr>
              <p:cNvSpPr/>
              <p:nvPr/>
            </p:nvSpPr>
            <p:spPr>
              <a:xfrm>
                <a:off x="2585670" y="5445702"/>
                <a:ext cx="1057275" cy="847725"/>
              </a:xfrm>
              <a:custGeom>
                <a:avLst/>
                <a:gdLst>
                  <a:gd name="connsiteX0" fmla="*/ 7144 w 1057275"/>
                  <a:gd name="connsiteY0" fmla="*/ 126778 h 847725"/>
                  <a:gd name="connsiteX1" fmla="*/ 46672 w 1057275"/>
                  <a:gd name="connsiteY1" fmla="*/ 302990 h 847725"/>
                  <a:gd name="connsiteX2" fmla="*/ 312515 w 1057275"/>
                  <a:gd name="connsiteY2" fmla="*/ 306800 h 847725"/>
                  <a:gd name="connsiteX3" fmla="*/ 854869 w 1057275"/>
                  <a:gd name="connsiteY3" fmla="*/ 321088 h 847725"/>
                  <a:gd name="connsiteX4" fmla="*/ 848773 w 1057275"/>
                  <a:gd name="connsiteY4" fmla="*/ 838772 h 847725"/>
                  <a:gd name="connsiteX5" fmla="*/ 1043845 w 1057275"/>
                  <a:gd name="connsiteY5" fmla="*/ 843915 h 847725"/>
                  <a:gd name="connsiteX6" fmla="*/ 1057180 w 1057275"/>
                  <a:gd name="connsiteY6" fmla="*/ 223838 h 847725"/>
                  <a:gd name="connsiteX7" fmla="*/ 978313 w 1057275"/>
                  <a:gd name="connsiteY7" fmla="*/ 92773 h 847725"/>
                  <a:gd name="connsiteX8" fmla="*/ 735139 w 1057275"/>
                  <a:gd name="connsiteY8" fmla="*/ 49911 h 847725"/>
                  <a:gd name="connsiteX9" fmla="*/ 456819 w 1057275"/>
                  <a:gd name="connsiteY9" fmla="*/ 33719 h 847725"/>
                  <a:gd name="connsiteX10" fmla="*/ 439959 w 1057275"/>
                  <a:gd name="connsiteY10" fmla="*/ 7144 h 847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57275" h="847725">
                    <a:moveTo>
                      <a:pt x="7144" y="126778"/>
                    </a:moveTo>
                    <a:cubicBezTo>
                      <a:pt x="7144" y="126778"/>
                      <a:pt x="29813" y="269653"/>
                      <a:pt x="46672" y="302990"/>
                    </a:cubicBezTo>
                    <a:cubicBezTo>
                      <a:pt x="63532" y="336328"/>
                      <a:pt x="312515" y="306800"/>
                      <a:pt x="312515" y="306800"/>
                    </a:cubicBezTo>
                    <a:lnTo>
                      <a:pt x="854869" y="321088"/>
                    </a:lnTo>
                    <a:lnTo>
                      <a:pt x="848773" y="838772"/>
                    </a:lnTo>
                    <a:lnTo>
                      <a:pt x="1043845" y="843915"/>
                    </a:lnTo>
                    <a:lnTo>
                      <a:pt x="1057180" y="223838"/>
                    </a:lnTo>
                    <a:cubicBezTo>
                      <a:pt x="1057180" y="157163"/>
                      <a:pt x="1033748" y="110109"/>
                      <a:pt x="978313" y="92773"/>
                    </a:cubicBezTo>
                    <a:cubicBezTo>
                      <a:pt x="892111" y="65722"/>
                      <a:pt x="773335" y="54673"/>
                      <a:pt x="735139" y="49911"/>
                    </a:cubicBezTo>
                    <a:cubicBezTo>
                      <a:pt x="677037" y="42386"/>
                      <a:pt x="456819" y="33719"/>
                      <a:pt x="456819" y="33719"/>
                    </a:cubicBezTo>
                    <a:lnTo>
                      <a:pt x="439959" y="7144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2" name="Полилиния: фигура 621">
                <a:extLst>
                  <a:ext uri="{FF2B5EF4-FFF2-40B4-BE49-F238E27FC236}">
                    <a16:creationId xmlns:a16="http://schemas.microsoft.com/office/drawing/2014/main" id="{145C384B-7659-4B38-A818-4F9F6EC939E2}"/>
                  </a:ext>
                </a:extLst>
              </p:cNvPr>
              <p:cNvSpPr/>
              <p:nvPr/>
            </p:nvSpPr>
            <p:spPr>
              <a:xfrm>
                <a:off x="2818271" y="5501424"/>
                <a:ext cx="800100" cy="733425"/>
              </a:xfrm>
              <a:custGeom>
                <a:avLst/>
                <a:gdLst>
                  <a:gd name="connsiteX0" fmla="*/ 771239 w 800100"/>
                  <a:gd name="connsiteY0" fmla="*/ 288417 h 733425"/>
                  <a:gd name="connsiteX1" fmla="*/ 449389 w 800100"/>
                  <a:gd name="connsiteY1" fmla="*/ 734282 h 733425"/>
                  <a:gd name="connsiteX2" fmla="*/ 278416 w 800100"/>
                  <a:gd name="connsiteY2" fmla="*/ 600932 h 733425"/>
                  <a:gd name="connsiteX3" fmla="*/ 504539 w 800100"/>
                  <a:gd name="connsiteY3" fmla="*/ 313372 h 733425"/>
                  <a:gd name="connsiteX4" fmla="*/ 7144 w 800100"/>
                  <a:gd name="connsiteY4" fmla="*/ 177832 h 733425"/>
                  <a:gd name="connsiteX5" fmla="*/ 27051 w 800100"/>
                  <a:gd name="connsiteY5" fmla="*/ 7144 h 733425"/>
                  <a:gd name="connsiteX6" fmla="*/ 172974 w 800100"/>
                  <a:gd name="connsiteY6" fmla="*/ 16669 h 733425"/>
                  <a:gd name="connsiteX7" fmla="*/ 698563 w 800100"/>
                  <a:gd name="connsiteY7" fmla="*/ 93536 h 733425"/>
                  <a:gd name="connsiteX8" fmla="*/ 711232 w 800100"/>
                  <a:gd name="connsiteY8" fmla="*/ 97917 h 733425"/>
                  <a:gd name="connsiteX9" fmla="*/ 784454 w 800100"/>
                  <a:gd name="connsiteY9" fmla="*/ 263049 h 733425"/>
                  <a:gd name="connsiteX10" fmla="*/ 771239 w 800100"/>
                  <a:gd name="connsiteY10" fmla="*/ 288417 h 733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00100" h="733425">
                    <a:moveTo>
                      <a:pt x="771239" y="288417"/>
                    </a:moveTo>
                    <a:lnTo>
                      <a:pt x="449389" y="734282"/>
                    </a:lnTo>
                    <a:lnTo>
                      <a:pt x="278416" y="600932"/>
                    </a:lnTo>
                    <a:lnTo>
                      <a:pt x="504539" y="313372"/>
                    </a:lnTo>
                    <a:lnTo>
                      <a:pt x="7144" y="177832"/>
                    </a:lnTo>
                    <a:lnTo>
                      <a:pt x="27051" y="7144"/>
                    </a:lnTo>
                    <a:lnTo>
                      <a:pt x="172974" y="16669"/>
                    </a:lnTo>
                    <a:cubicBezTo>
                      <a:pt x="172974" y="16669"/>
                      <a:pt x="638270" y="74771"/>
                      <a:pt x="698563" y="93536"/>
                    </a:cubicBezTo>
                    <a:cubicBezTo>
                      <a:pt x="702659" y="94774"/>
                      <a:pt x="706946" y="96298"/>
                      <a:pt x="711232" y="97917"/>
                    </a:cubicBezTo>
                    <a:cubicBezTo>
                      <a:pt x="777051" y="123297"/>
                      <a:pt x="809834" y="197229"/>
                      <a:pt x="784454" y="263049"/>
                    </a:cubicBezTo>
                    <a:cubicBezTo>
                      <a:pt x="781013" y="271973"/>
                      <a:pt x="776580" y="280483"/>
                      <a:pt x="771239" y="28841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3" name="Полилиния: фигура 622">
                <a:extLst>
                  <a:ext uri="{FF2B5EF4-FFF2-40B4-BE49-F238E27FC236}">
                    <a16:creationId xmlns:a16="http://schemas.microsoft.com/office/drawing/2014/main" id="{3D3B126F-CBC6-413A-B754-CD176B3AAE19}"/>
                  </a:ext>
                </a:extLst>
              </p:cNvPr>
              <p:cNvSpPr/>
              <p:nvPr/>
            </p:nvSpPr>
            <p:spPr>
              <a:xfrm>
                <a:off x="2968385" y="5471914"/>
                <a:ext cx="285750" cy="19050"/>
              </a:xfrm>
              <a:custGeom>
                <a:avLst/>
                <a:gdLst>
                  <a:gd name="connsiteX0" fmla="*/ 286607 w 285750"/>
                  <a:gd name="connsiteY0" fmla="*/ 19032 h 19050"/>
                  <a:gd name="connsiteX1" fmla="*/ 146780 w 285750"/>
                  <a:gd name="connsiteY1" fmla="*/ 15889 h 19050"/>
                  <a:gd name="connsiteX2" fmla="*/ 7144 w 285750"/>
                  <a:gd name="connsiteY2" fmla="*/ 7697 h 19050"/>
                  <a:gd name="connsiteX3" fmla="*/ 146971 w 285750"/>
                  <a:gd name="connsiteY3" fmla="*/ 10936 h 19050"/>
                  <a:gd name="connsiteX4" fmla="*/ 286607 w 285750"/>
                  <a:gd name="connsiteY4" fmla="*/ 19032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0" h="19050">
                    <a:moveTo>
                      <a:pt x="286607" y="19032"/>
                    </a:moveTo>
                    <a:cubicBezTo>
                      <a:pt x="286607" y="20461"/>
                      <a:pt x="223933" y="19032"/>
                      <a:pt x="146780" y="15889"/>
                    </a:cubicBezTo>
                    <a:cubicBezTo>
                      <a:pt x="69628" y="12745"/>
                      <a:pt x="7144" y="9126"/>
                      <a:pt x="7144" y="7697"/>
                    </a:cubicBezTo>
                    <a:cubicBezTo>
                      <a:pt x="7144" y="6268"/>
                      <a:pt x="69818" y="7697"/>
                      <a:pt x="146971" y="10936"/>
                    </a:cubicBezTo>
                    <a:cubicBezTo>
                      <a:pt x="224123" y="14174"/>
                      <a:pt x="286607" y="17508"/>
                      <a:pt x="286607" y="1903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4" name="Полилиния: фигура 623">
                <a:extLst>
                  <a:ext uri="{FF2B5EF4-FFF2-40B4-BE49-F238E27FC236}">
                    <a16:creationId xmlns:a16="http://schemas.microsoft.com/office/drawing/2014/main" id="{4CB17AA9-7F64-4EBD-9203-506CD3DC76C4}"/>
                  </a:ext>
                </a:extLst>
              </p:cNvPr>
              <p:cNvSpPr/>
              <p:nvPr/>
            </p:nvSpPr>
            <p:spPr>
              <a:xfrm>
                <a:off x="3084018" y="5745233"/>
                <a:ext cx="361950" cy="542925"/>
              </a:xfrm>
              <a:custGeom>
                <a:avLst/>
                <a:gdLst>
                  <a:gd name="connsiteX0" fmla="*/ 350425 w 361950"/>
                  <a:gd name="connsiteY0" fmla="*/ 539241 h 542925"/>
                  <a:gd name="connsiteX1" fmla="*/ 350425 w 361950"/>
                  <a:gd name="connsiteY1" fmla="*/ 537050 h 542925"/>
                  <a:gd name="connsiteX2" fmla="*/ 350425 w 361950"/>
                  <a:gd name="connsiteY2" fmla="*/ 530383 h 542925"/>
                  <a:gd name="connsiteX3" fmla="*/ 350425 w 361950"/>
                  <a:gd name="connsiteY3" fmla="*/ 505142 h 542925"/>
                  <a:gd name="connsiteX4" fmla="*/ 350425 w 361950"/>
                  <a:gd name="connsiteY4" fmla="*/ 412082 h 542925"/>
                  <a:gd name="connsiteX5" fmla="*/ 353568 w 361950"/>
                  <a:gd name="connsiteY5" fmla="*/ 105187 h 542925"/>
                  <a:gd name="connsiteX6" fmla="*/ 354711 w 361950"/>
                  <a:gd name="connsiteY6" fmla="*/ 21462 h 542925"/>
                  <a:gd name="connsiteX7" fmla="*/ 356902 w 361950"/>
                  <a:gd name="connsiteY7" fmla="*/ 23938 h 542925"/>
                  <a:gd name="connsiteX8" fmla="*/ 107347 w 361950"/>
                  <a:gd name="connsiteY8" fmla="*/ 10032 h 542925"/>
                  <a:gd name="connsiteX9" fmla="*/ 33719 w 361950"/>
                  <a:gd name="connsiteY9" fmla="*/ 8222 h 542925"/>
                  <a:gd name="connsiteX10" fmla="*/ 14002 w 361950"/>
                  <a:gd name="connsiteY10" fmla="*/ 7746 h 542925"/>
                  <a:gd name="connsiteX11" fmla="*/ 7144 w 361950"/>
                  <a:gd name="connsiteY11" fmla="*/ 7270 h 542925"/>
                  <a:gd name="connsiteX12" fmla="*/ 14002 w 361950"/>
                  <a:gd name="connsiteY12" fmla="*/ 7270 h 542925"/>
                  <a:gd name="connsiteX13" fmla="*/ 33719 w 361950"/>
                  <a:gd name="connsiteY13" fmla="*/ 7270 h 542925"/>
                  <a:gd name="connsiteX14" fmla="*/ 107442 w 361950"/>
                  <a:gd name="connsiteY14" fmla="*/ 7270 h 542925"/>
                  <a:gd name="connsiteX15" fmla="*/ 357378 w 361950"/>
                  <a:gd name="connsiteY15" fmla="*/ 19462 h 542925"/>
                  <a:gd name="connsiteX16" fmla="*/ 359569 w 361950"/>
                  <a:gd name="connsiteY16" fmla="*/ 19462 h 542925"/>
                  <a:gd name="connsiteX17" fmla="*/ 359569 w 361950"/>
                  <a:gd name="connsiteY17" fmla="*/ 21938 h 542925"/>
                  <a:gd name="connsiteX18" fmla="*/ 358521 w 361950"/>
                  <a:gd name="connsiteY18" fmla="*/ 105663 h 542925"/>
                  <a:gd name="connsiteX19" fmla="*/ 353949 w 361950"/>
                  <a:gd name="connsiteY19" fmla="*/ 412559 h 542925"/>
                  <a:gd name="connsiteX20" fmla="*/ 352044 w 361950"/>
                  <a:gd name="connsiteY20" fmla="*/ 505522 h 542925"/>
                  <a:gd name="connsiteX21" fmla="*/ 351187 w 361950"/>
                  <a:gd name="connsiteY21" fmla="*/ 530859 h 542925"/>
                  <a:gd name="connsiteX22" fmla="*/ 351187 w 361950"/>
                  <a:gd name="connsiteY22" fmla="*/ 537431 h 542925"/>
                  <a:gd name="connsiteX23" fmla="*/ 350425 w 361950"/>
                  <a:gd name="connsiteY23" fmla="*/ 539241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61950" h="542925">
                    <a:moveTo>
                      <a:pt x="350425" y="539241"/>
                    </a:moveTo>
                    <a:cubicBezTo>
                      <a:pt x="350284" y="538518"/>
                      <a:pt x="350284" y="537774"/>
                      <a:pt x="350425" y="537050"/>
                    </a:cubicBezTo>
                    <a:cubicBezTo>
                      <a:pt x="350425" y="535241"/>
                      <a:pt x="350425" y="533050"/>
                      <a:pt x="350425" y="530383"/>
                    </a:cubicBezTo>
                    <a:cubicBezTo>
                      <a:pt x="350425" y="524192"/>
                      <a:pt x="350425" y="515810"/>
                      <a:pt x="350425" y="505142"/>
                    </a:cubicBezTo>
                    <a:cubicBezTo>
                      <a:pt x="350425" y="482662"/>
                      <a:pt x="350425" y="451039"/>
                      <a:pt x="350425" y="412082"/>
                    </a:cubicBezTo>
                    <a:cubicBezTo>
                      <a:pt x="351282" y="333120"/>
                      <a:pt x="352425" y="224821"/>
                      <a:pt x="353568" y="105187"/>
                    </a:cubicBezTo>
                    <a:cubicBezTo>
                      <a:pt x="353568" y="76612"/>
                      <a:pt x="354330" y="48513"/>
                      <a:pt x="354711" y="21462"/>
                    </a:cubicBezTo>
                    <a:lnTo>
                      <a:pt x="356902" y="23938"/>
                    </a:lnTo>
                    <a:cubicBezTo>
                      <a:pt x="257461" y="15652"/>
                      <a:pt x="169926" y="11842"/>
                      <a:pt x="107347" y="10032"/>
                    </a:cubicBezTo>
                    <a:lnTo>
                      <a:pt x="33719" y="8222"/>
                    </a:lnTo>
                    <a:lnTo>
                      <a:pt x="14002" y="7746"/>
                    </a:lnTo>
                    <a:cubicBezTo>
                      <a:pt x="11706" y="7798"/>
                      <a:pt x="9410" y="7638"/>
                      <a:pt x="7144" y="7270"/>
                    </a:cubicBezTo>
                    <a:cubicBezTo>
                      <a:pt x="9427" y="7102"/>
                      <a:pt x="11719" y="7102"/>
                      <a:pt x="14002" y="7270"/>
                    </a:cubicBezTo>
                    <a:lnTo>
                      <a:pt x="33719" y="7270"/>
                    </a:lnTo>
                    <a:cubicBezTo>
                      <a:pt x="51054" y="7270"/>
                      <a:pt x="76105" y="7270"/>
                      <a:pt x="107442" y="7270"/>
                    </a:cubicBezTo>
                    <a:cubicBezTo>
                      <a:pt x="170021" y="8222"/>
                      <a:pt x="257746" y="11366"/>
                      <a:pt x="357378" y="19462"/>
                    </a:cubicBezTo>
                    <a:lnTo>
                      <a:pt x="359569" y="19462"/>
                    </a:lnTo>
                    <a:lnTo>
                      <a:pt x="359569" y="21938"/>
                    </a:lnTo>
                    <a:cubicBezTo>
                      <a:pt x="359569" y="48894"/>
                      <a:pt x="358902" y="76993"/>
                      <a:pt x="358521" y="105663"/>
                    </a:cubicBezTo>
                    <a:cubicBezTo>
                      <a:pt x="356807" y="225297"/>
                      <a:pt x="355187" y="333596"/>
                      <a:pt x="353949" y="412559"/>
                    </a:cubicBezTo>
                    <a:cubicBezTo>
                      <a:pt x="353187" y="451420"/>
                      <a:pt x="352520" y="483139"/>
                      <a:pt x="352044" y="505522"/>
                    </a:cubicBezTo>
                    <a:lnTo>
                      <a:pt x="351187" y="530859"/>
                    </a:lnTo>
                    <a:cubicBezTo>
                      <a:pt x="351187" y="533463"/>
                      <a:pt x="351187" y="535653"/>
                      <a:pt x="351187" y="537431"/>
                    </a:cubicBezTo>
                    <a:cubicBezTo>
                      <a:pt x="351021" y="538068"/>
                      <a:pt x="350764" y="538677"/>
                      <a:pt x="350425" y="539241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5" name="Полилиния: фигура 624">
                <a:extLst>
                  <a:ext uri="{FF2B5EF4-FFF2-40B4-BE49-F238E27FC236}">
                    <a16:creationId xmlns:a16="http://schemas.microsoft.com/office/drawing/2014/main" id="{AFA2A363-8AC2-4797-A264-C173E545ABAB}"/>
                  </a:ext>
                </a:extLst>
              </p:cNvPr>
              <p:cNvSpPr/>
              <p:nvPr/>
            </p:nvSpPr>
            <p:spPr>
              <a:xfrm>
                <a:off x="3168981" y="4907444"/>
                <a:ext cx="495300" cy="419100"/>
              </a:xfrm>
              <a:custGeom>
                <a:avLst/>
                <a:gdLst>
                  <a:gd name="connsiteX0" fmla="*/ 411099 w 495300"/>
                  <a:gd name="connsiteY0" fmla="*/ 418719 h 419100"/>
                  <a:gd name="connsiteX1" fmla="*/ 494347 w 495300"/>
                  <a:gd name="connsiteY1" fmla="*/ 7144 h 419100"/>
                  <a:gd name="connsiteX2" fmla="*/ 478155 w 495300"/>
                  <a:gd name="connsiteY2" fmla="*/ 7144 h 419100"/>
                  <a:gd name="connsiteX3" fmla="*/ 397669 w 495300"/>
                  <a:gd name="connsiteY3" fmla="*/ 391763 h 419100"/>
                  <a:gd name="connsiteX4" fmla="*/ 7144 w 495300"/>
                  <a:gd name="connsiteY4" fmla="*/ 391763 h 419100"/>
                  <a:gd name="connsiteX5" fmla="*/ 7144 w 495300"/>
                  <a:gd name="connsiteY5" fmla="*/ 420338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5300" h="419100">
                    <a:moveTo>
                      <a:pt x="411099" y="418719"/>
                    </a:moveTo>
                    <a:cubicBezTo>
                      <a:pt x="417957" y="408718"/>
                      <a:pt x="494347" y="7144"/>
                      <a:pt x="494347" y="7144"/>
                    </a:cubicBezTo>
                    <a:lnTo>
                      <a:pt x="478155" y="7144"/>
                    </a:lnTo>
                    <a:lnTo>
                      <a:pt x="397669" y="391763"/>
                    </a:lnTo>
                    <a:lnTo>
                      <a:pt x="7144" y="391763"/>
                    </a:lnTo>
                    <a:lnTo>
                      <a:pt x="7144" y="420338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6" name="Полилиния: фигура 625">
                <a:extLst>
                  <a:ext uri="{FF2B5EF4-FFF2-40B4-BE49-F238E27FC236}">
                    <a16:creationId xmlns:a16="http://schemas.microsoft.com/office/drawing/2014/main" id="{AFDA7FC5-9717-446C-ADB8-34E5AF7270F4}"/>
                  </a:ext>
                </a:extLst>
              </p:cNvPr>
              <p:cNvSpPr/>
              <p:nvPr/>
            </p:nvSpPr>
            <p:spPr>
              <a:xfrm>
                <a:off x="3302427" y="5140147"/>
                <a:ext cx="209550" cy="152400"/>
              </a:xfrm>
              <a:custGeom>
                <a:avLst/>
                <a:gdLst>
                  <a:gd name="connsiteX0" fmla="*/ 14001 w 209550"/>
                  <a:gd name="connsiteY0" fmla="*/ 67906 h 152400"/>
                  <a:gd name="connsiteX1" fmla="*/ 45339 w 209550"/>
                  <a:gd name="connsiteY1" fmla="*/ 37998 h 152400"/>
                  <a:gd name="connsiteX2" fmla="*/ 129826 w 209550"/>
                  <a:gd name="connsiteY2" fmla="*/ 7423 h 152400"/>
                  <a:gd name="connsiteX3" fmla="*/ 124682 w 209550"/>
                  <a:gd name="connsiteY3" fmla="*/ 37522 h 152400"/>
                  <a:gd name="connsiteX4" fmla="*/ 112300 w 209550"/>
                  <a:gd name="connsiteY4" fmla="*/ 41713 h 152400"/>
                  <a:gd name="connsiteX5" fmla="*/ 157543 w 209550"/>
                  <a:gd name="connsiteY5" fmla="*/ 45332 h 152400"/>
                  <a:gd name="connsiteX6" fmla="*/ 206978 w 209550"/>
                  <a:gd name="connsiteY6" fmla="*/ 90481 h 152400"/>
                  <a:gd name="connsiteX7" fmla="*/ 195358 w 209550"/>
                  <a:gd name="connsiteY7" fmla="*/ 100006 h 152400"/>
                  <a:gd name="connsiteX8" fmla="*/ 207073 w 209550"/>
                  <a:gd name="connsiteY8" fmla="*/ 125533 h 152400"/>
                  <a:gd name="connsiteX9" fmla="*/ 200501 w 209550"/>
                  <a:gd name="connsiteY9" fmla="*/ 135725 h 152400"/>
                  <a:gd name="connsiteX10" fmla="*/ 183737 w 209550"/>
                  <a:gd name="connsiteY10" fmla="*/ 121913 h 152400"/>
                  <a:gd name="connsiteX11" fmla="*/ 190309 w 209550"/>
                  <a:gd name="connsiteY11" fmla="*/ 140106 h 152400"/>
                  <a:gd name="connsiteX12" fmla="*/ 171259 w 209550"/>
                  <a:gd name="connsiteY12" fmla="*/ 140106 h 152400"/>
                  <a:gd name="connsiteX13" fmla="*/ 167640 w 209550"/>
                  <a:gd name="connsiteY13" fmla="*/ 129914 h 152400"/>
                  <a:gd name="connsiteX14" fmla="*/ 158877 w 209550"/>
                  <a:gd name="connsiteY14" fmla="*/ 130581 h 152400"/>
                  <a:gd name="connsiteX15" fmla="*/ 158877 w 209550"/>
                  <a:gd name="connsiteY15" fmla="*/ 142583 h 152400"/>
                  <a:gd name="connsiteX16" fmla="*/ 7144 w 209550"/>
                  <a:gd name="connsiteY16" fmla="*/ 153155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09550" h="152400">
                    <a:moveTo>
                      <a:pt x="14001" y="67906"/>
                    </a:moveTo>
                    <a:cubicBezTo>
                      <a:pt x="22993" y="56516"/>
                      <a:pt x="33542" y="46448"/>
                      <a:pt x="45339" y="37998"/>
                    </a:cubicBezTo>
                    <a:cubicBezTo>
                      <a:pt x="49720" y="36569"/>
                      <a:pt x="128397" y="3803"/>
                      <a:pt x="129826" y="7423"/>
                    </a:cubicBezTo>
                    <a:cubicBezTo>
                      <a:pt x="131254" y="11042"/>
                      <a:pt x="140779" y="29044"/>
                      <a:pt x="124682" y="37522"/>
                    </a:cubicBezTo>
                    <a:lnTo>
                      <a:pt x="112300" y="41713"/>
                    </a:lnTo>
                    <a:lnTo>
                      <a:pt x="157543" y="45332"/>
                    </a:lnTo>
                    <a:cubicBezTo>
                      <a:pt x="157543" y="45332"/>
                      <a:pt x="207740" y="82480"/>
                      <a:pt x="206978" y="90481"/>
                    </a:cubicBezTo>
                    <a:cubicBezTo>
                      <a:pt x="206216" y="98482"/>
                      <a:pt x="199739" y="103530"/>
                      <a:pt x="195358" y="100006"/>
                    </a:cubicBezTo>
                    <a:cubicBezTo>
                      <a:pt x="190976" y="96481"/>
                      <a:pt x="207073" y="125533"/>
                      <a:pt x="207073" y="125533"/>
                    </a:cubicBezTo>
                    <a:cubicBezTo>
                      <a:pt x="207073" y="125533"/>
                      <a:pt x="207073" y="137915"/>
                      <a:pt x="200501" y="135725"/>
                    </a:cubicBezTo>
                    <a:cubicBezTo>
                      <a:pt x="194127" y="132168"/>
                      <a:pt x="188448" y="127489"/>
                      <a:pt x="183737" y="121913"/>
                    </a:cubicBezTo>
                    <a:cubicBezTo>
                      <a:pt x="183737" y="121913"/>
                      <a:pt x="193262" y="137153"/>
                      <a:pt x="190309" y="140106"/>
                    </a:cubicBezTo>
                    <a:cubicBezTo>
                      <a:pt x="187357" y="143059"/>
                      <a:pt x="172783" y="143726"/>
                      <a:pt x="171259" y="140106"/>
                    </a:cubicBezTo>
                    <a:cubicBezTo>
                      <a:pt x="169735" y="136486"/>
                      <a:pt x="167640" y="129914"/>
                      <a:pt x="167640" y="129914"/>
                    </a:cubicBezTo>
                    <a:lnTo>
                      <a:pt x="158877" y="130581"/>
                    </a:lnTo>
                    <a:lnTo>
                      <a:pt x="158877" y="142583"/>
                    </a:lnTo>
                    <a:lnTo>
                      <a:pt x="7144" y="153155"/>
                    </a:ln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7" name="Полилиния: фигура 626">
                <a:extLst>
                  <a:ext uri="{FF2B5EF4-FFF2-40B4-BE49-F238E27FC236}">
                    <a16:creationId xmlns:a16="http://schemas.microsoft.com/office/drawing/2014/main" id="{D968CFE9-05DF-4279-9742-C1EA9235A3ED}"/>
                  </a:ext>
                </a:extLst>
              </p:cNvPr>
              <p:cNvSpPr/>
              <p:nvPr/>
            </p:nvSpPr>
            <p:spPr>
              <a:xfrm>
                <a:off x="2615864" y="4821719"/>
                <a:ext cx="704850" cy="476250"/>
              </a:xfrm>
              <a:custGeom>
                <a:avLst/>
                <a:gdLst>
                  <a:gd name="connsiteX0" fmla="*/ 121253 w 704850"/>
                  <a:gd name="connsiteY0" fmla="*/ 7144 h 476250"/>
                  <a:gd name="connsiteX1" fmla="*/ 391001 w 704850"/>
                  <a:gd name="connsiteY1" fmla="*/ 360902 h 476250"/>
                  <a:gd name="connsiteX2" fmla="*/ 704279 w 704850"/>
                  <a:gd name="connsiteY2" fmla="*/ 377762 h 476250"/>
                  <a:gd name="connsiteX3" fmla="*/ 683705 w 704850"/>
                  <a:gd name="connsiteY3" fmla="*/ 465868 h 476250"/>
                  <a:gd name="connsiteX4" fmla="*/ 301180 w 704850"/>
                  <a:gd name="connsiteY4" fmla="*/ 472535 h 476250"/>
                  <a:gd name="connsiteX5" fmla="*/ 7144 w 704850"/>
                  <a:gd name="connsiteY5" fmla="*/ 137732 h 47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4850" h="476250">
                    <a:moveTo>
                      <a:pt x="121253" y="7144"/>
                    </a:moveTo>
                    <a:cubicBezTo>
                      <a:pt x="121253" y="20288"/>
                      <a:pt x="391001" y="360902"/>
                      <a:pt x="391001" y="360902"/>
                    </a:cubicBezTo>
                    <a:cubicBezTo>
                      <a:pt x="391001" y="360902"/>
                      <a:pt x="704279" y="372142"/>
                      <a:pt x="704279" y="377762"/>
                    </a:cubicBezTo>
                    <a:cubicBezTo>
                      <a:pt x="704279" y="383381"/>
                      <a:pt x="683705" y="465868"/>
                      <a:pt x="683705" y="465868"/>
                    </a:cubicBezTo>
                    <a:lnTo>
                      <a:pt x="301180" y="472535"/>
                    </a:lnTo>
                    <a:lnTo>
                      <a:pt x="7144" y="137732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8" name="Полилиния: фигура 627">
                <a:extLst>
                  <a:ext uri="{FF2B5EF4-FFF2-40B4-BE49-F238E27FC236}">
                    <a16:creationId xmlns:a16="http://schemas.microsoft.com/office/drawing/2014/main" id="{EB1AB847-0A2B-49F4-86EB-CE3F07D9DD1F}"/>
                  </a:ext>
                </a:extLst>
              </p:cNvPr>
              <p:cNvSpPr/>
              <p:nvPr/>
            </p:nvSpPr>
            <p:spPr>
              <a:xfrm>
                <a:off x="2397219" y="4729136"/>
                <a:ext cx="638175" cy="847725"/>
              </a:xfrm>
              <a:custGeom>
                <a:avLst/>
                <a:gdLst>
                  <a:gd name="connsiteX0" fmla="*/ 147303 w 638175"/>
                  <a:gd name="connsiteY0" fmla="*/ 41529 h 847725"/>
                  <a:gd name="connsiteX1" fmla="*/ 8429 w 638175"/>
                  <a:gd name="connsiteY1" fmla="*/ 223838 h 847725"/>
                  <a:gd name="connsiteX2" fmla="*/ 151399 w 638175"/>
                  <a:gd name="connsiteY2" fmla="*/ 657035 h 847725"/>
                  <a:gd name="connsiteX3" fmla="*/ 179974 w 638175"/>
                  <a:gd name="connsiteY3" fmla="*/ 830390 h 847725"/>
                  <a:gd name="connsiteX4" fmla="*/ 197781 w 638175"/>
                  <a:gd name="connsiteY4" fmla="*/ 843235 h 847725"/>
                  <a:gd name="connsiteX5" fmla="*/ 200643 w 638175"/>
                  <a:gd name="connsiteY5" fmla="*/ 842487 h 847725"/>
                  <a:gd name="connsiteX6" fmla="*/ 633840 w 638175"/>
                  <a:gd name="connsiteY6" fmla="*/ 723710 h 847725"/>
                  <a:gd name="connsiteX7" fmla="*/ 627077 w 638175"/>
                  <a:gd name="connsiteY7" fmla="*/ 669893 h 847725"/>
                  <a:gd name="connsiteX8" fmla="*/ 421147 w 638175"/>
                  <a:gd name="connsiteY8" fmla="*/ 333661 h 847725"/>
                  <a:gd name="connsiteX9" fmla="*/ 341613 w 638175"/>
                  <a:gd name="connsiteY9" fmla="*/ 76486 h 847725"/>
                  <a:gd name="connsiteX10" fmla="*/ 151113 w 638175"/>
                  <a:gd name="connsiteY10" fmla="*/ 7144 h 847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38175" h="847725">
                    <a:moveTo>
                      <a:pt x="147303" y="41529"/>
                    </a:moveTo>
                    <a:cubicBezTo>
                      <a:pt x="147303" y="41529"/>
                      <a:pt x="25573" y="131540"/>
                      <a:pt x="8429" y="223838"/>
                    </a:cubicBezTo>
                    <a:cubicBezTo>
                      <a:pt x="-8716" y="316135"/>
                      <a:pt x="151399" y="657035"/>
                      <a:pt x="151399" y="657035"/>
                    </a:cubicBezTo>
                    <a:lnTo>
                      <a:pt x="179974" y="830390"/>
                    </a:lnTo>
                    <a:cubicBezTo>
                      <a:pt x="181344" y="838854"/>
                      <a:pt x="189316" y="844605"/>
                      <a:pt x="197781" y="843235"/>
                    </a:cubicBezTo>
                    <a:cubicBezTo>
                      <a:pt x="198757" y="843078"/>
                      <a:pt x="199715" y="842827"/>
                      <a:pt x="200643" y="842487"/>
                    </a:cubicBezTo>
                    <a:lnTo>
                      <a:pt x="633840" y="723710"/>
                    </a:lnTo>
                    <a:cubicBezTo>
                      <a:pt x="641936" y="720757"/>
                      <a:pt x="630602" y="677704"/>
                      <a:pt x="627077" y="669893"/>
                    </a:cubicBezTo>
                    <a:cubicBezTo>
                      <a:pt x="570499" y="543687"/>
                      <a:pt x="522874" y="433864"/>
                      <a:pt x="421147" y="333661"/>
                    </a:cubicBezTo>
                    <a:lnTo>
                      <a:pt x="341613" y="76486"/>
                    </a:lnTo>
                    <a:lnTo>
                      <a:pt x="151113" y="7144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9" name="Полилиния: фигура 628">
                <a:extLst>
                  <a:ext uri="{FF2B5EF4-FFF2-40B4-BE49-F238E27FC236}">
                    <a16:creationId xmlns:a16="http://schemas.microsoft.com/office/drawing/2014/main" id="{8743EFE1-9392-4B48-A7EF-32BF269F1209}"/>
                  </a:ext>
                </a:extLst>
              </p:cNvPr>
              <p:cNvSpPr/>
              <p:nvPr/>
            </p:nvSpPr>
            <p:spPr>
              <a:xfrm>
                <a:off x="2420888" y="4854693"/>
                <a:ext cx="847725" cy="552450"/>
              </a:xfrm>
              <a:custGeom>
                <a:avLst/>
                <a:gdLst>
                  <a:gd name="connsiteX0" fmla="*/ 7144 w 847725"/>
                  <a:gd name="connsiteY0" fmla="*/ 131428 h 552450"/>
                  <a:gd name="connsiteX1" fmla="*/ 55912 w 847725"/>
                  <a:gd name="connsiteY1" fmla="*/ 266397 h 552450"/>
                  <a:gd name="connsiteX2" fmla="*/ 345091 w 847725"/>
                  <a:gd name="connsiteY2" fmla="*/ 525191 h 552450"/>
                  <a:gd name="connsiteX3" fmla="*/ 434340 w 847725"/>
                  <a:gd name="connsiteY3" fmla="*/ 549099 h 552450"/>
                  <a:gd name="connsiteX4" fmla="*/ 848868 w 847725"/>
                  <a:gd name="connsiteY4" fmla="*/ 468708 h 552450"/>
                  <a:gd name="connsiteX5" fmla="*/ 842105 w 847725"/>
                  <a:gd name="connsiteY5" fmla="*/ 361075 h 552450"/>
                  <a:gd name="connsiteX6" fmla="*/ 453580 w 847725"/>
                  <a:gd name="connsiteY6" fmla="*/ 367267 h 552450"/>
                  <a:gd name="connsiteX7" fmla="*/ 286703 w 847725"/>
                  <a:gd name="connsiteY7" fmla="*/ 119617 h 552450"/>
                  <a:gd name="connsiteX8" fmla="*/ 224885 w 847725"/>
                  <a:gd name="connsiteY8" fmla="*/ 20271 h 552450"/>
                  <a:gd name="connsiteX9" fmla="*/ 48673 w 847725"/>
                  <a:gd name="connsiteY9" fmla="*/ 48370 h 552450"/>
                  <a:gd name="connsiteX10" fmla="*/ 7144 w 847725"/>
                  <a:gd name="connsiteY10" fmla="*/ 131428 h 552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47725" h="552450">
                    <a:moveTo>
                      <a:pt x="7144" y="131428"/>
                    </a:moveTo>
                    <a:cubicBezTo>
                      <a:pt x="7144" y="131428"/>
                      <a:pt x="48387" y="251443"/>
                      <a:pt x="55912" y="266397"/>
                    </a:cubicBezTo>
                    <a:cubicBezTo>
                      <a:pt x="61722" y="278113"/>
                      <a:pt x="259556" y="450801"/>
                      <a:pt x="345091" y="525191"/>
                    </a:cubicBezTo>
                    <a:cubicBezTo>
                      <a:pt x="369586" y="546452"/>
                      <a:pt x="402497" y="555268"/>
                      <a:pt x="434340" y="549099"/>
                    </a:cubicBezTo>
                    <a:lnTo>
                      <a:pt x="848868" y="468708"/>
                    </a:lnTo>
                    <a:lnTo>
                      <a:pt x="842105" y="361075"/>
                    </a:lnTo>
                    <a:lnTo>
                      <a:pt x="453580" y="367267"/>
                    </a:lnTo>
                    <a:lnTo>
                      <a:pt x="286703" y="119617"/>
                    </a:lnTo>
                    <a:cubicBezTo>
                      <a:pt x="286703" y="119617"/>
                      <a:pt x="269843" y="48370"/>
                      <a:pt x="224885" y="20271"/>
                    </a:cubicBezTo>
                    <a:cubicBezTo>
                      <a:pt x="179927" y="-7828"/>
                      <a:pt x="73057" y="12746"/>
                      <a:pt x="48673" y="48370"/>
                    </a:cubicBezTo>
                    <a:cubicBezTo>
                      <a:pt x="31840" y="74457"/>
                      <a:pt x="17914" y="102309"/>
                      <a:pt x="7144" y="131428"/>
                    </a:cubicBez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0" name="Полилиния: фигура 629">
                <a:extLst>
                  <a:ext uri="{FF2B5EF4-FFF2-40B4-BE49-F238E27FC236}">
                    <a16:creationId xmlns:a16="http://schemas.microsoft.com/office/drawing/2014/main" id="{3405FB47-B8D5-4075-A126-B81B5D01C4F1}"/>
                  </a:ext>
                </a:extLst>
              </p:cNvPr>
              <p:cNvSpPr/>
              <p:nvPr/>
            </p:nvSpPr>
            <p:spPr>
              <a:xfrm>
                <a:off x="2836460" y="5214763"/>
                <a:ext cx="38100" cy="85725"/>
              </a:xfrm>
              <a:custGeom>
                <a:avLst/>
                <a:gdLst>
                  <a:gd name="connsiteX0" fmla="*/ 37722 w 38100"/>
                  <a:gd name="connsiteY0" fmla="*/ 7197 h 85725"/>
                  <a:gd name="connsiteX1" fmla="*/ 17053 w 38100"/>
                  <a:gd name="connsiteY1" fmla="*/ 42439 h 85725"/>
                  <a:gd name="connsiteX2" fmla="*/ 9052 w 38100"/>
                  <a:gd name="connsiteY2" fmla="*/ 82825 h 85725"/>
                  <a:gd name="connsiteX3" fmla="*/ 12290 w 38100"/>
                  <a:gd name="connsiteY3" fmla="*/ 40725 h 85725"/>
                  <a:gd name="connsiteX4" fmla="*/ 27721 w 38100"/>
                  <a:gd name="connsiteY4" fmla="*/ 14721 h 85725"/>
                  <a:gd name="connsiteX5" fmla="*/ 37722 w 38100"/>
                  <a:gd name="connsiteY5" fmla="*/ 7197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100" h="85725">
                    <a:moveTo>
                      <a:pt x="37722" y="7197"/>
                    </a:moveTo>
                    <a:cubicBezTo>
                      <a:pt x="29034" y="17792"/>
                      <a:pt x="22060" y="29684"/>
                      <a:pt x="17053" y="42439"/>
                    </a:cubicBezTo>
                    <a:cubicBezTo>
                      <a:pt x="13270" y="55656"/>
                      <a:pt x="10593" y="69165"/>
                      <a:pt x="9052" y="82825"/>
                    </a:cubicBezTo>
                    <a:cubicBezTo>
                      <a:pt x="5670" y="68801"/>
                      <a:pt x="6804" y="54067"/>
                      <a:pt x="12290" y="40725"/>
                    </a:cubicBezTo>
                    <a:cubicBezTo>
                      <a:pt x="15624" y="31103"/>
                      <a:pt x="20873" y="22257"/>
                      <a:pt x="27721" y="14721"/>
                    </a:cubicBezTo>
                    <a:cubicBezTo>
                      <a:pt x="33055" y="9483"/>
                      <a:pt x="37437" y="6720"/>
                      <a:pt x="37722" y="719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1" name="Полилиния: фигура 630">
                <a:extLst>
                  <a:ext uri="{FF2B5EF4-FFF2-40B4-BE49-F238E27FC236}">
                    <a16:creationId xmlns:a16="http://schemas.microsoft.com/office/drawing/2014/main" id="{5599C953-A51C-4EC9-8C86-8F8D427DBED5}"/>
                  </a:ext>
                </a:extLst>
              </p:cNvPr>
              <p:cNvSpPr/>
              <p:nvPr/>
            </p:nvSpPr>
            <p:spPr>
              <a:xfrm>
                <a:off x="2429079" y="4858867"/>
                <a:ext cx="847725" cy="552450"/>
              </a:xfrm>
              <a:custGeom>
                <a:avLst/>
                <a:gdLst>
                  <a:gd name="connsiteX0" fmla="*/ 193929 w 847725"/>
                  <a:gd name="connsiteY0" fmla="*/ 7144 h 552450"/>
                  <a:gd name="connsiteX1" fmla="*/ 204216 w 847725"/>
                  <a:gd name="connsiteY1" fmla="*/ 9335 h 552450"/>
                  <a:gd name="connsiteX2" fmla="*/ 229171 w 847725"/>
                  <a:gd name="connsiteY2" fmla="*/ 27242 h 552450"/>
                  <a:gd name="connsiteX3" fmla="*/ 288131 w 847725"/>
                  <a:gd name="connsiteY3" fmla="*/ 127921 h 552450"/>
                  <a:gd name="connsiteX4" fmla="*/ 288131 w 847725"/>
                  <a:gd name="connsiteY4" fmla="*/ 127921 h 552450"/>
                  <a:gd name="connsiteX5" fmla="*/ 447008 w 847725"/>
                  <a:gd name="connsiteY5" fmla="*/ 362236 h 552450"/>
                  <a:gd name="connsiteX6" fmla="*/ 445294 w 847725"/>
                  <a:gd name="connsiteY6" fmla="*/ 361283 h 552450"/>
                  <a:gd name="connsiteX7" fmla="*/ 833818 w 847725"/>
                  <a:gd name="connsiteY7" fmla="*/ 357188 h 552450"/>
                  <a:gd name="connsiteX8" fmla="*/ 836200 w 847725"/>
                  <a:gd name="connsiteY8" fmla="*/ 357188 h 552450"/>
                  <a:gd name="connsiteX9" fmla="*/ 836200 w 847725"/>
                  <a:gd name="connsiteY9" fmla="*/ 359474 h 552450"/>
                  <a:gd name="connsiteX10" fmla="*/ 843248 w 847725"/>
                  <a:gd name="connsiteY10" fmla="*/ 464249 h 552450"/>
                  <a:gd name="connsiteX11" fmla="*/ 843248 w 847725"/>
                  <a:gd name="connsiteY11" fmla="*/ 466344 h 552450"/>
                  <a:gd name="connsiteX12" fmla="*/ 841248 w 847725"/>
                  <a:gd name="connsiteY12" fmla="*/ 466820 h 552450"/>
                  <a:gd name="connsiteX13" fmla="*/ 792099 w 847725"/>
                  <a:gd name="connsiteY13" fmla="*/ 477488 h 552450"/>
                  <a:gd name="connsiteX14" fmla="*/ 415957 w 847725"/>
                  <a:gd name="connsiteY14" fmla="*/ 552545 h 552450"/>
                  <a:gd name="connsiteX15" fmla="*/ 372809 w 847725"/>
                  <a:gd name="connsiteY15" fmla="*/ 543020 h 552450"/>
                  <a:gd name="connsiteX16" fmla="*/ 338614 w 847725"/>
                  <a:gd name="connsiteY16" fmla="*/ 517779 h 552450"/>
                  <a:gd name="connsiteX17" fmla="*/ 274987 w 847725"/>
                  <a:gd name="connsiteY17" fmla="*/ 467297 h 552450"/>
                  <a:gd name="connsiteX18" fmla="*/ 160687 w 847725"/>
                  <a:gd name="connsiteY18" fmla="*/ 376619 h 552450"/>
                  <a:gd name="connsiteX19" fmla="*/ 70295 w 847725"/>
                  <a:gd name="connsiteY19" fmla="*/ 297180 h 552450"/>
                  <a:gd name="connsiteX20" fmla="*/ 27813 w 847725"/>
                  <a:gd name="connsiteY20" fmla="*/ 216979 h 552450"/>
                  <a:gd name="connsiteX21" fmla="*/ 11621 w 847725"/>
                  <a:gd name="connsiteY21" fmla="*/ 161830 h 552450"/>
                  <a:gd name="connsiteX22" fmla="*/ 8192 w 847725"/>
                  <a:gd name="connsiteY22" fmla="*/ 147352 h 552450"/>
                  <a:gd name="connsiteX23" fmla="*/ 7144 w 847725"/>
                  <a:gd name="connsiteY23" fmla="*/ 142399 h 552450"/>
                  <a:gd name="connsiteX24" fmla="*/ 8668 w 847725"/>
                  <a:gd name="connsiteY24" fmla="*/ 147257 h 552450"/>
                  <a:gd name="connsiteX25" fmla="*/ 12668 w 847725"/>
                  <a:gd name="connsiteY25" fmla="*/ 161639 h 552450"/>
                  <a:gd name="connsiteX26" fmla="*/ 29623 w 847725"/>
                  <a:gd name="connsiteY26" fmla="*/ 216313 h 552450"/>
                  <a:gd name="connsiteX27" fmla="*/ 72390 w 847725"/>
                  <a:gd name="connsiteY27" fmla="*/ 295370 h 552450"/>
                  <a:gd name="connsiteX28" fmla="*/ 162877 w 847725"/>
                  <a:gd name="connsiteY28" fmla="*/ 373857 h 552450"/>
                  <a:gd name="connsiteX29" fmla="*/ 277177 w 847725"/>
                  <a:gd name="connsiteY29" fmla="*/ 464058 h 552450"/>
                  <a:gd name="connsiteX30" fmla="*/ 340900 w 847725"/>
                  <a:gd name="connsiteY30" fmla="*/ 514350 h 552450"/>
                  <a:gd name="connsiteX31" fmla="*/ 375094 w 847725"/>
                  <a:gd name="connsiteY31" fmla="*/ 538925 h 552450"/>
                  <a:gd name="connsiteX32" fmla="*/ 415576 w 847725"/>
                  <a:gd name="connsiteY32" fmla="*/ 548450 h 552450"/>
                  <a:gd name="connsiteX33" fmla="*/ 791242 w 847725"/>
                  <a:gd name="connsiteY33" fmla="*/ 473012 h 552450"/>
                  <a:gd name="connsiteX34" fmla="*/ 840200 w 847725"/>
                  <a:gd name="connsiteY34" fmla="*/ 462344 h 552450"/>
                  <a:gd name="connsiteX35" fmla="*/ 838295 w 847725"/>
                  <a:gd name="connsiteY35" fmla="*/ 464916 h 552450"/>
                  <a:gd name="connsiteX36" fmla="*/ 831342 w 847725"/>
                  <a:gd name="connsiteY36" fmla="*/ 360141 h 552450"/>
                  <a:gd name="connsiteX37" fmla="*/ 833818 w 847725"/>
                  <a:gd name="connsiteY37" fmla="*/ 362426 h 552450"/>
                  <a:gd name="connsiteX38" fmla="*/ 445199 w 847725"/>
                  <a:gd name="connsiteY38" fmla="*/ 365760 h 552450"/>
                  <a:gd name="connsiteX39" fmla="*/ 444151 w 847725"/>
                  <a:gd name="connsiteY39" fmla="*/ 365760 h 552450"/>
                  <a:gd name="connsiteX40" fmla="*/ 443484 w 847725"/>
                  <a:gd name="connsiteY40" fmla="*/ 364808 h 552450"/>
                  <a:gd name="connsiteX41" fmla="*/ 285845 w 847725"/>
                  <a:gd name="connsiteY41" fmla="*/ 129731 h 552450"/>
                  <a:gd name="connsiteX42" fmla="*/ 285845 w 847725"/>
                  <a:gd name="connsiteY42" fmla="*/ 129731 h 552450"/>
                  <a:gd name="connsiteX43" fmla="*/ 285845 w 847725"/>
                  <a:gd name="connsiteY43" fmla="*/ 129731 h 552450"/>
                  <a:gd name="connsiteX44" fmla="*/ 228695 w 847725"/>
                  <a:gd name="connsiteY44" fmla="*/ 29147 h 552450"/>
                  <a:gd name="connsiteX45" fmla="*/ 204502 w 847725"/>
                  <a:gd name="connsiteY45" fmla="*/ 10859 h 552450"/>
                  <a:gd name="connsiteX46" fmla="*/ 193929 w 847725"/>
                  <a:gd name="connsiteY46" fmla="*/ 7144 h 552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847725" h="552450">
                    <a:moveTo>
                      <a:pt x="193929" y="7144"/>
                    </a:moveTo>
                    <a:cubicBezTo>
                      <a:pt x="197462" y="7249"/>
                      <a:pt x="200947" y="7991"/>
                      <a:pt x="204216" y="9335"/>
                    </a:cubicBezTo>
                    <a:cubicBezTo>
                      <a:pt x="213723" y="13445"/>
                      <a:pt x="222234" y="19552"/>
                      <a:pt x="229171" y="27242"/>
                    </a:cubicBezTo>
                    <a:cubicBezTo>
                      <a:pt x="248222" y="46958"/>
                      <a:pt x="268891" y="81153"/>
                      <a:pt x="288131" y="127921"/>
                    </a:cubicBezTo>
                    <a:lnTo>
                      <a:pt x="288131" y="127921"/>
                    </a:lnTo>
                    <a:lnTo>
                      <a:pt x="447008" y="362236"/>
                    </a:lnTo>
                    <a:lnTo>
                      <a:pt x="445294" y="361283"/>
                    </a:lnTo>
                    <a:lnTo>
                      <a:pt x="833818" y="357188"/>
                    </a:lnTo>
                    <a:lnTo>
                      <a:pt x="836200" y="357188"/>
                    </a:lnTo>
                    <a:lnTo>
                      <a:pt x="836200" y="359474"/>
                    </a:lnTo>
                    <a:cubicBezTo>
                      <a:pt x="838486" y="392907"/>
                      <a:pt x="840867" y="428339"/>
                      <a:pt x="843248" y="464249"/>
                    </a:cubicBezTo>
                    <a:lnTo>
                      <a:pt x="843248" y="466344"/>
                    </a:lnTo>
                    <a:lnTo>
                      <a:pt x="841248" y="466820"/>
                    </a:lnTo>
                    <a:cubicBezTo>
                      <a:pt x="825722" y="470630"/>
                      <a:pt x="808958" y="473964"/>
                      <a:pt x="792099" y="477488"/>
                    </a:cubicBezTo>
                    <a:cubicBezTo>
                      <a:pt x="658749" y="504539"/>
                      <a:pt x="531495" y="527590"/>
                      <a:pt x="415957" y="552545"/>
                    </a:cubicBezTo>
                    <a:cubicBezTo>
                      <a:pt x="400925" y="554077"/>
                      <a:pt x="385798" y="550738"/>
                      <a:pt x="372809" y="543020"/>
                    </a:cubicBezTo>
                    <a:cubicBezTo>
                      <a:pt x="360777" y="535500"/>
                      <a:pt x="349345" y="527061"/>
                      <a:pt x="338614" y="517779"/>
                    </a:cubicBezTo>
                    <a:lnTo>
                      <a:pt x="274987" y="467297"/>
                    </a:lnTo>
                    <a:lnTo>
                      <a:pt x="160687" y="376619"/>
                    </a:lnTo>
                    <a:cubicBezTo>
                      <a:pt x="126206" y="348615"/>
                      <a:pt x="92774" y="325184"/>
                      <a:pt x="70295" y="297180"/>
                    </a:cubicBezTo>
                    <a:cubicBezTo>
                      <a:pt x="51590" y="273113"/>
                      <a:pt x="37215" y="245975"/>
                      <a:pt x="27813" y="216979"/>
                    </a:cubicBezTo>
                    <a:cubicBezTo>
                      <a:pt x="19621" y="193358"/>
                      <a:pt x="14859" y="174593"/>
                      <a:pt x="11621" y="161830"/>
                    </a:cubicBezTo>
                    <a:cubicBezTo>
                      <a:pt x="10192" y="155639"/>
                      <a:pt x="8954" y="150781"/>
                      <a:pt x="8192" y="147352"/>
                    </a:cubicBezTo>
                    <a:cubicBezTo>
                      <a:pt x="7429" y="143923"/>
                      <a:pt x="7144" y="142399"/>
                      <a:pt x="7144" y="142399"/>
                    </a:cubicBezTo>
                    <a:cubicBezTo>
                      <a:pt x="7144" y="142399"/>
                      <a:pt x="7715" y="144018"/>
                      <a:pt x="8668" y="147257"/>
                    </a:cubicBezTo>
                    <a:lnTo>
                      <a:pt x="12668" y="161639"/>
                    </a:lnTo>
                    <a:cubicBezTo>
                      <a:pt x="16192" y="174212"/>
                      <a:pt x="21146" y="192977"/>
                      <a:pt x="29623" y="216313"/>
                    </a:cubicBezTo>
                    <a:cubicBezTo>
                      <a:pt x="39303" y="244895"/>
                      <a:pt x="53764" y="271627"/>
                      <a:pt x="72390" y="295370"/>
                    </a:cubicBezTo>
                    <a:cubicBezTo>
                      <a:pt x="94774" y="322802"/>
                      <a:pt x="128207" y="345948"/>
                      <a:pt x="162877" y="373857"/>
                    </a:cubicBezTo>
                    <a:lnTo>
                      <a:pt x="277177" y="464058"/>
                    </a:lnTo>
                    <a:lnTo>
                      <a:pt x="340900" y="514350"/>
                    </a:lnTo>
                    <a:cubicBezTo>
                      <a:pt x="351665" y="523389"/>
                      <a:pt x="363095" y="531604"/>
                      <a:pt x="375094" y="538925"/>
                    </a:cubicBezTo>
                    <a:cubicBezTo>
                      <a:pt x="387228" y="546334"/>
                      <a:pt x="401411" y="549672"/>
                      <a:pt x="415576" y="548450"/>
                    </a:cubicBezTo>
                    <a:cubicBezTo>
                      <a:pt x="529876" y="523304"/>
                      <a:pt x="658082" y="500063"/>
                      <a:pt x="791242" y="473012"/>
                    </a:cubicBezTo>
                    <a:cubicBezTo>
                      <a:pt x="808006" y="469487"/>
                      <a:pt x="824770" y="466154"/>
                      <a:pt x="840200" y="462344"/>
                    </a:cubicBezTo>
                    <a:lnTo>
                      <a:pt x="838295" y="464916"/>
                    </a:lnTo>
                    <a:cubicBezTo>
                      <a:pt x="835914" y="429006"/>
                      <a:pt x="833533" y="393573"/>
                      <a:pt x="831342" y="360141"/>
                    </a:cubicBezTo>
                    <a:lnTo>
                      <a:pt x="833818" y="362426"/>
                    </a:lnTo>
                    <a:lnTo>
                      <a:pt x="445199" y="365760"/>
                    </a:lnTo>
                    <a:lnTo>
                      <a:pt x="444151" y="365760"/>
                    </a:lnTo>
                    <a:lnTo>
                      <a:pt x="443484" y="364808"/>
                    </a:lnTo>
                    <a:cubicBezTo>
                      <a:pt x="380143" y="270320"/>
                      <a:pt x="326231" y="189833"/>
                      <a:pt x="285845" y="129731"/>
                    </a:cubicBezTo>
                    <a:lnTo>
                      <a:pt x="285845" y="129731"/>
                    </a:lnTo>
                    <a:lnTo>
                      <a:pt x="285845" y="129731"/>
                    </a:lnTo>
                    <a:cubicBezTo>
                      <a:pt x="266795" y="83153"/>
                      <a:pt x="246507" y="48768"/>
                      <a:pt x="228695" y="29147"/>
                    </a:cubicBezTo>
                    <a:cubicBezTo>
                      <a:pt x="221991" y="21434"/>
                      <a:pt x="213751" y="15205"/>
                      <a:pt x="204502" y="10859"/>
                    </a:cubicBezTo>
                    <a:cubicBezTo>
                      <a:pt x="201090" y="9319"/>
                      <a:pt x="197553" y="8077"/>
                      <a:pt x="193929" y="71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2" name="Полилиния: фигура 631">
                <a:extLst>
                  <a:ext uri="{FF2B5EF4-FFF2-40B4-BE49-F238E27FC236}">
                    <a16:creationId xmlns:a16="http://schemas.microsoft.com/office/drawing/2014/main" id="{9E678424-AED5-4872-8037-9B3772625C9A}"/>
                  </a:ext>
                </a:extLst>
              </p:cNvPr>
              <p:cNvSpPr/>
              <p:nvPr/>
            </p:nvSpPr>
            <p:spPr>
              <a:xfrm>
                <a:off x="2734070" y="4808956"/>
                <a:ext cx="38100" cy="85725"/>
              </a:xfrm>
              <a:custGeom>
                <a:avLst/>
                <a:gdLst>
                  <a:gd name="connsiteX0" fmla="*/ 7144 w 38100"/>
                  <a:gd name="connsiteY0" fmla="*/ 19907 h 85725"/>
                  <a:gd name="connsiteX1" fmla="*/ 7811 w 38100"/>
                  <a:gd name="connsiteY1" fmla="*/ 7144 h 85725"/>
                  <a:gd name="connsiteX2" fmla="*/ 31623 w 38100"/>
                  <a:gd name="connsiteY2" fmla="*/ 53054 h 85725"/>
                  <a:gd name="connsiteX3" fmla="*/ 31623 w 38100"/>
                  <a:gd name="connsiteY3" fmla="*/ 87821 h 85725"/>
                  <a:gd name="connsiteX4" fmla="*/ 8477 w 38100"/>
                  <a:gd name="connsiteY4" fmla="*/ 69342 h 85725"/>
                  <a:gd name="connsiteX5" fmla="*/ 7144 w 38100"/>
                  <a:gd name="connsiteY5" fmla="*/ 19907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100" h="85725">
                    <a:moveTo>
                      <a:pt x="7144" y="19907"/>
                    </a:moveTo>
                    <a:lnTo>
                      <a:pt x="7811" y="7144"/>
                    </a:lnTo>
                    <a:lnTo>
                      <a:pt x="31623" y="53054"/>
                    </a:lnTo>
                    <a:lnTo>
                      <a:pt x="31623" y="87821"/>
                    </a:lnTo>
                    <a:lnTo>
                      <a:pt x="8477" y="69342"/>
                    </a:lnTo>
                    <a:lnTo>
                      <a:pt x="7144" y="19907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3" name="Полилиния: фигура 632">
                <a:extLst>
                  <a:ext uri="{FF2B5EF4-FFF2-40B4-BE49-F238E27FC236}">
                    <a16:creationId xmlns:a16="http://schemas.microsoft.com/office/drawing/2014/main" id="{0CD1FADA-C2F2-4B51-AC56-8C3D0D39302B}"/>
                  </a:ext>
                </a:extLst>
              </p:cNvPr>
              <p:cNvSpPr/>
              <p:nvPr/>
            </p:nvSpPr>
            <p:spPr>
              <a:xfrm>
                <a:off x="2534140" y="4767332"/>
                <a:ext cx="209550" cy="95250"/>
              </a:xfrm>
              <a:custGeom>
                <a:avLst/>
                <a:gdLst>
                  <a:gd name="connsiteX0" fmla="*/ 207073 w 209550"/>
                  <a:gd name="connsiteY0" fmla="*/ 40386 h 95250"/>
                  <a:gd name="connsiteX1" fmla="*/ 207931 w 209550"/>
                  <a:gd name="connsiteY1" fmla="*/ 54769 h 95250"/>
                  <a:gd name="connsiteX2" fmla="*/ 207931 w 209550"/>
                  <a:gd name="connsiteY2" fmla="*/ 92869 h 95250"/>
                  <a:gd name="connsiteX3" fmla="*/ 207931 w 209550"/>
                  <a:gd name="connsiteY3" fmla="*/ 95726 h 95250"/>
                  <a:gd name="connsiteX4" fmla="*/ 205168 w 209550"/>
                  <a:gd name="connsiteY4" fmla="*/ 94583 h 95250"/>
                  <a:gd name="connsiteX5" fmla="*/ 129921 w 209550"/>
                  <a:gd name="connsiteY5" fmla="*/ 62579 h 95250"/>
                  <a:gd name="connsiteX6" fmla="*/ 42863 w 209550"/>
                  <a:gd name="connsiteY6" fmla="*/ 24479 h 95250"/>
                  <a:gd name="connsiteX7" fmla="*/ 16669 w 209550"/>
                  <a:gd name="connsiteY7" fmla="*/ 12287 h 95250"/>
                  <a:gd name="connsiteX8" fmla="*/ 7144 w 209550"/>
                  <a:gd name="connsiteY8" fmla="*/ 7144 h 95250"/>
                  <a:gd name="connsiteX9" fmla="*/ 17240 w 209550"/>
                  <a:gd name="connsiteY9" fmla="*/ 10478 h 95250"/>
                  <a:gd name="connsiteX10" fmla="*/ 44005 w 209550"/>
                  <a:gd name="connsiteY10" fmla="*/ 21241 h 95250"/>
                  <a:gd name="connsiteX11" fmla="*/ 131731 w 209550"/>
                  <a:gd name="connsiteY11" fmla="*/ 58388 h 95250"/>
                  <a:gd name="connsiteX12" fmla="*/ 206597 w 209550"/>
                  <a:gd name="connsiteY12" fmla="*/ 91440 h 95250"/>
                  <a:gd name="connsiteX13" fmla="*/ 203835 w 209550"/>
                  <a:gd name="connsiteY13" fmla="*/ 93154 h 95250"/>
                  <a:gd name="connsiteX14" fmla="*/ 205264 w 209550"/>
                  <a:gd name="connsiteY14" fmla="*/ 55054 h 95250"/>
                  <a:gd name="connsiteX15" fmla="*/ 207073 w 209550"/>
                  <a:gd name="connsiteY15" fmla="*/ 40386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9550" h="95250">
                    <a:moveTo>
                      <a:pt x="207073" y="40386"/>
                    </a:moveTo>
                    <a:cubicBezTo>
                      <a:pt x="207838" y="45140"/>
                      <a:pt x="208125" y="49958"/>
                      <a:pt x="207931" y="54769"/>
                    </a:cubicBezTo>
                    <a:cubicBezTo>
                      <a:pt x="207931" y="64294"/>
                      <a:pt x="207931" y="77057"/>
                      <a:pt x="207931" y="92869"/>
                    </a:cubicBezTo>
                    <a:lnTo>
                      <a:pt x="207931" y="95726"/>
                    </a:lnTo>
                    <a:lnTo>
                      <a:pt x="205168" y="94583"/>
                    </a:lnTo>
                    <a:cubicBezTo>
                      <a:pt x="184499" y="86011"/>
                      <a:pt x="158305" y="74867"/>
                      <a:pt x="129921" y="62579"/>
                    </a:cubicBezTo>
                    <a:cubicBezTo>
                      <a:pt x="95821" y="47815"/>
                      <a:pt x="65056" y="34004"/>
                      <a:pt x="42863" y="24479"/>
                    </a:cubicBezTo>
                    <a:cubicBezTo>
                      <a:pt x="31718" y="19431"/>
                      <a:pt x="22765" y="14954"/>
                      <a:pt x="16669" y="12287"/>
                    </a:cubicBezTo>
                    <a:cubicBezTo>
                      <a:pt x="13300" y="10960"/>
                      <a:pt x="10102" y="9233"/>
                      <a:pt x="7144" y="7144"/>
                    </a:cubicBezTo>
                    <a:cubicBezTo>
                      <a:pt x="10619" y="7890"/>
                      <a:pt x="14004" y="9008"/>
                      <a:pt x="17240" y="10478"/>
                    </a:cubicBezTo>
                    <a:lnTo>
                      <a:pt x="44005" y="21241"/>
                    </a:lnTo>
                    <a:cubicBezTo>
                      <a:pt x="66580" y="30766"/>
                      <a:pt x="97536" y="43624"/>
                      <a:pt x="131731" y="58388"/>
                    </a:cubicBezTo>
                    <a:cubicBezTo>
                      <a:pt x="160306" y="70676"/>
                      <a:pt x="186118" y="82201"/>
                      <a:pt x="206597" y="91440"/>
                    </a:cubicBezTo>
                    <a:lnTo>
                      <a:pt x="203835" y="93154"/>
                    </a:lnTo>
                    <a:cubicBezTo>
                      <a:pt x="204311" y="77057"/>
                      <a:pt x="204788" y="63818"/>
                      <a:pt x="205264" y="55054"/>
                    </a:cubicBezTo>
                    <a:cubicBezTo>
                      <a:pt x="205287" y="50111"/>
                      <a:pt x="205895" y="45187"/>
                      <a:pt x="207073" y="4038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4" name="Полилиния: фигура 633">
                <a:extLst>
                  <a:ext uri="{FF2B5EF4-FFF2-40B4-BE49-F238E27FC236}">
                    <a16:creationId xmlns:a16="http://schemas.microsoft.com/office/drawing/2014/main" id="{CEA105EF-382F-4593-8BF9-75218F9EA90D}"/>
                  </a:ext>
                </a:extLst>
              </p:cNvPr>
              <p:cNvSpPr/>
              <p:nvPr/>
            </p:nvSpPr>
            <p:spPr>
              <a:xfrm>
                <a:off x="2746252" y="4879727"/>
                <a:ext cx="219075" cy="342900"/>
              </a:xfrm>
              <a:custGeom>
                <a:avLst/>
                <a:gdLst>
                  <a:gd name="connsiteX0" fmla="*/ 7154 w 219075"/>
                  <a:gd name="connsiteY0" fmla="*/ 7239 h 342900"/>
                  <a:gd name="connsiteX1" fmla="*/ 72781 w 219075"/>
                  <a:gd name="connsiteY1" fmla="*/ 177832 h 342900"/>
                  <a:gd name="connsiteX2" fmla="*/ 189367 w 219075"/>
                  <a:gd name="connsiteY2" fmla="*/ 337757 h 342900"/>
                  <a:gd name="connsiteX3" fmla="*/ 217275 w 219075"/>
                  <a:gd name="connsiteY3" fmla="*/ 337757 h 342900"/>
                  <a:gd name="connsiteX4" fmla="*/ 76591 w 219075"/>
                  <a:gd name="connsiteY4" fmla="*/ 169069 h 342900"/>
                  <a:gd name="connsiteX5" fmla="*/ 19441 w 219075"/>
                  <a:gd name="connsiteY5" fmla="*/ 7144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9075" h="342900">
                    <a:moveTo>
                      <a:pt x="7154" y="7239"/>
                    </a:moveTo>
                    <a:cubicBezTo>
                      <a:pt x="6201" y="14002"/>
                      <a:pt x="72781" y="177832"/>
                      <a:pt x="72781" y="177832"/>
                    </a:cubicBezTo>
                    <a:cubicBezTo>
                      <a:pt x="72781" y="177832"/>
                      <a:pt x="179175" y="312325"/>
                      <a:pt x="189367" y="337757"/>
                    </a:cubicBezTo>
                    <a:lnTo>
                      <a:pt x="217275" y="337757"/>
                    </a:lnTo>
                    <a:lnTo>
                      <a:pt x="76591" y="169069"/>
                    </a:lnTo>
                    <a:lnTo>
                      <a:pt x="19441" y="7144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5" name="Полилиния: фигура 634">
                <a:extLst>
                  <a:ext uri="{FF2B5EF4-FFF2-40B4-BE49-F238E27FC236}">
                    <a16:creationId xmlns:a16="http://schemas.microsoft.com/office/drawing/2014/main" id="{704A3B56-4053-4B9E-9BA1-1D6E15CC7559}"/>
                  </a:ext>
                </a:extLst>
              </p:cNvPr>
              <p:cNvSpPr/>
              <p:nvPr/>
            </p:nvSpPr>
            <p:spPr>
              <a:xfrm>
                <a:off x="3260040" y="5191290"/>
                <a:ext cx="247650" cy="133350"/>
              </a:xfrm>
              <a:custGeom>
                <a:avLst/>
                <a:gdLst>
                  <a:gd name="connsiteX0" fmla="*/ 241078 w 247650"/>
                  <a:gd name="connsiteY0" fmla="*/ 78391 h 133350"/>
                  <a:gd name="connsiteX1" fmla="*/ 239458 w 247650"/>
                  <a:gd name="connsiteY1" fmla="*/ 62389 h 133350"/>
                  <a:gd name="connsiteX2" fmla="*/ 175260 w 247650"/>
                  <a:gd name="connsiteY2" fmla="*/ 20479 h 133350"/>
                  <a:gd name="connsiteX3" fmla="*/ 96393 w 247650"/>
                  <a:gd name="connsiteY3" fmla="*/ 7144 h 133350"/>
                  <a:gd name="connsiteX4" fmla="*/ 35719 w 247650"/>
                  <a:gd name="connsiteY4" fmla="*/ 45244 h 133350"/>
                  <a:gd name="connsiteX5" fmla="*/ 7144 w 247650"/>
                  <a:gd name="connsiteY5" fmla="*/ 42958 h 133350"/>
                  <a:gd name="connsiteX6" fmla="*/ 11525 w 247650"/>
                  <a:gd name="connsiteY6" fmla="*/ 119158 h 133350"/>
                  <a:gd name="connsiteX7" fmla="*/ 21050 w 247650"/>
                  <a:gd name="connsiteY7" fmla="*/ 119158 h 133350"/>
                  <a:gd name="connsiteX8" fmla="*/ 52768 w 247650"/>
                  <a:gd name="connsiteY8" fmla="*/ 127730 h 133350"/>
                  <a:gd name="connsiteX9" fmla="*/ 101918 w 247650"/>
                  <a:gd name="connsiteY9" fmla="*/ 114014 h 133350"/>
                  <a:gd name="connsiteX10" fmla="*/ 140018 w 247650"/>
                  <a:gd name="connsiteY10" fmla="*/ 87535 h 133350"/>
                  <a:gd name="connsiteX11" fmla="*/ 168593 w 247650"/>
                  <a:gd name="connsiteY11" fmla="*/ 76390 h 133350"/>
                  <a:gd name="connsiteX12" fmla="*/ 191643 w 247650"/>
                  <a:gd name="connsiteY12" fmla="*/ 86868 h 133350"/>
                  <a:gd name="connsiteX13" fmla="*/ 194977 w 247650"/>
                  <a:gd name="connsiteY13" fmla="*/ 98203 h 133350"/>
                  <a:gd name="connsiteX14" fmla="*/ 207931 w 247650"/>
                  <a:gd name="connsiteY14" fmla="*/ 103537 h 133350"/>
                  <a:gd name="connsiteX15" fmla="*/ 212693 w 247650"/>
                  <a:gd name="connsiteY15" fmla="*/ 92773 h 133350"/>
                  <a:gd name="connsiteX16" fmla="*/ 205454 w 247650"/>
                  <a:gd name="connsiteY16" fmla="*/ 71533 h 133350"/>
                  <a:gd name="connsiteX17" fmla="*/ 216503 w 247650"/>
                  <a:gd name="connsiteY17" fmla="*/ 79915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47650" h="133350">
                    <a:moveTo>
                      <a:pt x="241078" y="78391"/>
                    </a:moveTo>
                    <a:lnTo>
                      <a:pt x="239458" y="62389"/>
                    </a:lnTo>
                    <a:lnTo>
                      <a:pt x="175260" y="20479"/>
                    </a:lnTo>
                    <a:lnTo>
                      <a:pt x="96393" y="7144"/>
                    </a:lnTo>
                    <a:lnTo>
                      <a:pt x="35719" y="45244"/>
                    </a:lnTo>
                    <a:lnTo>
                      <a:pt x="7144" y="42958"/>
                    </a:lnTo>
                    <a:lnTo>
                      <a:pt x="11525" y="119158"/>
                    </a:lnTo>
                    <a:lnTo>
                      <a:pt x="21050" y="119158"/>
                    </a:lnTo>
                    <a:cubicBezTo>
                      <a:pt x="31019" y="123905"/>
                      <a:pt x="41765" y="126809"/>
                      <a:pt x="52768" y="127730"/>
                    </a:cubicBezTo>
                    <a:cubicBezTo>
                      <a:pt x="73533" y="130016"/>
                      <a:pt x="101918" y="114014"/>
                      <a:pt x="101918" y="114014"/>
                    </a:cubicBezTo>
                    <a:lnTo>
                      <a:pt x="140018" y="87535"/>
                    </a:lnTo>
                    <a:lnTo>
                      <a:pt x="168593" y="76390"/>
                    </a:lnTo>
                    <a:lnTo>
                      <a:pt x="191643" y="86868"/>
                    </a:lnTo>
                    <a:cubicBezTo>
                      <a:pt x="193016" y="90564"/>
                      <a:pt x="194130" y="94352"/>
                      <a:pt x="194977" y="98203"/>
                    </a:cubicBezTo>
                    <a:cubicBezTo>
                      <a:pt x="194977" y="101060"/>
                      <a:pt x="203549" y="103918"/>
                      <a:pt x="207931" y="103537"/>
                    </a:cubicBezTo>
                    <a:cubicBezTo>
                      <a:pt x="212312" y="103156"/>
                      <a:pt x="212693" y="92773"/>
                      <a:pt x="212693" y="92773"/>
                    </a:cubicBezTo>
                    <a:lnTo>
                      <a:pt x="205454" y="71533"/>
                    </a:lnTo>
                    <a:lnTo>
                      <a:pt x="216503" y="79915"/>
                    </a:lnTo>
                    <a:close/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6" name="Полилиния: фигура 635">
                <a:extLst>
                  <a:ext uri="{FF2B5EF4-FFF2-40B4-BE49-F238E27FC236}">
                    <a16:creationId xmlns:a16="http://schemas.microsoft.com/office/drawing/2014/main" id="{25A8731A-A925-4705-8F33-8A3E68BB7DEB}"/>
                  </a:ext>
                </a:extLst>
              </p:cNvPr>
              <p:cNvSpPr/>
              <p:nvPr/>
            </p:nvSpPr>
            <p:spPr>
              <a:xfrm>
                <a:off x="3383294" y="5363311"/>
                <a:ext cx="76200" cy="1047750"/>
              </a:xfrm>
              <a:custGeom>
                <a:avLst/>
                <a:gdLst>
                  <a:gd name="connsiteX0" fmla="*/ 7144 w 76200"/>
                  <a:gd name="connsiteY0" fmla="*/ 7144 h 1047750"/>
                  <a:gd name="connsiteX1" fmla="*/ 71628 w 76200"/>
                  <a:gd name="connsiteY1" fmla="*/ 7144 h 1047750"/>
                  <a:gd name="connsiteX2" fmla="*/ 71628 w 76200"/>
                  <a:gd name="connsiteY2" fmla="*/ 1040797 h 1047750"/>
                  <a:gd name="connsiteX3" fmla="*/ 7144 w 76200"/>
                  <a:gd name="connsiteY3" fmla="*/ 1040797 h 1047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1047750">
                    <a:moveTo>
                      <a:pt x="7144" y="7144"/>
                    </a:moveTo>
                    <a:lnTo>
                      <a:pt x="71628" y="7144"/>
                    </a:lnTo>
                    <a:lnTo>
                      <a:pt x="71628" y="1040797"/>
                    </a:lnTo>
                    <a:lnTo>
                      <a:pt x="7144" y="1040797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7" name="Полилиния: фигура 636">
                <a:extLst>
                  <a:ext uri="{FF2B5EF4-FFF2-40B4-BE49-F238E27FC236}">
                    <a16:creationId xmlns:a16="http://schemas.microsoft.com/office/drawing/2014/main" id="{98C27292-774B-4C5E-9C0C-0B76CCEF541B}"/>
                  </a:ext>
                </a:extLst>
              </p:cNvPr>
              <p:cNvSpPr/>
              <p:nvPr/>
            </p:nvSpPr>
            <p:spPr>
              <a:xfrm>
                <a:off x="3381579" y="5359596"/>
                <a:ext cx="76200" cy="1047750"/>
              </a:xfrm>
              <a:custGeom>
                <a:avLst/>
                <a:gdLst>
                  <a:gd name="connsiteX0" fmla="*/ 73342 w 76200"/>
                  <a:gd name="connsiteY0" fmla="*/ 1044512 h 1047750"/>
                  <a:gd name="connsiteX1" fmla="*/ 73342 w 76200"/>
                  <a:gd name="connsiteY1" fmla="*/ 1039082 h 1047750"/>
                  <a:gd name="connsiteX2" fmla="*/ 73342 w 76200"/>
                  <a:gd name="connsiteY2" fmla="*/ 1023461 h 1047750"/>
                  <a:gd name="connsiteX3" fmla="*/ 73342 w 76200"/>
                  <a:gd name="connsiteY3" fmla="*/ 963549 h 1047750"/>
                  <a:gd name="connsiteX4" fmla="*/ 72580 w 76200"/>
                  <a:gd name="connsiteY4" fmla="*/ 743141 h 1047750"/>
                  <a:gd name="connsiteX5" fmla="*/ 71533 w 76200"/>
                  <a:gd name="connsiteY5" fmla="*/ 10859 h 1047750"/>
                  <a:gd name="connsiteX6" fmla="*/ 74009 w 76200"/>
                  <a:gd name="connsiteY6" fmla="*/ 13335 h 1047750"/>
                  <a:gd name="connsiteX7" fmla="*/ 9525 w 76200"/>
                  <a:gd name="connsiteY7" fmla="*/ 13335 h 1047750"/>
                  <a:gd name="connsiteX8" fmla="*/ 12001 w 76200"/>
                  <a:gd name="connsiteY8" fmla="*/ 10859 h 1047750"/>
                  <a:gd name="connsiteX9" fmla="*/ 10287 w 76200"/>
                  <a:gd name="connsiteY9" fmla="*/ 1044512 h 1047750"/>
                  <a:gd name="connsiteX10" fmla="*/ 9525 w 76200"/>
                  <a:gd name="connsiteY10" fmla="*/ 1043654 h 1047750"/>
                  <a:gd name="connsiteX11" fmla="*/ 57817 w 76200"/>
                  <a:gd name="connsiteY11" fmla="*/ 1044130 h 1047750"/>
                  <a:gd name="connsiteX12" fmla="*/ 69913 w 76200"/>
                  <a:gd name="connsiteY12" fmla="*/ 1044130 h 1047750"/>
                  <a:gd name="connsiteX13" fmla="*/ 74009 w 76200"/>
                  <a:gd name="connsiteY13" fmla="*/ 1044130 h 1047750"/>
                  <a:gd name="connsiteX14" fmla="*/ 70199 w 76200"/>
                  <a:gd name="connsiteY14" fmla="*/ 1044130 h 1047750"/>
                  <a:gd name="connsiteX15" fmla="*/ 58293 w 76200"/>
                  <a:gd name="connsiteY15" fmla="*/ 1044130 h 1047750"/>
                  <a:gd name="connsiteX16" fmla="*/ 9525 w 76200"/>
                  <a:gd name="connsiteY16" fmla="*/ 1044130 h 1047750"/>
                  <a:gd name="connsiteX17" fmla="*/ 8763 w 76200"/>
                  <a:gd name="connsiteY17" fmla="*/ 1044130 h 1047750"/>
                  <a:gd name="connsiteX18" fmla="*/ 8763 w 76200"/>
                  <a:gd name="connsiteY18" fmla="*/ 1043273 h 1047750"/>
                  <a:gd name="connsiteX19" fmla="*/ 7144 w 76200"/>
                  <a:gd name="connsiteY19" fmla="*/ 9620 h 1047750"/>
                  <a:gd name="connsiteX20" fmla="*/ 7144 w 76200"/>
                  <a:gd name="connsiteY20" fmla="*/ 7144 h 1047750"/>
                  <a:gd name="connsiteX21" fmla="*/ 76581 w 76200"/>
                  <a:gd name="connsiteY21" fmla="*/ 7144 h 1047750"/>
                  <a:gd name="connsiteX22" fmla="*/ 76581 w 76200"/>
                  <a:gd name="connsiteY22" fmla="*/ 9620 h 1047750"/>
                  <a:gd name="connsiteX23" fmla="*/ 75533 w 76200"/>
                  <a:gd name="connsiteY23" fmla="*/ 743807 h 1047750"/>
                  <a:gd name="connsiteX24" fmla="*/ 74866 w 76200"/>
                  <a:gd name="connsiteY24" fmla="*/ 963549 h 1047750"/>
                  <a:gd name="connsiteX25" fmla="*/ 74866 w 76200"/>
                  <a:gd name="connsiteY25" fmla="*/ 1022890 h 1047750"/>
                  <a:gd name="connsiteX26" fmla="*/ 74866 w 76200"/>
                  <a:gd name="connsiteY26" fmla="*/ 1038225 h 1047750"/>
                  <a:gd name="connsiteX27" fmla="*/ 73342 w 76200"/>
                  <a:gd name="connsiteY27" fmla="*/ 1044512 h 1047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76200" h="1047750">
                    <a:moveTo>
                      <a:pt x="73342" y="1044512"/>
                    </a:moveTo>
                    <a:cubicBezTo>
                      <a:pt x="73342" y="1044512"/>
                      <a:pt x="73342" y="1042607"/>
                      <a:pt x="73342" y="1039082"/>
                    </a:cubicBezTo>
                    <a:cubicBezTo>
                      <a:pt x="73342" y="1035558"/>
                      <a:pt x="73342" y="1030129"/>
                      <a:pt x="73342" y="1023461"/>
                    </a:cubicBezTo>
                    <a:cubicBezTo>
                      <a:pt x="73342" y="1009555"/>
                      <a:pt x="73342" y="989457"/>
                      <a:pt x="73342" y="963549"/>
                    </a:cubicBezTo>
                    <a:cubicBezTo>
                      <a:pt x="73342" y="911447"/>
                      <a:pt x="72866" y="836295"/>
                      <a:pt x="72580" y="743141"/>
                    </a:cubicBezTo>
                    <a:cubicBezTo>
                      <a:pt x="72580" y="557022"/>
                      <a:pt x="72009" y="298990"/>
                      <a:pt x="71533" y="10859"/>
                    </a:cubicBezTo>
                    <a:lnTo>
                      <a:pt x="74009" y="13335"/>
                    </a:lnTo>
                    <a:lnTo>
                      <a:pt x="9525" y="13335"/>
                    </a:lnTo>
                    <a:lnTo>
                      <a:pt x="12001" y="10859"/>
                    </a:lnTo>
                    <a:cubicBezTo>
                      <a:pt x="12001" y="491585"/>
                      <a:pt x="11335" y="900113"/>
                      <a:pt x="10287" y="1044512"/>
                    </a:cubicBezTo>
                    <a:lnTo>
                      <a:pt x="9525" y="1043654"/>
                    </a:lnTo>
                    <a:lnTo>
                      <a:pt x="57817" y="1044130"/>
                    </a:lnTo>
                    <a:lnTo>
                      <a:pt x="69913" y="1044130"/>
                    </a:lnTo>
                    <a:lnTo>
                      <a:pt x="74009" y="1044130"/>
                    </a:lnTo>
                    <a:lnTo>
                      <a:pt x="70199" y="1044130"/>
                    </a:lnTo>
                    <a:lnTo>
                      <a:pt x="58293" y="1044130"/>
                    </a:lnTo>
                    <a:lnTo>
                      <a:pt x="9525" y="1044130"/>
                    </a:lnTo>
                    <a:lnTo>
                      <a:pt x="8763" y="1044130"/>
                    </a:lnTo>
                    <a:lnTo>
                      <a:pt x="8763" y="1043273"/>
                    </a:lnTo>
                    <a:cubicBezTo>
                      <a:pt x="7810" y="898874"/>
                      <a:pt x="7144" y="490347"/>
                      <a:pt x="7144" y="9620"/>
                    </a:cubicBezTo>
                    <a:lnTo>
                      <a:pt x="7144" y="7144"/>
                    </a:lnTo>
                    <a:lnTo>
                      <a:pt x="76581" y="7144"/>
                    </a:lnTo>
                    <a:lnTo>
                      <a:pt x="76581" y="9620"/>
                    </a:lnTo>
                    <a:cubicBezTo>
                      <a:pt x="76581" y="298418"/>
                      <a:pt x="75819" y="557117"/>
                      <a:pt x="75533" y="743807"/>
                    </a:cubicBezTo>
                    <a:cubicBezTo>
                      <a:pt x="75533" y="836676"/>
                      <a:pt x="74962" y="911638"/>
                      <a:pt x="74866" y="963549"/>
                    </a:cubicBezTo>
                    <a:cubicBezTo>
                      <a:pt x="74866" y="989171"/>
                      <a:pt x="74866" y="1009174"/>
                      <a:pt x="74866" y="1022890"/>
                    </a:cubicBezTo>
                    <a:lnTo>
                      <a:pt x="74866" y="1038225"/>
                    </a:lnTo>
                    <a:cubicBezTo>
                      <a:pt x="73533" y="1042797"/>
                      <a:pt x="73342" y="1044512"/>
                      <a:pt x="73342" y="104451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8" name="Полилиния: фигура 637">
                <a:extLst>
                  <a:ext uri="{FF2B5EF4-FFF2-40B4-BE49-F238E27FC236}">
                    <a16:creationId xmlns:a16="http://schemas.microsoft.com/office/drawing/2014/main" id="{17F80F12-5765-4C23-AF38-302AF94E8482}"/>
                  </a:ext>
                </a:extLst>
              </p:cNvPr>
              <p:cNvSpPr/>
              <p:nvPr/>
            </p:nvSpPr>
            <p:spPr>
              <a:xfrm>
                <a:off x="4376180" y="5364168"/>
                <a:ext cx="76200" cy="1047750"/>
              </a:xfrm>
              <a:custGeom>
                <a:avLst/>
                <a:gdLst>
                  <a:gd name="connsiteX0" fmla="*/ 7144 w 76200"/>
                  <a:gd name="connsiteY0" fmla="*/ 7144 h 1047750"/>
                  <a:gd name="connsiteX1" fmla="*/ 71628 w 76200"/>
                  <a:gd name="connsiteY1" fmla="*/ 7144 h 1047750"/>
                  <a:gd name="connsiteX2" fmla="*/ 71628 w 76200"/>
                  <a:gd name="connsiteY2" fmla="*/ 1040797 h 1047750"/>
                  <a:gd name="connsiteX3" fmla="*/ 7144 w 76200"/>
                  <a:gd name="connsiteY3" fmla="*/ 1040797 h 1047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1047750">
                    <a:moveTo>
                      <a:pt x="7144" y="7144"/>
                    </a:moveTo>
                    <a:lnTo>
                      <a:pt x="71628" y="7144"/>
                    </a:lnTo>
                    <a:lnTo>
                      <a:pt x="71628" y="1040797"/>
                    </a:lnTo>
                    <a:lnTo>
                      <a:pt x="7144" y="1040797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9" name="Полилиния: фигура 638">
                <a:extLst>
                  <a:ext uri="{FF2B5EF4-FFF2-40B4-BE49-F238E27FC236}">
                    <a16:creationId xmlns:a16="http://schemas.microsoft.com/office/drawing/2014/main" id="{E34D2AFC-39F1-4EC3-B119-5A0F9C3643AA}"/>
                  </a:ext>
                </a:extLst>
              </p:cNvPr>
              <p:cNvSpPr/>
              <p:nvPr/>
            </p:nvSpPr>
            <p:spPr>
              <a:xfrm>
                <a:off x="4374370" y="5362073"/>
                <a:ext cx="76200" cy="1047750"/>
              </a:xfrm>
              <a:custGeom>
                <a:avLst/>
                <a:gdLst>
                  <a:gd name="connsiteX0" fmla="*/ 73438 w 76200"/>
                  <a:gd name="connsiteY0" fmla="*/ 1043273 h 1047750"/>
                  <a:gd name="connsiteX1" fmla="*/ 73438 w 76200"/>
                  <a:gd name="connsiteY1" fmla="*/ 1037844 h 1047750"/>
                  <a:gd name="connsiteX2" fmla="*/ 73438 w 76200"/>
                  <a:gd name="connsiteY2" fmla="*/ 1022223 h 1047750"/>
                  <a:gd name="connsiteX3" fmla="*/ 73438 w 76200"/>
                  <a:gd name="connsiteY3" fmla="*/ 962311 h 1047750"/>
                  <a:gd name="connsiteX4" fmla="*/ 72676 w 76200"/>
                  <a:gd name="connsiteY4" fmla="*/ 741997 h 1047750"/>
                  <a:gd name="connsiteX5" fmla="*/ 71628 w 76200"/>
                  <a:gd name="connsiteY5" fmla="*/ 9620 h 1047750"/>
                  <a:gd name="connsiteX6" fmla="*/ 74104 w 76200"/>
                  <a:gd name="connsiteY6" fmla="*/ 12097 h 1047750"/>
                  <a:gd name="connsiteX7" fmla="*/ 9620 w 76200"/>
                  <a:gd name="connsiteY7" fmla="*/ 12097 h 1047750"/>
                  <a:gd name="connsiteX8" fmla="*/ 12097 w 76200"/>
                  <a:gd name="connsiteY8" fmla="*/ 9620 h 1047750"/>
                  <a:gd name="connsiteX9" fmla="*/ 10382 w 76200"/>
                  <a:gd name="connsiteY9" fmla="*/ 1043273 h 1047750"/>
                  <a:gd name="connsiteX10" fmla="*/ 9620 w 76200"/>
                  <a:gd name="connsiteY10" fmla="*/ 1042511 h 1047750"/>
                  <a:gd name="connsiteX11" fmla="*/ 57912 w 76200"/>
                  <a:gd name="connsiteY11" fmla="*/ 1042988 h 1047750"/>
                  <a:gd name="connsiteX12" fmla="*/ 70009 w 76200"/>
                  <a:gd name="connsiteY12" fmla="*/ 1042988 h 1047750"/>
                  <a:gd name="connsiteX13" fmla="*/ 74104 w 76200"/>
                  <a:gd name="connsiteY13" fmla="*/ 1042988 h 1047750"/>
                  <a:gd name="connsiteX14" fmla="*/ 70295 w 76200"/>
                  <a:gd name="connsiteY14" fmla="*/ 1042988 h 1047750"/>
                  <a:gd name="connsiteX15" fmla="*/ 58293 w 76200"/>
                  <a:gd name="connsiteY15" fmla="*/ 1042988 h 1047750"/>
                  <a:gd name="connsiteX16" fmla="*/ 9620 w 76200"/>
                  <a:gd name="connsiteY16" fmla="*/ 1043464 h 1047750"/>
                  <a:gd name="connsiteX17" fmla="*/ 8763 w 76200"/>
                  <a:gd name="connsiteY17" fmla="*/ 1043464 h 1047750"/>
                  <a:gd name="connsiteX18" fmla="*/ 8763 w 76200"/>
                  <a:gd name="connsiteY18" fmla="*/ 1043273 h 1047750"/>
                  <a:gd name="connsiteX19" fmla="*/ 7144 w 76200"/>
                  <a:gd name="connsiteY19" fmla="*/ 9620 h 1047750"/>
                  <a:gd name="connsiteX20" fmla="*/ 7144 w 76200"/>
                  <a:gd name="connsiteY20" fmla="*/ 7144 h 1047750"/>
                  <a:gd name="connsiteX21" fmla="*/ 76581 w 76200"/>
                  <a:gd name="connsiteY21" fmla="*/ 7144 h 1047750"/>
                  <a:gd name="connsiteX22" fmla="*/ 76581 w 76200"/>
                  <a:gd name="connsiteY22" fmla="*/ 9620 h 1047750"/>
                  <a:gd name="connsiteX23" fmla="*/ 75533 w 76200"/>
                  <a:gd name="connsiteY23" fmla="*/ 743807 h 1047750"/>
                  <a:gd name="connsiteX24" fmla="*/ 74771 w 76200"/>
                  <a:gd name="connsiteY24" fmla="*/ 963549 h 1047750"/>
                  <a:gd name="connsiteX25" fmla="*/ 74771 w 76200"/>
                  <a:gd name="connsiteY25" fmla="*/ 1022890 h 1047750"/>
                  <a:gd name="connsiteX26" fmla="*/ 74771 w 76200"/>
                  <a:gd name="connsiteY26" fmla="*/ 1038225 h 1047750"/>
                  <a:gd name="connsiteX27" fmla="*/ 73438 w 76200"/>
                  <a:gd name="connsiteY27" fmla="*/ 1043273 h 1047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76200" h="1047750">
                    <a:moveTo>
                      <a:pt x="73438" y="1043273"/>
                    </a:moveTo>
                    <a:cubicBezTo>
                      <a:pt x="73438" y="1043273"/>
                      <a:pt x="73438" y="1041368"/>
                      <a:pt x="73438" y="1037844"/>
                    </a:cubicBezTo>
                    <a:lnTo>
                      <a:pt x="73438" y="1022223"/>
                    </a:lnTo>
                    <a:cubicBezTo>
                      <a:pt x="73438" y="1008316"/>
                      <a:pt x="73438" y="988219"/>
                      <a:pt x="73438" y="962311"/>
                    </a:cubicBezTo>
                    <a:cubicBezTo>
                      <a:pt x="73438" y="910304"/>
                      <a:pt x="72962" y="835057"/>
                      <a:pt x="72676" y="741997"/>
                    </a:cubicBezTo>
                    <a:cubicBezTo>
                      <a:pt x="72676" y="555784"/>
                      <a:pt x="72009" y="297752"/>
                      <a:pt x="71628" y="9620"/>
                    </a:cubicBezTo>
                    <a:lnTo>
                      <a:pt x="74104" y="12097"/>
                    </a:lnTo>
                    <a:lnTo>
                      <a:pt x="9620" y="12097"/>
                    </a:lnTo>
                    <a:lnTo>
                      <a:pt x="12097" y="9620"/>
                    </a:lnTo>
                    <a:cubicBezTo>
                      <a:pt x="12097" y="490347"/>
                      <a:pt x="11335" y="898874"/>
                      <a:pt x="10382" y="1043273"/>
                    </a:cubicBezTo>
                    <a:lnTo>
                      <a:pt x="9620" y="1042511"/>
                    </a:lnTo>
                    <a:lnTo>
                      <a:pt x="57912" y="1042988"/>
                    </a:lnTo>
                    <a:lnTo>
                      <a:pt x="70009" y="1042988"/>
                    </a:lnTo>
                    <a:lnTo>
                      <a:pt x="74104" y="1042988"/>
                    </a:lnTo>
                    <a:lnTo>
                      <a:pt x="70295" y="1042988"/>
                    </a:lnTo>
                    <a:lnTo>
                      <a:pt x="58293" y="1042988"/>
                    </a:lnTo>
                    <a:lnTo>
                      <a:pt x="9620" y="1043464"/>
                    </a:lnTo>
                    <a:lnTo>
                      <a:pt x="8763" y="1043464"/>
                    </a:lnTo>
                    <a:lnTo>
                      <a:pt x="8763" y="1043273"/>
                    </a:lnTo>
                    <a:cubicBezTo>
                      <a:pt x="7811" y="898874"/>
                      <a:pt x="7144" y="490823"/>
                      <a:pt x="7144" y="9620"/>
                    </a:cubicBezTo>
                    <a:lnTo>
                      <a:pt x="7144" y="7144"/>
                    </a:lnTo>
                    <a:lnTo>
                      <a:pt x="76581" y="7144"/>
                    </a:lnTo>
                    <a:lnTo>
                      <a:pt x="76581" y="9620"/>
                    </a:lnTo>
                    <a:cubicBezTo>
                      <a:pt x="76581" y="298418"/>
                      <a:pt x="75819" y="557117"/>
                      <a:pt x="75533" y="743807"/>
                    </a:cubicBezTo>
                    <a:cubicBezTo>
                      <a:pt x="75533" y="836676"/>
                      <a:pt x="74962" y="911638"/>
                      <a:pt x="74771" y="963549"/>
                    </a:cubicBezTo>
                    <a:cubicBezTo>
                      <a:pt x="74771" y="989171"/>
                      <a:pt x="74771" y="1009174"/>
                      <a:pt x="74771" y="1022890"/>
                    </a:cubicBezTo>
                    <a:cubicBezTo>
                      <a:pt x="74771" y="1029462"/>
                      <a:pt x="74771" y="1034605"/>
                      <a:pt x="74771" y="1038225"/>
                    </a:cubicBezTo>
                    <a:cubicBezTo>
                      <a:pt x="74771" y="1041845"/>
                      <a:pt x="73438" y="1043273"/>
                      <a:pt x="73438" y="104327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0" name="Полилиния: фигура 639">
                <a:extLst>
                  <a:ext uri="{FF2B5EF4-FFF2-40B4-BE49-F238E27FC236}">
                    <a16:creationId xmlns:a16="http://schemas.microsoft.com/office/drawing/2014/main" id="{1A842F3E-5763-4F61-8B23-8A3DB02148A9}"/>
                  </a:ext>
                </a:extLst>
              </p:cNvPr>
              <p:cNvSpPr/>
              <p:nvPr/>
            </p:nvSpPr>
            <p:spPr>
              <a:xfrm>
                <a:off x="3024678" y="5317972"/>
                <a:ext cx="1752600" cy="76200"/>
              </a:xfrm>
              <a:custGeom>
                <a:avLst/>
                <a:gdLst>
                  <a:gd name="connsiteX0" fmla="*/ 7144 w 1752600"/>
                  <a:gd name="connsiteY0" fmla="*/ 7144 h 76200"/>
                  <a:gd name="connsiteX1" fmla="*/ 1751743 w 1752600"/>
                  <a:gd name="connsiteY1" fmla="*/ 7144 h 76200"/>
                  <a:gd name="connsiteX2" fmla="*/ 1751743 w 1752600"/>
                  <a:gd name="connsiteY2" fmla="*/ 70104 h 76200"/>
                  <a:gd name="connsiteX3" fmla="*/ 7144 w 1752600"/>
                  <a:gd name="connsiteY3" fmla="*/ 70104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52600" h="76200">
                    <a:moveTo>
                      <a:pt x="7144" y="7144"/>
                    </a:moveTo>
                    <a:lnTo>
                      <a:pt x="1751743" y="7144"/>
                    </a:lnTo>
                    <a:lnTo>
                      <a:pt x="1751743" y="70104"/>
                    </a:lnTo>
                    <a:lnTo>
                      <a:pt x="7144" y="70104"/>
                    </a:ln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1" name="Полилиния: фигура 640">
                <a:extLst>
                  <a:ext uri="{FF2B5EF4-FFF2-40B4-BE49-F238E27FC236}">
                    <a16:creationId xmlns:a16="http://schemas.microsoft.com/office/drawing/2014/main" id="{4492C46A-9C72-4DAC-A374-44C80E8D0E51}"/>
                  </a:ext>
                </a:extLst>
              </p:cNvPr>
              <p:cNvSpPr/>
              <p:nvPr/>
            </p:nvSpPr>
            <p:spPr>
              <a:xfrm>
                <a:off x="5424597" y="5807843"/>
                <a:ext cx="47625" cy="599768"/>
              </a:xfrm>
              <a:custGeom>
                <a:avLst/>
                <a:gdLst>
                  <a:gd name="connsiteX0" fmla="*/ 45625 w 47625"/>
                  <a:gd name="connsiteY0" fmla="*/ 597217 h 600075"/>
                  <a:gd name="connsiteX1" fmla="*/ 7144 w 47625"/>
                  <a:gd name="connsiteY1" fmla="*/ 597217 h 600075"/>
                  <a:gd name="connsiteX2" fmla="*/ 7144 w 47625"/>
                  <a:gd name="connsiteY2" fmla="*/ 7144 h 600075"/>
                  <a:gd name="connsiteX3" fmla="*/ 45625 w 47625"/>
                  <a:gd name="connsiteY3" fmla="*/ 7144 h 600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600075">
                    <a:moveTo>
                      <a:pt x="45625" y="597217"/>
                    </a:moveTo>
                    <a:lnTo>
                      <a:pt x="7144" y="597217"/>
                    </a:lnTo>
                    <a:lnTo>
                      <a:pt x="7144" y="7144"/>
                    </a:lnTo>
                    <a:lnTo>
                      <a:pt x="45625" y="7144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2" name="Полилиния: фигура 641">
                <a:extLst>
                  <a:ext uri="{FF2B5EF4-FFF2-40B4-BE49-F238E27FC236}">
                    <a16:creationId xmlns:a16="http://schemas.microsoft.com/office/drawing/2014/main" id="{11C3CC5C-8E20-4DF6-AC39-0894585F28FE}"/>
                  </a:ext>
                </a:extLst>
              </p:cNvPr>
              <p:cNvSpPr/>
              <p:nvPr/>
            </p:nvSpPr>
            <p:spPr>
              <a:xfrm>
                <a:off x="4942441" y="5807843"/>
                <a:ext cx="47625" cy="599768"/>
              </a:xfrm>
              <a:custGeom>
                <a:avLst/>
                <a:gdLst>
                  <a:gd name="connsiteX0" fmla="*/ 45625 w 47625"/>
                  <a:gd name="connsiteY0" fmla="*/ 597217 h 600075"/>
                  <a:gd name="connsiteX1" fmla="*/ 7144 w 47625"/>
                  <a:gd name="connsiteY1" fmla="*/ 597217 h 600075"/>
                  <a:gd name="connsiteX2" fmla="*/ 7144 w 47625"/>
                  <a:gd name="connsiteY2" fmla="*/ 7144 h 600075"/>
                  <a:gd name="connsiteX3" fmla="*/ 45625 w 47625"/>
                  <a:gd name="connsiteY3" fmla="*/ 7144 h 600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600075">
                    <a:moveTo>
                      <a:pt x="45625" y="597217"/>
                    </a:moveTo>
                    <a:lnTo>
                      <a:pt x="7144" y="597217"/>
                    </a:lnTo>
                    <a:lnTo>
                      <a:pt x="7144" y="7144"/>
                    </a:lnTo>
                    <a:lnTo>
                      <a:pt x="45625" y="7144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3" name="Полилиния: фигура 642">
                <a:extLst>
                  <a:ext uri="{FF2B5EF4-FFF2-40B4-BE49-F238E27FC236}">
                    <a16:creationId xmlns:a16="http://schemas.microsoft.com/office/drawing/2014/main" id="{FA8046E4-E758-469A-8A64-AEF659213361}"/>
                  </a:ext>
                </a:extLst>
              </p:cNvPr>
              <p:cNvSpPr/>
              <p:nvPr/>
            </p:nvSpPr>
            <p:spPr>
              <a:xfrm>
                <a:off x="4916247" y="5743073"/>
                <a:ext cx="571500" cy="85725"/>
              </a:xfrm>
              <a:custGeom>
                <a:avLst/>
                <a:gdLst>
                  <a:gd name="connsiteX0" fmla="*/ 569976 w 571500"/>
                  <a:gd name="connsiteY0" fmla="*/ 81439 h 85725"/>
                  <a:gd name="connsiteX1" fmla="*/ 7144 w 571500"/>
                  <a:gd name="connsiteY1" fmla="*/ 81439 h 85725"/>
                  <a:gd name="connsiteX2" fmla="*/ 7144 w 571500"/>
                  <a:gd name="connsiteY2" fmla="*/ 7144 h 85725"/>
                  <a:gd name="connsiteX3" fmla="*/ 569976 w 571500"/>
                  <a:gd name="connsiteY3" fmla="*/ 7144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500" h="85725">
                    <a:moveTo>
                      <a:pt x="569976" y="81439"/>
                    </a:moveTo>
                    <a:lnTo>
                      <a:pt x="7144" y="81439"/>
                    </a:lnTo>
                    <a:lnTo>
                      <a:pt x="7144" y="7144"/>
                    </a:lnTo>
                    <a:lnTo>
                      <a:pt x="569976" y="7144"/>
                    </a:ln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4" name="Полилиния: фигура 643">
                <a:extLst>
                  <a:ext uri="{FF2B5EF4-FFF2-40B4-BE49-F238E27FC236}">
                    <a16:creationId xmlns:a16="http://schemas.microsoft.com/office/drawing/2014/main" id="{334F14A4-864E-4DC9-B372-4D230C39C6ED}"/>
                  </a:ext>
                </a:extLst>
              </p:cNvPr>
              <p:cNvSpPr/>
              <p:nvPr/>
            </p:nvSpPr>
            <p:spPr>
              <a:xfrm>
                <a:off x="5396688" y="5106993"/>
                <a:ext cx="276225" cy="723900"/>
              </a:xfrm>
              <a:custGeom>
                <a:avLst/>
                <a:gdLst>
                  <a:gd name="connsiteX0" fmla="*/ 7144 w 276225"/>
                  <a:gd name="connsiteY0" fmla="*/ 681323 h 723900"/>
                  <a:gd name="connsiteX1" fmla="*/ 89535 w 276225"/>
                  <a:gd name="connsiteY1" fmla="*/ 717613 h 723900"/>
                  <a:gd name="connsiteX2" fmla="*/ 270224 w 276225"/>
                  <a:gd name="connsiteY2" fmla="*/ 29242 h 723900"/>
                  <a:gd name="connsiteX3" fmla="*/ 187737 w 276225"/>
                  <a:gd name="connsiteY3" fmla="*/ 7144 h 723900"/>
                  <a:gd name="connsiteX4" fmla="*/ 7144 w 276225"/>
                  <a:gd name="connsiteY4" fmla="*/ 681323 h 72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225" h="723900">
                    <a:moveTo>
                      <a:pt x="7144" y="681323"/>
                    </a:moveTo>
                    <a:lnTo>
                      <a:pt x="89535" y="717613"/>
                    </a:lnTo>
                    <a:lnTo>
                      <a:pt x="270224" y="29242"/>
                    </a:lnTo>
                    <a:lnTo>
                      <a:pt x="187737" y="7144"/>
                    </a:lnTo>
                    <a:lnTo>
                      <a:pt x="7144" y="681323"/>
                    </a:ln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5" name="Полилиния: фигура 644">
                <a:extLst>
                  <a:ext uri="{FF2B5EF4-FFF2-40B4-BE49-F238E27FC236}">
                    <a16:creationId xmlns:a16="http://schemas.microsoft.com/office/drawing/2014/main" id="{24447BC3-154A-407F-9E82-A22A83EBB0B2}"/>
                  </a:ext>
                </a:extLst>
              </p:cNvPr>
              <p:cNvSpPr/>
              <p:nvPr/>
            </p:nvSpPr>
            <p:spPr>
              <a:xfrm>
                <a:off x="5542041" y="4464114"/>
                <a:ext cx="123825" cy="142875"/>
              </a:xfrm>
              <a:custGeom>
                <a:avLst/>
                <a:gdLst>
                  <a:gd name="connsiteX0" fmla="*/ 117728 w 123825"/>
                  <a:gd name="connsiteY0" fmla="*/ 124720 h 142875"/>
                  <a:gd name="connsiteX1" fmla="*/ 113061 w 123825"/>
                  <a:gd name="connsiteY1" fmla="*/ 113480 h 142875"/>
                  <a:gd name="connsiteX2" fmla="*/ 79914 w 123825"/>
                  <a:gd name="connsiteY2" fmla="*/ 92049 h 142875"/>
                  <a:gd name="connsiteX3" fmla="*/ 110204 w 123825"/>
                  <a:gd name="connsiteY3" fmla="*/ 71094 h 142875"/>
                  <a:gd name="connsiteX4" fmla="*/ 118967 w 123825"/>
                  <a:gd name="connsiteY4" fmla="*/ 36709 h 142875"/>
                  <a:gd name="connsiteX5" fmla="*/ 92392 w 123825"/>
                  <a:gd name="connsiteY5" fmla="*/ 13277 h 142875"/>
                  <a:gd name="connsiteX6" fmla="*/ 42672 w 123825"/>
                  <a:gd name="connsiteY6" fmla="*/ 9753 h 142875"/>
                  <a:gd name="connsiteX7" fmla="*/ 7144 w 123825"/>
                  <a:gd name="connsiteY7" fmla="*/ 43090 h 142875"/>
                  <a:gd name="connsiteX8" fmla="*/ 22859 w 123825"/>
                  <a:gd name="connsiteY8" fmla="*/ 83857 h 142875"/>
                  <a:gd name="connsiteX9" fmla="*/ 41242 w 123825"/>
                  <a:gd name="connsiteY9" fmla="*/ 128149 h 142875"/>
                  <a:gd name="connsiteX10" fmla="*/ 59625 w 123825"/>
                  <a:gd name="connsiteY10" fmla="*/ 138245 h 142875"/>
                  <a:gd name="connsiteX11" fmla="*/ 70484 w 123825"/>
                  <a:gd name="connsiteY11" fmla="*/ 124338 h 142875"/>
                  <a:gd name="connsiteX12" fmla="*/ 67055 w 123825"/>
                  <a:gd name="connsiteY12" fmla="*/ 105860 h 142875"/>
                  <a:gd name="connsiteX13" fmla="*/ 98583 w 123825"/>
                  <a:gd name="connsiteY13" fmla="*/ 133482 h 142875"/>
                  <a:gd name="connsiteX14" fmla="*/ 112584 w 123825"/>
                  <a:gd name="connsiteY14" fmla="*/ 135292 h 142875"/>
                  <a:gd name="connsiteX15" fmla="*/ 117728 w 123825"/>
                  <a:gd name="connsiteY15" fmla="*/ 124719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3825" h="142875">
                    <a:moveTo>
                      <a:pt x="117728" y="124720"/>
                    </a:moveTo>
                    <a:cubicBezTo>
                      <a:pt x="117231" y="120616"/>
                      <a:pt x="115616" y="116729"/>
                      <a:pt x="113061" y="113480"/>
                    </a:cubicBezTo>
                    <a:cubicBezTo>
                      <a:pt x="105152" y="102368"/>
                      <a:pt x="93293" y="94700"/>
                      <a:pt x="79914" y="92049"/>
                    </a:cubicBezTo>
                    <a:cubicBezTo>
                      <a:pt x="91278" y="87101"/>
                      <a:pt x="101567" y="79983"/>
                      <a:pt x="110204" y="71094"/>
                    </a:cubicBezTo>
                    <a:cubicBezTo>
                      <a:pt x="118894" y="61930"/>
                      <a:pt x="122211" y="48914"/>
                      <a:pt x="118967" y="36709"/>
                    </a:cubicBezTo>
                    <a:cubicBezTo>
                      <a:pt x="113872" y="25454"/>
                      <a:pt x="104196" y="16923"/>
                      <a:pt x="92392" y="13277"/>
                    </a:cubicBezTo>
                    <a:cubicBezTo>
                      <a:pt x="76683" y="6562"/>
                      <a:pt x="59171" y="5320"/>
                      <a:pt x="42672" y="9753"/>
                    </a:cubicBezTo>
                    <a:cubicBezTo>
                      <a:pt x="26068" y="14347"/>
                      <a:pt x="12784" y="26812"/>
                      <a:pt x="7144" y="43090"/>
                    </a:cubicBezTo>
                    <a:lnTo>
                      <a:pt x="22859" y="83857"/>
                    </a:lnTo>
                    <a:cubicBezTo>
                      <a:pt x="24873" y="100011"/>
                      <a:pt x="31227" y="115316"/>
                      <a:pt x="41242" y="128149"/>
                    </a:cubicBezTo>
                    <a:cubicBezTo>
                      <a:pt x="45021" y="134666"/>
                      <a:pt x="52099" y="138554"/>
                      <a:pt x="59625" y="138245"/>
                    </a:cubicBezTo>
                    <a:cubicBezTo>
                      <a:pt x="65816" y="136364"/>
                      <a:pt x="70160" y="130801"/>
                      <a:pt x="70484" y="124338"/>
                    </a:cubicBezTo>
                    <a:cubicBezTo>
                      <a:pt x="70622" y="118009"/>
                      <a:pt x="69455" y="111719"/>
                      <a:pt x="67055" y="105860"/>
                    </a:cubicBezTo>
                    <a:cubicBezTo>
                      <a:pt x="75117" y="117534"/>
                      <a:pt x="85950" y="127026"/>
                      <a:pt x="98583" y="133482"/>
                    </a:cubicBezTo>
                    <a:cubicBezTo>
                      <a:pt x="102707" y="136252"/>
                      <a:pt x="107892" y="136922"/>
                      <a:pt x="112584" y="135292"/>
                    </a:cubicBezTo>
                    <a:cubicBezTo>
                      <a:pt x="116187" y="133048"/>
                      <a:pt x="118186" y="128939"/>
                      <a:pt x="117728" y="12471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6" name="Полилиния: фигура 645">
                <a:extLst>
                  <a:ext uri="{FF2B5EF4-FFF2-40B4-BE49-F238E27FC236}">
                    <a16:creationId xmlns:a16="http://schemas.microsoft.com/office/drawing/2014/main" id="{7BA64FF9-39D5-4E03-96F7-7AB6321F01F6}"/>
                  </a:ext>
                </a:extLst>
              </p:cNvPr>
              <p:cNvSpPr/>
              <p:nvPr/>
            </p:nvSpPr>
            <p:spPr>
              <a:xfrm>
                <a:off x="5566447" y="4525683"/>
                <a:ext cx="57150" cy="38100"/>
              </a:xfrm>
              <a:custGeom>
                <a:avLst/>
                <a:gdLst>
                  <a:gd name="connsiteX0" fmla="*/ 7311 w 57150"/>
                  <a:gd name="connsiteY0" fmla="*/ 7144 h 38100"/>
                  <a:gd name="connsiteX1" fmla="*/ 29314 w 57150"/>
                  <a:gd name="connsiteY1" fmla="*/ 24765 h 38100"/>
                  <a:gd name="connsiteX2" fmla="*/ 57031 w 57150"/>
                  <a:gd name="connsiteY2" fmla="*/ 29908 h 38100"/>
                  <a:gd name="connsiteX3" fmla="*/ 48554 w 57150"/>
                  <a:gd name="connsiteY3" fmla="*/ 32766 h 38100"/>
                  <a:gd name="connsiteX4" fmla="*/ 10454 w 57150"/>
                  <a:gd name="connsiteY4" fmla="*/ 15430 h 38100"/>
                  <a:gd name="connsiteX5" fmla="*/ 7311 w 57150"/>
                  <a:gd name="connsiteY5" fmla="*/ 714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150" h="38100">
                    <a:moveTo>
                      <a:pt x="7311" y="7144"/>
                    </a:moveTo>
                    <a:cubicBezTo>
                      <a:pt x="13702" y="14107"/>
                      <a:pt x="21122" y="20050"/>
                      <a:pt x="29314" y="24765"/>
                    </a:cubicBezTo>
                    <a:cubicBezTo>
                      <a:pt x="38226" y="27920"/>
                      <a:pt x="47580" y="29656"/>
                      <a:pt x="57031" y="29908"/>
                    </a:cubicBezTo>
                    <a:cubicBezTo>
                      <a:pt x="57032" y="30575"/>
                      <a:pt x="54079" y="32099"/>
                      <a:pt x="48554" y="32766"/>
                    </a:cubicBezTo>
                    <a:cubicBezTo>
                      <a:pt x="33644" y="34361"/>
                      <a:pt x="19047" y="27720"/>
                      <a:pt x="10454" y="15430"/>
                    </a:cubicBezTo>
                    <a:cubicBezTo>
                      <a:pt x="7597" y="10858"/>
                      <a:pt x="6739" y="7429"/>
                      <a:pt x="7311" y="714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7" name="Полилиния: фигура 646">
                <a:extLst>
                  <a:ext uri="{FF2B5EF4-FFF2-40B4-BE49-F238E27FC236}">
                    <a16:creationId xmlns:a16="http://schemas.microsoft.com/office/drawing/2014/main" id="{4B9A87C5-CA19-4AF9-ABE8-9D2EB1AF2982}"/>
                  </a:ext>
                </a:extLst>
              </p:cNvPr>
              <p:cNvSpPr/>
              <p:nvPr/>
            </p:nvSpPr>
            <p:spPr>
              <a:xfrm>
                <a:off x="5559852" y="4486348"/>
                <a:ext cx="104775" cy="38100"/>
              </a:xfrm>
              <a:custGeom>
                <a:avLst/>
                <a:gdLst>
                  <a:gd name="connsiteX0" fmla="*/ 106299 w 104775"/>
                  <a:gd name="connsiteY0" fmla="*/ 18665 h 38100"/>
                  <a:gd name="connsiteX1" fmla="*/ 90964 w 104775"/>
                  <a:gd name="connsiteY1" fmla="*/ 14379 h 38100"/>
                  <a:gd name="connsiteX2" fmla="*/ 19526 w 104775"/>
                  <a:gd name="connsiteY2" fmla="*/ 29334 h 38100"/>
                  <a:gd name="connsiteX3" fmla="*/ 7144 w 104775"/>
                  <a:gd name="connsiteY3" fmla="*/ 39430 h 38100"/>
                  <a:gd name="connsiteX4" fmla="*/ 17336 w 104775"/>
                  <a:gd name="connsiteY4" fmla="*/ 26667 h 38100"/>
                  <a:gd name="connsiteX5" fmla="*/ 91916 w 104775"/>
                  <a:gd name="connsiteY5" fmla="*/ 11046 h 38100"/>
                  <a:gd name="connsiteX6" fmla="*/ 106299 w 104775"/>
                  <a:gd name="connsiteY6" fmla="*/ 18666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775" h="38100">
                    <a:moveTo>
                      <a:pt x="106299" y="18665"/>
                    </a:moveTo>
                    <a:cubicBezTo>
                      <a:pt x="101111" y="17525"/>
                      <a:pt x="95991" y="16094"/>
                      <a:pt x="90964" y="14379"/>
                    </a:cubicBezTo>
                    <a:cubicBezTo>
                      <a:pt x="66119" y="8118"/>
                      <a:pt x="39774" y="13633"/>
                      <a:pt x="19526" y="29334"/>
                    </a:cubicBezTo>
                    <a:cubicBezTo>
                      <a:pt x="15596" y="32934"/>
                      <a:pt x="11462" y="36305"/>
                      <a:pt x="7144" y="39430"/>
                    </a:cubicBezTo>
                    <a:cubicBezTo>
                      <a:pt x="9420" y="34390"/>
                      <a:pt x="12924" y="30001"/>
                      <a:pt x="17336" y="26667"/>
                    </a:cubicBezTo>
                    <a:cubicBezTo>
                      <a:pt x="37546" y="8364"/>
                      <a:pt x="66060" y="2392"/>
                      <a:pt x="91916" y="11046"/>
                    </a:cubicBezTo>
                    <a:cubicBezTo>
                      <a:pt x="97284" y="12312"/>
                      <a:pt x="102237" y="14936"/>
                      <a:pt x="106299" y="18666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8" name="Полилиния: фигура 647">
                <a:extLst>
                  <a:ext uri="{FF2B5EF4-FFF2-40B4-BE49-F238E27FC236}">
                    <a16:creationId xmlns:a16="http://schemas.microsoft.com/office/drawing/2014/main" id="{942BA0B5-D4CF-4C27-97E1-8584DE73C1E5}"/>
                  </a:ext>
                </a:extLst>
              </p:cNvPr>
              <p:cNvSpPr/>
              <p:nvPr/>
            </p:nvSpPr>
            <p:spPr>
              <a:xfrm>
                <a:off x="5537256" y="4488059"/>
                <a:ext cx="38100" cy="66675"/>
              </a:xfrm>
              <a:custGeom>
                <a:avLst/>
                <a:gdLst>
                  <a:gd name="connsiteX0" fmla="*/ 32026 w 38100"/>
                  <a:gd name="connsiteY0" fmla="*/ 55817 h 66675"/>
                  <a:gd name="connsiteX1" fmla="*/ 32026 w 38100"/>
                  <a:gd name="connsiteY1" fmla="*/ 46292 h 66675"/>
                  <a:gd name="connsiteX2" fmla="*/ 17833 w 38100"/>
                  <a:gd name="connsiteY2" fmla="*/ 10097 h 66675"/>
                  <a:gd name="connsiteX3" fmla="*/ 11833 w 38100"/>
                  <a:gd name="connsiteY3" fmla="*/ 7144 h 66675"/>
                  <a:gd name="connsiteX4" fmla="*/ 7261 w 38100"/>
                  <a:gd name="connsiteY4" fmla="*/ 15811 h 66675"/>
                  <a:gd name="connsiteX5" fmla="*/ 9261 w 38100"/>
                  <a:gd name="connsiteY5" fmla="*/ 26575 h 66675"/>
                  <a:gd name="connsiteX6" fmla="*/ 15452 w 38100"/>
                  <a:gd name="connsiteY6" fmla="*/ 52864 h 66675"/>
                  <a:gd name="connsiteX7" fmla="*/ 18691 w 38100"/>
                  <a:gd name="connsiteY7" fmla="*/ 60674 h 66675"/>
                  <a:gd name="connsiteX8" fmla="*/ 26597 w 38100"/>
                  <a:gd name="connsiteY8" fmla="*/ 63246 h 66675"/>
                  <a:gd name="connsiteX9" fmla="*/ 32026 w 38100"/>
                  <a:gd name="connsiteY9" fmla="*/ 55817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" h="66675">
                    <a:moveTo>
                      <a:pt x="32026" y="55817"/>
                    </a:moveTo>
                    <a:cubicBezTo>
                      <a:pt x="32619" y="52669"/>
                      <a:pt x="32619" y="49439"/>
                      <a:pt x="32026" y="46292"/>
                    </a:cubicBezTo>
                    <a:cubicBezTo>
                      <a:pt x="30995" y="33085"/>
                      <a:pt x="26054" y="20484"/>
                      <a:pt x="17833" y="10097"/>
                    </a:cubicBezTo>
                    <a:cubicBezTo>
                      <a:pt x="16404" y="8229"/>
                      <a:pt x="14184" y="7136"/>
                      <a:pt x="11833" y="7144"/>
                    </a:cubicBezTo>
                    <a:cubicBezTo>
                      <a:pt x="8213" y="7144"/>
                      <a:pt x="6689" y="12192"/>
                      <a:pt x="7261" y="15811"/>
                    </a:cubicBezTo>
                    <a:cubicBezTo>
                      <a:pt x="8385" y="19299"/>
                      <a:pt x="9057" y="22916"/>
                      <a:pt x="9261" y="26575"/>
                    </a:cubicBezTo>
                    <a:lnTo>
                      <a:pt x="15452" y="52864"/>
                    </a:lnTo>
                    <a:cubicBezTo>
                      <a:pt x="15635" y="55754"/>
                      <a:pt x="16774" y="58502"/>
                      <a:pt x="18691" y="60674"/>
                    </a:cubicBezTo>
                    <a:cubicBezTo>
                      <a:pt x="20675" y="62887"/>
                      <a:pt x="23691" y="63868"/>
                      <a:pt x="26597" y="63246"/>
                    </a:cubicBezTo>
                    <a:cubicBezTo>
                      <a:pt x="29562" y="61866"/>
                      <a:pt x="31612" y="59061"/>
                      <a:pt x="32026" y="55817"/>
                    </a:cubicBez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9" name="Полилиния: фигура 648">
                <a:extLst>
                  <a:ext uri="{FF2B5EF4-FFF2-40B4-BE49-F238E27FC236}">
                    <a16:creationId xmlns:a16="http://schemas.microsoft.com/office/drawing/2014/main" id="{B0C4BE7A-4B51-48CE-8998-3FCF7592FBD9}"/>
                  </a:ext>
                </a:extLst>
              </p:cNvPr>
              <p:cNvSpPr/>
              <p:nvPr/>
            </p:nvSpPr>
            <p:spPr>
              <a:xfrm>
                <a:off x="5521655" y="4508820"/>
                <a:ext cx="57150" cy="219075"/>
              </a:xfrm>
              <a:custGeom>
                <a:avLst/>
                <a:gdLst>
                  <a:gd name="connsiteX0" fmla="*/ 23147 w 57150"/>
                  <a:gd name="connsiteY0" fmla="*/ 218698 h 219075"/>
                  <a:gd name="connsiteX1" fmla="*/ 49055 w 57150"/>
                  <a:gd name="connsiteY1" fmla="*/ 131163 h 219075"/>
                  <a:gd name="connsiteX2" fmla="*/ 44768 w 57150"/>
                  <a:gd name="connsiteY2" fmla="*/ 40675 h 219075"/>
                  <a:gd name="connsiteX3" fmla="*/ 25719 w 57150"/>
                  <a:gd name="connsiteY3" fmla="*/ 7147 h 219075"/>
                  <a:gd name="connsiteX4" fmla="*/ 28290 w 57150"/>
                  <a:gd name="connsiteY4" fmla="*/ 37532 h 219075"/>
                  <a:gd name="connsiteX5" fmla="*/ 7621 w 57150"/>
                  <a:gd name="connsiteY5" fmla="*/ 128305 h 219075"/>
                  <a:gd name="connsiteX6" fmla="*/ 22956 w 57150"/>
                  <a:gd name="connsiteY6" fmla="*/ 218698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150" h="219075">
                    <a:moveTo>
                      <a:pt x="23147" y="218698"/>
                    </a:moveTo>
                    <a:cubicBezTo>
                      <a:pt x="34314" y="190329"/>
                      <a:pt x="42983" y="161040"/>
                      <a:pt x="49055" y="131163"/>
                    </a:cubicBezTo>
                    <a:cubicBezTo>
                      <a:pt x="55136" y="101110"/>
                      <a:pt x="53663" y="70019"/>
                      <a:pt x="44768" y="40675"/>
                    </a:cubicBezTo>
                    <a:cubicBezTo>
                      <a:pt x="43340" y="36294"/>
                      <a:pt x="30577" y="6766"/>
                      <a:pt x="25719" y="7147"/>
                    </a:cubicBezTo>
                    <a:cubicBezTo>
                      <a:pt x="20861" y="7528"/>
                      <a:pt x="30005" y="34675"/>
                      <a:pt x="28290" y="37532"/>
                    </a:cubicBezTo>
                    <a:cubicBezTo>
                      <a:pt x="12352" y="64993"/>
                      <a:pt x="5143" y="96652"/>
                      <a:pt x="7621" y="128305"/>
                    </a:cubicBezTo>
                    <a:cubicBezTo>
                      <a:pt x="9383" y="158910"/>
                      <a:pt x="14526" y="189225"/>
                      <a:pt x="22956" y="218698"/>
                    </a:cubicBez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0" name="Полилиния: фигура 649">
                <a:extLst>
                  <a:ext uri="{FF2B5EF4-FFF2-40B4-BE49-F238E27FC236}">
                    <a16:creationId xmlns:a16="http://schemas.microsoft.com/office/drawing/2014/main" id="{D0DD8E86-3339-42AA-AAFB-2CB15F68D1A9}"/>
                  </a:ext>
                </a:extLst>
              </p:cNvPr>
              <p:cNvSpPr/>
              <p:nvPr/>
            </p:nvSpPr>
            <p:spPr>
              <a:xfrm>
                <a:off x="5285885" y="4458531"/>
                <a:ext cx="266700" cy="523875"/>
              </a:xfrm>
              <a:custGeom>
                <a:avLst/>
                <a:gdLst>
                  <a:gd name="connsiteX0" fmla="*/ 168334 w 266700"/>
                  <a:gd name="connsiteY0" fmla="*/ 521303 h 523875"/>
                  <a:gd name="connsiteX1" fmla="*/ 256250 w 266700"/>
                  <a:gd name="connsiteY1" fmla="*/ 437198 h 523875"/>
                  <a:gd name="connsiteX2" fmla="*/ 265776 w 266700"/>
                  <a:gd name="connsiteY2" fmla="*/ 152876 h 523875"/>
                  <a:gd name="connsiteX3" fmla="*/ 154142 w 266700"/>
                  <a:gd name="connsiteY3" fmla="*/ 7144 h 523875"/>
                  <a:gd name="connsiteX4" fmla="*/ 146999 w 266700"/>
                  <a:gd name="connsiteY4" fmla="*/ 7144 h 523875"/>
                  <a:gd name="connsiteX5" fmla="*/ 13649 w 266700"/>
                  <a:gd name="connsiteY5" fmla="*/ 135731 h 523875"/>
                  <a:gd name="connsiteX6" fmla="*/ 7362 w 266700"/>
                  <a:gd name="connsiteY6" fmla="*/ 310515 h 523875"/>
                  <a:gd name="connsiteX7" fmla="*/ 83562 w 266700"/>
                  <a:gd name="connsiteY7" fmla="*/ 393668 h 523875"/>
                  <a:gd name="connsiteX8" fmla="*/ 82991 w 266700"/>
                  <a:gd name="connsiteY8" fmla="*/ 432244 h 523875"/>
                  <a:gd name="connsiteX9" fmla="*/ 167922 w 266700"/>
                  <a:gd name="connsiteY9" fmla="*/ 521193 h 523875"/>
                  <a:gd name="connsiteX10" fmla="*/ 168716 w 266700"/>
                  <a:gd name="connsiteY10" fmla="*/ 521208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6700" h="523875">
                    <a:moveTo>
                      <a:pt x="168334" y="521303"/>
                    </a:moveTo>
                    <a:cubicBezTo>
                      <a:pt x="215598" y="521745"/>
                      <a:pt x="254600" y="484434"/>
                      <a:pt x="256250" y="437198"/>
                    </a:cubicBezTo>
                    <a:lnTo>
                      <a:pt x="265776" y="152876"/>
                    </a:lnTo>
                    <a:cubicBezTo>
                      <a:pt x="270824" y="76676"/>
                      <a:pt x="230533" y="10001"/>
                      <a:pt x="154142" y="7144"/>
                    </a:cubicBezTo>
                    <a:lnTo>
                      <a:pt x="146999" y="7144"/>
                    </a:lnTo>
                    <a:cubicBezTo>
                      <a:pt x="75889" y="8846"/>
                      <a:pt x="17934" y="64731"/>
                      <a:pt x="13649" y="135731"/>
                    </a:cubicBezTo>
                    <a:cubicBezTo>
                      <a:pt x="9744" y="201835"/>
                      <a:pt x="6219" y="275082"/>
                      <a:pt x="7362" y="310515"/>
                    </a:cubicBezTo>
                    <a:cubicBezTo>
                      <a:pt x="9838" y="383858"/>
                      <a:pt x="83562" y="393668"/>
                      <a:pt x="83562" y="393668"/>
                    </a:cubicBezTo>
                    <a:cubicBezTo>
                      <a:pt x="83562" y="393668"/>
                      <a:pt x="83562" y="410718"/>
                      <a:pt x="82991" y="432244"/>
                    </a:cubicBezTo>
                    <a:cubicBezTo>
                      <a:pt x="81882" y="480260"/>
                      <a:pt x="119907" y="520084"/>
                      <a:pt x="167922" y="521193"/>
                    </a:cubicBezTo>
                    <a:cubicBezTo>
                      <a:pt x="168187" y="521199"/>
                      <a:pt x="168451" y="521204"/>
                      <a:pt x="168716" y="521208"/>
                    </a:cubicBezTo>
                    <a:close/>
                  </a:path>
                </a:pathLst>
              </a:custGeom>
              <a:solidFill>
                <a:srgbClr val="B7887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1" name="Полилиния: фигура 650">
                <a:extLst>
                  <a:ext uri="{FF2B5EF4-FFF2-40B4-BE49-F238E27FC236}">
                    <a16:creationId xmlns:a16="http://schemas.microsoft.com/office/drawing/2014/main" id="{50FFDC8C-7583-40AE-9F00-54EE387FD044}"/>
                  </a:ext>
                </a:extLst>
              </p:cNvPr>
              <p:cNvSpPr/>
              <p:nvPr/>
            </p:nvSpPr>
            <p:spPr>
              <a:xfrm>
                <a:off x="5361732" y="4815433"/>
                <a:ext cx="104775" cy="57150"/>
              </a:xfrm>
              <a:custGeom>
                <a:avLst/>
                <a:gdLst>
                  <a:gd name="connsiteX0" fmla="*/ 7144 w 104775"/>
                  <a:gd name="connsiteY0" fmla="*/ 37338 h 57150"/>
                  <a:gd name="connsiteX1" fmla="*/ 102394 w 104775"/>
                  <a:gd name="connsiteY1" fmla="*/ 7144 h 57150"/>
                  <a:gd name="connsiteX2" fmla="*/ 7144 w 104775"/>
                  <a:gd name="connsiteY2" fmla="*/ 55912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57150">
                    <a:moveTo>
                      <a:pt x="7144" y="37338"/>
                    </a:moveTo>
                    <a:cubicBezTo>
                      <a:pt x="41138" y="36648"/>
                      <a:pt x="74210" y="26164"/>
                      <a:pt x="102394" y="7144"/>
                    </a:cubicBezTo>
                    <a:cubicBezTo>
                      <a:pt x="102394" y="7144"/>
                      <a:pt x="80200" y="60960"/>
                      <a:pt x="7144" y="55912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2" name="Полилиния: фигура 651">
                <a:extLst>
                  <a:ext uri="{FF2B5EF4-FFF2-40B4-BE49-F238E27FC236}">
                    <a16:creationId xmlns:a16="http://schemas.microsoft.com/office/drawing/2014/main" id="{B4523CF1-A408-4225-B7D8-CDF8B97CD940}"/>
                  </a:ext>
                </a:extLst>
              </p:cNvPr>
              <p:cNvSpPr/>
              <p:nvPr/>
            </p:nvSpPr>
            <p:spPr>
              <a:xfrm>
                <a:off x="5313249" y="4630726"/>
                <a:ext cx="28575" cy="28575"/>
              </a:xfrm>
              <a:custGeom>
                <a:avLst/>
                <a:gdLst>
                  <a:gd name="connsiteX0" fmla="*/ 7144 w 28575"/>
                  <a:gd name="connsiteY0" fmla="*/ 16781 h 28575"/>
                  <a:gd name="connsiteX1" fmla="*/ 17526 w 28575"/>
                  <a:gd name="connsiteY1" fmla="*/ 27068 h 28575"/>
                  <a:gd name="connsiteX2" fmla="*/ 28092 w 28575"/>
                  <a:gd name="connsiteY2" fmla="*/ 17666 h 28575"/>
                  <a:gd name="connsiteX3" fmla="*/ 28099 w 28575"/>
                  <a:gd name="connsiteY3" fmla="*/ 17543 h 28575"/>
                  <a:gd name="connsiteX4" fmla="*/ 17812 w 28575"/>
                  <a:gd name="connsiteY4" fmla="*/ 7161 h 28575"/>
                  <a:gd name="connsiteX5" fmla="*/ 7150 w 28575"/>
                  <a:gd name="connsiteY5" fmla="*/ 16659 h 28575"/>
                  <a:gd name="connsiteX6" fmla="*/ 7144 w 28575"/>
                  <a:gd name="connsiteY6" fmla="*/ 1678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28575">
                    <a:moveTo>
                      <a:pt x="7144" y="16781"/>
                    </a:moveTo>
                    <a:cubicBezTo>
                      <a:pt x="7247" y="22456"/>
                      <a:pt x="11850" y="27017"/>
                      <a:pt x="17526" y="27068"/>
                    </a:cubicBezTo>
                    <a:cubicBezTo>
                      <a:pt x="23040" y="27390"/>
                      <a:pt x="27771" y="23180"/>
                      <a:pt x="28092" y="17666"/>
                    </a:cubicBezTo>
                    <a:cubicBezTo>
                      <a:pt x="28095" y="17625"/>
                      <a:pt x="28097" y="17584"/>
                      <a:pt x="28099" y="17543"/>
                    </a:cubicBezTo>
                    <a:cubicBezTo>
                      <a:pt x="28048" y="11867"/>
                      <a:pt x="23487" y="7264"/>
                      <a:pt x="17812" y="7161"/>
                    </a:cubicBezTo>
                    <a:cubicBezTo>
                      <a:pt x="12245" y="6839"/>
                      <a:pt x="7472" y="11092"/>
                      <a:pt x="7150" y="16659"/>
                    </a:cubicBezTo>
                    <a:cubicBezTo>
                      <a:pt x="7148" y="16699"/>
                      <a:pt x="7145" y="16740"/>
                      <a:pt x="7144" y="1678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3" name="Полилиния: фигура 652">
                <a:extLst>
                  <a:ext uri="{FF2B5EF4-FFF2-40B4-BE49-F238E27FC236}">
                    <a16:creationId xmlns:a16="http://schemas.microsoft.com/office/drawing/2014/main" id="{6D3A3F89-12C5-47F3-8F8E-654DAE2E862F}"/>
                  </a:ext>
                </a:extLst>
              </p:cNvPr>
              <p:cNvSpPr/>
              <p:nvPr/>
            </p:nvSpPr>
            <p:spPr>
              <a:xfrm>
                <a:off x="5308149" y="4605582"/>
                <a:ext cx="47625" cy="19050"/>
              </a:xfrm>
              <a:custGeom>
                <a:avLst/>
                <a:gdLst>
                  <a:gd name="connsiteX0" fmla="*/ 7291 w 47625"/>
                  <a:gd name="connsiteY0" fmla="*/ 18589 h 19050"/>
                  <a:gd name="connsiteX1" fmla="*/ 27770 w 47625"/>
                  <a:gd name="connsiteY1" fmla="*/ 13636 h 19050"/>
                  <a:gd name="connsiteX2" fmla="*/ 48630 w 47625"/>
                  <a:gd name="connsiteY2" fmla="*/ 17542 h 19050"/>
                  <a:gd name="connsiteX3" fmla="*/ 44153 w 47625"/>
                  <a:gd name="connsiteY3" fmla="*/ 11922 h 19050"/>
                  <a:gd name="connsiteX4" fmla="*/ 27389 w 47625"/>
                  <a:gd name="connsiteY4" fmla="*/ 7159 h 19050"/>
                  <a:gd name="connsiteX5" fmla="*/ 11196 w 47625"/>
                  <a:gd name="connsiteY5" fmla="*/ 12779 h 19050"/>
                  <a:gd name="connsiteX6" fmla="*/ 7291 w 47625"/>
                  <a:gd name="connsiteY6" fmla="*/ 18589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7291" y="18589"/>
                    </a:moveTo>
                    <a:cubicBezTo>
                      <a:pt x="8625" y="19923"/>
                      <a:pt x="16816" y="13922"/>
                      <a:pt x="27770" y="13636"/>
                    </a:cubicBezTo>
                    <a:cubicBezTo>
                      <a:pt x="38724" y="13351"/>
                      <a:pt x="47392" y="18970"/>
                      <a:pt x="48630" y="17542"/>
                    </a:cubicBezTo>
                    <a:cubicBezTo>
                      <a:pt x="49868" y="16113"/>
                      <a:pt x="47772" y="14494"/>
                      <a:pt x="44153" y="11922"/>
                    </a:cubicBezTo>
                    <a:cubicBezTo>
                      <a:pt x="39197" y="8627"/>
                      <a:pt x="33337" y="6963"/>
                      <a:pt x="27389" y="7159"/>
                    </a:cubicBezTo>
                    <a:cubicBezTo>
                      <a:pt x="21530" y="7255"/>
                      <a:pt x="15855" y="9225"/>
                      <a:pt x="11196" y="12779"/>
                    </a:cubicBezTo>
                    <a:cubicBezTo>
                      <a:pt x="7768" y="15732"/>
                      <a:pt x="6720" y="18589"/>
                      <a:pt x="7291" y="1858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4" name="Полилиния: фигура 653">
                <a:extLst>
                  <a:ext uri="{FF2B5EF4-FFF2-40B4-BE49-F238E27FC236}">
                    <a16:creationId xmlns:a16="http://schemas.microsoft.com/office/drawing/2014/main" id="{39B408CD-FF22-49E9-8502-B0DBE4DB7A75}"/>
                  </a:ext>
                </a:extLst>
              </p:cNvPr>
              <p:cNvSpPr/>
              <p:nvPr/>
            </p:nvSpPr>
            <p:spPr>
              <a:xfrm>
                <a:off x="5420310" y="4629392"/>
                <a:ext cx="28575" cy="28575"/>
              </a:xfrm>
              <a:custGeom>
                <a:avLst/>
                <a:gdLst>
                  <a:gd name="connsiteX0" fmla="*/ 7144 w 28575"/>
                  <a:gd name="connsiteY0" fmla="*/ 16686 h 28575"/>
                  <a:gd name="connsiteX1" fmla="*/ 17526 w 28575"/>
                  <a:gd name="connsiteY1" fmla="*/ 27068 h 28575"/>
                  <a:gd name="connsiteX2" fmla="*/ 28099 w 28575"/>
                  <a:gd name="connsiteY2" fmla="*/ 17543 h 28575"/>
                  <a:gd name="connsiteX3" fmla="*/ 17812 w 28575"/>
                  <a:gd name="connsiteY3" fmla="*/ 7161 h 28575"/>
                  <a:gd name="connsiteX4" fmla="*/ 7145 w 28575"/>
                  <a:gd name="connsiteY4" fmla="*/ 16654 h 28575"/>
                  <a:gd name="connsiteX5" fmla="*/ 7144 w 28575"/>
                  <a:gd name="connsiteY5" fmla="*/ 1668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575" h="28575">
                    <a:moveTo>
                      <a:pt x="7144" y="16686"/>
                    </a:moveTo>
                    <a:cubicBezTo>
                      <a:pt x="7245" y="22377"/>
                      <a:pt x="11835" y="26967"/>
                      <a:pt x="17526" y="27068"/>
                    </a:cubicBezTo>
                    <a:cubicBezTo>
                      <a:pt x="23070" y="27339"/>
                      <a:pt x="27791" y="23084"/>
                      <a:pt x="28099" y="17543"/>
                    </a:cubicBezTo>
                    <a:cubicBezTo>
                      <a:pt x="28048" y="11868"/>
                      <a:pt x="23487" y="7264"/>
                      <a:pt x="17812" y="7161"/>
                    </a:cubicBezTo>
                    <a:cubicBezTo>
                      <a:pt x="12245" y="6837"/>
                      <a:pt x="7469" y="11087"/>
                      <a:pt x="7145" y="16654"/>
                    </a:cubicBezTo>
                    <a:cubicBezTo>
                      <a:pt x="7145" y="16665"/>
                      <a:pt x="7144" y="16675"/>
                      <a:pt x="7144" y="1668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5" name="Полилиния: фигура 654">
                <a:extLst>
                  <a:ext uri="{FF2B5EF4-FFF2-40B4-BE49-F238E27FC236}">
                    <a16:creationId xmlns:a16="http://schemas.microsoft.com/office/drawing/2014/main" id="{0E44C39F-7799-41A8-A068-1D4645433B6F}"/>
                  </a:ext>
                </a:extLst>
              </p:cNvPr>
              <p:cNvSpPr/>
              <p:nvPr/>
            </p:nvSpPr>
            <p:spPr>
              <a:xfrm>
                <a:off x="5418629" y="4608153"/>
                <a:ext cx="47625" cy="19050"/>
              </a:xfrm>
              <a:custGeom>
                <a:avLst/>
                <a:gdLst>
                  <a:gd name="connsiteX0" fmla="*/ 7396 w 47625"/>
                  <a:gd name="connsiteY0" fmla="*/ 18589 h 19050"/>
                  <a:gd name="connsiteX1" fmla="*/ 27779 w 47625"/>
                  <a:gd name="connsiteY1" fmla="*/ 13636 h 19050"/>
                  <a:gd name="connsiteX2" fmla="*/ 48639 w 47625"/>
                  <a:gd name="connsiteY2" fmla="*/ 17542 h 19050"/>
                  <a:gd name="connsiteX3" fmla="*/ 44258 w 47625"/>
                  <a:gd name="connsiteY3" fmla="*/ 11922 h 19050"/>
                  <a:gd name="connsiteX4" fmla="*/ 27494 w 47625"/>
                  <a:gd name="connsiteY4" fmla="*/ 7159 h 19050"/>
                  <a:gd name="connsiteX5" fmla="*/ 11301 w 47625"/>
                  <a:gd name="connsiteY5" fmla="*/ 12779 h 19050"/>
                  <a:gd name="connsiteX6" fmla="*/ 7396 w 47625"/>
                  <a:gd name="connsiteY6" fmla="*/ 18589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7396" y="18589"/>
                    </a:moveTo>
                    <a:cubicBezTo>
                      <a:pt x="8729" y="19923"/>
                      <a:pt x="16921" y="13827"/>
                      <a:pt x="27779" y="13636"/>
                    </a:cubicBezTo>
                    <a:cubicBezTo>
                      <a:pt x="38638" y="13446"/>
                      <a:pt x="47496" y="18970"/>
                      <a:pt x="48639" y="17542"/>
                    </a:cubicBezTo>
                    <a:cubicBezTo>
                      <a:pt x="49782" y="16113"/>
                      <a:pt x="47877" y="14494"/>
                      <a:pt x="44258" y="11922"/>
                    </a:cubicBezTo>
                    <a:cubicBezTo>
                      <a:pt x="39302" y="8627"/>
                      <a:pt x="33442" y="6963"/>
                      <a:pt x="27494" y="7159"/>
                    </a:cubicBezTo>
                    <a:cubicBezTo>
                      <a:pt x="21631" y="7235"/>
                      <a:pt x="15950" y="9206"/>
                      <a:pt x="11301" y="12779"/>
                    </a:cubicBezTo>
                    <a:cubicBezTo>
                      <a:pt x="7872" y="15446"/>
                      <a:pt x="6539" y="17923"/>
                      <a:pt x="7396" y="1858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6" name="Полилиния: фигура 655">
                <a:extLst>
                  <a:ext uri="{FF2B5EF4-FFF2-40B4-BE49-F238E27FC236}">
                    <a16:creationId xmlns:a16="http://schemas.microsoft.com/office/drawing/2014/main" id="{6FD9069A-CAC4-462D-A548-0AB4D2FBBD01}"/>
                  </a:ext>
                </a:extLst>
              </p:cNvPr>
              <p:cNvSpPr/>
              <p:nvPr/>
            </p:nvSpPr>
            <p:spPr>
              <a:xfrm>
                <a:off x="5351188" y="4613027"/>
                <a:ext cx="38100" cy="104775"/>
              </a:xfrm>
              <a:custGeom>
                <a:avLst/>
                <a:gdLst>
                  <a:gd name="connsiteX0" fmla="*/ 35880 w 38100"/>
                  <a:gd name="connsiteY0" fmla="*/ 101155 h 104775"/>
                  <a:gd name="connsiteX1" fmla="*/ 17497 w 38100"/>
                  <a:gd name="connsiteY1" fmla="*/ 98203 h 104775"/>
                  <a:gd name="connsiteX2" fmla="*/ 11401 w 38100"/>
                  <a:gd name="connsiteY2" fmla="*/ 95535 h 104775"/>
                  <a:gd name="connsiteX3" fmla="*/ 13115 w 38100"/>
                  <a:gd name="connsiteY3" fmla="*/ 86963 h 104775"/>
                  <a:gd name="connsiteX4" fmla="*/ 21212 w 38100"/>
                  <a:gd name="connsiteY4" fmla="*/ 64865 h 104775"/>
                  <a:gd name="connsiteX5" fmla="*/ 39119 w 38100"/>
                  <a:gd name="connsiteY5" fmla="*/ 7144 h 104775"/>
                  <a:gd name="connsiteX6" fmla="*/ 16545 w 38100"/>
                  <a:gd name="connsiteY6" fmla="*/ 63246 h 104775"/>
                  <a:gd name="connsiteX7" fmla="*/ 8829 w 38100"/>
                  <a:gd name="connsiteY7" fmla="*/ 85534 h 104775"/>
                  <a:gd name="connsiteX8" fmla="*/ 7591 w 38100"/>
                  <a:gd name="connsiteY8" fmla="*/ 96869 h 104775"/>
                  <a:gd name="connsiteX9" fmla="*/ 12449 w 38100"/>
                  <a:gd name="connsiteY9" fmla="*/ 100965 h 104775"/>
                  <a:gd name="connsiteX10" fmla="*/ 17307 w 38100"/>
                  <a:gd name="connsiteY10" fmla="*/ 101536 h 104775"/>
                  <a:gd name="connsiteX11" fmla="*/ 35880 w 38100"/>
                  <a:gd name="connsiteY11" fmla="*/ 10115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100" h="104775">
                    <a:moveTo>
                      <a:pt x="35880" y="101155"/>
                    </a:moveTo>
                    <a:cubicBezTo>
                      <a:pt x="29906" y="99383"/>
                      <a:pt x="23726" y="98391"/>
                      <a:pt x="17497" y="98203"/>
                    </a:cubicBezTo>
                    <a:cubicBezTo>
                      <a:pt x="14640" y="98203"/>
                      <a:pt x="11877" y="97536"/>
                      <a:pt x="11401" y="95535"/>
                    </a:cubicBezTo>
                    <a:cubicBezTo>
                      <a:pt x="11063" y="92569"/>
                      <a:pt x="11663" y="89571"/>
                      <a:pt x="13115" y="86963"/>
                    </a:cubicBezTo>
                    <a:lnTo>
                      <a:pt x="21212" y="64865"/>
                    </a:lnTo>
                    <a:cubicBezTo>
                      <a:pt x="28684" y="46124"/>
                      <a:pt x="34672" y="26824"/>
                      <a:pt x="39119" y="7144"/>
                    </a:cubicBezTo>
                    <a:cubicBezTo>
                      <a:pt x="30133" y="25223"/>
                      <a:pt x="22585" y="43982"/>
                      <a:pt x="16545" y="63246"/>
                    </a:cubicBezTo>
                    <a:cubicBezTo>
                      <a:pt x="13878" y="71056"/>
                      <a:pt x="11306" y="78486"/>
                      <a:pt x="8829" y="85534"/>
                    </a:cubicBezTo>
                    <a:cubicBezTo>
                      <a:pt x="7143" y="89063"/>
                      <a:pt x="6706" y="93060"/>
                      <a:pt x="7591" y="96869"/>
                    </a:cubicBezTo>
                    <a:cubicBezTo>
                      <a:pt x="8515" y="98893"/>
                      <a:pt x="10298" y="100396"/>
                      <a:pt x="12449" y="100965"/>
                    </a:cubicBezTo>
                    <a:cubicBezTo>
                      <a:pt x="14044" y="101321"/>
                      <a:pt x="15672" y="101513"/>
                      <a:pt x="17307" y="101536"/>
                    </a:cubicBezTo>
                    <a:cubicBezTo>
                      <a:pt x="23488" y="102223"/>
                      <a:pt x="29733" y="102095"/>
                      <a:pt x="35880" y="101155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7" name="Полилиния: фигура 656">
                <a:extLst>
                  <a:ext uri="{FF2B5EF4-FFF2-40B4-BE49-F238E27FC236}">
                    <a16:creationId xmlns:a16="http://schemas.microsoft.com/office/drawing/2014/main" id="{36B7EECB-D82D-4C57-9F06-31D57C808CBE}"/>
                  </a:ext>
                </a:extLst>
              </p:cNvPr>
              <p:cNvSpPr/>
              <p:nvPr/>
            </p:nvSpPr>
            <p:spPr>
              <a:xfrm>
                <a:off x="5378305" y="4714180"/>
                <a:ext cx="47625" cy="38100"/>
              </a:xfrm>
              <a:custGeom>
                <a:avLst/>
                <a:gdLst>
                  <a:gd name="connsiteX0" fmla="*/ 42386 w 47625"/>
                  <a:gd name="connsiteY0" fmla="*/ 7146 h 38100"/>
                  <a:gd name="connsiteX1" fmla="*/ 30480 w 47625"/>
                  <a:gd name="connsiteY1" fmla="*/ 28196 h 38100"/>
                  <a:gd name="connsiteX2" fmla="*/ 7144 w 47625"/>
                  <a:gd name="connsiteY2" fmla="*/ 37721 h 38100"/>
                  <a:gd name="connsiteX3" fmla="*/ 15526 w 47625"/>
                  <a:gd name="connsiteY3" fmla="*/ 40102 h 38100"/>
                  <a:gd name="connsiteX4" fmla="*/ 35147 w 47625"/>
                  <a:gd name="connsiteY4" fmla="*/ 32863 h 38100"/>
                  <a:gd name="connsiteX5" fmla="*/ 44672 w 47625"/>
                  <a:gd name="connsiteY5" fmla="*/ 15147 h 38100"/>
                  <a:gd name="connsiteX6" fmla="*/ 42386 w 47625"/>
                  <a:gd name="connsiteY6" fmla="*/ 7146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38100">
                    <a:moveTo>
                      <a:pt x="42386" y="7146"/>
                    </a:moveTo>
                    <a:cubicBezTo>
                      <a:pt x="40577" y="7146"/>
                      <a:pt x="40767" y="19338"/>
                      <a:pt x="30480" y="28196"/>
                    </a:cubicBezTo>
                    <a:cubicBezTo>
                      <a:pt x="20193" y="37054"/>
                      <a:pt x="7144" y="36007"/>
                      <a:pt x="7144" y="37721"/>
                    </a:cubicBezTo>
                    <a:cubicBezTo>
                      <a:pt x="7144" y="39436"/>
                      <a:pt x="10096" y="40102"/>
                      <a:pt x="15526" y="40102"/>
                    </a:cubicBezTo>
                    <a:cubicBezTo>
                      <a:pt x="22715" y="40079"/>
                      <a:pt x="29665" y="37515"/>
                      <a:pt x="35147" y="32863"/>
                    </a:cubicBezTo>
                    <a:cubicBezTo>
                      <a:pt x="40529" y="28441"/>
                      <a:pt x="43951" y="22075"/>
                      <a:pt x="44672" y="15147"/>
                    </a:cubicBezTo>
                    <a:cubicBezTo>
                      <a:pt x="44672" y="10003"/>
                      <a:pt x="43243" y="7051"/>
                      <a:pt x="42386" y="714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8" name="Полилиния: фигура 657">
                <a:extLst>
                  <a:ext uri="{FF2B5EF4-FFF2-40B4-BE49-F238E27FC236}">
                    <a16:creationId xmlns:a16="http://schemas.microsoft.com/office/drawing/2014/main" id="{9391E5D6-6DC5-4E54-BA0A-706AE0199484}"/>
                  </a:ext>
                </a:extLst>
              </p:cNvPr>
              <p:cNvSpPr/>
              <p:nvPr/>
            </p:nvSpPr>
            <p:spPr>
              <a:xfrm>
                <a:off x="5418441" y="4564877"/>
                <a:ext cx="57150" cy="28575"/>
              </a:xfrm>
              <a:custGeom>
                <a:avLst/>
                <a:gdLst>
                  <a:gd name="connsiteX0" fmla="*/ 7203 w 57150"/>
                  <a:gd name="connsiteY0" fmla="*/ 16051 h 28575"/>
                  <a:gd name="connsiteX1" fmla="*/ 32921 w 57150"/>
                  <a:gd name="connsiteY1" fmla="*/ 18718 h 28575"/>
                  <a:gd name="connsiteX2" fmla="*/ 58639 w 57150"/>
                  <a:gd name="connsiteY2" fmla="*/ 20718 h 28575"/>
                  <a:gd name="connsiteX3" fmla="*/ 53114 w 57150"/>
                  <a:gd name="connsiteY3" fmla="*/ 13574 h 28575"/>
                  <a:gd name="connsiteX4" fmla="*/ 34064 w 57150"/>
                  <a:gd name="connsiteY4" fmla="*/ 7383 h 28575"/>
                  <a:gd name="connsiteX5" fmla="*/ 14062 w 57150"/>
                  <a:gd name="connsiteY5" fmla="*/ 10145 h 28575"/>
                  <a:gd name="connsiteX6" fmla="*/ 7203 w 57150"/>
                  <a:gd name="connsiteY6" fmla="*/ 1605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150" h="28575">
                    <a:moveTo>
                      <a:pt x="7203" y="16051"/>
                    </a:moveTo>
                    <a:cubicBezTo>
                      <a:pt x="8442" y="19099"/>
                      <a:pt x="19681" y="17480"/>
                      <a:pt x="32921" y="18718"/>
                    </a:cubicBezTo>
                    <a:cubicBezTo>
                      <a:pt x="46161" y="19956"/>
                      <a:pt x="56924" y="23481"/>
                      <a:pt x="58639" y="20718"/>
                    </a:cubicBezTo>
                    <a:cubicBezTo>
                      <a:pt x="59401" y="19385"/>
                      <a:pt x="57496" y="16527"/>
                      <a:pt x="53114" y="13574"/>
                    </a:cubicBezTo>
                    <a:cubicBezTo>
                      <a:pt x="47343" y="10032"/>
                      <a:pt x="40815" y="7910"/>
                      <a:pt x="34064" y="7383"/>
                    </a:cubicBezTo>
                    <a:cubicBezTo>
                      <a:pt x="27271" y="6652"/>
                      <a:pt x="20402" y="7601"/>
                      <a:pt x="14062" y="10145"/>
                    </a:cubicBezTo>
                    <a:cubicBezTo>
                      <a:pt x="9109" y="12146"/>
                      <a:pt x="6727" y="14622"/>
                      <a:pt x="7203" y="1605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9" name="Полилиния: фигура 658">
                <a:extLst>
                  <a:ext uri="{FF2B5EF4-FFF2-40B4-BE49-F238E27FC236}">
                    <a16:creationId xmlns:a16="http://schemas.microsoft.com/office/drawing/2014/main" id="{885B627A-2F6B-4DF9-B509-978C1012530F}"/>
                  </a:ext>
                </a:extLst>
              </p:cNvPr>
              <p:cNvSpPr/>
              <p:nvPr/>
            </p:nvSpPr>
            <p:spPr>
              <a:xfrm>
                <a:off x="5311914" y="4567616"/>
                <a:ext cx="47625" cy="19050"/>
              </a:xfrm>
              <a:custGeom>
                <a:avLst/>
                <a:gdLst>
                  <a:gd name="connsiteX0" fmla="*/ 7431 w 47625"/>
                  <a:gd name="connsiteY0" fmla="*/ 19217 h 19050"/>
                  <a:gd name="connsiteX1" fmla="*/ 26481 w 47625"/>
                  <a:gd name="connsiteY1" fmla="*/ 18645 h 19050"/>
                  <a:gd name="connsiteX2" fmla="*/ 45531 w 47625"/>
                  <a:gd name="connsiteY2" fmla="*/ 17312 h 19050"/>
                  <a:gd name="connsiteX3" fmla="*/ 41435 w 47625"/>
                  <a:gd name="connsiteY3" fmla="*/ 11120 h 19050"/>
                  <a:gd name="connsiteX4" fmla="*/ 25814 w 47625"/>
                  <a:gd name="connsiteY4" fmla="*/ 7215 h 19050"/>
                  <a:gd name="connsiteX5" fmla="*/ 10765 w 47625"/>
                  <a:gd name="connsiteY5" fmla="*/ 12644 h 19050"/>
                  <a:gd name="connsiteX6" fmla="*/ 7431 w 47625"/>
                  <a:gd name="connsiteY6" fmla="*/ 19217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7431" y="19217"/>
                    </a:moveTo>
                    <a:cubicBezTo>
                      <a:pt x="9526" y="21789"/>
                      <a:pt x="16956" y="19217"/>
                      <a:pt x="26481" y="18645"/>
                    </a:cubicBezTo>
                    <a:cubicBezTo>
                      <a:pt x="36006" y="18074"/>
                      <a:pt x="43721" y="19979"/>
                      <a:pt x="45531" y="17312"/>
                    </a:cubicBezTo>
                    <a:cubicBezTo>
                      <a:pt x="47341" y="14645"/>
                      <a:pt x="44960" y="13406"/>
                      <a:pt x="41435" y="11120"/>
                    </a:cubicBezTo>
                    <a:cubicBezTo>
                      <a:pt x="36783" y="8174"/>
                      <a:pt x="31306" y="6804"/>
                      <a:pt x="25814" y="7215"/>
                    </a:cubicBezTo>
                    <a:cubicBezTo>
                      <a:pt x="20351" y="7392"/>
                      <a:pt x="15083" y="9292"/>
                      <a:pt x="10765" y="12644"/>
                    </a:cubicBezTo>
                    <a:cubicBezTo>
                      <a:pt x="7621" y="15407"/>
                      <a:pt x="6574" y="18455"/>
                      <a:pt x="7431" y="1921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0" name="Полилиния: фигура 659">
                <a:extLst>
                  <a:ext uri="{FF2B5EF4-FFF2-40B4-BE49-F238E27FC236}">
                    <a16:creationId xmlns:a16="http://schemas.microsoft.com/office/drawing/2014/main" id="{3C7F4DED-0D6E-4223-9FA2-300D0A097247}"/>
                  </a:ext>
                </a:extLst>
              </p:cNvPr>
              <p:cNvSpPr/>
              <p:nvPr/>
            </p:nvSpPr>
            <p:spPr>
              <a:xfrm>
                <a:off x="5538225" y="4656008"/>
                <a:ext cx="57150" cy="85725"/>
              </a:xfrm>
              <a:custGeom>
                <a:avLst/>
                <a:gdLst>
                  <a:gd name="connsiteX0" fmla="*/ 8482 w 57150"/>
                  <a:gd name="connsiteY0" fmla="*/ 9787 h 85725"/>
                  <a:gd name="connsiteX1" fmla="*/ 58107 w 57150"/>
                  <a:gd name="connsiteY1" fmla="*/ 44077 h 85725"/>
                  <a:gd name="connsiteX2" fmla="*/ 7148 w 57150"/>
                  <a:gd name="connsiteY2" fmla="*/ 82177 h 85725"/>
                  <a:gd name="connsiteX3" fmla="*/ 8482 w 57150"/>
                  <a:gd name="connsiteY3" fmla="*/ 9787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50" h="85725">
                    <a:moveTo>
                      <a:pt x="8482" y="9787"/>
                    </a:moveTo>
                    <a:cubicBezTo>
                      <a:pt x="9720" y="9215"/>
                      <a:pt x="58584" y="-6120"/>
                      <a:pt x="58107" y="44077"/>
                    </a:cubicBezTo>
                    <a:cubicBezTo>
                      <a:pt x="57631" y="94273"/>
                      <a:pt x="7244" y="83320"/>
                      <a:pt x="7148" y="82177"/>
                    </a:cubicBezTo>
                    <a:cubicBezTo>
                      <a:pt x="7053" y="81034"/>
                      <a:pt x="8482" y="9787"/>
                      <a:pt x="8482" y="9787"/>
                    </a:cubicBezTo>
                    <a:close/>
                  </a:path>
                </a:pathLst>
              </a:custGeom>
              <a:solidFill>
                <a:srgbClr val="B7887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1" name="Полилиния: фигура 660">
                <a:extLst>
                  <a:ext uri="{FF2B5EF4-FFF2-40B4-BE49-F238E27FC236}">
                    <a16:creationId xmlns:a16="http://schemas.microsoft.com/office/drawing/2014/main" id="{A296292E-25AD-4937-B4DF-3E7BB8E30BB2}"/>
                  </a:ext>
                </a:extLst>
              </p:cNvPr>
              <p:cNvSpPr/>
              <p:nvPr/>
            </p:nvSpPr>
            <p:spPr>
              <a:xfrm>
                <a:off x="5553706" y="4672699"/>
                <a:ext cx="28575" cy="57150"/>
              </a:xfrm>
              <a:custGeom>
                <a:avLst/>
                <a:gdLst>
                  <a:gd name="connsiteX0" fmla="*/ 7194 w 28575"/>
                  <a:gd name="connsiteY0" fmla="*/ 46722 h 57150"/>
                  <a:gd name="connsiteX1" fmla="*/ 9575 w 28575"/>
                  <a:gd name="connsiteY1" fmla="*/ 48055 h 57150"/>
                  <a:gd name="connsiteX2" fmla="*/ 16052 w 28575"/>
                  <a:gd name="connsiteY2" fmla="*/ 48055 h 57150"/>
                  <a:gd name="connsiteX3" fmla="*/ 26339 w 28575"/>
                  <a:gd name="connsiteY3" fmla="*/ 29005 h 57150"/>
                  <a:gd name="connsiteX4" fmla="*/ 24053 w 28575"/>
                  <a:gd name="connsiteY4" fmla="*/ 16432 h 57150"/>
                  <a:gd name="connsiteX5" fmla="*/ 17481 w 28575"/>
                  <a:gd name="connsiteY5" fmla="*/ 9670 h 57150"/>
                  <a:gd name="connsiteX6" fmla="*/ 12338 w 28575"/>
                  <a:gd name="connsiteY6" fmla="*/ 11956 h 57150"/>
                  <a:gd name="connsiteX7" fmla="*/ 11670 w 28575"/>
                  <a:gd name="connsiteY7" fmla="*/ 14432 h 57150"/>
                  <a:gd name="connsiteX8" fmla="*/ 11004 w 28575"/>
                  <a:gd name="connsiteY8" fmla="*/ 11574 h 57150"/>
                  <a:gd name="connsiteX9" fmla="*/ 13004 w 28575"/>
                  <a:gd name="connsiteY9" fmla="*/ 8431 h 57150"/>
                  <a:gd name="connsiteX10" fmla="*/ 17862 w 28575"/>
                  <a:gd name="connsiteY10" fmla="*/ 7193 h 57150"/>
                  <a:gd name="connsiteX11" fmla="*/ 27387 w 28575"/>
                  <a:gd name="connsiteY11" fmla="*/ 15099 h 57150"/>
                  <a:gd name="connsiteX12" fmla="*/ 30340 w 28575"/>
                  <a:gd name="connsiteY12" fmla="*/ 29100 h 57150"/>
                  <a:gd name="connsiteX13" fmla="*/ 17291 w 28575"/>
                  <a:gd name="connsiteY13" fmla="*/ 50627 h 57150"/>
                  <a:gd name="connsiteX14" fmla="*/ 9289 w 28575"/>
                  <a:gd name="connsiteY14" fmla="*/ 49198 h 57150"/>
                  <a:gd name="connsiteX15" fmla="*/ 7194 w 28575"/>
                  <a:gd name="connsiteY15" fmla="*/ 46722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75" h="57150">
                    <a:moveTo>
                      <a:pt x="7194" y="46722"/>
                    </a:moveTo>
                    <a:cubicBezTo>
                      <a:pt x="7194" y="46722"/>
                      <a:pt x="8051" y="47389"/>
                      <a:pt x="9575" y="48055"/>
                    </a:cubicBezTo>
                    <a:cubicBezTo>
                      <a:pt x="11653" y="48892"/>
                      <a:pt x="13974" y="48892"/>
                      <a:pt x="16052" y="48055"/>
                    </a:cubicBezTo>
                    <a:cubicBezTo>
                      <a:pt x="22627" y="43989"/>
                      <a:pt x="26545" y="36734"/>
                      <a:pt x="26339" y="29005"/>
                    </a:cubicBezTo>
                    <a:cubicBezTo>
                      <a:pt x="26501" y="24698"/>
                      <a:pt x="25720" y="20407"/>
                      <a:pt x="24053" y="16432"/>
                    </a:cubicBezTo>
                    <a:cubicBezTo>
                      <a:pt x="23114" y="13230"/>
                      <a:pt x="20654" y="10700"/>
                      <a:pt x="17481" y="9670"/>
                    </a:cubicBezTo>
                    <a:cubicBezTo>
                      <a:pt x="15436" y="9042"/>
                      <a:pt x="13241" y="10017"/>
                      <a:pt x="12338" y="11956"/>
                    </a:cubicBezTo>
                    <a:cubicBezTo>
                      <a:pt x="11670" y="13384"/>
                      <a:pt x="12337" y="14337"/>
                      <a:pt x="11670" y="14432"/>
                    </a:cubicBezTo>
                    <a:cubicBezTo>
                      <a:pt x="11004" y="14527"/>
                      <a:pt x="10623" y="13575"/>
                      <a:pt x="11004" y="11574"/>
                    </a:cubicBezTo>
                    <a:cubicBezTo>
                      <a:pt x="11327" y="10344"/>
                      <a:pt x="12026" y="9245"/>
                      <a:pt x="13004" y="8431"/>
                    </a:cubicBezTo>
                    <a:cubicBezTo>
                      <a:pt x="14414" y="7429"/>
                      <a:pt x="16145" y="6988"/>
                      <a:pt x="17862" y="7193"/>
                    </a:cubicBezTo>
                    <a:cubicBezTo>
                      <a:pt x="22247" y="7881"/>
                      <a:pt x="25903" y="10916"/>
                      <a:pt x="27387" y="15099"/>
                    </a:cubicBezTo>
                    <a:cubicBezTo>
                      <a:pt x="29524" y="19447"/>
                      <a:pt x="30539" y="24260"/>
                      <a:pt x="30340" y="29100"/>
                    </a:cubicBezTo>
                    <a:cubicBezTo>
                      <a:pt x="30740" y="38254"/>
                      <a:pt x="25591" y="46748"/>
                      <a:pt x="17291" y="50627"/>
                    </a:cubicBezTo>
                    <a:cubicBezTo>
                      <a:pt x="14544" y="51370"/>
                      <a:pt x="11610" y="50846"/>
                      <a:pt x="9289" y="49198"/>
                    </a:cubicBezTo>
                    <a:cubicBezTo>
                      <a:pt x="7289" y="47579"/>
                      <a:pt x="7003" y="46722"/>
                      <a:pt x="7194" y="46722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2" name="Полилиния: фигура 661">
                <a:extLst>
                  <a:ext uri="{FF2B5EF4-FFF2-40B4-BE49-F238E27FC236}">
                    <a16:creationId xmlns:a16="http://schemas.microsoft.com/office/drawing/2014/main" id="{3A919500-9ECC-4B28-B3DB-A65A8BF55E7E}"/>
                  </a:ext>
                </a:extLst>
              </p:cNvPr>
              <p:cNvSpPr/>
              <p:nvPr/>
            </p:nvSpPr>
            <p:spPr>
              <a:xfrm>
                <a:off x="5324638" y="4449855"/>
                <a:ext cx="247650" cy="257175"/>
              </a:xfrm>
              <a:custGeom>
                <a:avLst/>
                <a:gdLst>
                  <a:gd name="connsiteX0" fmla="*/ 8709 w 247650"/>
                  <a:gd name="connsiteY0" fmla="*/ 62016 h 257175"/>
                  <a:gd name="connsiteX1" fmla="*/ 45666 w 247650"/>
                  <a:gd name="connsiteY1" fmla="*/ 22868 h 257175"/>
                  <a:gd name="connsiteX2" fmla="*/ 150441 w 247650"/>
                  <a:gd name="connsiteY2" fmla="*/ 10676 h 257175"/>
                  <a:gd name="connsiteX3" fmla="*/ 227499 w 247650"/>
                  <a:gd name="connsiteY3" fmla="*/ 68874 h 257175"/>
                  <a:gd name="connsiteX4" fmla="*/ 247596 w 247650"/>
                  <a:gd name="connsiteY4" fmla="*/ 170125 h 257175"/>
                  <a:gd name="connsiteX5" fmla="*/ 239977 w 247650"/>
                  <a:gd name="connsiteY5" fmla="*/ 200700 h 257175"/>
                  <a:gd name="connsiteX6" fmla="*/ 219402 w 247650"/>
                  <a:gd name="connsiteY6" fmla="*/ 233656 h 257175"/>
                  <a:gd name="connsiteX7" fmla="*/ 213878 w 247650"/>
                  <a:gd name="connsiteY7" fmla="*/ 248896 h 257175"/>
                  <a:gd name="connsiteX8" fmla="*/ 188446 w 247650"/>
                  <a:gd name="connsiteY8" fmla="*/ 239371 h 257175"/>
                  <a:gd name="connsiteX9" fmla="*/ 176540 w 247650"/>
                  <a:gd name="connsiteY9" fmla="*/ 173458 h 257175"/>
                  <a:gd name="connsiteX10" fmla="*/ 180635 w 247650"/>
                  <a:gd name="connsiteY10" fmla="*/ 125833 h 257175"/>
                  <a:gd name="connsiteX11" fmla="*/ 189589 w 247650"/>
                  <a:gd name="connsiteY11" fmla="*/ 101164 h 257175"/>
                  <a:gd name="connsiteX12" fmla="*/ 186541 w 247650"/>
                  <a:gd name="connsiteY12" fmla="*/ 76113 h 257175"/>
                  <a:gd name="connsiteX13" fmla="*/ 182541 w 247650"/>
                  <a:gd name="connsiteY13" fmla="*/ 71827 h 257175"/>
                  <a:gd name="connsiteX14" fmla="*/ 130820 w 247650"/>
                  <a:gd name="connsiteY14" fmla="*/ 60968 h 257175"/>
                  <a:gd name="connsiteX15" fmla="*/ 41380 w 247650"/>
                  <a:gd name="connsiteY15" fmla="*/ 74494 h 257175"/>
                  <a:gd name="connsiteX16" fmla="*/ 19377 w 247650"/>
                  <a:gd name="connsiteY16" fmla="*/ 5125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47650" h="257175">
                    <a:moveTo>
                      <a:pt x="8709" y="62016"/>
                    </a:moveTo>
                    <a:cubicBezTo>
                      <a:pt x="613" y="57349"/>
                      <a:pt x="25569" y="31536"/>
                      <a:pt x="45666" y="22868"/>
                    </a:cubicBezTo>
                    <a:cubicBezTo>
                      <a:pt x="76146" y="9819"/>
                      <a:pt x="121866" y="2294"/>
                      <a:pt x="150441" y="10676"/>
                    </a:cubicBezTo>
                    <a:cubicBezTo>
                      <a:pt x="183779" y="20868"/>
                      <a:pt x="211306" y="38108"/>
                      <a:pt x="227499" y="68874"/>
                    </a:cubicBezTo>
                    <a:cubicBezTo>
                      <a:pt x="243067" y="100242"/>
                      <a:pt x="250003" y="135189"/>
                      <a:pt x="247596" y="170125"/>
                    </a:cubicBezTo>
                    <a:cubicBezTo>
                      <a:pt x="247826" y="180813"/>
                      <a:pt x="245195" y="191369"/>
                      <a:pt x="239977" y="200700"/>
                    </a:cubicBezTo>
                    <a:cubicBezTo>
                      <a:pt x="232738" y="211654"/>
                      <a:pt x="219117" y="218321"/>
                      <a:pt x="219402" y="233656"/>
                    </a:cubicBezTo>
                    <a:cubicBezTo>
                      <a:pt x="219659" y="239269"/>
                      <a:pt x="217670" y="244752"/>
                      <a:pt x="213878" y="248896"/>
                    </a:cubicBezTo>
                    <a:cubicBezTo>
                      <a:pt x="204353" y="258421"/>
                      <a:pt x="193495" y="248896"/>
                      <a:pt x="188446" y="239371"/>
                    </a:cubicBezTo>
                    <a:cubicBezTo>
                      <a:pt x="177873" y="219464"/>
                      <a:pt x="177111" y="196033"/>
                      <a:pt x="176540" y="173458"/>
                    </a:cubicBezTo>
                    <a:cubicBezTo>
                      <a:pt x="175311" y="157466"/>
                      <a:pt x="176694" y="141381"/>
                      <a:pt x="180635" y="125833"/>
                    </a:cubicBezTo>
                    <a:cubicBezTo>
                      <a:pt x="183303" y="117451"/>
                      <a:pt x="187398" y="109641"/>
                      <a:pt x="189589" y="101164"/>
                    </a:cubicBezTo>
                    <a:cubicBezTo>
                      <a:pt x="192266" y="92768"/>
                      <a:pt x="191153" y="83622"/>
                      <a:pt x="186541" y="76113"/>
                    </a:cubicBezTo>
                    <a:cubicBezTo>
                      <a:pt x="185321" y="74582"/>
                      <a:pt x="183984" y="73149"/>
                      <a:pt x="182541" y="71827"/>
                    </a:cubicBezTo>
                    <a:cubicBezTo>
                      <a:pt x="168523" y="59139"/>
                      <a:pt x="148757" y="54989"/>
                      <a:pt x="130820" y="60968"/>
                    </a:cubicBezTo>
                    <a:cubicBezTo>
                      <a:pt x="102245" y="70493"/>
                      <a:pt x="53763" y="84304"/>
                      <a:pt x="41380" y="74494"/>
                    </a:cubicBezTo>
                    <a:cubicBezTo>
                      <a:pt x="32493" y="68380"/>
                      <a:pt x="24995" y="60461"/>
                      <a:pt x="19377" y="5125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3" name="Полилиния: фигура 662">
                <a:extLst>
                  <a:ext uri="{FF2B5EF4-FFF2-40B4-BE49-F238E27FC236}">
                    <a16:creationId xmlns:a16="http://schemas.microsoft.com/office/drawing/2014/main" id="{A37F991A-ECA0-4AED-8952-7E6EB1728076}"/>
                  </a:ext>
                </a:extLst>
              </p:cNvPr>
              <p:cNvSpPr/>
              <p:nvPr/>
            </p:nvSpPr>
            <p:spPr>
              <a:xfrm>
                <a:off x="5347570" y="4439468"/>
                <a:ext cx="200025" cy="95250"/>
              </a:xfrm>
              <a:custGeom>
                <a:avLst/>
                <a:gdLst>
                  <a:gd name="connsiteX0" fmla="*/ 124556 w 200025"/>
                  <a:gd name="connsiteY0" fmla="*/ 14205 h 95250"/>
                  <a:gd name="connsiteX1" fmla="*/ 39689 w 200025"/>
                  <a:gd name="connsiteY1" fmla="*/ 17158 h 95250"/>
                  <a:gd name="connsiteX2" fmla="*/ 8828 w 200025"/>
                  <a:gd name="connsiteY2" fmla="*/ 49924 h 95250"/>
                  <a:gd name="connsiteX3" fmla="*/ 24449 w 200025"/>
                  <a:gd name="connsiteY3" fmla="*/ 89167 h 95250"/>
                  <a:gd name="connsiteX4" fmla="*/ 25401 w 200025"/>
                  <a:gd name="connsiteY4" fmla="*/ 89834 h 95250"/>
                  <a:gd name="connsiteX5" fmla="*/ 82551 w 200025"/>
                  <a:gd name="connsiteY5" fmla="*/ 87929 h 95250"/>
                  <a:gd name="connsiteX6" fmla="*/ 134939 w 200025"/>
                  <a:gd name="connsiteY6" fmla="*/ 65545 h 95250"/>
                  <a:gd name="connsiteX7" fmla="*/ 194661 w 200025"/>
                  <a:gd name="connsiteY7" fmla="*/ 64973 h 95250"/>
                  <a:gd name="connsiteX8" fmla="*/ 124557 w 200025"/>
                  <a:gd name="connsiteY8" fmla="*/ 14205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0025" h="95250">
                    <a:moveTo>
                      <a:pt x="124556" y="14205"/>
                    </a:moveTo>
                    <a:cubicBezTo>
                      <a:pt x="97002" y="3856"/>
                      <a:pt x="66458" y="4918"/>
                      <a:pt x="39689" y="17158"/>
                    </a:cubicBezTo>
                    <a:cubicBezTo>
                      <a:pt x="25353" y="23399"/>
                      <a:pt x="14200" y="35240"/>
                      <a:pt x="8828" y="49924"/>
                    </a:cubicBezTo>
                    <a:cubicBezTo>
                      <a:pt x="3784" y="65064"/>
                      <a:pt x="10381" y="81635"/>
                      <a:pt x="24449" y="89167"/>
                    </a:cubicBezTo>
                    <a:lnTo>
                      <a:pt x="25401" y="89834"/>
                    </a:lnTo>
                    <a:cubicBezTo>
                      <a:pt x="46737" y="97454"/>
                      <a:pt x="60643" y="94882"/>
                      <a:pt x="82551" y="87929"/>
                    </a:cubicBezTo>
                    <a:cubicBezTo>
                      <a:pt x="100649" y="82118"/>
                      <a:pt x="116841" y="71260"/>
                      <a:pt x="134939" y="65545"/>
                    </a:cubicBezTo>
                    <a:cubicBezTo>
                      <a:pt x="154337" y="59360"/>
                      <a:pt x="175148" y="59161"/>
                      <a:pt x="194661" y="64973"/>
                    </a:cubicBezTo>
                    <a:cubicBezTo>
                      <a:pt x="176165" y="42180"/>
                      <a:pt x="151983" y="24668"/>
                      <a:pt x="124557" y="14205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4" name="Полилиния: фигура 663">
                <a:extLst>
                  <a:ext uri="{FF2B5EF4-FFF2-40B4-BE49-F238E27FC236}">
                    <a16:creationId xmlns:a16="http://schemas.microsoft.com/office/drawing/2014/main" id="{CE33EB94-144A-4A17-9E83-5E8871471C58}"/>
                  </a:ext>
                </a:extLst>
              </p:cNvPr>
              <p:cNvSpPr/>
              <p:nvPr/>
            </p:nvSpPr>
            <p:spPr>
              <a:xfrm>
                <a:off x="5366399" y="4481046"/>
                <a:ext cx="171450" cy="57150"/>
              </a:xfrm>
              <a:custGeom>
                <a:avLst/>
                <a:gdLst>
                  <a:gd name="connsiteX0" fmla="*/ 169926 w 171450"/>
                  <a:gd name="connsiteY0" fmla="*/ 15966 h 57150"/>
                  <a:gd name="connsiteX1" fmla="*/ 145637 w 171450"/>
                  <a:gd name="connsiteY1" fmla="*/ 10727 h 57150"/>
                  <a:gd name="connsiteX2" fmla="*/ 119443 w 171450"/>
                  <a:gd name="connsiteY2" fmla="*/ 16061 h 57150"/>
                  <a:gd name="connsiteX3" fmla="*/ 89725 w 171450"/>
                  <a:gd name="connsiteY3" fmla="*/ 31396 h 57150"/>
                  <a:gd name="connsiteX4" fmla="*/ 59531 w 171450"/>
                  <a:gd name="connsiteY4" fmla="*/ 47398 h 57150"/>
                  <a:gd name="connsiteX5" fmla="*/ 31909 w 171450"/>
                  <a:gd name="connsiteY5" fmla="*/ 53399 h 57150"/>
                  <a:gd name="connsiteX6" fmla="*/ 7144 w 171450"/>
                  <a:gd name="connsiteY6" fmla="*/ 46636 h 57150"/>
                  <a:gd name="connsiteX7" fmla="*/ 31814 w 171450"/>
                  <a:gd name="connsiteY7" fmla="*/ 49875 h 57150"/>
                  <a:gd name="connsiteX8" fmla="*/ 57721 w 171450"/>
                  <a:gd name="connsiteY8" fmla="*/ 43207 h 57150"/>
                  <a:gd name="connsiteX9" fmla="*/ 87249 w 171450"/>
                  <a:gd name="connsiteY9" fmla="*/ 27110 h 57150"/>
                  <a:gd name="connsiteX10" fmla="*/ 117824 w 171450"/>
                  <a:gd name="connsiteY10" fmla="*/ 11775 h 57150"/>
                  <a:gd name="connsiteX11" fmla="*/ 145732 w 171450"/>
                  <a:gd name="connsiteY11" fmla="*/ 7203 h 57150"/>
                  <a:gd name="connsiteX12" fmla="*/ 169926 w 171450"/>
                  <a:gd name="connsiteY12" fmla="*/ 15966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1450" h="57150">
                    <a:moveTo>
                      <a:pt x="169926" y="15966"/>
                    </a:moveTo>
                    <a:cubicBezTo>
                      <a:pt x="162205" y="12789"/>
                      <a:pt x="153980" y="11015"/>
                      <a:pt x="145637" y="10727"/>
                    </a:cubicBezTo>
                    <a:cubicBezTo>
                      <a:pt x="136642" y="10782"/>
                      <a:pt x="127744" y="12594"/>
                      <a:pt x="119443" y="16061"/>
                    </a:cubicBezTo>
                    <a:cubicBezTo>
                      <a:pt x="109139" y="20360"/>
                      <a:pt x="99200" y="25488"/>
                      <a:pt x="89725" y="31396"/>
                    </a:cubicBezTo>
                    <a:cubicBezTo>
                      <a:pt x="80088" y="37499"/>
                      <a:pt x="69993" y="42849"/>
                      <a:pt x="59531" y="47398"/>
                    </a:cubicBezTo>
                    <a:cubicBezTo>
                      <a:pt x="50767" y="51066"/>
                      <a:pt x="41405" y="53099"/>
                      <a:pt x="31909" y="53399"/>
                    </a:cubicBezTo>
                    <a:cubicBezTo>
                      <a:pt x="23103" y="54264"/>
                      <a:pt x="14287" y="51857"/>
                      <a:pt x="7144" y="46636"/>
                    </a:cubicBezTo>
                    <a:cubicBezTo>
                      <a:pt x="15134" y="49060"/>
                      <a:pt x="23468" y="50154"/>
                      <a:pt x="31814" y="49875"/>
                    </a:cubicBezTo>
                    <a:cubicBezTo>
                      <a:pt x="40770" y="49166"/>
                      <a:pt x="49536" y="46910"/>
                      <a:pt x="57721" y="43207"/>
                    </a:cubicBezTo>
                    <a:cubicBezTo>
                      <a:pt x="67887" y="38455"/>
                      <a:pt x="77748" y="33079"/>
                      <a:pt x="87249" y="27110"/>
                    </a:cubicBezTo>
                    <a:cubicBezTo>
                      <a:pt x="96930" y="21039"/>
                      <a:pt x="107168" y="15904"/>
                      <a:pt x="117824" y="11775"/>
                    </a:cubicBezTo>
                    <a:cubicBezTo>
                      <a:pt x="126719" y="8368"/>
                      <a:pt x="136216" y="6812"/>
                      <a:pt x="145732" y="7203"/>
                    </a:cubicBezTo>
                    <a:cubicBezTo>
                      <a:pt x="154616" y="6951"/>
                      <a:pt x="163264" y="10083"/>
                      <a:pt x="169926" y="15966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5" name="Полилиния: фигура 664">
                <a:extLst>
                  <a:ext uri="{FF2B5EF4-FFF2-40B4-BE49-F238E27FC236}">
                    <a16:creationId xmlns:a16="http://schemas.microsoft.com/office/drawing/2014/main" id="{EB087680-FB34-43A9-A585-604DA6EDDBE7}"/>
                  </a:ext>
                </a:extLst>
              </p:cNvPr>
              <p:cNvSpPr/>
              <p:nvPr/>
            </p:nvSpPr>
            <p:spPr>
              <a:xfrm>
                <a:off x="5362969" y="4466366"/>
                <a:ext cx="152400" cy="66675"/>
              </a:xfrm>
              <a:custGeom>
                <a:avLst/>
                <a:gdLst>
                  <a:gd name="connsiteX0" fmla="*/ 152495 w 152400"/>
                  <a:gd name="connsiteY0" fmla="*/ 13787 h 66675"/>
                  <a:gd name="connsiteX1" fmla="*/ 130016 w 152400"/>
                  <a:gd name="connsiteY1" fmla="*/ 10358 h 66675"/>
                  <a:gd name="connsiteX2" fmla="*/ 106109 w 152400"/>
                  <a:gd name="connsiteY2" fmla="*/ 15597 h 66675"/>
                  <a:gd name="connsiteX3" fmla="*/ 79534 w 152400"/>
                  <a:gd name="connsiteY3" fmla="*/ 30171 h 66675"/>
                  <a:gd name="connsiteX4" fmla="*/ 53626 w 152400"/>
                  <a:gd name="connsiteY4" fmla="*/ 47220 h 66675"/>
                  <a:gd name="connsiteX5" fmla="*/ 30480 w 152400"/>
                  <a:gd name="connsiteY5" fmla="*/ 58269 h 66675"/>
                  <a:gd name="connsiteX6" fmla="*/ 7144 w 152400"/>
                  <a:gd name="connsiteY6" fmla="*/ 61031 h 66675"/>
                  <a:gd name="connsiteX7" fmla="*/ 29337 w 152400"/>
                  <a:gd name="connsiteY7" fmla="*/ 54935 h 66675"/>
                  <a:gd name="connsiteX8" fmla="*/ 76962 w 152400"/>
                  <a:gd name="connsiteY8" fmla="*/ 26360 h 66675"/>
                  <a:gd name="connsiteX9" fmla="*/ 104680 w 152400"/>
                  <a:gd name="connsiteY9" fmla="*/ 11597 h 66675"/>
                  <a:gd name="connsiteX10" fmla="*/ 130207 w 152400"/>
                  <a:gd name="connsiteY10" fmla="*/ 7215 h 66675"/>
                  <a:gd name="connsiteX11" fmla="*/ 152495 w 152400"/>
                  <a:gd name="connsiteY11" fmla="*/ 13787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2400" h="66675">
                    <a:moveTo>
                      <a:pt x="152495" y="13787"/>
                    </a:moveTo>
                    <a:cubicBezTo>
                      <a:pt x="145199" y="11604"/>
                      <a:pt x="137632" y="10450"/>
                      <a:pt x="130016" y="10358"/>
                    </a:cubicBezTo>
                    <a:cubicBezTo>
                      <a:pt x="121817" y="10805"/>
                      <a:pt x="113744" y="12574"/>
                      <a:pt x="106109" y="15597"/>
                    </a:cubicBezTo>
                    <a:cubicBezTo>
                      <a:pt x="96766" y="19515"/>
                      <a:pt x="87860" y="24399"/>
                      <a:pt x="79534" y="30171"/>
                    </a:cubicBezTo>
                    <a:cubicBezTo>
                      <a:pt x="70009" y="36171"/>
                      <a:pt x="61913" y="42362"/>
                      <a:pt x="53626" y="47220"/>
                    </a:cubicBezTo>
                    <a:cubicBezTo>
                      <a:pt x="46360" y="51780"/>
                      <a:pt x="38594" y="55487"/>
                      <a:pt x="30480" y="58269"/>
                    </a:cubicBezTo>
                    <a:cubicBezTo>
                      <a:pt x="23112" y="61351"/>
                      <a:pt x="15028" y="62308"/>
                      <a:pt x="7144" y="61031"/>
                    </a:cubicBezTo>
                    <a:cubicBezTo>
                      <a:pt x="14672" y="59508"/>
                      <a:pt x="22087" y="57471"/>
                      <a:pt x="29337" y="54935"/>
                    </a:cubicBezTo>
                    <a:cubicBezTo>
                      <a:pt x="46184" y="47132"/>
                      <a:pt x="62149" y="37553"/>
                      <a:pt x="76962" y="26360"/>
                    </a:cubicBezTo>
                    <a:cubicBezTo>
                      <a:pt x="85608" y="20398"/>
                      <a:pt x="94908" y="15444"/>
                      <a:pt x="104680" y="11597"/>
                    </a:cubicBezTo>
                    <a:cubicBezTo>
                      <a:pt x="112847" y="8580"/>
                      <a:pt x="121501" y="7095"/>
                      <a:pt x="130207" y="7215"/>
                    </a:cubicBezTo>
                    <a:cubicBezTo>
                      <a:pt x="138180" y="6696"/>
                      <a:pt x="146079" y="9025"/>
                      <a:pt x="152495" y="13787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6" name="Полилиния: фигура 665">
                <a:extLst>
                  <a:ext uri="{FF2B5EF4-FFF2-40B4-BE49-F238E27FC236}">
                    <a16:creationId xmlns:a16="http://schemas.microsoft.com/office/drawing/2014/main" id="{3EB595DB-2277-4388-9159-FA2544D64987}"/>
                  </a:ext>
                </a:extLst>
              </p:cNvPr>
              <p:cNvSpPr/>
              <p:nvPr/>
            </p:nvSpPr>
            <p:spPr>
              <a:xfrm>
                <a:off x="5493843" y="4537970"/>
                <a:ext cx="76200" cy="76200"/>
              </a:xfrm>
              <a:custGeom>
                <a:avLst/>
                <a:gdLst>
                  <a:gd name="connsiteX0" fmla="*/ 72580 w 76200"/>
                  <a:gd name="connsiteY0" fmla="*/ 7144 h 76200"/>
                  <a:gd name="connsiteX1" fmla="*/ 7144 w 76200"/>
                  <a:gd name="connsiteY1" fmla="*/ 77438 h 76200"/>
                  <a:gd name="connsiteX2" fmla="*/ 72580 w 76200"/>
                  <a:gd name="connsiteY2" fmla="*/ 7144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200" h="76200">
                    <a:moveTo>
                      <a:pt x="72580" y="7144"/>
                    </a:moveTo>
                    <a:cubicBezTo>
                      <a:pt x="65266" y="40779"/>
                      <a:pt x="40170" y="67738"/>
                      <a:pt x="7144" y="77438"/>
                    </a:cubicBezTo>
                    <a:cubicBezTo>
                      <a:pt x="36258" y="62055"/>
                      <a:pt x="59318" y="37283"/>
                      <a:pt x="72580" y="714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7" name="Полилиния: фигура 666">
                <a:extLst>
                  <a:ext uri="{FF2B5EF4-FFF2-40B4-BE49-F238E27FC236}">
                    <a16:creationId xmlns:a16="http://schemas.microsoft.com/office/drawing/2014/main" id="{6F954F74-C73A-4ED2-9152-964DD5FA5E94}"/>
                  </a:ext>
                </a:extLst>
              </p:cNvPr>
              <p:cNvSpPr/>
              <p:nvPr/>
            </p:nvSpPr>
            <p:spPr>
              <a:xfrm>
                <a:off x="5495463" y="4573497"/>
                <a:ext cx="76200" cy="57150"/>
              </a:xfrm>
              <a:custGeom>
                <a:avLst/>
                <a:gdLst>
                  <a:gd name="connsiteX0" fmla="*/ 76581 w 76200"/>
                  <a:gd name="connsiteY0" fmla="*/ 7145 h 57150"/>
                  <a:gd name="connsiteX1" fmla="*/ 74009 w 76200"/>
                  <a:gd name="connsiteY1" fmla="*/ 20766 h 57150"/>
                  <a:gd name="connsiteX2" fmla="*/ 51435 w 76200"/>
                  <a:gd name="connsiteY2" fmla="*/ 45245 h 57150"/>
                  <a:gd name="connsiteX3" fmla="*/ 20574 w 76200"/>
                  <a:gd name="connsiteY3" fmla="*/ 57246 h 57150"/>
                  <a:gd name="connsiteX4" fmla="*/ 7144 w 76200"/>
                  <a:gd name="connsiteY4" fmla="*/ 59151 h 57150"/>
                  <a:gd name="connsiteX5" fmla="*/ 19621 w 76200"/>
                  <a:gd name="connsiteY5" fmla="*/ 53913 h 57150"/>
                  <a:gd name="connsiteX6" fmla="*/ 48863 w 76200"/>
                  <a:gd name="connsiteY6" fmla="*/ 41054 h 57150"/>
                  <a:gd name="connsiteX7" fmla="*/ 70961 w 76200"/>
                  <a:gd name="connsiteY7" fmla="*/ 19146 h 57150"/>
                  <a:gd name="connsiteX8" fmla="*/ 76581 w 76200"/>
                  <a:gd name="connsiteY8" fmla="*/ 7145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200" h="57150">
                    <a:moveTo>
                      <a:pt x="76581" y="7145"/>
                    </a:moveTo>
                    <a:cubicBezTo>
                      <a:pt x="77271" y="11845"/>
                      <a:pt x="76365" y="16641"/>
                      <a:pt x="74009" y="20766"/>
                    </a:cubicBezTo>
                    <a:cubicBezTo>
                      <a:pt x="69155" y="31036"/>
                      <a:pt x="61279" y="39577"/>
                      <a:pt x="51435" y="45245"/>
                    </a:cubicBezTo>
                    <a:cubicBezTo>
                      <a:pt x="41830" y="50817"/>
                      <a:pt x="31420" y="54866"/>
                      <a:pt x="20574" y="57246"/>
                    </a:cubicBezTo>
                    <a:cubicBezTo>
                      <a:pt x="16266" y="58762"/>
                      <a:pt x="11702" y="59409"/>
                      <a:pt x="7144" y="59151"/>
                    </a:cubicBezTo>
                    <a:cubicBezTo>
                      <a:pt x="10992" y="56741"/>
                      <a:pt x="15206" y="54971"/>
                      <a:pt x="19621" y="53913"/>
                    </a:cubicBezTo>
                    <a:cubicBezTo>
                      <a:pt x="29773" y="50613"/>
                      <a:pt x="39570" y="46305"/>
                      <a:pt x="48863" y="41054"/>
                    </a:cubicBezTo>
                    <a:cubicBezTo>
                      <a:pt x="57951" y="35722"/>
                      <a:pt x="65551" y="28188"/>
                      <a:pt x="70961" y="19146"/>
                    </a:cubicBezTo>
                    <a:cubicBezTo>
                      <a:pt x="74962" y="12574"/>
                      <a:pt x="75724" y="7050"/>
                      <a:pt x="76581" y="7145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8" name="Полилиния: фигура 667">
                <a:extLst>
                  <a:ext uri="{FF2B5EF4-FFF2-40B4-BE49-F238E27FC236}">
                    <a16:creationId xmlns:a16="http://schemas.microsoft.com/office/drawing/2014/main" id="{64F225A9-D960-47F2-A4E8-0EFC73EFD42E}"/>
                  </a:ext>
                </a:extLst>
              </p:cNvPr>
              <p:cNvSpPr/>
              <p:nvPr/>
            </p:nvSpPr>
            <p:spPr>
              <a:xfrm>
                <a:off x="5360357" y="4454963"/>
                <a:ext cx="38100" cy="76200"/>
              </a:xfrm>
              <a:custGeom>
                <a:avLst/>
                <a:gdLst>
                  <a:gd name="connsiteX0" fmla="*/ 37951 w 38100"/>
                  <a:gd name="connsiteY0" fmla="*/ 7283 h 76200"/>
                  <a:gd name="connsiteX1" fmla="*/ 31283 w 38100"/>
                  <a:gd name="connsiteY1" fmla="*/ 16332 h 76200"/>
                  <a:gd name="connsiteX2" fmla="*/ 16424 w 38100"/>
                  <a:gd name="connsiteY2" fmla="*/ 37954 h 76200"/>
                  <a:gd name="connsiteX3" fmla="*/ 11186 w 38100"/>
                  <a:gd name="connsiteY3" fmla="*/ 62814 h 76200"/>
                  <a:gd name="connsiteX4" fmla="*/ 12615 w 38100"/>
                  <a:gd name="connsiteY4" fmla="*/ 73768 h 76200"/>
                  <a:gd name="connsiteX5" fmla="*/ 7757 w 38100"/>
                  <a:gd name="connsiteY5" fmla="*/ 63290 h 76200"/>
                  <a:gd name="connsiteX6" fmla="*/ 11948 w 38100"/>
                  <a:gd name="connsiteY6" fmla="*/ 35763 h 76200"/>
                  <a:gd name="connsiteX7" fmla="*/ 28712 w 38100"/>
                  <a:gd name="connsiteY7" fmla="*/ 13951 h 76200"/>
                  <a:gd name="connsiteX8" fmla="*/ 37951 w 38100"/>
                  <a:gd name="connsiteY8" fmla="*/ 7283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100" h="76200">
                    <a:moveTo>
                      <a:pt x="37951" y="7283"/>
                    </a:moveTo>
                    <a:cubicBezTo>
                      <a:pt x="38427" y="7759"/>
                      <a:pt x="35665" y="11093"/>
                      <a:pt x="31283" y="16332"/>
                    </a:cubicBezTo>
                    <a:cubicBezTo>
                      <a:pt x="25431" y="22878"/>
                      <a:pt x="20438" y="30144"/>
                      <a:pt x="16424" y="37954"/>
                    </a:cubicBezTo>
                    <a:cubicBezTo>
                      <a:pt x="12607" y="45665"/>
                      <a:pt x="10805" y="54218"/>
                      <a:pt x="11186" y="62814"/>
                    </a:cubicBezTo>
                    <a:cubicBezTo>
                      <a:pt x="11186" y="69386"/>
                      <a:pt x="13376" y="73387"/>
                      <a:pt x="12615" y="73768"/>
                    </a:cubicBezTo>
                    <a:cubicBezTo>
                      <a:pt x="11852" y="74149"/>
                      <a:pt x="9185" y="70434"/>
                      <a:pt x="7757" y="63290"/>
                    </a:cubicBezTo>
                    <a:cubicBezTo>
                      <a:pt x="6185" y="53902"/>
                      <a:pt x="7654" y="44258"/>
                      <a:pt x="11948" y="35763"/>
                    </a:cubicBezTo>
                    <a:cubicBezTo>
                      <a:pt x="16146" y="27523"/>
                      <a:pt x="21829" y="20128"/>
                      <a:pt x="28712" y="13951"/>
                    </a:cubicBezTo>
                    <a:cubicBezTo>
                      <a:pt x="33855" y="8902"/>
                      <a:pt x="37475" y="6521"/>
                      <a:pt x="37951" y="7283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9" name="Полилиния: фигура 668">
                <a:extLst>
                  <a:ext uri="{FF2B5EF4-FFF2-40B4-BE49-F238E27FC236}">
                    <a16:creationId xmlns:a16="http://schemas.microsoft.com/office/drawing/2014/main" id="{7350EEDA-6FDD-4833-B2B5-192C89411497}"/>
                  </a:ext>
                </a:extLst>
              </p:cNvPr>
              <p:cNvSpPr/>
              <p:nvPr/>
            </p:nvSpPr>
            <p:spPr>
              <a:xfrm>
                <a:off x="5349888" y="4478153"/>
                <a:ext cx="28575" cy="57150"/>
              </a:xfrm>
              <a:custGeom>
                <a:avLst/>
                <a:gdLst>
                  <a:gd name="connsiteX0" fmla="*/ 13081 w 28575"/>
                  <a:gd name="connsiteY0" fmla="*/ 7144 h 57150"/>
                  <a:gd name="connsiteX1" fmla="*/ 13081 w 28575"/>
                  <a:gd name="connsiteY1" fmla="*/ 30194 h 57150"/>
                  <a:gd name="connsiteX2" fmla="*/ 21749 w 28575"/>
                  <a:gd name="connsiteY2" fmla="*/ 51625 h 57150"/>
                  <a:gd name="connsiteX3" fmla="*/ 8224 w 28575"/>
                  <a:gd name="connsiteY3" fmla="*/ 31242 h 57150"/>
                  <a:gd name="connsiteX4" fmla="*/ 13082 w 28575"/>
                  <a:gd name="connsiteY4" fmla="*/ 7144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57150">
                    <a:moveTo>
                      <a:pt x="13081" y="7144"/>
                    </a:moveTo>
                    <a:cubicBezTo>
                      <a:pt x="12442" y="14814"/>
                      <a:pt x="12442" y="22524"/>
                      <a:pt x="13081" y="30194"/>
                    </a:cubicBezTo>
                    <a:cubicBezTo>
                      <a:pt x="15363" y="37569"/>
                      <a:pt x="18263" y="44738"/>
                      <a:pt x="21749" y="51625"/>
                    </a:cubicBezTo>
                    <a:cubicBezTo>
                      <a:pt x="21082" y="52769"/>
                      <a:pt x="11081" y="45434"/>
                      <a:pt x="8224" y="31242"/>
                    </a:cubicBezTo>
                    <a:cubicBezTo>
                      <a:pt x="5756" y="22900"/>
                      <a:pt x="7575" y="13878"/>
                      <a:pt x="13082" y="714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0" name="Полилиния: фигура 669">
                <a:extLst>
                  <a:ext uri="{FF2B5EF4-FFF2-40B4-BE49-F238E27FC236}">
                    <a16:creationId xmlns:a16="http://schemas.microsoft.com/office/drawing/2014/main" id="{10039C33-EE0B-419A-A617-77007E297DB7}"/>
                  </a:ext>
                </a:extLst>
              </p:cNvPr>
              <p:cNvSpPr/>
              <p:nvPr/>
            </p:nvSpPr>
            <p:spPr>
              <a:xfrm>
                <a:off x="3953174" y="6095879"/>
                <a:ext cx="409575" cy="314325"/>
              </a:xfrm>
              <a:custGeom>
                <a:avLst/>
                <a:gdLst>
                  <a:gd name="connsiteX0" fmla="*/ 406622 w 409575"/>
                  <a:gd name="connsiteY0" fmla="*/ 71342 h 314325"/>
                  <a:gd name="connsiteX1" fmla="*/ 303562 w 409575"/>
                  <a:gd name="connsiteY1" fmla="*/ 312039 h 314325"/>
                  <a:gd name="connsiteX2" fmla="*/ 7144 w 409575"/>
                  <a:gd name="connsiteY2" fmla="*/ 177070 h 314325"/>
                  <a:gd name="connsiteX3" fmla="*/ 200978 w 409575"/>
                  <a:gd name="connsiteY3" fmla="*/ 162401 h 314325"/>
                  <a:gd name="connsiteX4" fmla="*/ 264890 w 409575"/>
                  <a:gd name="connsiteY4" fmla="*/ 7144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9575" h="314325">
                    <a:moveTo>
                      <a:pt x="406622" y="71342"/>
                    </a:moveTo>
                    <a:lnTo>
                      <a:pt x="303562" y="312039"/>
                    </a:lnTo>
                    <a:lnTo>
                      <a:pt x="7144" y="177070"/>
                    </a:lnTo>
                    <a:cubicBezTo>
                      <a:pt x="21717" y="149542"/>
                      <a:pt x="200978" y="162401"/>
                      <a:pt x="200978" y="162401"/>
                    </a:cubicBezTo>
                    <a:lnTo>
                      <a:pt x="264890" y="7144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1" name="Полилиния: фигура 670">
                <a:extLst>
                  <a:ext uri="{FF2B5EF4-FFF2-40B4-BE49-F238E27FC236}">
                    <a16:creationId xmlns:a16="http://schemas.microsoft.com/office/drawing/2014/main" id="{102E0332-F6AF-4BD9-AD10-494B4AE0DCF0}"/>
                  </a:ext>
                </a:extLst>
              </p:cNvPr>
              <p:cNvSpPr/>
              <p:nvPr/>
            </p:nvSpPr>
            <p:spPr>
              <a:xfrm>
                <a:off x="4224246" y="6277048"/>
                <a:ext cx="38100" cy="38100"/>
              </a:xfrm>
              <a:custGeom>
                <a:avLst/>
                <a:gdLst>
                  <a:gd name="connsiteX0" fmla="*/ 27442 w 38100"/>
                  <a:gd name="connsiteY0" fmla="*/ 9997 h 38100"/>
                  <a:gd name="connsiteX1" fmla="*/ 29537 w 38100"/>
                  <a:gd name="connsiteY1" fmla="*/ 27618 h 38100"/>
                  <a:gd name="connsiteX2" fmla="*/ 12011 w 38100"/>
                  <a:gd name="connsiteY2" fmla="*/ 29904 h 38100"/>
                  <a:gd name="connsiteX3" fmla="*/ 9916 w 38100"/>
                  <a:gd name="connsiteY3" fmla="*/ 10854 h 38100"/>
                  <a:gd name="connsiteX4" fmla="*/ 28299 w 38100"/>
                  <a:gd name="connsiteY4" fmla="*/ 1085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38100">
                    <a:moveTo>
                      <a:pt x="27442" y="9997"/>
                    </a:moveTo>
                    <a:cubicBezTo>
                      <a:pt x="32474" y="14507"/>
                      <a:pt x="33372" y="22054"/>
                      <a:pt x="29537" y="27618"/>
                    </a:cubicBezTo>
                    <a:cubicBezTo>
                      <a:pt x="25228" y="32911"/>
                      <a:pt x="17534" y="33914"/>
                      <a:pt x="12011" y="29904"/>
                    </a:cubicBezTo>
                    <a:cubicBezTo>
                      <a:pt x="6440" y="25079"/>
                      <a:pt x="5527" y="16776"/>
                      <a:pt x="9916" y="10854"/>
                    </a:cubicBezTo>
                    <a:cubicBezTo>
                      <a:pt x="15045" y="5907"/>
                      <a:pt x="23170" y="5907"/>
                      <a:pt x="28299" y="10854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2" name="Полилиния: фигура 671">
                <a:extLst>
                  <a:ext uri="{FF2B5EF4-FFF2-40B4-BE49-F238E27FC236}">
                    <a16:creationId xmlns:a16="http://schemas.microsoft.com/office/drawing/2014/main" id="{DB396703-27A5-4486-8E5B-59B7E948AD3E}"/>
                  </a:ext>
                </a:extLst>
              </p:cNvPr>
              <p:cNvSpPr/>
              <p:nvPr/>
            </p:nvSpPr>
            <p:spPr>
              <a:xfrm>
                <a:off x="3952794" y="6256947"/>
                <a:ext cx="314325" cy="152400"/>
              </a:xfrm>
              <a:custGeom>
                <a:avLst/>
                <a:gdLst>
                  <a:gd name="connsiteX0" fmla="*/ 303943 w 314325"/>
                  <a:gd name="connsiteY0" fmla="*/ 150781 h 152400"/>
                  <a:gd name="connsiteX1" fmla="*/ 315658 w 314325"/>
                  <a:gd name="connsiteY1" fmla="*/ 125825 h 152400"/>
                  <a:gd name="connsiteX2" fmla="*/ 25622 w 314325"/>
                  <a:gd name="connsiteY2" fmla="*/ 7144 h 152400"/>
                  <a:gd name="connsiteX3" fmla="*/ 7144 w 314325"/>
                  <a:gd name="connsiteY3" fmla="*/ 16669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4325" h="152400">
                    <a:moveTo>
                      <a:pt x="303943" y="150781"/>
                    </a:moveTo>
                    <a:lnTo>
                      <a:pt x="315658" y="125825"/>
                    </a:lnTo>
                    <a:lnTo>
                      <a:pt x="25622" y="7144"/>
                    </a:lnTo>
                    <a:cubicBezTo>
                      <a:pt x="25622" y="7144"/>
                      <a:pt x="9811" y="7144"/>
                      <a:pt x="7144" y="16669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3" name="Полилиния: фигура 672">
                <a:extLst>
                  <a:ext uri="{FF2B5EF4-FFF2-40B4-BE49-F238E27FC236}">
                    <a16:creationId xmlns:a16="http://schemas.microsoft.com/office/drawing/2014/main" id="{43751D54-1C29-4176-9427-A49141C9BA48}"/>
                  </a:ext>
                </a:extLst>
              </p:cNvPr>
              <p:cNvSpPr/>
              <p:nvPr/>
            </p:nvSpPr>
            <p:spPr>
              <a:xfrm>
                <a:off x="4142868" y="6246925"/>
                <a:ext cx="28575" cy="38100"/>
              </a:xfrm>
              <a:custGeom>
                <a:avLst/>
                <a:gdLst>
                  <a:gd name="connsiteX0" fmla="*/ 7188 w 28575"/>
                  <a:gd name="connsiteY0" fmla="*/ 7640 h 38100"/>
                  <a:gd name="connsiteX1" fmla="*/ 18523 w 28575"/>
                  <a:gd name="connsiteY1" fmla="*/ 20975 h 38100"/>
                  <a:gd name="connsiteX2" fmla="*/ 26143 w 28575"/>
                  <a:gd name="connsiteY2" fmla="*/ 36691 h 38100"/>
                  <a:gd name="connsiteX3" fmla="*/ 23095 w 28575"/>
                  <a:gd name="connsiteY3" fmla="*/ 17641 h 38100"/>
                  <a:gd name="connsiteX4" fmla="*/ 7188 w 28575"/>
                  <a:gd name="connsiteY4" fmla="*/ 764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38100">
                    <a:moveTo>
                      <a:pt x="7188" y="7640"/>
                    </a:moveTo>
                    <a:cubicBezTo>
                      <a:pt x="6522" y="9069"/>
                      <a:pt x="13475" y="13069"/>
                      <a:pt x="18523" y="20975"/>
                    </a:cubicBezTo>
                    <a:cubicBezTo>
                      <a:pt x="23571" y="28880"/>
                      <a:pt x="24524" y="36596"/>
                      <a:pt x="26143" y="36691"/>
                    </a:cubicBezTo>
                    <a:cubicBezTo>
                      <a:pt x="27762" y="36786"/>
                      <a:pt x="29381" y="27166"/>
                      <a:pt x="23095" y="17641"/>
                    </a:cubicBezTo>
                    <a:cubicBezTo>
                      <a:pt x="16809" y="8116"/>
                      <a:pt x="7474" y="6021"/>
                      <a:pt x="7188" y="7640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4" name="Полилиния: фигура 673">
                <a:extLst>
                  <a:ext uri="{FF2B5EF4-FFF2-40B4-BE49-F238E27FC236}">
                    <a16:creationId xmlns:a16="http://schemas.microsoft.com/office/drawing/2014/main" id="{AED24864-5E1A-4C77-805C-86119C9AF327}"/>
                  </a:ext>
                </a:extLst>
              </p:cNvPr>
              <p:cNvSpPr/>
              <p:nvPr/>
            </p:nvSpPr>
            <p:spPr>
              <a:xfrm>
                <a:off x="4105839" y="6245646"/>
                <a:ext cx="19050" cy="38100"/>
              </a:xfrm>
              <a:custGeom>
                <a:avLst/>
                <a:gdLst>
                  <a:gd name="connsiteX0" fmla="*/ 7260 w 19050"/>
                  <a:gd name="connsiteY0" fmla="*/ 7300 h 38100"/>
                  <a:gd name="connsiteX1" fmla="*/ 13547 w 19050"/>
                  <a:gd name="connsiteY1" fmla="*/ 22254 h 38100"/>
                  <a:gd name="connsiteX2" fmla="*/ 15642 w 19050"/>
                  <a:gd name="connsiteY2" fmla="*/ 38352 h 38100"/>
                  <a:gd name="connsiteX3" fmla="*/ 18881 w 19050"/>
                  <a:gd name="connsiteY3" fmla="*/ 20826 h 38100"/>
                  <a:gd name="connsiteX4" fmla="*/ 7260 w 19050"/>
                  <a:gd name="connsiteY4" fmla="*/ 73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7260" y="7300"/>
                    </a:moveTo>
                    <a:cubicBezTo>
                      <a:pt x="6308" y="8634"/>
                      <a:pt x="11451" y="13872"/>
                      <a:pt x="13547" y="22254"/>
                    </a:cubicBezTo>
                    <a:cubicBezTo>
                      <a:pt x="15642" y="30636"/>
                      <a:pt x="14118" y="37780"/>
                      <a:pt x="15642" y="38352"/>
                    </a:cubicBezTo>
                    <a:cubicBezTo>
                      <a:pt x="17166" y="38923"/>
                      <a:pt x="21738" y="31208"/>
                      <a:pt x="18881" y="20826"/>
                    </a:cubicBezTo>
                    <a:cubicBezTo>
                      <a:pt x="16023" y="10443"/>
                      <a:pt x="7927" y="6252"/>
                      <a:pt x="7260" y="7300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5" name="Полилиния: фигура 674">
                <a:extLst>
                  <a:ext uri="{FF2B5EF4-FFF2-40B4-BE49-F238E27FC236}">
                    <a16:creationId xmlns:a16="http://schemas.microsoft.com/office/drawing/2014/main" id="{CD4F64CB-2A27-4F16-ACA1-39A008C00484}"/>
                  </a:ext>
                </a:extLst>
              </p:cNvPr>
              <p:cNvSpPr/>
              <p:nvPr/>
            </p:nvSpPr>
            <p:spPr>
              <a:xfrm>
                <a:off x="4070773" y="6245247"/>
                <a:ext cx="19050" cy="38100"/>
              </a:xfrm>
              <a:custGeom>
                <a:avLst/>
                <a:gdLst>
                  <a:gd name="connsiteX0" fmla="*/ 7750 w 19050"/>
                  <a:gd name="connsiteY0" fmla="*/ 37227 h 38100"/>
                  <a:gd name="connsiteX1" fmla="*/ 14132 w 19050"/>
                  <a:gd name="connsiteY1" fmla="*/ 22177 h 38100"/>
                  <a:gd name="connsiteX2" fmla="*/ 7465 w 19050"/>
                  <a:gd name="connsiteY2" fmla="*/ 7223 h 38100"/>
                  <a:gd name="connsiteX3" fmla="*/ 8512 w 19050"/>
                  <a:gd name="connsiteY3" fmla="*/ 22272 h 38100"/>
                  <a:gd name="connsiteX4" fmla="*/ 7750 w 19050"/>
                  <a:gd name="connsiteY4" fmla="*/ 37227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7750" y="37227"/>
                    </a:moveTo>
                    <a:cubicBezTo>
                      <a:pt x="8893" y="38084"/>
                      <a:pt x="14227" y="31797"/>
                      <a:pt x="14132" y="22177"/>
                    </a:cubicBezTo>
                    <a:cubicBezTo>
                      <a:pt x="14037" y="12557"/>
                      <a:pt x="8607" y="6365"/>
                      <a:pt x="7465" y="7223"/>
                    </a:cubicBezTo>
                    <a:cubicBezTo>
                      <a:pt x="6322" y="8080"/>
                      <a:pt x="8607" y="14367"/>
                      <a:pt x="8512" y="22272"/>
                    </a:cubicBezTo>
                    <a:cubicBezTo>
                      <a:pt x="8417" y="30178"/>
                      <a:pt x="6322" y="36274"/>
                      <a:pt x="7750" y="37227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6" name="Полилиния: фигура 675">
                <a:extLst>
                  <a:ext uri="{FF2B5EF4-FFF2-40B4-BE49-F238E27FC236}">
                    <a16:creationId xmlns:a16="http://schemas.microsoft.com/office/drawing/2014/main" id="{D3E4D3A5-1B47-414E-B26B-A9CFDE29045E}"/>
                  </a:ext>
                </a:extLst>
              </p:cNvPr>
              <p:cNvSpPr/>
              <p:nvPr/>
            </p:nvSpPr>
            <p:spPr>
              <a:xfrm>
                <a:off x="4161388" y="6212211"/>
                <a:ext cx="38100" cy="28575"/>
              </a:xfrm>
              <a:custGeom>
                <a:avLst/>
                <a:gdLst>
                  <a:gd name="connsiteX0" fmla="*/ 7147 w 38100"/>
                  <a:gd name="connsiteY0" fmla="*/ 8540 h 28575"/>
                  <a:gd name="connsiteX1" fmla="*/ 22577 w 38100"/>
                  <a:gd name="connsiteY1" fmla="*/ 15493 h 28575"/>
                  <a:gd name="connsiteX2" fmla="*/ 37055 w 38100"/>
                  <a:gd name="connsiteY2" fmla="*/ 24352 h 28575"/>
                  <a:gd name="connsiteX3" fmla="*/ 25149 w 38100"/>
                  <a:gd name="connsiteY3" fmla="*/ 10540 h 28575"/>
                  <a:gd name="connsiteX4" fmla="*/ 7147 w 38100"/>
                  <a:gd name="connsiteY4" fmla="*/ 854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7147" y="8540"/>
                    </a:moveTo>
                    <a:cubicBezTo>
                      <a:pt x="7147" y="10160"/>
                      <a:pt x="14671" y="11207"/>
                      <a:pt x="22577" y="15493"/>
                    </a:cubicBezTo>
                    <a:cubicBezTo>
                      <a:pt x="30483" y="19780"/>
                      <a:pt x="35722" y="25018"/>
                      <a:pt x="37055" y="24352"/>
                    </a:cubicBezTo>
                    <a:cubicBezTo>
                      <a:pt x="38389" y="23685"/>
                      <a:pt x="34579" y="15493"/>
                      <a:pt x="25149" y="10540"/>
                    </a:cubicBezTo>
                    <a:cubicBezTo>
                      <a:pt x="15719" y="5587"/>
                      <a:pt x="6956" y="7111"/>
                      <a:pt x="7147" y="8540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7" name="Полилиния: фигура 676">
                <a:extLst>
                  <a:ext uri="{FF2B5EF4-FFF2-40B4-BE49-F238E27FC236}">
                    <a16:creationId xmlns:a16="http://schemas.microsoft.com/office/drawing/2014/main" id="{985C01DF-D18A-4C73-9437-6A73181CD803}"/>
                  </a:ext>
                </a:extLst>
              </p:cNvPr>
              <p:cNvSpPr/>
              <p:nvPr/>
            </p:nvSpPr>
            <p:spPr>
              <a:xfrm>
                <a:off x="4184421" y="6172174"/>
                <a:ext cx="66675" cy="28575"/>
              </a:xfrm>
              <a:custGeom>
                <a:avLst/>
                <a:gdLst>
                  <a:gd name="connsiteX0" fmla="*/ 7164 w 66675"/>
                  <a:gd name="connsiteY0" fmla="*/ 16669 h 28575"/>
                  <a:gd name="connsiteX1" fmla="*/ 22023 w 66675"/>
                  <a:gd name="connsiteY1" fmla="*/ 23337 h 28575"/>
                  <a:gd name="connsiteX2" fmla="*/ 39739 w 66675"/>
                  <a:gd name="connsiteY2" fmla="*/ 25623 h 28575"/>
                  <a:gd name="connsiteX3" fmla="*/ 50312 w 66675"/>
                  <a:gd name="connsiteY3" fmla="*/ 24956 h 28575"/>
                  <a:gd name="connsiteX4" fmla="*/ 56408 w 66675"/>
                  <a:gd name="connsiteY4" fmla="*/ 23527 h 28575"/>
                  <a:gd name="connsiteX5" fmla="*/ 60504 w 66675"/>
                  <a:gd name="connsiteY5" fmla="*/ 16098 h 28575"/>
                  <a:gd name="connsiteX6" fmla="*/ 55741 w 66675"/>
                  <a:gd name="connsiteY6" fmla="*/ 9906 h 28575"/>
                  <a:gd name="connsiteX7" fmla="*/ 49836 w 66675"/>
                  <a:gd name="connsiteY7" fmla="*/ 8192 h 28575"/>
                  <a:gd name="connsiteX8" fmla="*/ 39168 w 66675"/>
                  <a:gd name="connsiteY8" fmla="*/ 7144 h 28575"/>
                  <a:gd name="connsiteX9" fmla="*/ 21356 w 66675"/>
                  <a:gd name="connsiteY9" fmla="*/ 9907 h 28575"/>
                  <a:gd name="connsiteX10" fmla="*/ 7164 w 66675"/>
                  <a:gd name="connsiteY10" fmla="*/ 18003 h 28575"/>
                  <a:gd name="connsiteX11" fmla="*/ 22404 w 66675"/>
                  <a:gd name="connsiteY11" fmla="*/ 13716 h 28575"/>
                  <a:gd name="connsiteX12" fmla="*/ 38977 w 66675"/>
                  <a:gd name="connsiteY12" fmla="*/ 12192 h 28575"/>
                  <a:gd name="connsiteX13" fmla="*/ 48502 w 66675"/>
                  <a:gd name="connsiteY13" fmla="*/ 13431 h 28575"/>
                  <a:gd name="connsiteX14" fmla="*/ 54884 w 66675"/>
                  <a:gd name="connsiteY14" fmla="*/ 17050 h 28575"/>
                  <a:gd name="connsiteX15" fmla="*/ 53837 w 66675"/>
                  <a:gd name="connsiteY15" fmla="*/ 18574 h 28575"/>
                  <a:gd name="connsiteX16" fmla="*/ 49360 w 66675"/>
                  <a:gd name="connsiteY16" fmla="*/ 19622 h 28575"/>
                  <a:gd name="connsiteX17" fmla="*/ 22595 w 66675"/>
                  <a:gd name="connsiteY17" fmla="*/ 19622 h 28575"/>
                  <a:gd name="connsiteX18" fmla="*/ 7164 w 66675"/>
                  <a:gd name="connsiteY18" fmla="*/ 1666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6675" h="28575">
                    <a:moveTo>
                      <a:pt x="7164" y="16669"/>
                    </a:moveTo>
                    <a:cubicBezTo>
                      <a:pt x="11428" y="20186"/>
                      <a:pt x="16561" y="22489"/>
                      <a:pt x="22023" y="23337"/>
                    </a:cubicBezTo>
                    <a:cubicBezTo>
                      <a:pt x="27821" y="24776"/>
                      <a:pt x="33766" y="25543"/>
                      <a:pt x="39739" y="25623"/>
                    </a:cubicBezTo>
                    <a:cubicBezTo>
                      <a:pt x="43274" y="25629"/>
                      <a:pt x="46806" y="25406"/>
                      <a:pt x="50312" y="24956"/>
                    </a:cubicBezTo>
                    <a:cubicBezTo>
                      <a:pt x="52405" y="24792"/>
                      <a:pt x="54460" y="24310"/>
                      <a:pt x="56408" y="23527"/>
                    </a:cubicBezTo>
                    <a:cubicBezTo>
                      <a:pt x="59350" y="22321"/>
                      <a:pt x="61055" y="19229"/>
                      <a:pt x="60504" y="16098"/>
                    </a:cubicBezTo>
                    <a:cubicBezTo>
                      <a:pt x="59975" y="13401"/>
                      <a:pt x="58212" y="11109"/>
                      <a:pt x="55741" y="9906"/>
                    </a:cubicBezTo>
                    <a:cubicBezTo>
                      <a:pt x="53867" y="9049"/>
                      <a:pt x="51877" y="8471"/>
                      <a:pt x="49836" y="8192"/>
                    </a:cubicBezTo>
                    <a:cubicBezTo>
                      <a:pt x="46324" y="7484"/>
                      <a:pt x="42750" y="7133"/>
                      <a:pt x="39168" y="7144"/>
                    </a:cubicBezTo>
                    <a:cubicBezTo>
                      <a:pt x="33122" y="7117"/>
                      <a:pt x="27110" y="8050"/>
                      <a:pt x="21356" y="9907"/>
                    </a:cubicBezTo>
                    <a:cubicBezTo>
                      <a:pt x="11831" y="13145"/>
                      <a:pt x="6783" y="17526"/>
                      <a:pt x="7164" y="18003"/>
                    </a:cubicBezTo>
                    <a:cubicBezTo>
                      <a:pt x="7545" y="18479"/>
                      <a:pt x="12974" y="15717"/>
                      <a:pt x="22404" y="13716"/>
                    </a:cubicBezTo>
                    <a:cubicBezTo>
                      <a:pt x="27844" y="12524"/>
                      <a:pt x="33411" y="12012"/>
                      <a:pt x="38977" y="12192"/>
                    </a:cubicBezTo>
                    <a:cubicBezTo>
                      <a:pt x="42177" y="12385"/>
                      <a:pt x="45360" y="12799"/>
                      <a:pt x="48502" y="13431"/>
                    </a:cubicBezTo>
                    <a:cubicBezTo>
                      <a:pt x="52027" y="14097"/>
                      <a:pt x="54694" y="15240"/>
                      <a:pt x="54884" y="17050"/>
                    </a:cubicBezTo>
                    <a:cubicBezTo>
                      <a:pt x="55075" y="18860"/>
                      <a:pt x="54884" y="17907"/>
                      <a:pt x="53837" y="18574"/>
                    </a:cubicBezTo>
                    <a:cubicBezTo>
                      <a:pt x="52388" y="19088"/>
                      <a:pt x="50886" y="19440"/>
                      <a:pt x="49360" y="19622"/>
                    </a:cubicBezTo>
                    <a:cubicBezTo>
                      <a:pt x="40484" y="20897"/>
                      <a:pt x="31471" y="20897"/>
                      <a:pt x="22595" y="19622"/>
                    </a:cubicBezTo>
                    <a:cubicBezTo>
                      <a:pt x="17525" y="18285"/>
                      <a:pt x="12369" y="17298"/>
                      <a:pt x="7164" y="16669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8" name="Полилиния: фигура 677">
                <a:extLst>
                  <a:ext uri="{FF2B5EF4-FFF2-40B4-BE49-F238E27FC236}">
                    <a16:creationId xmlns:a16="http://schemas.microsoft.com/office/drawing/2014/main" id="{292843F8-A357-429B-92F5-A6E849B473D3}"/>
                  </a:ext>
                </a:extLst>
              </p:cNvPr>
              <p:cNvSpPr/>
              <p:nvPr/>
            </p:nvSpPr>
            <p:spPr>
              <a:xfrm>
                <a:off x="4177019" y="6131742"/>
                <a:ext cx="38100" cy="66675"/>
              </a:xfrm>
              <a:custGeom>
                <a:avLst/>
                <a:gdLst>
                  <a:gd name="connsiteX0" fmla="*/ 15519 w 38100"/>
                  <a:gd name="connsiteY0" fmla="*/ 60053 h 66675"/>
                  <a:gd name="connsiteX1" fmla="*/ 25901 w 38100"/>
                  <a:gd name="connsiteY1" fmla="*/ 47480 h 66675"/>
                  <a:gd name="connsiteX2" fmla="*/ 31331 w 38100"/>
                  <a:gd name="connsiteY2" fmla="*/ 30240 h 66675"/>
                  <a:gd name="connsiteX3" fmla="*/ 31331 w 38100"/>
                  <a:gd name="connsiteY3" fmla="*/ 19572 h 66675"/>
                  <a:gd name="connsiteX4" fmla="*/ 25234 w 38100"/>
                  <a:gd name="connsiteY4" fmla="*/ 7761 h 66675"/>
                  <a:gd name="connsiteX5" fmla="*/ 17138 w 38100"/>
                  <a:gd name="connsiteY5" fmla="*/ 9095 h 66675"/>
                  <a:gd name="connsiteX6" fmla="*/ 13138 w 38100"/>
                  <a:gd name="connsiteY6" fmla="*/ 13857 h 66675"/>
                  <a:gd name="connsiteX7" fmla="*/ 8661 w 38100"/>
                  <a:gd name="connsiteY7" fmla="*/ 23382 h 66675"/>
                  <a:gd name="connsiteX8" fmla="*/ 7994 w 38100"/>
                  <a:gd name="connsiteY8" fmla="*/ 41575 h 66675"/>
                  <a:gd name="connsiteX9" fmla="*/ 15900 w 38100"/>
                  <a:gd name="connsiteY9" fmla="*/ 55957 h 66675"/>
                  <a:gd name="connsiteX10" fmla="*/ 11804 w 38100"/>
                  <a:gd name="connsiteY10" fmla="*/ 40908 h 66675"/>
                  <a:gd name="connsiteX11" fmla="*/ 13519 w 38100"/>
                  <a:gd name="connsiteY11" fmla="*/ 24811 h 66675"/>
                  <a:gd name="connsiteX12" fmla="*/ 17710 w 38100"/>
                  <a:gd name="connsiteY12" fmla="*/ 16333 h 66675"/>
                  <a:gd name="connsiteX13" fmla="*/ 22949 w 38100"/>
                  <a:gd name="connsiteY13" fmla="*/ 12333 h 66675"/>
                  <a:gd name="connsiteX14" fmla="*/ 25901 w 38100"/>
                  <a:gd name="connsiteY14" fmla="*/ 19477 h 66675"/>
                  <a:gd name="connsiteX15" fmla="*/ 25901 w 38100"/>
                  <a:gd name="connsiteY15" fmla="*/ 29002 h 66675"/>
                  <a:gd name="connsiteX16" fmla="*/ 22091 w 38100"/>
                  <a:gd name="connsiteY16" fmla="*/ 45194 h 66675"/>
                  <a:gd name="connsiteX17" fmla="*/ 15519 w 38100"/>
                  <a:gd name="connsiteY17" fmla="*/ 60053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8100" h="66675">
                    <a:moveTo>
                      <a:pt x="15519" y="60053"/>
                    </a:moveTo>
                    <a:cubicBezTo>
                      <a:pt x="15519" y="60053"/>
                      <a:pt x="21139" y="56624"/>
                      <a:pt x="25901" y="47480"/>
                    </a:cubicBezTo>
                    <a:cubicBezTo>
                      <a:pt x="28680" y="42085"/>
                      <a:pt x="30517" y="36254"/>
                      <a:pt x="31331" y="30240"/>
                    </a:cubicBezTo>
                    <a:cubicBezTo>
                      <a:pt x="31669" y="26692"/>
                      <a:pt x="31669" y="23120"/>
                      <a:pt x="31331" y="19572"/>
                    </a:cubicBezTo>
                    <a:cubicBezTo>
                      <a:pt x="31526" y="14835"/>
                      <a:pt x="29209" y="10346"/>
                      <a:pt x="25234" y="7761"/>
                    </a:cubicBezTo>
                    <a:cubicBezTo>
                      <a:pt x="22506" y="6591"/>
                      <a:pt x="19347" y="7111"/>
                      <a:pt x="17138" y="9095"/>
                    </a:cubicBezTo>
                    <a:cubicBezTo>
                      <a:pt x="15591" y="10490"/>
                      <a:pt x="14245" y="12093"/>
                      <a:pt x="13138" y="13857"/>
                    </a:cubicBezTo>
                    <a:cubicBezTo>
                      <a:pt x="11169" y="16786"/>
                      <a:pt x="9660" y="19998"/>
                      <a:pt x="8661" y="23382"/>
                    </a:cubicBezTo>
                    <a:cubicBezTo>
                      <a:pt x="6896" y="29292"/>
                      <a:pt x="6667" y="35553"/>
                      <a:pt x="7994" y="41575"/>
                    </a:cubicBezTo>
                    <a:cubicBezTo>
                      <a:pt x="10280" y="51862"/>
                      <a:pt x="15519" y="56339"/>
                      <a:pt x="15900" y="55957"/>
                    </a:cubicBezTo>
                    <a:cubicBezTo>
                      <a:pt x="14246" y="51024"/>
                      <a:pt x="12878" y="45999"/>
                      <a:pt x="11804" y="40908"/>
                    </a:cubicBezTo>
                    <a:cubicBezTo>
                      <a:pt x="11216" y="35481"/>
                      <a:pt x="11801" y="29992"/>
                      <a:pt x="13519" y="24811"/>
                    </a:cubicBezTo>
                    <a:cubicBezTo>
                      <a:pt x="14507" y="21801"/>
                      <a:pt x="15918" y="18946"/>
                      <a:pt x="17710" y="16333"/>
                    </a:cubicBezTo>
                    <a:cubicBezTo>
                      <a:pt x="19520" y="13476"/>
                      <a:pt x="21901" y="11476"/>
                      <a:pt x="22949" y="12333"/>
                    </a:cubicBezTo>
                    <a:cubicBezTo>
                      <a:pt x="23996" y="13190"/>
                      <a:pt x="25806" y="16429"/>
                      <a:pt x="25901" y="19477"/>
                    </a:cubicBezTo>
                    <a:cubicBezTo>
                      <a:pt x="26176" y="22646"/>
                      <a:pt x="26176" y="25833"/>
                      <a:pt x="25901" y="29002"/>
                    </a:cubicBezTo>
                    <a:cubicBezTo>
                      <a:pt x="25384" y="34549"/>
                      <a:pt x="24102" y="39999"/>
                      <a:pt x="22091" y="45194"/>
                    </a:cubicBezTo>
                    <a:cubicBezTo>
                      <a:pt x="18853" y="54529"/>
                      <a:pt x="14757" y="59482"/>
                      <a:pt x="15519" y="60053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9" name="Полилиния: фигура 678">
                <a:extLst>
                  <a:ext uri="{FF2B5EF4-FFF2-40B4-BE49-F238E27FC236}">
                    <a16:creationId xmlns:a16="http://schemas.microsoft.com/office/drawing/2014/main" id="{9DD77900-5B63-4C07-8983-02F1C491BE4C}"/>
                  </a:ext>
                </a:extLst>
              </p:cNvPr>
              <p:cNvSpPr/>
              <p:nvPr/>
            </p:nvSpPr>
            <p:spPr>
              <a:xfrm>
                <a:off x="4130435" y="5284500"/>
                <a:ext cx="1276350" cy="942975"/>
              </a:xfrm>
              <a:custGeom>
                <a:avLst/>
                <a:gdLst>
                  <a:gd name="connsiteX0" fmla="*/ 7144 w 1276350"/>
                  <a:gd name="connsiteY0" fmla="*/ 623260 h 942975"/>
                  <a:gd name="connsiteX1" fmla="*/ 218408 w 1276350"/>
                  <a:gd name="connsiteY1" fmla="*/ 81192 h 942975"/>
                  <a:gd name="connsiteX2" fmla="*/ 361283 w 1276350"/>
                  <a:gd name="connsiteY2" fmla="*/ 13374 h 942975"/>
                  <a:gd name="connsiteX3" fmla="*/ 930688 w 1276350"/>
                  <a:gd name="connsiteY3" fmla="*/ 139771 h 942975"/>
                  <a:gd name="connsiteX4" fmla="*/ 1277112 w 1276350"/>
                  <a:gd name="connsiteY4" fmla="*/ 385802 h 942975"/>
                  <a:gd name="connsiteX5" fmla="*/ 1206436 w 1276350"/>
                  <a:gd name="connsiteY5" fmla="*/ 497816 h 942975"/>
                  <a:gd name="connsiteX6" fmla="*/ 431482 w 1276350"/>
                  <a:gd name="connsiteY6" fmla="*/ 491529 h 942975"/>
                  <a:gd name="connsiteX7" fmla="*/ 218408 w 1276350"/>
                  <a:gd name="connsiteY7" fmla="*/ 945110 h 942975"/>
                  <a:gd name="connsiteX8" fmla="*/ 56483 w 1276350"/>
                  <a:gd name="connsiteY8" fmla="*/ 866052 h 942975"/>
                  <a:gd name="connsiteX9" fmla="*/ 146018 w 1276350"/>
                  <a:gd name="connsiteY9" fmla="*/ 673171 h 942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76350" h="942975">
                    <a:moveTo>
                      <a:pt x="7144" y="623260"/>
                    </a:moveTo>
                    <a:lnTo>
                      <a:pt x="218408" y="81192"/>
                    </a:lnTo>
                    <a:cubicBezTo>
                      <a:pt x="249174" y="18518"/>
                      <a:pt x="290227" y="-5390"/>
                      <a:pt x="361283" y="13374"/>
                    </a:cubicBezTo>
                    <a:lnTo>
                      <a:pt x="930688" y="139771"/>
                    </a:lnTo>
                    <a:lnTo>
                      <a:pt x="1277112" y="385802"/>
                    </a:lnTo>
                    <a:cubicBezTo>
                      <a:pt x="1277112" y="385802"/>
                      <a:pt x="1253776" y="482004"/>
                      <a:pt x="1206436" y="497816"/>
                    </a:cubicBezTo>
                    <a:cubicBezTo>
                      <a:pt x="1193482" y="502102"/>
                      <a:pt x="431482" y="491529"/>
                      <a:pt x="431482" y="491529"/>
                    </a:cubicBezTo>
                    <a:lnTo>
                      <a:pt x="218408" y="945110"/>
                    </a:lnTo>
                    <a:lnTo>
                      <a:pt x="56483" y="866052"/>
                    </a:lnTo>
                    <a:lnTo>
                      <a:pt x="146018" y="673171"/>
                    </a:ln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80" name="Полилиния: фигура 679">
                <a:extLst>
                  <a:ext uri="{FF2B5EF4-FFF2-40B4-BE49-F238E27FC236}">
                    <a16:creationId xmlns:a16="http://schemas.microsoft.com/office/drawing/2014/main" id="{3A385CE4-EDFD-40A2-9CE1-E7526A364B37}"/>
                  </a:ext>
                </a:extLst>
              </p:cNvPr>
              <p:cNvSpPr/>
              <p:nvPr/>
            </p:nvSpPr>
            <p:spPr>
              <a:xfrm>
                <a:off x="4312140" y="5514663"/>
                <a:ext cx="685800" cy="457200"/>
              </a:xfrm>
              <a:custGeom>
                <a:avLst/>
                <a:gdLst>
                  <a:gd name="connsiteX0" fmla="*/ 687927 w 685800"/>
                  <a:gd name="connsiteY0" fmla="*/ 7144 h 457200"/>
                  <a:gd name="connsiteX1" fmla="*/ 685450 w 685800"/>
                  <a:gd name="connsiteY1" fmla="*/ 7144 h 457200"/>
                  <a:gd name="connsiteX2" fmla="*/ 678021 w 685800"/>
                  <a:gd name="connsiteY2" fmla="*/ 7620 h 457200"/>
                  <a:gd name="connsiteX3" fmla="*/ 649446 w 685800"/>
                  <a:gd name="connsiteY3" fmla="*/ 8954 h 457200"/>
                  <a:gd name="connsiteX4" fmla="*/ 544671 w 685800"/>
                  <a:gd name="connsiteY4" fmla="*/ 12859 h 457200"/>
                  <a:gd name="connsiteX5" fmla="*/ 199389 w 685800"/>
                  <a:gd name="connsiteY5" fmla="*/ 24003 h 457200"/>
                  <a:gd name="connsiteX6" fmla="*/ 179387 w 685800"/>
                  <a:gd name="connsiteY6" fmla="*/ 24575 h 457200"/>
                  <a:gd name="connsiteX7" fmla="*/ 181578 w 685800"/>
                  <a:gd name="connsiteY7" fmla="*/ 23051 h 457200"/>
                  <a:gd name="connsiteX8" fmla="*/ 58896 w 685800"/>
                  <a:gd name="connsiteY8" fmla="*/ 331661 h 457200"/>
                  <a:gd name="connsiteX9" fmla="*/ 21462 w 685800"/>
                  <a:gd name="connsiteY9" fmla="*/ 424339 h 457200"/>
                  <a:gd name="connsiteX10" fmla="*/ 11080 w 685800"/>
                  <a:gd name="connsiteY10" fmla="*/ 449390 h 457200"/>
                  <a:gd name="connsiteX11" fmla="*/ 8318 w 685800"/>
                  <a:gd name="connsiteY11" fmla="*/ 455867 h 457200"/>
                  <a:gd name="connsiteX12" fmla="*/ 7175 w 685800"/>
                  <a:gd name="connsiteY12" fmla="*/ 457962 h 457200"/>
                  <a:gd name="connsiteX13" fmla="*/ 7842 w 685800"/>
                  <a:gd name="connsiteY13" fmla="*/ 455676 h 457200"/>
                  <a:gd name="connsiteX14" fmla="*/ 10128 w 685800"/>
                  <a:gd name="connsiteY14" fmla="*/ 449009 h 457200"/>
                  <a:gd name="connsiteX15" fmla="*/ 19653 w 685800"/>
                  <a:gd name="connsiteY15" fmla="*/ 423672 h 457200"/>
                  <a:gd name="connsiteX16" fmla="*/ 55562 w 685800"/>
                  <a:gd name="connsiteY16" fmla="*/ 330422 h 457200"/>
                  <a:gd name="connsiteX17" fmla="*/ 176911 w 685800"/>
                  <a:gd name="connsiteY17" fmla="*/ 21241 h 457200"/>
                  <a:gd name="connsiteX18" fmla="*/ 177482 w 685800"/>
                  <a:gd name="connsiteY18" fmla="*/ 19717 h 457200"/>
                  <a:gd name="connsiteX19" fmla="*/ 179578 w 685800"/>
                  <a:gd name="connsiteY19" fmla="*/ 19717 h 457200"/>
                  <a:gd name="connsiteX20" fmla="*/ 199485 w 685800"/>
                  <a:gd name="connsiteY20" fmla="*/ 19145 h 457200"/>
                  <a:gd name="connsiteX21" fmla="*/ 544861 w 685800"/>
                  <a:gd name="connsiteY21" fmla="*/ 9620 h 457200"/>
                  <a:gd name="connsiteX22" fmla="*/ 649636 w 685800"/>
                  <a:gd name="connsiteY22" fmla="*/ 7239 h 457200"/>
                  <a:gd name="connsiteX23" fmla="*/ 678211 w 685800"/>
                  <a:gd name="connsiteY23" fmla="*/ 7239 h 457200"/>
                  <a:gd name="connsiteX24" fmla="*/ 687736 w 685800"/>
                  <a:gd name="connsiteY24" fmla="*/ 7239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85800" h="457200">
                    <a:moveTo>
                      <a:pt x="687927" y="7144"/>
                    </a:moveTo>
                    <a:lnTo>
                      <a:pt x="685450" y="7144"/>
                    </a:lnTo>
                    <a:lnTo>
                      <a:pt x="678021" y="7620"/>
                    </a:lnTo>
                    <a:lnTo>
                      <a:pt x="649446" y="8954"/>
                    </a:lnTo>
                    <a:lnTo>
                      <a:pt x="544671" y="12859"/>
                    </a:lnTo>
                    <a:lnTo>
                      <a:pt x="199389" y="24003"/>
                    </a:lnTo>
                    <a:lnTo>
                      <a:pt x="179387" y="24575"/>
                    </a:lnTo>
                    <a:lnTo>
                      <a:pt x="181578" y="23051"/>
                    </a:lnTo>
                    <a:lnTo>
                      <a:pt x="58896" y="331661"/>
                    </a:lnTo>
                    <a:lnTo>
                      <a:pt x="21462" y="424339"/>
                    </a:lnTo>
                    <a:cubicBezTo>
                      <a:pt x="17081" y="435007"/>
                      <a:pt x="13557" y="443389"/>
                      <a:pt x="11080" y="449390"/>
                    </a:cubicBezTo>
                    <a:cubicBezTo>
                      <a:pt x="9937" y="452057"/>
                      <a:pt x="8985" y="454152"/>
                      <a:pt x="8318" y="455867"/>
                    </a:cubicBezTo>
                    <a:cubicBezTo>
                      <a:pt x="7651" y="457581"/>
                      <a:pt x="7270" y="458057"/>
                      <a:pt x="7175" y="457962"/>
                    </a:cubicBezTo>
                    <a:cubicBezTo>
                      <a:pt x="7080" y="457867"/>
                      <a:pt x="7175" y="457200"/>
                      <a:pt x="7842" y="455676"/>
                    </a:cubicBezTo>
                    <a:lnTo>
                      <a:pt x="10128" y="449009"/>
                    </a:lnTo>
                    <a:cubicBezTo>
                      <a:pt x="12509" y="442913"/>
                      <a:pt x="15652" y="434435"/>
                      <a:pt x="19653" y="423672"/>
                    </a:cubicBezTo>
                    <a:cubicBezTo>
                      <a:pt x="28225" y="401288"/>
                      <a:pt x="40512" y="369570"/>
                      <a:pt x="55562" y="330422"/>
                    </a:cubicBezTo>
                    <a:cubicBezTo>
                      <a:pt x="86613" y="251365"/>
                      <a:pt x="129381" y="142494"/>
                      <a:pt x="176911" y="21241"/>
                    </a:cubicBezTo>
                    <a:lnTo>
                      <a:pt x="177482" y="19717"/>
                    </a:lnTo>
                    <a:lnTo>
                      <a:pt x="179578" y="19717"/>
                    </a:lnTo>
                    <a:lnTo>
                      <a:pt x="199485" y="19145"/>
                    </a:lnTo>
                    <a:lnTo>
                      <a:pt x="544861" y="9620"/>
                    </a:lnTo>
                    <a:lnTo>
                      <a:pt x="649636" y="7239"/>
                    </a:lnTo>
                    <a:lnTo>
                      <a:pt x="678211" y="7239"/>
                    </a:lnTo>
                    <a:lnTo>
                      <a:pt x="687736" y="7239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81" name="Полилиния: фигура 680">
                <a:extLst>
                  <a:ext uri="{FF2B5EF4-FFF2-40B4-BE49-F238E27FC236}">
                    <a16:creationId xmlns:a16="http://schemas.microsoft.com/office/drawing/2014/main" id="{18FB5BA3-E077-4A20-B53F-534ED85AFC7C}"/>
                  </a:ext>
                </a:extLst>
              </p:cNvPr>
              <p:cNvSpPr/>
              <p:nvPr/>
            </p:nvSpPr>
            <p:spPr>
              <a:xfrm>
                <a:off x="4484574" y="5673255"/>
                <a:ext cx="66675" cy="104775"/>
              </a:xfrm>
              <a:custGeom>
                <a:avLst/>
                <a:gdLst>
                  <a:gd name="connsiteX0" fmla="*/ 7144 w 66675"/>
                  <a:gd name="connsiteY0" fmla="*/ 7144 h 104775"/>
                  <a:gd name="connsiteX1" fmla="*/ 68009 w 66675"/>
                  <a:gd name="connsiteY1" fmla="*/ 102394 h 104775"/>
                  <a:gd name="connsiteX2" fmla="*/ 35719 w 66675"/>
                  <a:gd name="connsiteY2" fmla="*/ 55816 h 104775"/>
                  <a:gd name="connsiteX3" fmla="*/ 7144 w 66675"/>
                  <a:gd name="connsiteY3" fmla="*/ 714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75" h="104775">
                    <a:moveTo>
                      <a:pt x="7144" y="7144"/>
                    </a:moveTo>
                    <a:cubicBezTo>
                      <a:pt x="30139" y="37080"/>
                      <a:pt x="50504" y="68949"/>
                      <a:pt x="68009" y="102394"/>
                    </a:cubicBezTo>
                    <a:cubicBezTo>
                      <a:pt x="55918" y="87832"/>
                      <a:pt x="45114" y="72248"/>
                      <a:pt x="35719" y="55816"/>
                    </a:cubicBezTo>
                    <a:cubicBezTo>
                      <a:pt x="24778" y="40466"/>
                      <a:pt x="15216" y="24178"/>
                      <a:pt x="7144" y="71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82" name="Полилиния: фигура 681">
                <a:extLst>
                  <a:ext uri="{FF2B5EF4-FFF2-40B4-BE49-F238E27FC236}">
                    <a16:creationId xmlns:a16="http://schemas.microsoft.com/office/drawing/2014/main" id="{6858E540-D361-4D0E-A9C6-6BC16DD438AB}"/>
                  </a:ext>
                </a:extLst>
              </p:cNvPr>
              <p:cNvSpPr/>
              <p:nvPr/>
            </p:nvSpPr>
            <p:spPr>
              <a:xfrm>
                <a:off x="4554465" y="5627630"/>
                <a:ext cx="19050" cy="152400"/>
              </a:xfrm>
              <a:custGeom>
                <a:avLst/>
                <a:gdLst>
                  <a:gd name="connsiteX0" fmla="*/ 10881 w 19050"/>
                  <a:gd name="connsiteY0" fmla="*/ 7144 h 152400"/>
                  <a:gd name="connsiteX1" fmla="*/ 14501 w 19050"/>
                  <a:gd name="connsiteY1" fmla="*/ 27622 h 152400"/>
                  <a:gd name="connsiteX2" fmla="*/ 16311 w 19050"/>
                  <a:gd name="connsiteY2" fmla="*/ 77724 h 152400"/>
                  <a:gd name="connsiteX3" fmla="*/ 12024 w 19050"/>
                  <a:gd name="connsiteY3" fmla="*/ 127730 h 152400"/>
                  <a:gd name="connsiteX4" fmla="*/ 7452 w 19050"/>
                  <a:gd name="connsiteY4" fmla="*/ 148019 h 152400"/>
                  <a:gd name="connsiteX5" fmla="*/ 11358 w 19050"/>
                  <a:gd name="connsiteY5" fmla="*/ 77629 h 152400"/>
                  <a:gd name="connsiteX6" fmla="*/ 10881 w 19050"/>
                  <a:gd name="connsiteY6" fmla="*/ 7144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50" h="152400">
                    <a:moveTo>
                      <a:pt x="10881" y="7144"/>
                    </a:moveTo>
                    <a:cubicBezTo>
                      <a:pt x="12955" y="13788"/>
                      <a:pt x="14171" y="20670"/>
                      <a:pt x="14501" y="27622"/>
                    </a:cubicBezTo>
                    <a:cubicBezTo>
                      <a:pt x="16142" y="44269"/>
                      <a:pt x="16746" y="61002"/>
                      <a:pt x="16311" y="77724"/>
                    </a:cubicBezTo>
                    <a:cubicBezTo>
                      <a:pt x="15947" y="94467"/>
                      <a:pt x="14515" y="111170"/>
                      <a:pt x="12024" y="127730"/>
                    </a:cubicBezTo>
                    <a:cubicBezTo>
                      <a:pt x="11435" y="134670"/>
                      <a:pt x="9896" y="141497"/>
                      <a:pt x="7452" y="148019"/>
                    </a:cubicBezTo>
                    <a:cubicBezTo>
                      <a:pt x="5928" y="148019"/>
                      <a:pt x="10500" y="116491"/>
                      <a:pt x="11358" y="77629"/>
                    </a:cubicBezTo>
                    <a:cubicBezTo>
                      <a:pt x="12215" y="38767"/>
                      <a:pt x="9357" y="7239"/>
                      <a:pt x="10881" y="71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83" name="Полилиния: фигура 682">
                <a:extLst>
                  <a:ext uri="{FF2B5EF4-FFF2-40B4-BE49-F238E27FC236}">
                    <a16:creationId xmlns:a16="http://schemas.microsoft.com/office/drawing/2014/main" id="{6BFA4AA3-63D4-452B-B81E-CA255FDB5907}"/>
                  </a:ext>
                </a:extLst>
              </p:cNvPr>
              <p:cNvSpPr/>
              <p:nvPr/>
            </p:nvSpPr>
            <p:spPr>
              <a:xfrm>
                <a:off x="5014831" y="4827720"/>
                <a:ext cx="619125" cy="857250"/>
              </a:xfrm>
              <a:custGeom>
                <a:avLst/>
                <a:gdLst>
                  <a:gd name="connsiteX0" fmla="*/ 7144 w 619125"/>
                  <a:gd name="connsiteY0" fmla="*/ 588359 h 857250"/>
                  <a:gd name="connsiteX1" fmla="*/ 153829 w 619125"/>
                  <a:gd name="connsiteY1" fmla="*/ 429959 h 857250"/>
                  <a:gd name="connsiteX2" fmla="*/ 208026 w 619125"/>
                  <a:gd name="connsiteY2" fmla="*/ 248984 h 857250"/>
                  <a:gd name="connsiteX3" fmla="*/ 351854 w 619125"/>
                  <a:gd name="connsiteY3" fmla="*/ 64294 h 857250"/>
                  <a:gd name="connsiteX4" fmla="*/ 524161 w 619125"/>
                  <a:gd name="connsiteY4" fmla="*/ 7144 h 857250"/>
                  <a:gd name="connsiteX5" fmla="*/ 620078 w 619125"/>
                  <a:gd name="connsiteY5" fmla="*/ 295275 h 857250"/>
                  <a:gd name="connsiteX6" fmla="*/ 392716 w 619125"/>
                  <a:gd name="connsiteY6" fmla="*/ 842010 h 857250"/>
                  <a:gd name="connsiteX7" fmla="*/ 342234 w 619125"/>
                  <a:gd name="connsiteY7" fmla="*/ 852392 h 857250"/>
                  <a:gd name="connsiteX8" fmla="*/ 174498 w 619125"/>
                  <a:gd name="connsiteY8" fmla="*/ 786860 h 857250"/>
                  <a:gd name="connsiteX9" fmla="*/ 89345 w 619125"/>
                  <a:gd name="connsiteY9" fmla="*/ 712375 h 857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9125" h="857250">
                    <a:moveTo>
                      <a:pt x="7144" y="588359"/>
                    </a:moveTo>
                    <a:lnTo>
                      <a:pt x="153829" y="429959"/>
                    </a:lnTo>
                    <a:cubicBezTo>
                      <a:pt x="153829" y="429959"/>
                      <a:pt x="190215" y="287941"/>
                      <a:pt x="208026" y="248984"/>
                    </a:cubicBezTo>
                    <a:cubicBezTo>
                      <a:pt x="225838" y="210026"/>
                      <a:pt x="351854" y="64294"/>
                      <a:pt x="351854" y="64294"/>
                    </a:cubicBezTo>
                    <a:lnTo>
                      <a:pt x="524161" y="7144"/>
                    </a:lnTo>
                    <a:cubicBezTo>
                      <a:pt x="524161" y="7144"/>
                      <a:pt x="630746" y="166021"/>
                      <a:pt x="620078" y="295275"/>
                    </a:cubicBezTo>
                    <a:cubicBezTo>
                      <a:pt x="609410" y="424529"/>
                      <a:pt x="392716" y="842010"/>
                      <a:pt x="392716" y="842010"/>
                    </a:cubicBezTo>
                    <a:cubicBezTo>
                      <a:pt x="376582" y="848249"/>
                      <a:pt x="359521" y="851758"/>
                      <a:pt x="342234" y="852392"/>
                    </a:cubicBezTo>
                    <a:cubicBezTo>
                      <a:pt x="314516" y="852392"/>
                      <a:pt x="230600" y="814292"/>
                      <a:pt x="174498" y="786860"/>
                    </a:cubicBezTo>
                    <a:cubicBezTo>
                      <a:pt x="139959" y="770100"/>
                      <a:pt x="110552" y="744376"/>
                      <a:pt x="89345" y="712375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84" name="Полилиния: фигура 683">
                <a:extLst>
                  <a:ext uri="{FF2B5EF4-FFF2-40B4-BE49-F238E27FC236}">
                    <a16:creationId xmlns:a16="http://schemas.microsoft.com/office/drawing/2014/main" id="{1F4F743B-AC32-472B-B1D1-6A0F1EADCFD4}"/>
                  </a:ext>
                </a:extLst>
              </p:cNvPr>
              <p:cNvSpPr/>
              <p:nvPr/>
            </p:nvSpPr>
            <p:spPr>
              <a:xfrm>
                <a:off x="5013307" y="4826577"/>
                <a:ext cx="628650" cy="857250"/>
              </a:xfrm>
              <a:custGeom>
                <a:avLst/>
                <a:gdLst>
                  <a:gd name="connsiteX0" fmla="*/ 343757 w 628650"/>
                  <a:gd name="connsiteY0" fmla="*/ 854869 h 857250"/>
                  <a:gd name="connsiteX1" fmla="*/ 175546 w 628650"/>
                  <a:gd name="connsiteY1" fmla="*/ 789241 h 857250"/>
                  <a:gd name="connsiteX2" fmla="*/ 89821 w 628650"/>
                  <a:gd name="connsiteY2" fmla="*/ 714280 h 857250"/>
                  <a:gd name="connsiteX3" fmla="*/ 7144 w 628650"/>
                  <a:gd name="connsiteY3" fmla="*/ 589312 h 857250"/>
                  <a:gd name="connsiteX4" fmla="*/ 7811 w 628650"/>
                  <a:gd name="connsiteY4" fmla="*/ 588645 h 857250"/>
                  <a:gd name="connsiteX5" fmla="*/ 154686 w 628650"/>
                  <a:gd name="connsiteY5" fmla="*/ 430530 h 857250"/>
                  <a:gd name="connsiteX6" fmla="*/ 208883 w 628650"/>
                  <a:gd name="connsiteY6" fmla="*/ 249555 h 857250"/>
                  <a:gd name="connsiteX7" fmla="*/ 352901 w 628650"/>
                  <a:gd name="connsiteY7" fmla="*/ 64579 h 857250"/>
                  <a:gd name="connsiteX8" fmla="*/ 352901 w 628650"/>
                  <a:gd name="connsiteY8" fmla="*/ 64579 h 857250"/>
                  <a:gd name="connsiteX9" fmla="*/ 352901 w 628650"/>
                  <a:gd name="connsiteY9" fmla="*/ 64579 h 857250"/>
                  <a:gd name="connsiteX10" fmla="*/ 526161 w 628650"/>
                  <a:gd name="connsiteY10" fmla="*/ 7144 h 857250"/>
                  <a:gd name="connsiteX11" fmla="*/ 526161 w 628650"/>
                  <a:gd name="connsiteY11" fmla="*/ 7906 h 857250"/>
                  <a:gd name="connsiteX12" fmla="*/ 622268 w 628650"/>
                  <a:gd name="connsiteY12" fmla="*/ 296799 h 857250"/>
                  <a:gd name="connsiteX13" fmla="*/ 394811 w 628650"/>
                  <a:gd name="connsiteY13" fmla="*/ 844010 h 857250"/>
                  <a:gd name="connsiteX14" fmla="*/ 394811 w 628650"/>
                  <a:gd name="connsiteY14" fmla="*/ 844010 h 857250"/>
                  <a:gd name="connsiteX15" fmla="*/ 394811 w 628650"/>
                  <a:gd name="connsiteY15" fmla="*/ 844010 h 857250"/>
                  <a:gd name="connsiteX16" fmla="*/ 343758 w 628650"/>
                  <a:gd name="connsiteY16" fmla="*/ 854869 h 857250"/>
                  <a:gd name="connsiteX17" fmla="*/ 10382 w 628650"/>
                  <a:gd name="connsiteY17" fmla="*/ 589597 h 857250"/>
                  <a:gd name="connsiteX18" fmla="*/ 92011 w 628650"/>
                  <a:gd name="connsiteY18" fmla="*/ 712946 h 857250"/>
                  <a:gd name="connsiteX19" fmla="*/ 176784 w 628650"/>
                  <a:gd name="connsiteY19" fmla="*/ 787051 h 857250"/>
                  <a:gd name="connsiteX20" fmla="*/ 343948 w 628650"/>
                  <a:gd name="connsiteY20" fmla="*/ 852488 h 857250"/>
                  <a:gd name="connsiteX21" fmla="*/ 393573 w 628650"/>
                  <a:gd name="connsiteY21" fmla="*/ 842296 h 857250"/>
                  <a:gd name="connsiteX22" fmla="*/ 620553 w 628650"/>
                  <a:gd name="connsiteY22" fmla="*/ 296418 h 857250"/>
                  <a:gd name="connsiteX23" fmla="*/ 525303 w 628650"/>
                  <a:gd name="connsiteY23" fmla="*/ 9811 h 857250"/>
                  <a:gd name="connsiteX24" fmla="*/ 353853 w 628650"/>
                  <a:gd name="connsiteY24" fmla="*/ 66294 h 857250"/>
                  <a:gd name="connsiteX25" fmla="*/ 210312 w 628650"/>
                  <a:gd name="connsiteY25" fmla="*/ 250412 h 857250"/>
                  <a:gd name="connsiteX26" fmla="*/ 156210 w 628650"/>
                  <a:gd name="connsiteY26" fmla="*/ 431387 h 857250"/>
                  <a:gd name="connsiteX27" fmla="*/ 156210 w 628650"/>
                  <a:gd name="connsiteY27" fmla="*/ 431959 h 857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28650" h="857250">
                    <a:moveTo>
                      <a:pt x="343757" y="854869"/>
                    </a:moveTo>
                    <a:cubicBezTo>
                      <a:pt x="316516" y="854869"/>
                      <a:pt x="237268" y="819150"/>
                      <a:pt x="175546" y="789241"/>
                    </a:cubicBezTo>
                    <a:cubicBezTo>
                      <a:pt x="140775" y="772379"/>
                      <a:pt x="111170" y="746491"/>
                      <a:pt x="89821" y="714280"/>
                    </a:cubicBezTo>
                    <a:lnTo>
                      <a:pt x="7144" y="589312"/>
                    </a:lnTo>
                    <a:lnTo>
                      <a:pt x="7811" y="588645"/>
                    </a:lnTo>
                    <a:lnTo>
                      <a:pt x="154686" y="430530"/>
                    </a:lnTo>
                    <a:cubicBezTo>
                      <a:pt x="156496" y="423291"/>
                      <a:pt x="191643" y="287655"/>
                      <a:pt x="208883" y="249555"/>
                    </a:cubicBezTo>
                    <a:cubicBezTo>
                      <a:pt x="226123" y="211455"/>
                      <a:pt x="347758" y="70485"/>
                      <a:pt x="352901" y="64579"/>
                    </a:cubicBezTo>
                    <a:lnTo>
                      <a:pt x="352901" y="64579"/>
                    </a:lnTo>
                    <a:lnTo>
                      <a:pt x="352901" y="64579"/>
                    </a:lnTo>
                    <a:lnTo>
                      <a:pt x="526161" y="7144"/>
                    </a:lnTo>
                    <a:lnTo>
                      <a:pt x="526161" y="7906"/>
                    </a:lnTo>
                    <a:cubicBezTo>
                      <a:pt x="527304" y="9525"/>
                      <a:pt x="632841" y="168593"/>
                      <a:pt x="622268" y="296799"/>
                    </a:cubicBezTo>
                    <a:cubicBezTo>
                      <a:pt x="611695" y="425005"/>
                      <a:pt x="397002" y="839724"/>
                      <a:pt x="394811" y="844010"/>
                    </a:cubicBezTo>
                    <a:lnTo>
                      <a:pt x="394811" y="844010"/>
                    </a:lnTo>
                    <a:lnTo>
                      <a:pt x="394811" y="844010"/>
                    </a:lnTo>
                    <a:cubicBezTo>
                      <a:pt x="378519" y="850453"/>
                      <a:pt x="361262" y="854124"/>
                      <a:pt x="343758" y="854869"/>
                    </a:cubicBezTo>
                    <a:close/>
                    <a:moveTo>
                      <a:pt x="10382" y="589597"/>
                    </a:moveTo>
                    <a:lnTo>
                      <a:pt x="92011" y="712946"/>
                    </a:lnTo>
                    <a:cubicBezTo>
                      <a:pt x="113116" y="744799"/>
                      <a:pt x="142395" y="770393"/>
                      <a:pt x="176784" y="787051"/>
                    </a:cubicBezTo>
                    <a:cubicBezTo>
                      <a:pt x="227076" y="811435"/>
                      <a:pt x="315753" y="852488"/>
                      <a:pt x="343948" y="852488"/>
                    </a:cubicBezTo>
                    <a:cubicBezTo>
                      <a:pt x="360940" y="851869"/>
                      <a:pt x="377712" y="848424"/>
                      <a:pt x="393573" y="842296"/>
                    </a:cubicBezTo>
                    <a:cubicBezTo>
                      <a:pt x="401288" y="827341"/>
                      <a:pt x="610267" y="422243"/>
                      <a:pt x="620553" y="296418"/>
                    </a:cubicBezTo>
                    <a:cubicBezTo>
                      <a:pt x="630745" y="173546"/>
                      <a:pt x="533305" y="21812"/>
                      <a:pt x="525303" y="9811"/>
                    </a:cubicBezTo>
                    <a:lnTo>
                      <a:pt x="353853" y="66294"/>
                    </a:lnTo>
                    <a:cubicBezTo>
                      <a:pt x="347948" y="73057"/>
                      <a:pt x="227457" y="212693"/>
                      <a:pt x="210312" y="250412"/>
                    </a:cubicBezTo>
                    <a:cubicBezTo>
                      <a:pt x="193167" y="288131"/>
                      <a:pt x="156591" y="429863"/>
                      <a:pt x="156210" y="431387"/>
                    </a:cubicBezTo>
                    <a:lnTo>
                      <a:pt x="156210" y="431959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85" name="Полилиния: фигура 684">
                <a:extLst>
                  <a:ext uri="{FF2B5EF4-FFF2-40B4-BE49-F238E27FC236}">
                    <a16:creationId xmlns:a16="http://schemas.microsoft.com/office/drawing/2014/main" id="{398EACA4-7A57-4402-B0CB-917A48F492EF}"/>
                  </a:ext>
                </a:extLst>
              </p:cNvPr>
              <p:cNvSpPr/>
              <p:nvPr/>
            </p:nvSpPr>
            <p:spPr>
              <a:xfrm>
                <a:off x="5015498" y="4932278"/>
                <a:ext cx="485775" cy="638175"/>
              </a:xfrm>
              <a:custGeom>
                <a:avLst/>
                <a:gdLst>
                  <a:gd name="connsiteX0" fmla="*/ 93059 w 485775"/>
                  <a:gd name="connsiteY0" fmla="*/ 614675 h 638175"/>
                  <a:gd name="connsiteX1" fmla="*/ 347853 w 485775"/>
                  <a:gd name="connsiteY1" fmla="*/ 630582 h 638175"/>
                  <a:gd name="connsiteX2" fmla="*/ 421672 w 485775"/>
                  <a:gd name="connsiteY2" fmla="*/ 545905 h 638175"/>
                  <a:gd name="connsiteX3" fmla="*/ 485870 w 485775"/>
                  <a:gd name="connsiteY3" fmla="*/ 207196 h 638175"/>
                  <a:gd name="connsiteX4" fmla="*/ 378143 w 485775"/>
                  <a:gd name="connsiteY4" fmla="*/ 8790 h 638175"/>
                  <a:gd name="connsiteX5" fmla="*/ 289750 w 485775"/>
                  <a:gd name="connsiteY5" fmla="*/ 80227 h 638175"/>
                  <a:gd name="connsiteX6" fmla="*/ 251650 w 485775"/>
                  <a:gd name="connsiteY6" fmla="*/ 445321 h 638175"/>
                  <a:gd name="connsiteX7" fmla="*/ 7144 w 485775"/>
                  <a:gd name="connsiteY7" fmla="*/ 490660 h 638175"/>
                  <a:gd name="connsiteX8" fmla="*/ 26194 w 485775"/>
                  <a:gd name="connsiteY8" fmla="*/ 598197 h 638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5775" h="638175">
                    <a:moveTo>
                      <a:pt x="93059" y="614675"/>
                    </a:moveTo>
                    <a:cubicBezTo>
                      <a:pt x="124206" y="640583"/>
                      <a:pt x="275844" y="644965"/>
                      <a:pt x="347853" y="630582"/>
                    </a:cubicBezTo>
                    <a:cubicBezTo>
                      <a:pt x="419862" y="616199"/>
                      <a:pt x="403860" y="593530"/>
                      <a:pt x="421672" y="545905"/>
                    </a:cubicBezTo>
                    <a:cubicBezTo>
                      <a:pt x="439484" y="498280"/>
                      <a:pt x="485870" y="321019"/>
                      <a:pt x="485870" y="207196"/>
                    </a:cubicBezTo>
                    <a:cubicBezTo>
                      <a:pt x="485870" y="93372"/>
                      <a:pt x="396716" y="19363"/>
                      <a:pt x="378143" y="8790"/>
                    </a:cubicBezTo>
                    <a:cubicBezTo>
                      <a:pt x="359569" y="-1783"/>
                      <a:pt x="315183" y="40508"/>
                      <a:pt x="289750" y="80227"/>
                    </a:cubicBezTo>
                    <a:cubicBezTo>
                      <a:pt x="264319" y="119947"/>
                      <a:pt x="251650" y="445321"/>
                      <a:pt x="251650" y="445321"/>
                    </a:cubicBezTo>
                    <a:lnTo>
                      <a:pt x="7144" y="490660"/>
                    </a:lnTo>
                    <a:lnTo>
                      <a:pt x="26194" y="598197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86" name="Полилиния: фигура 685">
                <a:extLst>
                  <a:ext uri="{FF2B5EF4-FFF2-40B4-BE49-F238E27FC236}">
                    <a16:creationId xmlns:a16="http://schemas.microsoft.com/office/drawing/2014/main" id="{E0FE9949-AF26-4F5D-B484-9F99704BC910}"/>
                  </a:ext>
                </a:extLst>
              </p:cNvPr>
              <p:cNvSpPr/>
              <p:nvPr/>
            </p:nvSpPr>
            <p:spPr>
              <a:xfrm>
                <a:off x="5013498" y="4931073"/>
                <a:ext cx="495300" cy="647700"/>
              </a:xfrm>
              <a:custGeom>
                <a:avLst/>
                <a:gdLst>
                  <a:gd name="connsiteX0" fmla="*/ 246030 w 495300"/>
                  <a:gd name="connsiteY0" fmla="*/ 640931 h 647700"/>
                  <a:gd name="connsiteX1" fmla="*/ 94583 w 495300"/>
                  <a:gd name="connsiteY1" fmla="*/ 616927 h 647700"/>
                  <a:gd name="connsiteX2" fmla="*/ 26194 w 495300"/>
                  <a:gd name="connsiteY2" fmla="*/ 600354 h 647700"/>
                  <a:gd name="connsiteX3" fmla="*/ 26194 w 495300"/>
                  <a:gd name="connsiteY3" fmla="*/ 599592 h 647700"/>
                  <a:gd name="connsiteX4" fmla="*/ 7144 w 495300"/>
                  <a:gd name="connsiteY4" fmla="*/ 490912 h 647700"/>
                  <a:gd name="connsiteX5" fmla="*/ 8287 w 495300"/>
                  <a:gd name="connsiteY5" fmla="*/ 490912 h 647700"/>
                  <a:gd name="connsiteX6" fmla="*/ 251840 w 495300"/>
                  <a:gd name="connsiteY6" fmla="*/ 445573 h 647700"/>
                  <a:gd name="connsiteX7" fmla="*/ 289940 w 495300"/>
                  <a:gd name="connsiteY7" fmla="*/ 80765 h 647700"/>
                  <a:gd name="connsiteX8" fmla="*/ 379952 w 495300"/>
                  <a:gd name="connsiteY8" fmla="*/ 8947 h 647700"/>
                  <a:gd name="connsiteX9" fmla="*/ 488251 w 495300"/>
                  <a:gd name="connsiteY9" fmla="*/ 208400 h 647700"/>
                  <a:gd name="connsiteX10" fmla="*/ 424529 w 495300"/>
                  <a:gd name="connsiteY10" fmla="*/ 547490 h 647700"/>
                  <a:gd name="connsiteX11" fmla="*/ 415956 w 495300"/>
                  <a:gd name="connsiteY11" fmla="*/ 577208 h 647700"/>
                  <a:gd name="connsiteX12" fmla="*/ 349282 w 495300"/>
                  <a:gd name="connsiteY12" fmla="*/ 632930 h 647700"/>
                  <a:gd name="connsiteX13" fmla="*/ 246030 w 495300"/>
                  <a:gd name="connsiteY13" fmla="*/ 640931 h 647700"/>
                  <a:gd name="connsiteX14" fmla="*/ 28194 w 495300"/>
                  <a:gd name="connsiteY14" fmla="*/ 598449 h 647700"/>
                  <a:gd name="connsiteX15" fmla="*/ 95821 w 495300"/>
                  <a:gd name="connsiteY15" fmla="*/ 614927 h 647700"/>
                  <a:gd name="connsiteX16" fmla="*/ 349567 w 495300"/>
                  <a:gd name="connsiteY16" fmla="*/ 630548 h 647700"/>
                  <a:gd name="connsiteX17" fmla="*/ 413956 w 495300"/>
                  <a:gd name="connsiteY17" fmla="*/ 576637 h 647700"/>
                  <a:gd name="connsiteX18" fmla="*/ 422624 w 495300"/>
                  <a:gd name="connsiteY18" fmla="*/ 546633 h 647700"/>
                  <a:gd name="connsiteX19" fmla="*/ 486156 w 495300"/>
                  <a:gd name="connsiteY19" fmla="*/ 208400 h 647700"/>
                  <a:gd name="connsiteX20" fmla="*/ 379095 w 495300"/>
                  <a:gd name="connsiteY20" fmla="*/ 11042 h 647700"/>
                  <a:gd name="connsiteX21" fmla="*/ 292227 w 495300"/>
                  <a:gd name="connsiteY21" fmla="*/ 82099 h 647700"/>
                  <a:gd name="connsiteX22" fmla="*/ 254127 w 495300"/>
                  <a:gd name="connsiteY22" fmla="*/ 446620 h 647700"/>
                  <a:gd name="connsiteX23" fmla="*/ 254127 w 495300"/>
                  <a:gd name="connsiteY23" fmla="*/ 447573 h 647700"/>
                  <a:gd name="connsiteX24" fmla="*/ 253174 w 495300"/>
                  <a:gd name="connsiteY24" fmla="*/ 447573 h 647700"/>
                  <a:gd name="connsiteX25" fmla="*/ 9906 w 495300"/>
                  <a:gd name="connsiteY25" fmla="*/ 493198 h 647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95300" h="647700">
                    <a:moveTo>
                      <a:pt x="246030" y="640931"/>
                    </a:moveTo>
                    <a:cubicBezTo>
                      <a:pt x="181832" y="640931"/>
                      <a:pt x="114871" y="633501"/>
                      <a:pt x="94583" y="616927"/>
                    </a:cubicBezTo>
                    <a:lnTo>
                      <a:pt x="26194" y="600354"/>
                    </a:lnTo>
                    <a:lnTo>
                      <a:pt x="26194" y="599592"/>
                    </a:lnTo>
                    <a:lnTo>
                      <a:pt x="7144" y="490912"/>
                    </a:lnTo>
                    <a:lnTo>
                      <a:pt x="8287" y="490912"/>
                    </a:lnTo>
                    <a:lnTo>
                      <a:pt x="251840" y="445573"/>
                    </a:lnTo>
                    <a:cubicBezTo>
                      <a:pt x="252793" y="422522"/>
                      <a:pt x="265366" y="119627"/>
                      <a:pt x="289940" y="80765"/>
                    </a:cubicBezTo>
                    <a:cubicBezTo>
                      <a:pt x="314515" y="41903"/>
                      <a:pt x="360140" y="-2388"/>
                      <a:pt x="379952" y="8947"/>
                    </a:cubicBezTo>
                    <a:cubicBezTo>
                      <a:pt x="401478" y="21234"/>
                      <a:pt x="488251" y="95243"/>
                      <a:pt x="488251" y="208400"/>
                    </a:cubicBezTo>
                    <a:cubicBezTo>
                      <a:pt x="488251" y="319843"/>
                      <a:pt x="443579" y="496531"/>
                      <a:pt x="424529" y="547490"/>
                    </a:cubicBezTo>
                    <a:cubicBezTo>
                      <a:pt x="421046" y="557205"/>
                      <a:pt x="418183" y="567131"/>
                      <a:pt x="415956" y="577208"/>
                    </a:cubicBezTo>
                    <a:cubicBezTo>
                      <a:pt x="409384" y="605021"/>
                      <a:pt x="405479" y="621785"/>
                      <a:pt x="349282" y="632930"/>
                    </a:cubicBezTo>
                    <a:cubicBezTo>
                      <a:pt x="315170" y="638652"/>
                      <a:pt x="280617" y="641329"/>
                      <a:pt x="246030" y="640931"/>
                    </a:cubicBezTo>
                    <a:close/>
                    <a:moveTo>
                      <a:pt x="28194" y="598449"/>
                    </a:moveTo>
                    <a:lnTo>
                      <a:pt x="95821" y="614927"/>
                    </a:lnTo>
                    <a:cubicBezTo>
                      <a:pt x="125730" y="639788"/>
                      <a:pt x="274891" y="645598"/>
                      <a:pt x="349567" y="630548"/>
                    </a:cubicBezTo>
                    <a:cubicBezTo>
                      <a:pt x="403764" y="619690"/>
                      <a:pt x="407384" y="604450"/>
                      <a:pt x="413956" y="576637"/>
                    </a:cubicBezTo>
                    <a:cubicBezTo>
                      <a:pt x="416151" y="566448"/>
                      <a:pt x="419047" y="556423"/>
                      <a:pt x="422624" y="546633"/>
                    </a:cubicBezTo>
                    <a:cubicBezTo>
                      <a:pt x="441674" y="495865"/>
                      <a:pt x="486156" y="319462"/>
                      <a:pt x="486156" y="208400"/>
                    </a:cubicBezTo>
                    <a:cubicBezTo>
                      <a:pt x="486156" y="97339"/>
                      <a:pt x="400431" y="23139"/>
                      <a:pt x="379095" y="11042"/>
                    </a:cubicBezTo>
                    <a:cubicBezTo>
                      <a:pt x="361950" y="1517"/>
                      <a:pt x="318421" y="41236"/>
                      <a:pt x="292227" y="82099"/>
                    </a:cubicBezTo>
                    <a:cubicBezTo>
                      <a:pt x="267271" y="121056"/>
                      <a:pt x="254127" y="443382"/>
                      <a:pt x="254127" y="446620"/>
                    </a:cubicBezTo>
                    <a:lnTo>
                      <a:pt x="254127" y="447573"/>
                    </a:lnTo>
                    <a:lnTo>
                      <a:pt x="253174" y="447573"/>
                    </a:lnTo>
                    <a:lnTo>
                      <a:pt x="9906" y="493198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87" name="Полилиния: фигура 686">
                <a:extLst>
                  <a:ext uri="{FF2B5EF4-FFF2-40B4-BE49-F238E27FC236}">
                    <a16:creationId xmlns:a16="http://schemas.microsoft.com/office/drawing/2014/main" id="{5FFEF689-D216-4644-85F7-665B2B22EE7C}"/>
                  </a:ext>
                </a:extLst>
              </p:cNvPr>
              <p:cNvSpPr/>
              <p:nvPr/>
            </p:nvSpPr>
            <p:spPr>
              <a:xfrm>
                <a:off x="5012259" y="5033841"/>
                <a:ext cx="495300" cy="542925"/>
              </a:xfrm>
              <a:custGeom>
                <a:avLst/>
                <a:gdLst>
                  <a:gd name="connsiteX0" fmla="*/ 280416 w 495300"/>
                  <a:gd name="connsiteY0" fmla="*/ 34195 h 542925"/>
                  <a:gd name="connsiteX1" fmla="*/ 280416 w 495300"/>
                  <a:gd name="connsiteY1" fmla="*/ 39814 h 542925"/>
                  <a:gd name="connsiteX2" fmla="*/ 279273 w 495300"/>
                  <a:gd name="connsiteY2" fmla="*/ 56102 h 542925"/>
                  <a:gd name="connsiteX3" fmla="*/ 274605 w 495300"/>
                  <a:gd name="connsiteY3" fmla="*/ 118300 h 542925"/>
                  <a:gd name="connsiteX4" fmla="*/ 256413 w 495300"/>
                  <a:gd name="connsiteY4" fmla="*/ 343948 h 542925"/>
                  <a:gd name="connsiteX5" fmla="*/ 256413 w 495300"/>
                  <a:gd name="connsiteY5" fmla="*/ 345472 h 542925"/>
                  <a:gd name="connsiteX6" fmla="*/ 254889 w 495300"/>
                  <a:gd name="connsiteY6" fmla="*/ 345472 h 542925"/>
                  <a:gd name="connsiteX7" fmla="*/ 10477 w 495300"/>
                  <a:gd name="connsiteY7" fmla="*/ 391096 h 542925"/>
                  <a:gd name="connsiteX8" fmla="*/ 12382 w 495300"/>
                  <a:gd name="connsiteY8" fmla="*/ 388334 h 542925"/>
                  <a:gd name="connsiteX9" fmla="*/ 31432 w 495300"/>
                  <a:gd name="connsiteY9" fmla="*/ 495967 h 542925"/>
                  <a:gd name="connsiteX10" fmla="*/ 29623 w 495300"/>
                  <a:gd name="connsiteY10" fmla="*/ 493966 h 542925"/>
                  <a:gd name="connsiteX11" fmla="*/ 134398 w 495300"/>
                  <a:gd name="connsiteY11" fmla="*/ 518922 h 542925"/>
                  <a:gd name="connsiteX12" fmla="*/ 289179 w 495300"/>
                  <a:gd name="connsiteY12" fmla="*/ 530923 h 542925"/>
                  <a:gd name="connsiteX13" fmla="*/ 361093 w 495300"/>
                  <a:gd name="connsiteY13" fmla="*/ 515969 h 542925"/>
                  <a:gd name="connsiteX14" fmla="*/ 412623 w 495300"/>
                  <a:gd name="connsiteY14" fmla="*/ 471678 h 542925"/>
                  <a:gd name="connsiteX15" fmla="*/ 432720 w 495300"/>
                  <a:gd name="connsiteY15" fmla="*/ 407575 h 542925"/>
                  <a:gd name="connsiteX16" fmla="*/ 447675 w 495300"/>
                  <a:gd name="connsiteY16" fmla="*/ 345376 h 542925"/>
                  <a:gd name="connsiteX17" fmla="*/ 471297 w 495300"/>
                  <a:gd name="connsiteY17" fmla="*/ 233077 h 542925"/>
                  <a:gd name="connsiteX18" fmla="*/ 489204 w 495300"/>
                  <a:gd name="connsiteY18" fmla="*/ 68104 h 542925"/>
                  <a:gd name="connsiteX19" fmla="*/ 489204 w 495300"/>
                  <a:gd name="connsiteY19" fmla="*/ 22955 h 542925"/>
                  <a:gd name="connsiteX20" fmla="*/ 489204 w 495300"/>
                  <a:gd name="connsiteY20" fmla="*/ 11239 h 542925"/>
                  <a:gd name="connsiteX21" fmla="*/ 489204 w 495300"/>
                  <a:gd name="connsiteY21" fmla="*/ 7144 h 542925"/>
                  <a:gd name="connsiteX22" fmla="*/ 489204 w 495300"/>
                  <a:gd name="connsiteY22" fmla="*/ 11144 h 542925"/>
                  <a:gd name="connsiteX23" fmla="*/ 489966 w 495300"/>
                  <a:gd name="connsiteY23" fmla="*/ 22860 h 542925"/>
                  <a:gd name="connsiteX24" fmla="*/ 491109 w 495300"/>
                  <a:gd name="connsiteY24" fmla="*/ 68104 h 542925"/>
                  <a:gd name="connsiteX25" fmla="*/ 474726 w 495300"/>
                  <a:gd name="connsiteY25" fmla="*/ 233648 h 542925"/>
                  <a:gd name="connsiteX26" fmla="*/ 451675 w 495300"/>
                  <a:gd name="connsiteY26" fmla="*/ 346329 h 542925"/>
                  <a:gd name="connsiteX27" fmla="*/ 437007 w 495300"/>
                  <a:gd name="connsiteY27" fmla="*/ 408622 h 542925"/>
                  <a:gd name="connsiteX28" fmla="*/ 416719 w 495300"/>
                  <a:gd name="connsiteY28" fmla="*/ 473773 h 542925"/>
                  <a:gd name="connsiteX29" fmla="*/ 394525 w 495300"/>
                  <a:gd name="connsiteY29" fmla="*/ 502348 h 542925"/>
                  <a:gd name="connsiteX30" fmla="*/ 362807 w 495300"/>
                  <a:gd name="connsiteY30" fmla="*/ 520732 h 542925"/>
                  <a:gd name="connsiteX31" fmla="*/ 289560 w 495300"/>
                  <a:gd name="connsiteY31" fmla="*/ 536162 h 542925"/>
                  <a:gd name="connsiteX32" fmla="*/ 132493 w 495300"/>
                  <a:gd name="connsiteY32" fmla="*/ 523780 h 542925"/>
                  <a:gd name="connsiteX33" fmla="*/ 27717 w 495300"/>
                  <a:gd name="connsiteY33" fmla="*/ 498729 h 542925"/>
                  <a:gd name="connsiteX34" fmla="*/ 26194 w 495300"/>
                  <a:gd name="connsiteY34" fmla="*/ 498729 h 542925"/>
                  <a:gd name="connsiteX35" fmla="*/ 26194 w 495300"/>
                  <a:gd name="connsiteY35" fmla="*/ 497205 h 542925"/>
                  <a:gd name="connsiteX36" fmla="*/ 7144 w 495300"/>
                  <a:gd name="connsiteY36" fmla="*/ 389572 h 542925"/>
                  <a:gd name="connsiteX37" fmla="*/ 7144 w 495300"/>
                  <a:gd name="connsiteY37" fmla="*/ 387287 h 542925"/>
                  <a:gd name="connsiteX38" fmla="*/ 9525 w 495300"/>
                  <a:gd name="connsiteY38" fmla="*/ 386810 h 542925"/>
                  <a:gd name="connsiteX39" fmla="*/ 254127 w 495300"/>
                  <a:gd name="connsiteY39" fmla="*/ 341947 h 542925"/>
                  <a:gd name="connsiteX40" fmla="*/ 252507 w 495300"/>
                  <a:gd name="connsiteY40" fmla="*/ 343662 h 542925"/>
                  <a:gd name="connsiteX41" fmla="*/ 272319 w 495300"/>
                  <a:gd name="connsiteY41" fmla="*/ 118205 h 542925"/>
                  <a:gd name="connsiteX42" fmla="*/ 278130 w 495300"/>
                  <a:gd name="connsiteY42" fmla="*/ 56102 h 542925"/>
                  <a:gd name="connsiteX43" fmla="*/ 279845 w 495300"/>
                  <a:gd name="connsiteY43" fmla="*/ 39814 h 542925"/>
                  <a:gd name="connsiteX44" fmla="*/ 280416 w 495300"/>
                  <a:gd name="connsiteY44" fmla="*/ 34195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495300" h="542925">
                    <a:moveTo>
                      <a:pt x="280416" y="34195"/>
                    </a:moveTo>
                    <a:cubicBezTo>
                      <a:pt x="280416" y="34195"/>
                      <a:pt x="280416" y="36100"/>
                      <a:pt x="280416" y="39814"/>
                    </a:cubicBezTo>
                    <a:cubicBezTo>
                      <a:pt x="280416" y="43529"/>
                      <a:pt x="279749" y="49339"/>
                      <a:pt x="279273" y="56102"/>
                    </a:cubicBezTo>
                    <a:cubicBezTo>
                      <a:pt x="278225" y="70675"/>
                      <a:pt x="276606" y="91630"/>
                      <a:pt x="274605" y="118300"/>
                    </a:cubicBezTo>
                    <a:cubicBezTo>
                      <a:pt x="270224" y="172402"/>
                      <a:pt x="264033" y="249746"/>
                      <a:pt x="256413" y="343948"/>
                    </a:cubicBezTo>
                    <a:lnTo>
                      <a:pt x="256413" y="345472"/>
                    </a:lnTo>
                    <a:lnTo>
                      <a:pt x="254889" y="345472"/>
                    </a:lnTo>
                    <a:lnTo>
                      <a:pt x="10477" y="391096"/>
                    </a:lnTo>
                    <a:lnTo>
                      <a:pt x="12382" y="388334"/>
                    </a:lnTo>
                    <a:cubicBezTo>
                      <a:pt x="18383" y="422720"/>
                      <a:pt x="24669" y="458914"/>
                      <a:pt x="31432" y="495967"/>
                    </a:cubicBezTo>
                    <a:lnTo>
                      <a:pt x="29623" y="493966"/>
                    </a:lnTo>
                    <a:cubicBezTo>
                      <a:pt x="62960" y="502634"/>
                      <a:pt x="98012" y="511778"/>
                      <a:pt x="134398" y="518922"/>
                    </a:cubicBezTo>
                    <a:cubicBezTo>
                      <a:pt x="185160" y="530251"/>
                      <a:pt x="237277" y="534292"/>
                      <a:pt x="289179" y="530923"/>
                    </a:cubicBezTo>
                    <a:cubicBezTo>
                      <a:pt x="313726" y="529288"/>
                      <a:pt x="337928" y="524255"/>
                      <a:pt x="361093" y="515969"/>
                    </a:cubicBezTo>
                    <a:cubicBezTo>
                      <a:pt x="383233" y="508220"/>
                      <a:pt x="401635" y="492403"/>
                      <a:pt x="412623" y="471678"/>
                    </a:cubicBezTo>
                    <a:cubicBezTo>
                      <a:pt x="421721" y="451138"/>
                      <a:pt x="428463" y="429633"/>
                      <a:pt x="432720" y="407575"/>
                    </a:cubicBezTo>
                    <a:cubicBezTo>
                      <a:pt x="437864" y="386239"/>
                      <a:pt x="442913" y="365474"/>
                      <a:pt x="447675" y="345376"/>
                    </a:cubicBezTo>
                    <a:cubicBezTo>
                      <a:pt x="457200" y="305181"/>
                      <a:pt x="465105" y="267557"/>
                      <a:pt x="471297" y="233077"/>
                    </a:cubicBezTo>
                    <a:cubicBezTo>
                      <a:pt x="481626" y="178647"/>
                      <a:pt x="487614" y="123482"/>
                      <a:pt x="489204" y="68104"/>
                    </a:cubicBezTo>
                    <a:cubicBezTo>
                      <a:pt x="489204" y="48482"/>
                      <a:pt x="489204" y="33242"/>
                      <a:pt x="489204" y="22955"/>
                    </a:cubicBezTo>
                    <a:cubicBezTo>
                      <a:pt x="489204" y="18002"/>
                      <a:pt x="489204" y="14097"/>
                      <a:pt x="489204" y="11239"/>
                    </a:cubicBezTo>
                    <a:cubicBezTo>
                      <a:pt x="489079" y="9877"/>
                      <a:pt x="489079" y="8506"/>
                      <a:pt x="489204" y="7144"/>
                    </a:cubicBezTo>
                    <a:cubicBezTo>
                      <a:pt x="489345" y="8474"/>
                      <a:pt x="489345" y="9815"/>
                      <a:pt x="489204" y="11144"/>
                    </a:cubicBezTo>
                    <a:cubicBezTo>
                      <a:pt x="489204" y="14002"/>
                      <a:pt x="489680" y="17907"/>
                      <a:pt x="489966" y="22860"/>
                    </a:cubicBezTo>
                    <a:cubicBezTo>
                      <a:pt x="490728" y="33242"/>
                      <a:pt x="491204" y="48482"/>
                      <a:pt x="491109" y="68104"/>
                    </a:cubicBezTo>
                    <a:cubicBezTo>
                      <a:pt x="490271" y="123645"/>
                      <a:pt x="484791" y="179020"/>
                      <a:pt x="474726" y="233648"/>
                    </a:cubicBezTo>
                    <a:cubicBezTo>
                      <a:pt x="468820" y="268319"/>
                      <a:pt x="460914" y="306038"/>
                      <a:pt x="451675" y="346329"/>
                    </a:cubicBezTo>
                    <a:cubicBezTo>
                      <a:pt x="446913" y="366458"/>
                      <a:pt x="442023" y="387223"/>
                      <a:pt x="437007" y="408622"/>
                    </a:cubicBezTo>
                    <a:cubicBezTo>
                      <a:pt x="432728" y="431036"/>
                      <a:pt x="425922" y="452893"/>
                      <a:pt x="416719" y="473773"/>
                    </a:cubicBezTo>
                    <a:cubicBezTo>
                      <a:pt x="411323" y="484697"/>
                      <a:pt x="403774" y="494416"/>
                      <a:pt x="394525" y="502348"/>
                    </a:cubicBezTo>
                    <a:cubicBezTo>
                      <a:pt x="384985" y="510105"/>
                      <a:pt x="374281" y="516309"/>
                      <a:pt x="362807" y="520732"/>
                    </a:cubicBezTo>
                    <a:cubicBezTo>
                      <a:pt x="339229" y="529263"/>
                      <a:pt x="314575" y="534456"/>
                      <a:pt x="289560" y="536162"/>
                    </a:cubicBezTo>
                    <a:cubicBezTo>
                      <a:pt x="236881" y="539609"/>
                      <a:pt x="183980" y="535438"/>
                      <a:pt x="132493" y="523780"/>
                    </a:cubicBezTo>
                    <a:cubicBezTo>
                      <a:pt x="96298" y="516541"/>
                      <a:pt x="61150" y="507397"/>
                      <a:pt x="27717" y="498729"/>
                    </a:cubicBezTo>
                    <a:lnTo>
                      <a:pt x="26194" y="498729"/>
                    </a:lnTo>
                    <a:lnTo>
                      <a:pt x="26194" y="497205"/>
                    </a:lnTo>
                    <a:cubicBezTo>
                      <a:pt x="19812" y="460153"/>
                      <a:pt x="13525" y="423958"/>
                      <a:pt x="7144" y="389572"/>
                    </a:cubicBezTo>
                    <a:lnTo>
                      <a:pt x="7144" y="387287"/>
                    </a:lnTo>
                    <a:lnTo>
                      <a:pt x="9525" y="386810"/>
                    </a:lnTo>
                    <a:lnTo>
                      <a:pt x="254127" y="341947"/>
                    </a:lnTo>
                    <a:lnTo>
                      <a:pt x="252507" y="343662"/>
                    </a:lnTo>
                    <a:cubicBezTo>
                      <a:pt x="260795" y="249555"/>
                      <a:pt x="267557" y="172212"/>
                      <a:pt x="272319" y="118205"/>
                    </a:cubicBezTo>
                    <a:cubicBezTo>
                      <a:pt x="274796" y="91535"/>
                      <a:pt x="276796" y="70580"/>
                      <a:pt x="278130" y="56102"/>
                    </a:cubicBezTo>
                    <a:cubicBezTo>
                      <a:pt x="278892" y="49149"/>
                      <a:pt x="279368" y="43720"/>
                      <a:pt x="279845" y="39814"/>
                    </a:cubicBezTo>
                    <a:cubicBezTo>
                      <a:pt x="280321" y="35909"/>
                      <a:pt x="280416" y="34195"/>
                      <a:pt x="280416" y="34195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88" name="Полилиния: фигура 687">
                <a:extLst>
                  <a:ext uri="{FF2B5EF4-FFF2-40B4-BE49-F238E27FC236}">
                    <a16:creationId xmlns:a16="http://schemas.microsoft.com/office/drawing/2014/main" id="{B2883C44-7C20-41F4-8096-2C92D8B2C068}"/>
                  </a:ext>
                </a:extLst>
              </p:cNvPr>
              <p:cNvSpPr/>
              <p:nvPr/>
            </p:nvSpPr>
            <p:spPr>
              <a:xfrm>
                <a:off x="5309078" y="4949637"/>
                <a:ext cx="171450" cy="47625"/>
              </a:xfrm>
              <a:custGeom>
                <a:avLst/>
                <a:gdLst>
                  <a:gd name="connsiteX0" fmla="*/ 166858 w 171450"/>
                  <a:gd name="connsiteY0" fmla="*/ 44675 h 47625"/>
                  <a:gd name="connsiteX1" fmla="*/ 145903 w 171450"/>
                  <a:gd name="connsiteY1" fmla="*/ 29911 h 47625"/>
                  <a:gd name="connsiteX2" fmla="*/ 29222 w 171450"/>
                  <a:gd name="connsiteY2" fmla="*/ 25244 h 47625"/>
                  <a:gd name="connsiteX3" fmla="*/ 7219 w 171450"/>
                  <a:gd name="connsiteY3" fmla="*/ 38198 h 47625"/>
                  <a:gd name="connsiteX4" fmla="*/ 11981 w 171450"/>
                  <a:gd name="connsiteY4" fmla="*/ 33150 h 47625"/>
                  <a:gd name="connsiteX5" fmla="*/ 27507 w 171450"/>
                  <a:gd name="connsiteY5" fmla="*/ 22101 h 47625"/>
                  <a:gd name="connsiteX6" fmla="*/ 147808 w 171450"/>
                  <a:gd name="connsiteY6" fmla="*/ 26959 h 47625"/>
                  <a:gd name="connsiteX7" fmla="*/ 162476 w 171450"/>
                  <a:gd name="connsiteY7" fmla="*/ 39246 h 47625"/>
                  <a:gd name="connsiteX8" fmla="*/ 166858 w 171450"/>
                  <a:gd name="connsiteY8" fmla="*/ 4467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1450" h="47625">
                    <a:moveTo>
                      <a:pt x="166858" y="44675"/>
                    </a:moveTo>
                    <a:cubicBezTo>
                      <a:pt x="166191" y="45342"/>
                      <a:pt x="159333" y="38103"/>
                      <a:pt x="145903" y="29911"/>
                    </a:cubicBezTo>
                    <a:cubicBezTo>
                      <a:pt x="110535" y="7949"/>
                      <a:pt x="66231" y="6177"/>
                      <a:pt x="29222" y="25244"/>
                    </a:cubicBezTo>
                    <a:cubicBezTo>
                      <a:pt x="15125" y="32293"/>
                      <a:pt x="7695" y="38960"/>
                      <a:pt x="7219" y="38198"/>
                    </a:cubicBezTo>
                    <a:cubicBezTo>
                      <a:pt x="6743" y="37436"/>
                      <a:pt x="8553" y="36102"/>
                      <a:pt x="11981" y="33150"/>
                    </a:cubicBezTo>
                    <a:cubicBezTo>
                      <a:pt x="16774" y="28957"/>
                      <a:pt x="21976" y="25255"/>
                      <a:pt x="27507" y="22101"/>
                    </a:cubicBezTo>
                    <a:cubicBezTo>
                      <a:pt x="65224" y="528"/>
                      <a:pt x="111953" y="2415"/>
                      <a:pt x="147808" y="26959"/>
                    </a:cubicBezTo>
                    <a:cubicBezTo>
                      <a:pt x="153092" y="30559"/>
                      <a:pt x="158006" y="34675"/>
                      <a:pt x="162476" y="39246"/>
                    </a:cubicBezTo>
                    <a:cubicBezTo>
                      <a:pt x="165620" y="42484"/>
                      <a:pt x="167048" y="44485"/>
                      <a:pt x="166858" y="44675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89" name="Полилиния: фигура 688">
                <a:extLst>
                  <a:ext uri="{FF2B5EF4-FFF2-40B4-BE49-F238E27FC236}">
                    <a16:creationId xmlns:a16="http://schemas.microsoft.com/office/drawing/2014/main" id="{644B3B50-7668-4AD8-8689-2E206DFC3FB8}"/>
                  </a:ext>
                </a:extLst>
              </p:cNvPr>
              <p:cNvSpPr/>
              <p:nvPr/>
            </p:nvSpPr>
            <p:spPr>
              <a:xfrm>
                <a:off x="4341699" y="5690400"/>
                <a:ext cx="1057275" cy="542925"/>
              </a:xfrm>
              <a:custGeom>
                <a:avLst/>
                <a:gdLst>
                  <a:gd name="connsiteX0" fmla="*/ 7144 w 1057275"/>
                  <a:gd name="connsiteY0" fmla="*/ 539210 h 542925"/>
                  <a:gd name="connsiteX1" fmla="*/ 8001 w 1057275"/>
                  <a:gd name="connsiteY1" fmla="*/ 536829 h 542925"/>
                  <a:gd name="connsiteX2" fmla="*/ 10859 w 1057275"/>
                  <a:gd name="connsiteY2" fmla="*/ 530257 h 542925"/>
                  <a:gd name="connsiteX3" fmla="*/ 22384 w 1057275"/>
                  <a:gd name="connsiteY3" fmla="*/ 504825 h 542925"/>
                  <a:gd name="connsiteX4" fmla="*/ 66008 w 1057275"/>
                  <a:gd name="connsiteY4" fmla="*/ 409575 h 542925"/>
                  <a:gd name="connsiteX5" fmla="*/ 217741 w 1057275"/>
                  <a:gd name="connsiteY5" fmla="*/ 83820 h 542925"/>
                  <a:gd name="connsiteX6" fmla="*/ 218408 w 1057275"/>
                  <a:gd name="connsiteY6" fmla="*/ 82487 h 542925"/>
                  <a:gd name="connsiteX7" fmla="*/ 219932 w 1057275"/>
                  <a:gd name="connsiteY7" fmla="*/ 82487 h 542925"/>
                  <a:gd name="connsiteX8" fmla="*/ 407384 w 1057275"/>
                  <a:gd name="connsiteY8" fmla="*/ 81629 h 542925"/>
                  <a:gd name="connsiteX9" fmla="*/ 894493 w 1057275"/>
                  <a:gd name="connsiteY9" fmla="*/ 80581 h 542925"/>
                  <a:gd name="connsiteX10" fmla="*/ 978694 w 1057275"/>
                  <a:gd name="connsiteY10" fmla="*/ 80581 h 542925"/>
                  <a:gd name="connsiteX11" fmla="*/ 1011079 w 1057275"/>
                  <a:gd name="connsiteY11" fmla="*/ 72771 h 542925"/>
                  <a:gd name="connsiteX12" fmla="*/ 1032891 w 1057275"/>
                  <a:gd name="connsiteY12" fmla="*/ 54483 h 542925"/>
                  <a:gd name="connsiteX13" fmla="*/ 1051941 w 1057275"/>
                  <a:gd name="connsiteY13" fmla="*/ 20002 h 542925"/>
                  <a:gd name="connsiteX14" fmla="*/ 1055275 w 1057275"/>
                  <a:gd name="connsiteY14" fmla="*/ 10478 h 542925"/>
                  <a:gd name="connsiteX15" fmla="*/ 1056608 w 1057275"/>
                  <a:gd name="connsiteY15" fmla="*/ 7144 h 542925"/>
                  <a:gd name="connsiteX16" fmla="*/ 1055751 w 1057275"/>
                  <a:gd name="connsiteY16" fmla="*/ 10573 h 542925"/>
                  <a:gd name="connsiteX17" fmla="*/ 1052893 w 1057275"/>
                  <a:gd name="connsiteY17" fmla="*/ 20669 h 542925"/>
                  <a:gd name="connsiteX18" fmla="*/ 1033843 w 1057275"/>
                  <a:gd name="connsiteY18" fmla="*/ 56102 h 542925"/>
                  <a:gd name="connsiteX19" fmla="*/ 1011745 w 1057275"/>
                  <a:gd name="connsiteY19" fmla="*/ 75152 h 542925"/>
                  <a:gd name="connsiteX20" fmla="*/ 978217 w 1057275"/>
                  <a:gd name="connsiteY20" fmla="*/ 83725 h 542925"/>
                  <a:gd name="connsiteX21" fmla="*/ 894112 w 1057275"/>
                  <a:gd name="connsiteY21" fmla="*/ 84391 h 542925"/>
                  <a:gd name="connsiteX22" fmla="*/ 407003 w 1057275"/>
                  <a:gd name="connsiteY22" fmla="*/ 86868 h 542925"/>
                  <a:gd name="connsiteX23" fmla="*/ 219551 w 1057275"/>
                  <a:gd name="connsiteY23" fmla="*/ 87535 h 542925"/>
                  <a:gd name="connsiteX24" fmla="*/ 221742 w 1057275"/>
                  <a:gd name="connsiteY24" fmla="*/ 86106 h 542925"/>
                  <a:gd name="connsiteX25" fmla="*/ 68389 w 1057275"/>
                  <a:gd name="connsiteY25" fmla="*/ 411194 h 542925"/>
                  <a:gd name="connsiteX26" fmla="*/ 23431 w 1057275"/>
                  <a:gd name="connsiteY26" fmla="*/ 505396 h 542925"/>
                  <a:gd name="connsiteX27" fmla="*/ 11239 w 1057275"/>
                  <a:gd name="connsiteY27" fmla="*/ 530543 h 542925"/>
                  <a:gd name="connsiteX28" fmla="*/ 8001 w 1057275"/>
                  <a:gd name="connsiteY28" fmla="*/ 536924 h 542925"/>
                  <a:gd name="connsiteX29" fmla="*/ 7144 w 1057275"/>
                  <a:gd name="connsiteY29" fmla="*/ 53921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057275" h="542925">
                    <a:moveTo>
                      <a:pt x="7144" y="539210"/>
                    </a:moveTo>
                    <a:lnTo>
                      <a:pt x="8001" y="536829"/>
                    </a:lnTo>
                    <a:lnTo>
                      <a:pt x="10859" y="530257"/>
                    </a:lnTo>
                    <a:lnTo>
                      <a:pt x="22384" y="504825"/>
                    </a:lnTo>
                    <a:cubicBezTo>
                      <a:pt x="32671" y="482441"/>
                      <a:pt x="47530" y="450247"/>
                      <a:pt x="66008" y="409575"/>
                    </a:cubicBezTo>
                    <a:lnTo>
                      <a:pt x="217741" y="83820"/>
                    </a:lnTo>
                    <a:lnTo>
                      <a:pt x="218408" y="82487"/>
                    </a:lnTo>
                    <a:lnTo>
                      <a:pt x="219932" y="82487"/>
                    </a:lnTo>
                    <a:lnTo>
                      <a:pt x="407384" y="81629"/>
                    </a:lnTo>
                    <a:lnTo>
                      <a:pt x="894493" y="80581"/>
                    </a:lnTo>
                    <a:lnTo>
                      <a:pt x="978694" y="80581"/>
                    </a:lnTo>
                    <a:cubicBezTo>
                      <a:pt x="990019" y="81189"/>
                      <a:pt x="1001276" y="78475"/>
                      <a:pt x="1011079" y="72771"/>
                    </a:cubicBezTo>
                    <a:cubicBezTo>
                      <a:pt x="1019374" y="68012"/>
                      <a:pt x="1026759" y="61821"/>
                      <a:pt x="1032891" y="54483"/>
                    </a:cubicBezTo>
                    <a:cubicBezTo>
                      <a:pt x="1041018" y="44065"/>
                      <a:pt x="1047448" y="32428"/>
                      <a:pt x="1051941" y="20002"/>
                    </a:cubicBezTo>
                    <a:lnTo>
                      <a:pt x="1055275" y="10478"/>
                    </a:lnTo>
                    <a:cubicBezTo>
                      <a:pt x="1055601" y="9323"/>
                      <a:pt x="1056048" y="8205"/>
                      <a:pt x="1056608" y="7144"/>
                    </a:cubicBezTo>
                    <a:cubicBezTo>
                      <a:pt x="1056396" y="8304"/>
                      <a:pt x="1056109" y="9449"/>
                      <a:pt x="1055751" y="10573"/>
                    </a:cubicBezTo>
                    <a:cubicBezTo>
                      <a:pt x="1055084" y="13145"/>
                      <a:pt x="1054132" y="16478"/>
                      <a:pt x="1052893" y="20669"/>
                    </a:cubicBezTo>
                    <a:cubicBezTo>
                      <a:pt x="1048613" y="33481"/>
                      <a:pt x="1042170" y="45465"/>
                      <a:pt x="1033843" y="56102"/>
                    </a:cubicBezTo>
                    <a:cubicBezTo>
                      <a:pt x="1027731" y="63776"/>
                      <a:pt x="1020236" y="70237"/>
                      <a:pt x="1011745" y="75152"/>
                    </a:cubicBezTo>
                    <a:cubicBezTo>
                      <a:pt x="1001660" y="81256"/>
                      <a:pt x="989994" y="84239"/>
                      <a:pt x="978217" y="83725"/>
                    </a:cubicBezTo>
                    <a:lnTo>
                      <a:pt x="894112" y="84391"/>
                    </a:lnTo>
                    <a:lnTo>
                      <a:pt x="407003" y="86868"/>
                    </a:lnTo>
                    <a:lnTo>
                      <a:pt x="219551" y="87535"/>
                    </a:lnTo>
                    <a:lnTo>
                      <a:pt x="221742" y="86106"/>
                    </a:lnTo>
                    <a:cubicBezTo>
                      <a:pt x="159925" y="217075"/>
                      <a:pt x="106489" y="330327"/>
                      <a:pt x="68389" y="411194"/>
                    </a:cubicBezTo>
                    <a:cubicBezTo>
                      <a:pt x="49339" y="451199"/>
                      <a:pt x="34099" y="483203"/>
                      <a:pt x="23431" y="505396"/>
                    </a:cubicBezTo>
                    <a:lnTo>
                      <a:pt x="11239" y="530543"/>
                    </a:lnTo>
                    <a:lnTo>
                      <a:pt x="8001" y="536924"/>
                    </a:lnTo>
                    <a:cubicBezTo>
                      <a:pt x="7785" y="537711"/>
                      <a:pt x="7498" y="538476"/>
                      <a:pt x="7144" y="53921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90" name="Полилиния: фигура 689">
                <a:extLst>
                  <a:ext uri="{FF2B5EF4-FFF2-40B4-BE49-F238E27FC236}">
                    <a16:creationId xmlns:a16="http://schemas.microsoft.com/office/drawing/2014/main" id="{37A0586D-57F7-48A0-B24A-0B6133656B93}"/>
                  </a:ext>
                </a:extLst>
              </p:cNvPr>
              <p:cNvSpPr/>
              <p:nvPr/>
            </p:nvSpPr>
            <p:spPr>
              <a:xfrm>
                <a:off x="4131006" y="5283850"/>
                <a:ext cx="714375" cy="628650"/>
              </a:xfrm>
              <a:custGeom>
                <a:avLst/>
                <a:gdLst>
                  <a:gd name="connsiteX0" fmla="*/ 710946 w 714375"/>
                  <a:gd name="connsiteY0" fmla="*/ 91557 h 628650"/>
                  <a:gd name="connsiteX1" fmla="*/ 708279 w 714375"/>
                  <a:gd name="connsiteY1" fmla="*/ 91557 h 628650"/>
                  <a:gd name="connsiteX2" fmla="*/ 700469 w 714375"/>
                  <a:gd name="connsiteY2" fmla="*/ 90129 h 628650"/>
                  <a:gd name="connsiteX3" fmla="*/ 670560 w 714375"/>
                  <a:gd name="connsiteY3" fmla="*/ 83938 h 628650"/>
                  <a:gd name="connsiteX4" fmla="*/ 560737 w 714375"/>
                  <a:gd name="connsiteY4" fmla="*/ 59934 h 628650"/>
                  <a:gd name="connsiteX5" fmla="*/ 396526 w 714375"/>
                  <a:gd name="connsiteY5" fmla="*/ 24121 h 628650"/>
                  <a:gd name="connsiteX6" fmla="*/ 372999 w 714375"/>
                  <a:gd name="connsiteY6" fmla="*/ 18977 h 628650"/>
                  <a:gd name="connsiteX7" fmla="*/ 349091 w 714375"/>
                  <a:gd name="connsiteY7" fmla="*/ 13833 h 628650"/>
                  <a:gd name="connsiteX8" fmla="*/ 299180 w 714375"/>
                  <a:gd name="connsiteY8" fmla="*/ 12881 h 628650"/>
                  <a:gd name="connsiteX9" fmla="*/ 253079 w 714375"/>
                  <a:gd name="connsiteY9" fmla="*/ 34407 h 628650"/>
                  <a:gd name="connsiteX10" fmla="*/ 221075 w 714375"/>
                  <a:gd name="connsiteY10" fmla="*/ 77080 h 628650"/>
                  <a:gd name="connsiteX11" fmla="*/ 221075 w 714375"/>
                  <a:gd name="connsiteY11" fmla="*/ 77080 h 628650"/>
                  <a:gd name="connsiteX12" fmla="*/ 210598 w 714375"/>
                  <a:gd name="connsiteY12" fmla="*/ 104321 h 628650"/>
                  <a:gd name="connsiteX13" fmla="*/ 67723 w 714375"/>
                  <a:gd name="connsiteY13" fmla="*/ 472272 h 628650"/>
                  <a:gd name="connsiteX14" fmla="*/ 23813 w 714375"/>
                  <a:gd name="connsiteY14" fmla="*/ 583619 h 628650"/>
                  <a:gd name="connsiteX15" fmla="*/ 11716 w 714375"/>
                  <a:gd name="connsiteY15" fmla="*/ 613813 h 628650"/>
                  <a:gd name="connsiteX16" fmla="*/ 8382 w 714375"/>
                  <a:gd name="connsiteY16" fmla="*/ 621529 h 628650"/>
                  <a:gd name="connsiteX17" fmla="*/ 7144 w 714375"/>
                  <a:gd name="connsiteY17" fmla="*/ 624196 h 628650"/>
                  <a:gd name="connsiteX18" fmla="*/ 7906 w 714375"/>
                  <a:gd name="connsiteY18" fmla="*/ 621433 h 628650"/>
                  <a:gd name="connsiteX19" fmla="*/ 10763 w 714375"/>
                  <a:gd name="connsiteY19" fmla="*/ 613432 h 628650"/>
                  <a:gd name="connsiteX20" fmla="*/ 22003 w 714375"/>
                  <a:gd name="connsiteY20" fmla="*/ 582952 h 628650"/>
                  <a:gd name="connsiteX21" fmla="*/ 64484 w 714375"/>
                  <a:gd name="connsiteY21" fmla="*/ 471033 h 628650"/>
                  <a:gd name="connsiteX22" fmla="*/ 206216 w 714375"/>
                  <a:gd name="connsiteY22" fmla="*/ 102606 h 628650"/>
                  <a:gd name="connsiteX23" fmla="*/ 216789 w 714375"/>
                  <a:gd name="connsiteY23" fmla="*/ 75365 h 628650"/>
                  <a:gd name="connsiteX24" fmla="*/ 216789 w 714375"/>
                  <a:gd name="connsiteY24" fmla="*/ 75365 h 628650"/>
                  <a:gd name="connsiteX25" fmla="*/ 216789 w 714375"/>
                  <a:gd name="connsiteY25" fmla="*/ 75365 h 628650"/>
                  <a:gd name="connsiteX26" fmla="*/ 249936 w 714375"/>
                  <a:gd name="connsiteY26" fmla="*/ 31264 h 628650"/>
                  <a:gd name="connsiteX27" fmla="*/ 298418 w 714375"/>
                  <a:gd name="connsiteY27" fmla="*/ 8690 h 628650"/>
                  <a:gd name="connsiteX28" fmla="*/ 349949 w 714375"/>
                  <a:gd name="connsiteY28" fmla="*/ 9833 h 628650"/>
                  <a:gd name="connsiteX29" fmla="*/ 374142 w 714375"/>
                  <a:gd name="connsiteY29" fmla="*/ 15072 h 628650"/>
                  <a:gd name="connsiteX30" fmla="*/ 397669 w 714375"/>
                  <a:gd name="connsiteY30" fmla="*/ 20406 h 628650"/>
                  <a:gd name="connsiteX31" fmla="*/ 560737 w 714375"/>
                  <a:gd name="connsiteY31" fmla="*/ 56601 h 628650"/>
                  <a:gd name="connsiteX32" fmla="*/ 670560 w 714375"/>
                  <a:gd name="connsiteY32" fmla="*/ 81747 h 628650"/>
                  <a:gd name="connsiteX33" fmla="*/ 700278 w 714375"/>
                  <a:gd name="connsiteY33" fmla="*/ 88795 h 628650"/>
                  <a:gd name="connsiteX34" fmla="*/ 707993 w 714375"/>
                  <a:gd name="connsiteY34" fmla="*/ 90700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714375" h="628650">
                    <a:moveTo>
                      <a:pt x="710946" y="91557"/>
                    </a:moveTo>
                    <a:cubicBezTo>
                      <a:pt x="710063" y="91701"/>
                      <a:pt x="709162" y="91701"/>
                      <a:pt x="708279" y="91557"/>
                    </a:cubicBezTo>
                    <a:lnTo>
                      <a:pt x="700469" y="90129"/>
                    </a:lnTo>
                    <a:lnTo>
                      <a:pt x="670560" y="83938"/>
                    </a:lnTo>
                    <a:lnTo>
                      <a:pt x="560737" y="59934"/>
                    </a:lnTo>
                    <a:lnTo>
                      <a:pt x="396526" y="24121"/>
                    </a:lnTo>
                    <a:lnTo>
                      <a:pt x="372999" y="18977"/>
                    </a:lnTo>
                    <a:cubicBezTo>
                      <a:pt x="365188" y="16977"/>
                      <a:pt x="357188" y="15167"/>
                      <a:pt x="349091" y="13833"/>
                    </a:cubicBezTo>
                    <a:cubicBezTo>
                      <a:pt x="332612" y="10849"/>
                      <a:pt x="315761" y="10527"/>
                      <a:pt x="299180" y="12881"/>
                    </a:cubicBezTo>
                    <a:cubicBezTo>
                      <a:pt x="282109" y="15625"/>
                      <a:pt x="266143" y="23080"/>
                      <a:pt x="253079" y="34407"/>
                    </a:cubicBezTo>
                    <a:cubicBezTo>
                      <a:pt x="239827" y="46496"/>
                      <a:pt x="228970" y="60973"/>
                      <a:pt x="221075" y="77080"/>
                    </a:cubicBezTo>
                    <a:lnTo>
                      <a:pt x="221075" y="77080"/>
                    </a:lnTo>
                    <a:lnTo>
                      <a:pt x="210598" y="104321"/>
                    </a:lnTo>
                    <a:cubicBezTo>
                      <a:pt x="154686" y="247958"/>
                      <a:pt x="104204" y="377879"/>
                      <a:pt x="67723" y="472272"/>
                    </a:cubicBezTo>
                    <a:cubicBezTo>
                      <a:pt x="49339" y="519039"/>
                      <a:pt x="34290" y="557044"/>
                      <a:pt x="23813" y="583619"/>
                    </a:cubicBezTo>
                    <a:cubicBezTo>
                      <a:pt x="18669" y="596478"/>
                      <a:pt x="14288" y="606574"/>
                      <a:pt x="11716" y="613813"/>
                    </a:cubicBezTo>
                    <a:cubicBezTo>
                      <a:pt x="10287" y="616956"/>
                      <a:pt x="9239" y="619528"/>
                      <a:pt x="8382" y="621529"/>
                    </a:cubicBezTo>
                    <a:cubicBezTo>
                      <a:pt x="7525" y="623529"/>
                      <a:pt x="7144" y="624196"/>
                      <a:pt x="7144" y="624196"/>
                    </a:cubicBezTo>
                    <a:cubicBezTo>
                      <a:pt x="7280" y="623246"/>
                      <a:pt x="7536" y="622318"/>
                      <a:pt x="7906" y="621433"/>
                    </a:cubicBezTo>
                    <a:cubicBezTo>
                      <a:pt x="8668" y="619338"/>
                      <a:pt x="9525" y="616671"/>
                      <a:pt x="10763" y="613432"/>
                    </a:cubicBezTo>
                    <a:cubicBezTo>
                      <a:pt x="13430" y="606098"/>
                      <a:pt x="17240" y="595906"/>
                      <a:pt x="22003" y="582952"/>
                    </a:cubicBezTo>
                    <a:lnTo>
                      <a:pt x="64484" y="471033"/>
                    </a:lnTo>
                    <a:cubicBezTo>
                      <a:pt x="100870" y="376450"/>
                      <a:pt x="150876" y="246339"/>
                      <a:pt x="206216" y="102606"/>
                    </a:cubicBezTo>
                    <a:lnTo>
                      <a:pt x="216789" y="75365"/>
                    </a:lnTo>
                    <a:lnTo>
                      <a:pt x="216789" y="75365"/>
                    </a:lnTo>
                    <a:lnTo>
                      <a:pt x="216789" y="75365"/>
                    </a:lnTo>
                    <a:cubicBezTo>
                      <a:pt x="224928" y="58687"/>
                      <a:pt x="236178" y="43718"/>
                      <a:pt x="249936" y="31264"/>
                    </a:cubicBezTo>
                    <a:cubicBezTo>
                      <a:pt x="263695" y="19395"/>
                      <a:pt x="280479" y="11580"/>
                      <a:pt x="298418" y="8690"/>
                    </a:cubicBezTo>
                    <a:cubicBezTo>
                      <a:pt x="315545" y="6298"/>
                      <a:pt x="332945" y="6684"/>
                      <a:pt x="349949" y="9833"/>
                    </a:cubicBezTo>
                    <a:cubicBezTo>
                      <a:pt x="358235" y="11262"/>
                      <a:pt x="366236" y="13072"/>
                      <a:pt x="374142" y="15072"/>
                    </a:cubicBezTo>
                    <a:lnTo>
                      <a:pt x="397669" y="20406"/>
                    </a:lnTo>
                    <a:lnTo>
                      <a:pt x="560737" y="56601"/>
                    </a:lnTo>
                    <a:lnTo>
                      <a:pt x="670560" y="81747"/>
                    </a:lnTo>
                    <a:lnTo>
                      <a:pt x="700278" y="88795"/>
                    </a:lnTo>
                    <a:lnTo>
                      <a:pt x="707993" y="90700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91" name="Полилиния: фигура 690">
                <a:extLst>
                  <a:ext uri="{FF2B5EF4-FFF2-40B4-BE49-F238E27FC236}">
                    <a16:creationId xmlns:a16="http://schemas.microsoft.com/office/drawing/2014/main" id="{547D7866-0ED4-41B5-8CD3-512657F4B989}"/>
                  </a:ext>
                </a:extLst>
              </p:cNvPr>
              <p:cNvSpPr/>
              <p:nvPr/>
            </p:nvSpPr>
            <p:spPr>
              <a:xfrm>
                <a:off x="3940982" y="5915951"/>
                <a:ext cx="381000" cy="266700"/>
              </a:xfrm>
              <a:custGeom>
                <a:avLst/>
                <a:gdLst>
                  <a:gd name="connsiteX0" fmla="*/ 378619 w 381000"/>
                  <a:gd name="connsiteY0" fmla="*/ 57055 h 266700"/>
                  <a:gd name="connsiteX1" fmla="*/ 309944 w 381000"/>
                  <a:gd name="connsiteY1" fmla="*/ 261271 h 266700"/>
                  <a:gd name="connsiteX2" fmla="*/ 7144 w 381000"/>
                  <a:gd name="connsiteY2" fmla="*/ 141351 h 266700"/>
                  <a:gd name="connsiteX3" fmla="*/ 200025 w 381000"/>
                  <a:gd name="connsiteY3" fmla="*/ 117062 h 266700"/>
                  <a:gd name="connsiteX4" fmla="*/ 239078 w 381000"/>
                  <a:gd name="connsiteY4" fmla="*/ 7144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0" h="266700">
                    <a:moveTo>
                      <a:pt x="378619" y="57055"/>
                    </a:moveTo>
                    <a:lnTo>
                      <a:pt x="309944" y="261271"/>
                    </a:lnTo>
                    <a:lnTo>
                      <a:pt x="7144" y="141351"/>
                    </a:lnTo>
                    <a:cubicBezTo>
                      <a:pt x="20384" y="112776"/>
                      <a:pt x="200025" y="117062"/>
                      <a:pt x="200025" y="117062"/>
                    </a:cubicBezTo>
                    <a:lnTo>
                      <a:pt x="239078" y="7144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92" name="Полилиния: фигура 691">
                <a:extLst>
                  <a:ext uri="{FF2B5EF4-FFF2-40B4-BE49-F238E27FC236}">
                    <a16:creationId xmlns:a16="http://schemas.microsoft.com/office/drawing/2014/main" id="{E74E339A-430D-4E28-B136-C5FEB3F2A67A}"/>
                  </a:ext>
                </a:extLst>
              </p:cNvPr>
              <p:cNvSpPr/>
              <p:nvPr/>
            </p:nvSpPr>
            <p:spPr>
              <a:xfrm>
                <a:off x="4213054" y="6047538"/>
                <a:ext cx="38100" cy="38100"/>
              </a:xfrm>
              <a:custGeom>
                <a:avLst/>
                <a:gdLst>
                  <a:gd name="connsiteX0" fmla="*/ 26823 w 38100"/>
                  <a:gd name="connsiteY0" fmla="*/ 9478 h 38100"/>
                  <a:gd name="connsiteX1" fmla="*/ 29775 w 38100"/>
                  <a:gd name="connsiteY1" fmla="*/ 27004 h 38100"/>
                  <a:gd name="connsiteX2" fmla="*/ 12440 w 38100"/>
                  <a:gd name="connsiteY2" fmla="*/ 30053 h 38100"/>
                  <a:gd name="connsiteX3" fmla="*/ 9392 w 38100"/>
                  <a:gd name="connsiteY3" fmla="*/ 11479 h 38100"/>
                  <a:gd name="connsiteX4" fmla="*/ 27775 w 38100"/>
                  <a:gd name="connsiteY4" fmla="*/ 1024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38100">
                    <a:moveTo>
                      <a:pt x="26823" y="9478"/>
                    </a:moveTo>
                    <a:cubicBezTo>
                      <a:pt x="32046" y="13763"/>
                      <a:pt x="33306" y="21245"/>
                      <a:pt x="29775" y="27004"/>
                    </a:cubicBezTo>
                    <a:cubicBezTo>
                      <a:pt x="25707" y="32436"/>
                      <a:pt x="18117" y="33770"/>
                      <a:pt x="12440" y="30053"/>
                    </a:cubicBezTo>
                    <a:cubicBezTo>
                      <a:pt x="6793" y="25569"/>
                      <a:pt x="5474" y="17531"/>
                      <a:pt x="9392" y="11479"/>
                    </a:cubicBezTo>
                    <a:cubicBezTo>
                      <a:pt x="14203" y="6218"/>
                      <a:pt x="22301" y="5673"/>
                      <a:pt x="27775" y="10240"/>
                    </a:cubicBezTo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93" name="Полилиния: фигура 692">
                <a:extLst>
                  <a:ext uri="{FF2B5EF4-FFF2-40B4-BE49-F238E27FC236}">
                    <a16:creationId xmlns:a16="http://schemas.microsoft.com/office/drawing/2014/main" id="{CFC6D820-200B-4389-BA75-8632F01AF7DF}"/>
                  </a:ext>
                </a:extLst>
              </p:cNvPr>
              <p:cNvSpPr/>
              <p:nvPr/>
            </p:nvSpPr>
            <p:spPr>
              <a:xfrm>
                <a:off x="3940887" y="6040443"/>
                <a:ext cx="323850" cy="142875"/>
              </a:xfrm>
              <a:custGeom>
                <a:avLst/>
                <a:gdLst>
                  <a:gd name="connsiteX0" fmla="*/ 310039 w 323850"/>
                  <a:gd name="connsiteY0" fmla="*/ 136779 h 142875"/>
                  <a:gd name="connsiteX1" fmla="*/ 320421 w 323850"/>
                  <a:gd name="connsiteY1" fmla="*/ 111347 h 142875"/>
                  <a:gd name="connsiteX2" fmla="*/ 25146 w 323850"/>
                  <a:gd name="connsiteY2" fmla="*/ 7144 h 142875"/>
                  <a:gd name="connsiteX3" fmla="*/ 7144 w 323850"/>
                  <a:gd name="connsiteY3" fmla="*/ 17812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3850" h="142875">
                    <a:moveTo>
                      <a:pt x="310039" y="136779"/>
                    </a:moveTo>
                    <a:lnTo>
                      <a:pt x="320421" y="111347"/>
                    </a:lnTo>
                    <a:lnTo>
                      <a:pt x="25146" y="7144"/>
                    </a:lnTo>
                    <a:cubicBezTo>
                      <a:pt x="25146" y="7144"/>
                      <a:pt x="9334" y="7715"/>
                      <a:pt x="7144" y="17812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94" name="Полилиния: фигура 693">
                <a:extLst>
                  <a:ext uri="{FF2B5EF4-FFF2-40B4-BE49-F238E27FC236}">
                    <a16:creationId xmlns:a16="http://schemas.microsoft.com/office/drawing/2014/main" id="{3901002D-E6FC-4D83-9D20-03CD7AACCBC5}"/>
                  </a:ext>
                </a:extLst>
              </p:cNvPr>
              <p:cNvSpPr/>
              <p:nvPr/>
            </p:nvSpPr>
            <p:spPr>
              <a:xfrm>
                <a:off x="4129545" y="6021968"/>
                <a:ext cx="28575" cy="38100"/>
              </a:xfrm>
              <a:custGeom>
                <a:avLst/>
                <a:gdLst>
                  <a:gd name="connsiteX0" fmla="*/ 7176 w 28575"/>
                  <a:gd name="connsiteY0" fmla="*/ 7617 h 38100"/>
                  <a:gd name="connsiteX1" fmla="*/ 19177 w 28575"/>
                  <a:gd name="connsiteY1" fmla="*/ 20285 h 38100"/>
                  <a:gd name="connsiteX2" fmla="*/ 27559 w 28575"/>
                  <a:gd name="connsiteY2" fmla="*/ 35620 h 38100"/>
                  <a:gd name="connsiteX3" fmla="*/ 23654 w 28575"/>
                  <a:gd name="connsiteY3" fmla="*/ 17047 h 38100"/>
                  <a:gd name="connsiteX4" fmla="*/ 7176 w 28575"/>
                  <a:gd name="connsiteY4" fmla="*/ 7617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38100">
                    <a:moveTo>
                      <a:pt x="7176" y="7617"/>
                    </a:moveTo>
                    <a:cubicBezTo>
                      <a:pt x="6605" y="9046"/>
                      <a:pt x="13748" y="12665"/>
                      <a:pt x="19177" y="20285"/>
                    </a:cubicBezTo>
                    <a:cubicBezTo>
                      <a:pt x="24607" y="27905"/>
                      <a:pt x="25940" y="35716"/>
                      <a:pt x="27559" y="35620"/>
                    </a:cubicBezTo>
                    <a:cubicBezTo>
                      <a:pt x="29179" y="35525"/>
                      <a:pt x="30322" y="26095"/>
                      <a:pt x="23654" y="17047"/>
                    </a:cubicBezTo>
                    <a:cubicBezTo>
                      <a:pt x="16987" y="7998"/>
                      <a:pt x="7366" y="6093"/>
                      <a:pt x="7176" y="7617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95" name="Полилиния: фигура 694">
                <a:extLst>
                  <a:ext uri="{FF2B5EF4-FFF2-40B4-BE49-F238E27FC236}">
                    <a16:creationId xmlns:a16="http://schemas.microsoft.com/office/drawing/2014/main" id="{93709096-E64B-4D0B-995D-A1200E197068}"/>
                  </a:ext>
                </a:extLst>
              </p:cNvPr>
              <p:cNvSpPr/>
              <p:nvPr/>
            </p:nvSpPr>
            <p:spPr>
              <a:xfrm>
                <a:off x="4092510" y="6022673"/>
                <a:ext cx="19050" cy="38100"/>
              </a:xfrm>
              <a:custGeom>
                <a:avLst/>
                <a:gdLst>
                  <a:gd name="connsiteX0" fmla="*/ 7255 w 19050"/>
                  <a:gd name="connsiteY0" fmla="*/ 7388 h 38100"/>
                  <a:gd name="connsiteX1" fmla="*/ 14303 w 19050"/>
                  <a:gd name="connsiteY1" fmla="*/ 22057 h 38100"/>
                  <a:gd name="connsiteX2" fmla="*/ 17161 w 19050"/>
                  <a:gd name="connsiteY2" fmla="*/ 37963 h 38100"/>
                  <a:gd name="connsiteX3" fmla="*/ 19542 w 19050"/>
                  <a:gd name="connsiteY3" fmla="*/ 20342 h 38100"/>
                  <a:gd name="connsiteX4" fmla="*/ 7255 w 19050"/>
                  <a:gd name="connsiteY4" fmla="*/ 738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7255" y="7388"/>
                    </a:moveTo>
                    <a:cubicBezTo>
                      <a:pt x="6302" y="8722"/>
                      <a:pt x="11731" y="13770"/>
                      <a:pt x="14303" y="22057"/>
                    </a:cubicBezTo>
                    <a:cubicBezTo>
                      <a:pt x="16875" y="30343"/>
                      <a:pt x="15637" y="37487"/>
                      <a:pt x="17161" y="37963"/>
                    </a:cubicBezTo>
                    <a:cubicBezTo>
                      <a:pt x="18684" y="38440"/>
                      <a:pt x="22875" y="30534"/>
                      <a:pt x="19542" y="20342"/>
                    </a:cubicBezTo>
                    <a:cubicBezTo>
                      <a:pt x="16208" y="10151"/>
                      <a:pt x="7826" y="6055"/>
                      <a:pt x="7255" y="7388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96" name="Полилиния: фигура 695">
                <a:extLst>
                  <a:ext uri="{FF2B5EF4-FFF2-40B4-BE49-F238E27FC236}">
                    <a16:creationId xmlns:a16="http://schemas.microsoft.com/office/drawing/2014/main" id="{01B95362-F88A-440C-9234-89C5E58DB2C6}"/>
                  </a:ext>
                </a:extLst>
              </p:cNvPr>
              <p:cNvSpPr/>
              <p:nvPr/>
            </p:nvSpPr>
            <p:spPr>
              <a:xfrm>
                <a:off x="4057476" y="6023848"/>
                <a:ext cx="19050" cy="38100"/>
              </a:xfrm>
              <a:custGeom>
                <a:avLst/>
                <a:gdLst>
                  <a:gd name="connsiteX0" fmla="*/ 9141 w 19050"/>
                  <a:gd name="connsiteY0" fmla="*/ 37169 h 38100"/>
                  <a:gd name="connsiteX1" fmla="*/ 14761 w 19050"/>
                  <a:gd name="connsiteY1" fmla="*/ 21834 h 38100"/>
                  <a:gd name="connsiteX2" fmla="*/ 7427 w 19050"/>
                  <a:gd name="connsiteY2" fmla="*/ 7260 h 38100"/>
                  <a:gd name="connsiteX3" fmla="*/ 9237 w 19050"/>
                  <a:gd name="connsiteY3" fmla="*/ 22119 h 38100"/>
                  <a:gd name="connsiteX4" fmla="*/ 9141 w 19050"/>
                  <a:gd name="connsiteY4" fmla="*/ 37169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9141" y="37169"/>
                    </a:moveTo>
                    <a:cubicBezTo>
                      <a:pt x="10380" y="37931"/>
                      <a:pt x="15428" y="31359"/>
                      <a:pt x="14761" y="21834"/>
                    </a:cubicBezTo>
                    <a:cubicBezTo>
                      <a:pt x="14095" y="12309"/>
                      <a:pt x="8570" y="6213"/>
                      <a:pt x="7427" y="7260"/>
                    </a:cubicBezTo>
                    <a:cubicBezTo>
                      <a:pt x="6284" y="8308"/>
                      <a:pt x="8951" y="14214"/>
                      <a:pt x="9237" y="22119"/>
                    </a:cubicBezTo>
                    <a:cubicBezTo>
                      <a:pt x="9522" y="30025"/>
                      <a:pt x="7808" y="36407"/>
                      <a:pt x="9141" y="37169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97" name="Полилиния: фигура 696">
                <a:extLst>
                  <a:ext uri="{FF2B5EF4-FFF2-40B4-BE49-F238E27FC236}">
                    <a16:creationId xmlns:a16="http://schemas.microsoft.com/office/drawing/2014/main" id="{9412C1A7-EFA1-40F8-B0CD-A467E8ECB89A}"/>
                  </a:ext>
                </a:extLst>
              </p:cNvPr>
              <p:cNvSpPr/>
              <p:nvPr/>
            </p:nvSpPr>
            <p:spPr>
              <a:xfrm>
                <a:off x="4146335" y="5986156"/>
                <a:ext cx="38100" cy="28575"/>
              </a:xfrm>
              <a:custGeom>
                <a:avLst/>
                <a:gdLst>
                  <a:gd name="connsiteX0" fmla="*/ 7150 w 38100"/>
                  <a:gd name="connsiteY0" fmla="*/ 8758 h 28575"/>
                  <a:gd name="connsiteX1" fmla="*/ 22962 w 38100"/>
                  <a:gd name="connsiteY1" fmla="*/ 14854 h 28575"/>
                  <a:gd name="connsiteX2" fmla="*/ 37821 w 38100"/>
                  <a:gd name="connsiteY2" fmla="*/ 23046 h 28575"/>
                  <a:gd name="connsiteX3" fmla="*/ 25343 w 38100"/>
                  <a:gd name="connsiteY3" fmla="*/ 9901 h 28575"/>
                  <a:gd name="connsiteX4" fmla="*/ 7150 w 38100"/>
                  <a:gd name="connsiteY4" fmla="*/ 8758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7150" y="8758"/>
                    </a:moveTo>
                    <a:cubicBezTo>
                      <a:pt x="7150" y="10377"/>
                      <a:pt x="14866" y="11044"/>
                      <a:pt x="22962" y="14854"/>
                    </a:cubicBezTo>
                    <a:cubicBezTo>
                      <a:pt x="31058" y="18664"/>
                      <a:pt x="36583" y="24379"/>
                      <a:pt x="37821" y="23046"/>
                    </a:cubicBezTo>
                    <a:cubicBezTo>
                      <a:pt x="39059" y="21712"/>
                      <a:pt x="34964" y="14282"/>
                      <a:pt x="25343" y="9901"/>
                    </a:cubicBezTo>
                    <a:cubicBezTo>
                      <a:pt x="15723" y="5520"/>
                      <a:pt x="6865" y="7329"/>
                      <a:pt x="7150" y="8758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98" name="Полилиния: фигура 697">
                <a:extLst>
                  <a:ext uri="{FF2B5EF4-FFF2-40B4-BE49-F238E27FC236}">
                    <a16:creationId xmlns:a16="http://schemas.microsoft.com/office/drawing/2014/main" id="{B6EBC4FC-6900-4903-A6CC-53BE3E26647B}"/>
                  </a:ext>
                </a:extLst>
              </p:cNvPr>
              <p:cNvSpPr/>
              <p:nvPr/>
            </p:nvSpPr>
            <p:spPr>
              <a:xfrm>
                <a:off x="4167773" y="5943532"/>
                <a:ext cx="66675" cy="28575"/>
              </a:xfrm>
              <a:custGeom>
                <a:avLst/>
                <a:gdLst>
                  <a:gd name="connsiteX0" fmla="*/ 7144 w 66675"/>
                  <a:gd name="connsiteY0" fmla="*/ 18330 h 28575"/>
                  <a:gd name="connsiteX1" fmla="*/ 22384 w 66675"/>
                  <a:gd name="connsiteY1" fmla="*/ 24235 h 28575"/>
                  <a:gd name="connsiteX2" fmla="*/ 40196 w 66675"/>
                  <a:gd name="connsiteY2" fmla="*/ 25664 h 28575"/>
                  <a:gd name="connsiteX3" fmla="*/ 50673 w 66675"/>
                  <a:gd name="connsiteY3" fmla="*/ 24521 h 28575"/>
                  <a:gd name="connsiteX4" fmla="*/ 56674 w 66675"/>
                  <a:gd name="connsiteY4" fmla="*/ 22711 h 28575"/>
                  <a:gd name="connsiteX5" fmla="*/ 60484 w 66675"/>
                  <a:gd name="connsiteY5" fmla="*/ 15187 h 28575"/>
                  <a:gd name="connsiteX6" fmla="*/ 55340 w 66675"/>
                  <a:gd name="connsiteY6" fmla="*/ 9186 h 28575"/>
                  <a:gd name="connsiteX7" fmla="*/ 49339 w 66675"/>
                  <a:gd name="connsiteY7" fmla="*/ 7757 h 28575"/>
                  <a:gd name="connsiteX8" fmla="*/ 38671 w 66675"/>
                  <a:gd name="connsiteY8" fmla="*/ 7186 h 28575"/>
                  <a:gd name="connsiteX9" fmla="*/ 21050 w 66675"/>
                  <a:gd name="connsiteY9" fmla="*/ 10900 h 28575"/>
                  <a:gd name="connsiteX10" fmla="*/ 7239 w 66675"/>
                  <a:gd name="connsiteY10" fmla="*/ 19663 h 28575"/>
                  <a:gd name="connsiteX11" fmla="*/ 22193 w 66675"/>
                  <a:gd name="connsiteY11" fmla="*/ 14615 h 28575"/>
                  <a:gd name="connsiteX12" fmla="*/ 38767 w 66675"/>
                  <a:gd name="connsiteY12" fmla="*/ 12329 h 28575"/>
                  <a:gd name="connsiteX13" fmla="*/ 48292 w 66675"/>
                  <a:gd name="connsiteY13" fmla="*/ 13091 h 28575"/>
                  <a:gd name="connsiteX14" fmla="*/ 54769 w 66675"/>
                  <a:gd name="connsiteY14" fmla="*/ 16330 h 28575"/>
                  <a:gd name="connsiteX15" fmla="*/ 53816 w 66675"/>
                  <a:gd name="connsiteY15" fmla="*/ 17854 h 28575"/>
                  <a:gd name="connsiteX16" fmla="*/ 49435 w 66675"/>
                  <a:gd name="connsiteY16" fmla="*/ 19187 h 28575"/>
                  <a:gd name="connsiteX17" fmla="*/ 39910 w 66675"/>
                  <a:gd name="connsiteY17" fmla="*/ 20616 h 28575"/>
                  <a:gd name="connsiteX18" fmla="*/ 23051 w 66675"/>
                  <a:gd name="connsiteY18" fmla="*/ 20616 h 28575"/>
                  <a:gd name="connsiteX19" fmla="*/ 7144 w 66675"/>
                  <a:gd name="connsiteY19" fmla="*/ 1833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6675" h="28575">
                    <a:moveTo>
                      <a:pt x="7144" y="18330"/>
                    </a:moveTo>
                    <a:cubicBezTo>
                      <a:pt x="11618" y="21600"/>
                      <a:pt x="16874" y="23636"/>
                      <a:pt x="22384" y="24235"/>
                    </a:cubicBezTo>
                    <a:cubicBezTo>
                      <a:pt x="28239" y="25448"/>
                      <a:pt x="34222" y="25928"/>
                      <a:pt x="40196" y="25664"/>
                    </a:cubicBezTo>
                    <a:cubicBezTo>
                      <a:pt x="43709" y="25504"/>
                      <a:pt x="47208" y="25122"/>
                      <a:pt x="50673" y="24521"/>
                    </a:cubicBezTo>
                    <a:cubicBezTo>
                      <a:pt x="52752" y="24219"/>
                      <a:pt x="54775" y="23609"/>
                      <a:pt x="56674" y="22711"/>
                    </a:cubicBezTo>
                    <a:cubicBezTo>
                      <a:pt x="59544" y="21399"/>
                      <a:pt x="61125" y="18276"/>
                      <a:pt x="60484" y="15187"/>
                    </a:cubicBezTo>
                    <a:cubicBezTo>
                      <a:pt x="59834" y="12476"/>
                      <a:pt x="57920" y="10242"/>
                      <a:pt x="55340" y="9186"/>
                    </a:cubicBezTo>
                    <a:cubicBezTo>
                      <a:pt x="53431" y="8387"/>
                      <a:pt x="51404" y="7904"/>
                      <a:pt x="49339" y="7757"/>
                    </a:cubicBezTo>
                    <a:cubicBezTo>
                      <a:pt x="45808" y="7242"/>
                      <a:pt x="42238" y="7051"/>
                      <a:pt x="38671" y="7186"/>
                    </a:cubicBezTo>
                    <a:cubicBezTo>
                      <a:pt x="32636" y="7470"/>
                      <a:pt x="26686" y="8724"/>
                      <a:pt x="21050" y="10900"/>
                    </a:cubicBezTo>
                    <a:cubicBezTo>
                      <a:pt x="11525" y="14615"/>
                      <a:pt x="6858" y="19187"/>
                      <a:pt x="7239" y="19663"/>
                    </a:cubicBezTo>
                    <a:cubicBezTo>
                      <a:pt x="7620" y="20140"/>
                      <a:pt x="12954" y="17092"/>
                      <a:pt x="22193" y="14615"/>
                    </a:cubicBezTo>
                    <a:cubicBezTo>
                      <a:pt x="27595" y="13137"/>
                      <a:pt x="33167" y="12368"/>
                      <a:pt x="38767" y="12329"/>
                    </a:cubicBezTo>
                    <a:cubicBezTo>
                      <a:pt x="41957" y="12322"/>
                      <a:pt x="45143" y="12577"/>
                      <a:pt x="48292" y="13091"/>
                    </a:cubicBezTo>
                    <a:cubicBezTo>
                      <a:pt x="51816" y="13091"/>
                      <a:pt x="54578" y="14615"/>
                      <a:pt x="54769" y="16330"/>
                    </a:cubicBezTo>
                    <a:cubicBezTo>
                      <a:pt x="54959" y="18044"/>
                      <a:pt x="54769" y="17187"/>
                      <a:pt x="53816" y="17854"/>
                    </a:cubicBezTo>
                    <a:cubicBezTo>
                      <a:pt x="52433" y="18521"/>
                      <a:pt x="50955" y="18970"/>
                      <a:pt x="49435" y="19187"/>
                    </a:cubicBezTo>
                    <a:cubicBezTo>
                      <a:pt x="46286" y="19824"/>
                      <a:pt x="43107" y="20301"/>
                      <a:pt x="39910" y="20616"/>
                    </a:cubicBezTo>
                    <a:cubicBezTo>
                      <a:pt x="34301" y="21102"/>
                      <a:pt x="28660" y="21102"/>
                      <a:pt x="23051" y="20616"/>
                    </a:cubicBezTo>
                    <a:cubicBezTo>
                      <a:pt x="17817" y="19440"/>
                      <a:pt x="12498" y="18675"/>
                      <a:pt x="7144" y="18330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99" name="Полилиния: фигура 698">
                <a:extLst>
                  <a:ext uri="{FF2B5EF4-FFF2-40B4-BE49-F238E27FC236}">
                    <a16:creationId xmlns:a16="http://schemas.microsoft.com/office/drawing/2014/main" id="{94FF9865-B417-4E17-96D7-5B9DEF52E92B}"/>
                  </a:ext>
                </a:extLst>
              </p:cNvPr>
              <p:cNvSpPr/>
              <p:nvPr/>
            </p:nvSpPr>
            <p:spPr>
              <a:xfrm>
                <a:off x="4159599" y="5904394"/>
                <a:ext cx="28575" cy="66675"/>
              </a:xfrm>
              <a:custGeom>
                <a:avLst/>
                <a:gdLst>
                  <a:gd name="connsiteX0" fmla="*/ 16460 w 28575"/>
                  <a:gd name="connsiteY0" fmla="*/ 60326 h 66675"/>
                  <a:gd name="connsiteX1" fmla="*/ 25985 w 28575"/>
                  <a:gd name="connsiteY1" fmla="*/ 47276 h 66675"/>
                  <a:gd name="connsiteX2" fmla="*/ 30462 w 28575"/>
                  <a:gd name="connsiteY2" fmla="*/ 29846 h 66675"/>
                  <a:gd name="connsiteX3" fmla="*/ 30462 w 28575"/>
                  <a:gd name="connsiteY3" fmla="*/ 19083 h 66675"/>
                  <a:gd name="connsiteX4" fmla="*/ 23794 w 28575"/>
                  <a:gd name="connsiteY4" fmla="*/ 7652 h 66675"/>
                  <a:gd name="connsiteX5" fmla="*/ 15794 w 28575"/>
                  <a:gd name="connsiteY5" fmla="*/ 9367 h 66675"/>
                  <a:gd name="connsiteX6" fmla="*/ 11984 w 28575"/>
                  <a:gd name="connsiteY6" fmla="*/ 14320 h 66675"/>
                  <a:gd name="connsiteX7" fmla="*/ 8269 w 28575"/>
                  <a:gd name="connsiteY7" fmla="*/ 24702 h 66675"/>
                  <a:gd name="connsiteX8" fmla="*/ 8269 w 28575"/>
                  <a:gd name="connsiteY8" fmla="*/ 42895 h 66675"/>
                  <a:gd name="connsiteX9" fmla="*/ 16841 w 28575"/>
                  <a:gd name="connsiteY9" fmla="*/ 56897 h 66675"/>
                  <a:gd name="connsiteX10" fmla="*/ 12079 w 28575"/>
                  <a:gd name="connsiteY10" fmla="*/ 42133 h 66675"/>
                  <a:gd name="connsiteX11" fmla="*/ 12936 w 28575"/>
                  <a:gd name="connsiteY11" fmla="*/ 25941 h 66675"/>
                  <a:gd name="connsiteX12" fmla="*/ 16651 w 28575"/>
                  <a:gd name="connsiteY12" fmla="*/ 17273 h 66675"/>
                  <a:gd name="connsiteX13" fmla="*/ 21699 w 28575"/>
                  <a:gd name="connsiteY13" fmla="*/ 12986 h 66675"/>
                  <a:gd name="connsiteX14" fmla="*/ 25033 w 28575"/>
                  <a:gd name="connsiteY14" fmla="*/ 20035 h 66675"/>
                  <a:gd name="connsiteX15" fmla="*/ 22461 w 28575"/>
                  <a:gd name="connsiteY15" fmla="*/ 46038 h 66675"/>
                  <a:gd name="connsiteX16" fmla="*/ 16460 w 28575"/>
                  <a:gd name="connsiteY16" fmla="*/ 60326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575" h="66675">
                    <a:moveTo>
                      <a:pt x="16460" y="60326"/>
                    </a:moveTo>
                    <a:cubicBezTo>
                      <a:pt x="16460" y="60802"/>
                      <a:pt x="21890" y="56611"/>
                      <a:pt x="25985" y="47276"/>
                    </a:cubicBezTo>
                    <a:cubicBezTo>
                      <a:pt x="28451" y="41760"/>
                      <a:pt x="29964" y="35867"/>
                      <a:pt x="30462" y="29846"/>
                    </a:cubicBezTo>
                    <a:cubicBezTo>
                      <a:pt x="30841" y="26268"/>
                      <a:pt x="30841" y="22660"/>
                      <a:pt x="30462" y="19083"/>
                    </a:cubicBezTo>
                    <a:cubicBezTo>
                      <a:pt x="30364" y="14376"/>
                      <a:pt x="27843" y="10055"/>
                      <a:pt x="23794" y="7652"/>
                    </a:cubicBezTo>
                    <a:cubicBezTo>
                      <a:pt x="21025" y="6571"/>
                      <a:pt x="17877" y="7246"/>
                      <a:pt x="15794" y="9367"/>
                    </a:cubicBezTo>
                    <a:cubicBezTo>
                      <a:pt x="14319" y="10850"/>
                      <a:pt x="13038" y="12514"/>
                      <a:pt x="11984" y="14320"/>
                    </a:cubicBezTo>
                    <a:cubicBezTo>
                      <a:pt x="10228" y="17573"/>
                      <a:pt x="8975" y="21073"/>
                      <a:pt x="8269" y="24702"/>
                    </a:cubicBezTo>
                    <a:cubicBezTo>
                      <a:pt x="6769" y="30673"/>
                      <a:pt x="6769" y="36923"/>
                      <a:pt x="8269" y="42895"/>
                    </a:cubicBezTo>
                    <a:cubicBezTo>
                      <a:pt x="11031" y="53087"/>
                      <a:pt x="16556" y="57373"/>
                      <a:pt x="16841" y="56897"/>
                    </a:cubicBezTo>
                    <a:cubicBezTo>
                      <a:pt x="14953" y="52078"/>
                      <a:pt x="13362" y="47147"/>
                      <a:pt x="12079" y="42133"/>
                    </a:cubicBezTo>
                    <a:cubicBezTo>
                      <a:pt x="11153" y="36739"/>
                      <a:pt x="11446" y="31206"/>
                      <a:pt x="12936" y="25941"/>
                    </a:cubicBezTo>
                    <a:cubicBezTo>
                      <a:pt x="13730" y="22881"/>
                      <a:pt x="14983" y="19958"/>
                      <a:pt x="16651" y="17273"/>
                    </a:cubicBezTo>
                    <a:cubicBezTo>
                      <a:pt x="18461" y="14225"/>
                      <a:pt x="20651" y="12129"/>
                      <a:pt x="21699" y="12986"/>
                    </a:cubicBezTo>
                    <a:cubicBezTo>
                      <a:pt x="23765" y="14753"/>
                      <a:pt x="24978" y="17317"/>
                      <a:pt x="25033" y="20035"/>
                    </a:cubicBezTo>
                    <a:cubicBezTo>
                      <a:pt x="26361" y="28781"/>
                      <a:pt x="25477" y="37721"/>
                      <a:pt x="22461" y="46038"/>
                    </a:cubicBezTo>
                    <a:cubicBezTo>
                      <a:pt x="19508" y="54897"/>
                      <a:pt x="15698" y="59754"/>
                      <a:pt x="16460" y="60326"/>
                    </a:cubicBez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0" name="Полилиния: фигура 699">
                <a:extLst>
                  <a:ext uri="{FF2B5EF4-FFF2-40B4-BE49-F238E27FC236}">
                    <a16:creationId xmlns:a16="http://schemas.microsoft.com/office/drawing/2014/main" id="{10BA207C-FDFB-4019-A1F0-FD78DB8E523C}"/>
                  </a:ext>
                </a:extLst>
              </p:cNvPr>
              <p:cNvSpPr/>
              <p:nvPr/>
            </p:nvSpPr>
            <p:spPr>
              <a:xfrm>
                <a:off x="4654604" y="4920970"/>
                <a:ext cx="342900" cy="600075"/>
              </a:xfrm>
              <a:custGeom>
                <a:avLst/>
                <a:gdLst>
                  <a:gd name="connsiteX0" fmla="*/ 7421 w 342900"/>
                  <a:gd name="connsiteY0" fmla="*/ 8001 h 600075"/>
                  <a:gd name="connsiteX1" fmla="*/ 23423 w 342900"/>
                  <a:gd name="connsiteY1" fmla="*/ 431578 h 600075"/>
                  <a:gd name="connsiteX2" fmla="*/ 318698 w 342900"/>
                  <a:gd name="connsiteY2" fmla="*/ 601123 h 600075"/>
                  <a:gd name="connsiteX3" fmla="*/ 340034 w 342900"/>
                  <a:gd name="connsiteY3" fmla="*/ 580168 h 600075"/>
                  <a:gd name="connsiteX4" fmla="*/ 56189 w 342900"/>
                  <a:gd name="connsiteY4" fmla="*/ 412909 h 600075"/>
                  <a:gd name="connsiteX5" fmla="*/ 35139 w 342900"/>
                  <a:gd name="connsiteY5" fmla="*/ 7144 h 600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900" h="600075">
                    <a:moveTo>
                      <a:pt x="7421" y="8001"/>
                    </a:moveTo>
                    <a:cubicBezTo>
                      <a:pt x="4659" y="14383"/>
                      <a:pt x="23423" y="431578"/>
                      <a:pt x="23423" y="431578"/>
                    </a:cubicBezTo>
                    <a:lnTo>
                      <a:pt x="318698" y="601123"/>
                    </a:lnTo>
                    <a:lnTo>
                      <a:pt x="340034" y="580168"/>
                    </a:lnTo>
                    <a:lnTo>
                      <a:pt x="56189" y="412909"/>
                    </a:lnTo>
                    <a:lnTo>
                      <a:pt x="35139" y="7144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1" name="Полилиния: фигура 700">
                <a:extLst>
                  <a:ext uri="{FF2B5EF4-FFF2-40B4-BE49-F238E27FC236}">
                    <a16:creationId xmlns:a16="http://schemas.microsoft.com/office/drawing/2014/main" id="{1BECAFFF-7E31-4FD7-9E56-7FF8507FD14C}"/>
                  </a:ext>
                </a:extLst>
              </p:cNvPr>
              <p:cNvSpPr/>
              <p:nvPr/>
            </p:nvSpPr>
            <p:spPr>
              <a:xfrm>
                <a:off x="4811091" y="5358644"/>
                <a:ext cx="228600" cy="161925"/>
              </a:xfrm>
              <a:custGeom>
                <a:avLst/>
                <a:gdLst>
                  <a:gd name="connsiteX0" fmla="*/ 210883 w 228600"/>
                  <a:gd name="connsiteY0" fmla="*/ 64294 h 161925"/>
                  <a:gd name="connsiteX1" fmla="*/ 136208 w 228600"/>
                  <a:gd name="connsiteY1" fmla="*/ 7144 h 161925"/>
                  <a:gd name="connsiteX2" fmla="*/ 17336 w 228600"/>
                  <a:gd name="connsiteY2" fmla="*/ 35719 h 161925"/>
                  <a:gd name="connsiteX3" fmla="*/ 34385 w 228600"/>
                  <a:gd name="connsiteY3" fmla="*/ 51245 h 161925"/>
                  <a:gd name="connsiteX4" fmla="*/ 66580 w 228600"/>
                  <a:gd name="connsiteY4" fmla="*/ 46196 h 161925"/>
                  <a:gd name="connsiteX5" fmla="*/ 7144 w 228600"/>
                  <a:gd name="connsiteY5" fmla="*/ 86868 h 161925"/>
                  <a:gd name="connsiteX6" fmla="*/ 30099 w 228600"/>
                  <a:gd name="connsiteY6" fmla="*/ 109824 h 161925"/>
                  <a:gd name="connsiteX7" fmla="*/ 59817 w 228600"/>
                  <a:gd name="connsiteY7" fmla="*/ 131064 h 161925"/>
                  <a:gd name="connsiteX8" fmla="*/ 90392 w 228600"/>
                  <a:gd name="connsiteY8" fmla="*/ 163259 h 161925"/>
                  <a:gd name="connsiteX9" fmla="*/ 171831 w 228600"/>
                  <a:gd name="connsiteY9" fmla="*/ 163259 h 161925"/>
                  <a:gd name="connsiteX10" fmla="*/ 227171 w 228600"/>
                  <a:gd name="connsiteY10" fmla="*/ 157734 h 161925"/>
                  <a:gd name="connsiteX11" fmla="*/ 210883 w 228600"/>
                  <a:gd name="connsiteY11" fmla="*/ 64389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8600" h="161925">
                    <a:moveTo>
                      <a:pt x="210883" y="64294"/>
                    </a:moveTo>
                    <a:lnTo>
                      <a:pt x="136208" y="7144"/>
                    </a:lnTo>
                    <a:lnTo>
                      <a:pt x="17336" y="35719"/>
                    </a:lnTo>
                    <a:cubicBezTo>
                      <a:pt x="17336" y="35719"/>
                      <a:pt x="19050" y="46196"/>
                      <a:pt x="34385" y="51245"/>
                    </a:cubicBezTo>
                    <a:lnTo>
                      <a:pt x="66580" y="46196"/>
                    </a:lnTo>
                    <a:lnTo>
                      <a:pt x="7144" y="86868"/>
                    </a:lnTo>
                    <a:cubicBezTo>
                      <a:pt x="10218" y="98029"/>
                      <a:pt x="18938" y="106749"/>
                      <a:pt x="30099" y="109824"/>
                    </a:cubicBezTo>
                    <a:cubicBezTo>
                      <a:pt x="42007" y="113573"/>
                      <a:pt x="52414" y="121012"/>
                      <a:pt x="59817" y="131064"/>
                    </a:cubicBezTo>
                    <a:lnTo>
                      <a:pt x="90392" y="163259"/>
                    </a:lnTo>
                    <a:lnTo>
                      <a:pt x="171831" y="163259"/>
                    </a:lnTo>
                    <a:lnTo>
                      <a:pt x="227171" y="157734"/>
                    </a:lnTo>
                    <a:lnTo>
                      <a:pt x="210883" y="64389"/>
                    </a:lnTo>
                    <a:close/>
                  </a:path>
                </a:pathLst>
              </a:custGeom>
              <a:solidFill>
                <a:srgbClr val="B7887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2" name="Полилиния: фигура 701">
                <a:extLst>
                  <a:ext uri="{FF2B5EF4-FFF2-40B4-BE49-F238E27FC236}">
                    <a16:creationId xmlns:a16="http://schemas.microsoft.com/office/drawing/2014/main" id="{4466B876-0024-46DE-9380-83036930DF5C}"/>
                  </a:ext>
                </a:extLst>
              </p:cNvPr>
              <p:cNvSpPr/>
              <p:nvPr/>
            </p:nvSpPr>
            <p:spPr>
              <a:xfrm>
                <a:off x="1531698" y="3542179"/>
                <a:ext cx="533400" cy="295275"/>
              </a:xfrm>
              <a:custGeom>
                <a:avLst/>
                <a:gdLst>
                  <a:gd name="connsiteX0" fmla="*/ 508761 w 533400"/>
                  <a:gd name="connsiteY0" fmla="*/ 288750 h 295275"/>
                  <a:gd name="connsiteX1" fmla="*/ 516706 w 533400"/>
                  <a:gd name="connsiteY1" fmla="*/ 273599 h 295275"/>
                  <a:gd name="connsiteX2" fmla="*/ 513619 w 533400"/>
                  <a:gd name="connsiteY2" fmla="*/ 268557 h 295275"/>
                  <a:gd name="connsiteX3" fmla="*/ 513619 w 533400"/>
                  <a:gd name="connsiteY3" fmla="*/ 250269 h 295275"/>
                  <a:gd name="connsiteX4" fmla="*/ 498094 w 533400"/>
                  <a:gd name="connsiteY4" fmla="*/ 235981 h 295275"/>
                  <a:gd name="connsiteX5" fmla="*/ 515223 w 533400"/>
                  <a:gd name="connsiteY5" fmla="*/ 224765 h 295275"/>
                  <a:gd name="connsiteX6" fmla="*/ 515429 w 533400"/>
                  <a:gd name="connsiteY6" fmla="*/ 223503 h 295275"/>
                  <a:gd name="connsiteX7" fmla="*/ 528111 w 533400"/>
                  <a:gd name="connsiteY7" fmla="*/ 212632 h 295275"/>
                  <a:gd name="connsiteX8" fmla="*/ 522859 w 533400"/>
                  <a:gd name="connsiteY8" fmla="*/ 201882 h 295275"/>
                  <a:gd name="connsiteX9" fmla="*/ 523430 w 533400"/>
                  <a:gd name="connsiteY9" fmla="*/ 186737 h 295275"/>
                  <a:gd name="connsiteX10" fmla="*/ 504380 w 533400"/>
                  <a:gd name="connsiteY10" fmla="*/ 180450 h 295275"/>
                  <a:gd name="connsiteX11" fmla="*/ 462946 w 533400"/>
                  <a:gd name="connsiteY11" fmla="*/ 156162 h 295275"/>
                  <a:gd name="connsiteX12" fmla="*/ 489997 w 533400"/>
                  <a:gd name="connsiteY12" fmla="*/ 135969 h 295275"/>
                  <a:gd name="connsiteX13" fmla="*/ 495427 w 533400"/>
                  <a:gd name="connsiteY13" fmla="*/ 130254 h 295275"/>
                  <a:gd name="connsiteX14" fmla="*/ 489140 w 533400"/>
                  <a:gd name="connsiteY14" fmla="*/ 115109 h 295275"/>
                  <a:gd name="connsiteX15" fmla="*/ 454945 w 533400"/>
                  <a:gd name="connsiteY15" fmla="*/ 100917 h 295275"/>
                  <a:gd name="connsiteX16" fmla="*/ 444658 w 533400"/>
                  <a:gd name="connsiteY16" fmla="*/ 104822 h 295275"/>
                  <a:gd name="connsiteX17" fmla="*/ 417322 w 533400"/>
                  <a:gd name="connsiteY17" fmla="*/ 101774 h 295275"/>
                  <a:gd name="connsiteX18" fmla="*/ 402653 w 533400"/>
                  <a:gd name="connsiteY18" fmla="*/ 106251 h 295275"/>
                  <a:gd name="connsiteX19" fmla="*/ 412178 w 533400"/>
                  <a:gd name="connsiteY19" fmla="*/ 94154 h 295275"/>
                  <a:gd name="connsiteX20" fmla="*/ 418369 w 533400"/>
                  <a:gd name="connsiteY20" fmla="*/ 80438 h 295275"/>
                  <a:gd name="connsiteX21" fmla="*/ 407415 w 533400"/>
                  <a:gd name="connsiteY21" fmla="*/ 73675 h 295275"/>
                  <a:gd name="connsiteX22" fmla="*/ 407415 w 533400"/>
                  <a:gd name="connsiteY22" fmla="*/ 60340 h 295275"/>
                  <a:gd name="connsiteX23" fmla="*/ 392271 w 533400"/>
                  <a:gd name="connsiteY23" fmla="*/ 56530 h 295275"/>
                  <a:gd name="connsiteX24" fmla="*/ 382746 w 533400"/>
                  <a:gd name="connsiteY24" fmla="*/ 60626 h 295275"/>
                  <a:gd name="connsiteX25" fmla="*/ 369881 w 533400"/>
                  <a:gd name="connsiteY25" fmla="*/ 53833 h 295275"/>
                  <a:gd name="connsiteX26" fmla="*/ 363696 w 533400"/>
                  <a:gd name="connsiteY26" fmla="*/ 59102 h 295275"/>
                  <a:gd name="connsiteX27" fmla="*/ 345541 w 533400"/>
                  <a:gd name="connsiteY27" fmla="*/ 60153 h 295275"/>
                  <a:gd name="connsiteX28" fmla="*/ 345217 w 533400"/>
                  <a:gd name="connsiteY28" fmla="*/ 60531 h 295275"/>
                  <a:gd name="connsiteX29" fmla="*/ 322852 w 533400"/>
                  <a:gd name="connsiteY29" fmla="*/ 67079 h 295275"/>
                  <a:gd name="connsiteX30" fmla="*/ 321881 w 533400"/>
                  <a:gd name="connsiteY30" fmla="*/ 69199 h 295275"/>
                  <a:gd name="connsiteX31" fmla="*/ 336264 w 533400"/>
                  <a:gd name="connsiteY31" fmla="*/ 45100 h 295275"/>
                  <a:gd name="connsiteX32" fmla="*/ 334168 w 533400"/>
                  <a:gd name="connsiteY32" fmla="*/ 32623 h 295275"/>
                  <a:gd name="connsiteX33" fmla="*/ 343648 w 533400"/>
                  <a:gd name="connsiteY33" fmla="*/ 19363 h 295275"/>
                  <a:gd name="connsiteX34" fmla="*/ 342360 w 533400"/>
                  <a:gd name="connsiteY34" fmla="*/ 15668 h 295275"/>
                  <a:gd name="connsiteX35" fmla="*/ 322643 w 533400"/>
                  <a:gd name="connsiteY35" fmla="*/ 7477 h 295275"/>
                  <a:gd name="connsiteX36" fmla="*/ 316071 w 533400"/>
                  <a:gd name="connsiteY36" fmla="*/ 17002 h 295275"/>
                  <a:gd name="connsiteX37" fmla="*/ 295245 w 533400"/>
                  <a:gd name="connsiteY37" fmla="*/ 20682 h 295275"/>
                  <a:gd name="connsiteX38" fmla="*/ 293211 w 533400"/>
                  <a:gd name="connsiteY38" fmla="*/ 33670 h 295275"/>
                  <a:gd name="connsiteX39" fmla="*/ 282387 w 533400"/>
                  <a:gd name="connsiteY39" fmla="*/ 35047 h 295275"/>
                  <a:gd name="connsiteX40" fmla="*/ 281781 w 533400"/>
                  <a:gd name="connsiteY40" fmla="*/ 35956 h 295275"/>
                  <a:gd name="connsiteX41" fmla="*/ 279590 w 533400"/>
                  <a:gd name="connsiteY41" fmla="*/ 48910 h 295275"/>
                  <a:gd name="connsiteX42" fmla="*/ 261901 w 533400"/>
                  <a:gd name="connsiteY42" fmla="*/ 52502 h 295275"/>
                  <a:gd name="connsiteX43" fmla="*/ 259778 w 533400"/>
                  <a:gd name="connsiteY43" fmla="*/ 59483 h 295275"/>
                  <a:gd name="connsiteX44" fmla="*/ 238061 w 533400"/>
                  <a:gd name="connsiteY44" fmla="*/ 55006 h 295275"/>
                  <a:gd name="connsiteX45" fmla="*/ 233110 w 533400"/>
                  <a:gd name="connsiteY45" fmla="*/ 34723 h 295275"/>
                  <a:gd name="connsiteX46" fmla="*/ 219011 w 533400"/>
                  <a:gd name="connsiteY46" fmla="*/ 34051 h 295275"/>
                  <a:gd name="connsiteX47" fmla="*/ 202565 w 533400"/>
                  <a:gd name="connsiteY47" fmla="*/ 21629 h 295275"/>
                  <a:gd name="connsiteX48" fmla="*/ 199961 w 533400"/>
                  <a:gd name="connsiteY48" fmla="*/ 22240 h 295275"/>
                  <a:gd name="connsiteX49" fmla="*/ 179101 w 533400"/>
                  <a:gd name="connsiteY49" fmla="*/ 12715 h 295275"/>
                  <a:gd name="connsiteX50" fmla="*/ 180149 w 533400"/>
                  <a:gd name="connsiteY50" fmla="*/ 38528 h 295275"/>
                  <a:gd name="connsiteX51" fmla="*/ 194627 w 533400"/>
                  <a:gd name="connsiteY51" fmla="*/ 65484 h 295275"/>
                  <a:gd name="connsiteX52" fmla="*/ 147573 w 533400"/>
                  <a:gd name="connsiteY52" fmla="*/ 40243 h 295275"/>
                  <a:gd name="connsiteX53" fmla="*/ 142906 w 533400"/>
                  <a:gd name="connsiteY53" fmla="*/ 38909 h 295275"/>
                  <a:gd name="connsiteX54" fmla="*/ 137001 w 533400"/>
                  <a:gd name="connsiteY54" fmla="*/ 42243 h 295275"/>
                  <a:gd name="connsiteX55" fmla="*/ 127476 w 533400"/>
                  <a:gd name="connsiteY55" fmla="*/ 43862 h 295275"/>
                  <a:gd name="connsiteX56" fmla="*/ 124999 w 533400"/>
                  <a:gd name="connsiteY56" fmla="*/ 65674 h 295275"/>
                  <a:gd name="connsiteX57" fmla="*/ 145859 w 533400"/>
                  <a:gd name="connsiteY57" fmla="*/ 81200 h 295275"/>
                  <a:gd name="connsiteX58" fmla="*/ 124904 w 533400"/>
                  <a:gd name="connsiteY58" fmla="*/ 85105 h 295275"/>
                  <a:gd name="connsiteX59" fmla="*/ 98776 w 533400"/>
                  <a:gd name="connsiteY59" fmla="*/ 70283 h 295275"/>
                  <a:gd name="connsiteX60" fmla="*/ 97377 w 533400"/>
                  <a:gd name="connsiteY60" fmla="*/ 70722 h 295275"/>
                  <a:gd name="connsiteX61" fmla="*/ 75946 w 533400"/>
                  <a:gd name="connsiteY61" fmla="*/ 62340 h 295275"/>
                  <a:gd name="connsiteX62" fmla="*/ 55276 w 533400"/>
                  <a:gd name="connsiteY62" fmla="*/ 68436 h 295275"/>
                  <a:gd name="connsiteX63" fmla="*/ 55276 w 533400"/>
                  <a:gd name="connsiteY63" fmla="*/ 94344 h 295275"/>
                  <a:gd name="connsiteX64" fmla="*/ 78041 w 533400"/>
                  <a:gd name="connsiteY64" fmla="*/ 110537 h 295275"/>
                  <a:gd name="connsiteX65" fmla="*/ 62230 w 533400"/>
                  <a:gd name="connsiteY65" fmla="*/ 117776 h 295275"/>
                  <a:gd name="connsiteX66" fmla="*/ 43180 w 533400"/>
                  <a:gd name="connsiteY66" fmla="*/ 116538 h 295275"/>
                  <a:gd name="connsiteX67" fmla="*/ 23368 w 533400"/>
                  <a:gd name="connsiteY67" fmla="*/ 133111 h 295275"/>
                  <a:gd name="connsiteX68" fmla="*/ 15938 w 533400"/>
                  <a:gd name="connsiteY68" fmla="*/ 135588 h 295275"/>
                  <a:gd name="connsiteX69" fmla="*/ 10890 w 533400"/>
                  <a:gd name="connsiteY69" fmla="*/ 145113 h 295275"/>
                  <a:gd name="connsiteX70" fmla="*/ 7842 w 533400"/>
                  <a:gd name="connsiteY70" fmla="*/ 158734 h 295275"/>
                  <a:gd name="connsiteX71" fmla="*/ 7270 w 533400"/>
                  <a:gd name="connsiteY71" fmla="*/ 165496 h 295275"/>
                  <a:gd name="connsiteX72" fmla="*/ 26320 w 533400"/>
                  <a:gd name="connsiteY72" fmla="*/ 171687 h 295275"/>
                  <a:gd name="connsiteX73" fmla="*/ 46704 w 533400"/>
                  <a:gd name="connsiteY73" fmla="*/ 162162 h 295275"/>
                  <a:gd name="connsiteX74" fmla="*/ 21081 w 533400"/>
                  <a:gd name="connsiteY74" fmla="*/ 181879 h 295275"/>
                  <a:gd name="connsiteX75" fmla="*/ 28130 w 533400"/>
                  <a:gd name="connsiteY75" fmla="*/ 209883 h 295275"/>
                  <a:gd name="connsiteX76" fmla="*/ 56705 w 533400"/>
                  <a:gd name="connsiteY76" fmla="*/ 196453 h 295275"/>
                  <a:gd name="connsiteX77" fmla="*/ 85280 w 533400"/>
                  <a:gd name="connsiteY77" fmla="*/ 184451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533400" h="295275">
                    <a:moveTo>
                      <a:pt x="508761" y="288750"/>
                    </a:moveTo>
                    <a:cubicBezTo>
                      <a:pt x="515139" y="286760"/>
                      <a:pt x="518696" y="279976"/>
                      <a:pt x="516706" y="273599"/>
                    </a:cubicBezTo>
                    <a:cubicBezTo>
                      <a:pt x="516110" y="271689"/>
                      <a:pt x="515049" y="269956"/>
                      <a:pt x="513619" y="268557"/>
                    </a:cubicBezTo>
                    <a:cubicBezTo>
                      <a:pt x="519810" y="265128"/>
                      <a:pt x="518096" y="255412"/>
                      <a:pt x="513619" y="250269"/>
                    </a:cubicBezTo>
                    <a:cubicBezTo>
                      <a:pt x="509143" y="245125"/>
                      <a:pt x="501903" y="241982"/>
                      <a:pt x="498094" y="235981"/>
                    </a:cubicBezTo>
                    <a:cubicBezTo>
                      <a:pt x="505921" y="237614"/>
                      <a:pt x="513590" y="232593"/>
                      <a:pt x="515223" y="224765"/>
                    </a:cubicBezTo>
                    <a:cubicBezTo>
                      <a:pt x="515310" y="224348"/>
                      <a:pt x="515379" y="223927"/>
                      <a:pt x="515429" y="223503"/>
                    </a:cubicBezTo>
                    <a:cubicBezTo>
                      <a:pt x="521933" y="224003"/>
                      <a:pt x="527611" y="219136"/>
                      <a:pt x="528111" y="212632"/>
                    </a:cubicBezTo>
                    <a:cubicBezTo>
                      <a:pt x="528439" y="208362"/>
                      <a:pt x="526429" y="204248"/>
                      <a:pt x="522859" y="201882"/>
                    </a:cubicBezTo>
                    <a:cubicBezTo>
                      <a:pt x="529526" y="201310"/>
                      <a:pt x="528955" y="190357"/>
                      <a:pt x="523430" y="186737"/>
                    </a:cubicBezTo>
                    <a:cubicBezTo>
                      <a:pt x="517242" y="184178"/>
                      <a:pt x="510875" y="182077"/>
                      <a:pt x="504380" y="180450"/>
                    </a:cubicBezTo>
                    <a:cubicBezTo>
                      <a:pt x="493488" y="168173"/>
                      <a:pt x="478980" y="159668"/>
                      <a:pt x="462946" y="156162"/>
                    </a:cubicBezTo>
                    <a:lnTo>
                      <a:pt x="489997" y="135969"/>
                    </a:lnTo>
                    <a:cubicBezTo>
                      <a:pt x="492310" y="134615"/>
                      <a:pt x="494193" y="132633"/>
                      <a:pt x="495427" y="130254"/>
                    </a:cubicBezTo>
                    <a:cubicBezTo>
                      <a:pt x="497808" y="124920"/>
                      <a:pt x="493617" y="118919"/>
                      <a:pt x="489140" y="115109"/>
                    </a:cubicBezTo>
                    <a:cubicBezTo>
                      <a:pt x="479400" y="107093"/>
                      <a:pt x="467498" y="102153"/>
                      <a:pt x="454945" y="100917"/>
                    </a:cubicBezTo>
                    <a:cubicBezTo>
                      <a:pt x="451040" y="100917"/>
                      <a:pt x="445992" y="100917"/>
                      <a:pt x="444658" y="104822"/>
                    </a:cubicBezTo>
                    <a:cubicBezTo>
                      <a:pt x="435930" y="101596"/>
                      <a:pt x="426546" y="100549"/>
                      <a:pt x="417322" y="101774"/>
                    </a:cubicBezTo>
                    <a:cubicBezTo>
                      <a:pt x="412050" y="101433"/>
                      <a:pt x="406835" y="103024"/>
                      <a:pt x="402653" y="106251"/>
                    </a:cubicBezTo>
                    <a:cubicBezTo>
                      <a:pt x="405059" y="101668"/>
                      <a:pt x="408288" y="97568"/>
                      <a:pt x="412178" y="94154"/>
                    </a:cubicBezTo>
                    <a:cubicBezTo>
                      <a:pt x="416104" y="90675"/>
                      <a:pt x="418357" y="85684"/>
                      <a:pt x="418369" y="80438"/>
                    </a:cubicBezTo>
                    <a:cubicBezTo>
                      <a:pt x="417893" y="75294"/>
                      <a:pt x="411702" y="70913"/>
                      <a:pt x="407415" y="73675"/>
                    </a:cubicBezTo>
                    <a:cubicBezTo>
                      <a:pt x="412178" y="71485"/>
                      <a:pt x="411511" y="64150"/>
                      <a:pt x="407415" y="60340"/>
                    </a:cubicBezTo>
                    <a:cubicBezTo>
                      <a:pt x="402930" y="57425"/>
                      <a:pt x="397602" y="56084"/>
                      <a:pt x="392271" y="56530"/>
                    </a:cubicBezTo>
                    <a:cubicBezTo>
                      <a:pt x="388651" y="56530"/>
                      <a:pt x="383889" y="57102"/>
                      <a:pt x="382746" y="60626"/>
                    </a:cubicBezTo>
                    <a:cubicBezTo>
                      <a:pt x="381069" y="55198"/>
                      <a:pt x="375309" y="52156"/>
                      <a:pt x="369881" y="53833"/>
                    </a:cubicBezTo>
                    <a:cubicBezTo>
                      <a:pt x="367184" y="54666"/>
                      <a:pt x="364947" y="56572"/>
                      <a:pt x="363696" y="59102"/>
                    </a:cubicBezTo>
                    <a:cubicBezTo>
                      <a:pt x="358392" y="54379"/>
                      <a:pt x="350264" y="54849"/>
                      <a:pt x="345541" y="60153"/>
                    </a:cubicBezTo>
                    <a:cubicBezTo>
                      <a:pt x="345431" y="60277"/>
                      <a:pt x="345323" y="60403"/>
                      <a:pt x="345217" y="60531"/>
                    </a:cubicBezTo>
                    <a:cubicBezTo>
                      <a:pt x="337233" y="56163"/>
                      <a:pt x="327220" y="59095"/>
                      <a:pt x="322852" y="67079"/>
                    </a:cubicBezTo>
                    <a:cubicBezTo>
                      <a:pt x="322479" y="67762"/>
                      <a:pt x="322154" y="68470"/>
                      <a:pt x="321881" y="69199"/>
                    </a:cubicBezTo>
                    <a:lnTo>
                      <a:pt x="336264" y="45100"/>
                    </a:lnTo>
                    <a:cubicBezTo>
                      <a:pt x="339026" y="40528"/>
                      <a:pt x="339407" y="32051"/>
                      <a:pt x="334168" y="32623"/>
                    </a:cubicBezTo>
                    <a:cubicBezTo>
                      <a:pt x="340447" y="31579"/>
                      <a:pt x="344691" y="25642"/>
                      <a:pt x="343648" y="19363"/>
                    </a:cubicBezTo>
                    <a:cubicBezTo>
                      <a:pt x="343432" y="18067"/>
                      <a:pt x="342997" y="16817"/>
                      <a:pt x="342360" y="15668"/>
                    </a:cubicBezTo>
                    <a:cubicBezTo>
                      <a:pt x="337995" y="9268"/>
                      <a:pt x="330258" y="6054"/>
                      <a:pt x="322643" y="7477"/>
                    </a:cubicBezTo>
                    <a:lnTo>
                      <a:pt x="316071" y="17002"/>
                    </a:lnTo>
                    <a:cubicBezTo>
                      <a:pt x="309303" y="12267"/>
                      <a:pt x="299979" y="13915"/>
                      <a:pt x="295245" y="20682"/>
                    </a:cubicBezTo>
                    <a:cubicBezTo>
                      <a:pt x="292598" y="24465"/>
                      <a:pt x="291847" y="29259"/>
                      <a:pt x="293211" y="33670"/>
                    </a:cubicBezTo>
                    <a:cubicBezTo>
                      <a:pt x="289842" y="31062"/>
                      <a:pt x="284996" y="31678"/>
                      <a:pt x="282387" y="35047"/>
                    </a:cubicBezTo>
                    <a:cubicBezTo>
                      <a:pt x="282164" y="35335"/>
                      <a:pt x="281961" y="35639"/>
                      <a:pt x="281781" y="35956"/>
                    </a:cubicBezTo>
                    <a:cubicBezTo>
                      <a:pt x="279799" y="39967"/>
                      <a:pt x="279037" y="44471"/>
                      <a:pt x="279590" y="48910"/>
                    </a:cubicBezTo>
                    <a:cubicBezTo>
                      <a:pt x="273713" y="45017"/>
                      <a:pt x="265794" y="46625"/>
                      <a:pt x="261901" y="52502"/>
                    </a:cubicBezTo>
                    <a:cubicBezTo>
                      <a:pt x="260529" y="54573"/>
                      <a:pt x="259791" y="56999"/>
                      <a:pt x="259778" y="59483"/>
                    </a:cubicBezTo>
                    <a:cubicBezTo>
                      <a:pt x="253087" y="56027"/>
                      <a:pt x="245574" y="54478"/>
                      <a:pt x="238061" y="55006"/>
                    </a:cubicBezTo>
                    <a:cubicBezTo>
                      <a:pt x="242295" y="48038"/>
                      <a:pt x="240078" y="38957"/>
                      <a:pt x="233110" y="34723"/>
                    </a:cubicBezTo>
                    <a:cubicBezTo>
                      <a:pt x="228829" y="32121"/>
                      <a:pt x="223520" y="31868"/>
                      <a:pt x="219011" y="34051"/>
                    </a:cubicBezTo>
                    <a:cubicBezTo>
                      <a:pt x="217900" y="26080"/>
                      <a:pt x="210537" y="20518"/>
                      <a:pt x="202565" y="21629"/>
                    </a:cubicBezTo>
                    <a:cubicBezTo>
                      <a:pt x="201680" y="21753"/>
                      <a:pt x="200809" y="21957"/>
                      <a:pt x="199961" y="22240"/>
                    </a:cubicBezTo>
                    <a:cubicBezTo>
                      <a:pt x="197580" y="13477"/>
                      <a:pt x="186055" y="7000"/>
                      <a:pt x="179101" y="12715"/>
                    </a:cubicBezTo>
                    <a:cubicBezTo>
                      <a:pt x="172148" y="18430"/>
                      <a:pt x="175768" y="30241"/>
                      <a:pt x="180149" y="38528"/>
                    </a:cubicBezTo>
                    <a:lnTo>
                      <a:pt x="194627" y="65484"/>
                    </a:lnTo>
                    <a:lnTo>
                      <a:pt x="147573" y="40243"/>
                    </a:lnTo>
                    <a:cubicBezTo>
                      <a:pt x="146186" y="39342"/>
                      <a:pt x="144560" y="38878"/>
                      <a:pt x="142906" y="38909"/>
                    </a:cubicBezTo>
                    <a:cubicBezTo>
                      <a:pt x="140620" y="38909"/>
                      <a:pt x="139001" y="41195"/>
                      <a:pt x="137001" y="42243"/>
                    </a:cubicBezTo>
                    <a:cubicBezTo>
                      <a:pt x="133885" y="43087"/>
                      <a:pt x="130695" y="43629"/>
                      <a:pt x="127476" y="43862"/>
                    </a:cubicBezTo>
                    <a:cubicBezTo>
                      <a:pt x="119189" y="46434"/>
                      <a:pt x="119284" y="59102"/>
                      <a:pt x="124999" y="65674"/>
                    </a:cubicBezTo>
                    <a:cubicBezTo>
                      <a:pt x="131628" y="71272"/>
                      <a:pt x="138594" y="76458"/>
                      <a:pt x="145859" y="81200"/>
                    </a:cubicBezTo>
                    <a:lnTo>
                      <a:pt x="124904" y="85105"/>
                    </a:lnTo>
                    <a:cubicBezTo>
                      <a:pt x="121782" y="73797"/>
                      <a:pt x="110084" y="67161"/>
                      <a:pt x="98776" y="70283"/>
                    </a:cubicBezTo>
                    <a:cubicBezTo>
                      <a:pt x="98305" y="70414"/>
                      <a:pt x="97838" y="70560"/>
                      <a:pt x="97377" y="70722"/>
                    </a:cubicBezTo>
                    <a:cubicBezTo>
                      <a:pt x="94519" y="63007"/>
                      <a:pt x="84232" y="61960"/>
                      <a:pt x="75946" y="62340"/>
                    </a:cubicBezTo>
                    <a:cubicBezTo>
                      <a:pt x="68539" y="61743"/>
                      <a:pt x="61174" y="63915"/>
                      <a:pt x="55276" y="68436"/>
                    </a:cubicBezTo>
                    <a:cubicBezTo>
                      <a:pt x="49119" y="75975"/>
                      <a:pt x="49119" y="86806"/>
                      <a:pt x="55276" y="94344"/>
                    </a:cubicBezTo>
                    <a:cubicBezTo>
                      <a:pt x="61473" y="101471"/>
                      <a:pt x="69276" y="107022"/>
                      <a:pt x="78041" y="110537"/>
                    </a:cubicBezTo>
                    <a:cubicBezTo>
                      <a:pt x="76612" y="116728"/>
                      <a:pt x="68516" y="118633"/>
                      <a:pt x="62230" y="117776"/>
                    </a:cubicBezTo>
                    <a:cubicBezTo>
                      <a:pt x="56078" y="115801"/>
                      <a:pt x="49535" y="115376"/>
                      <a:pt x="43180" y="116538"/>
                    </a:cubicBezTo>
                    <a:cubicBezTo>
                      <a:pt x="34988" y="119681"/>
                      <a:pt x="31559" y="130159"/>
                      <a:pt x="23368" y="133111"/>
                    </a:cubicBezTo>
                    <a:cubicBezTo>
                      <a:pt x="20813" y="133679"/>
                      <a:pt x="18323" y="134509"/>
                      <a:pt x="15938" y="135588"/>
                    </a:cubicBezTo>
                    <a:cubicBezTo>
                      <a:pt x="13144" y="138036"/>
                      <a:pt x="11347" y="141426"/>
                      <a:pt x="10890" y="145113"/>
                    </a:cubicBezTo>
                    <a:cubicBezTo>
                      <a:pt x="9842" y="149685"/>
                      <a:pt x="8889" y="154161"/>
                      <a:pt x="7842" y="158734"/>
                    </a:cubicBezTo>
                    <a:cubicBezTo>
                      <a:pt x="7181" y="160923"/>
                      <a:pt x="6987" y="163227"/>
                      <a:pt x="7270" y="165496"/>
                    </a:cubicBezTo>
                    <a:cubicBezTo>
                      <a:pt x="8794" y="172926"/>
                      <a:pt x="19081" y="175021"/>
                      <a:pt x="26320" y="171687"/>
                    </a:cubicBezTo>
                    <a:cubicBezTo>
                      <a:pt x="32698" y="167687"/>
                      <a:pt x="39544" y="164488"/>
                      <a:pt x="46704" y="162162"/>
                    </a:cubicBezTo>
                    <a:cubicBezTo>
                      <a:pt x="36424" y="166098"/>
                      <a:pt x="27519" y="172951"/>
                      <a:pt x="21081" y="181879"/>
                    </a:cubicBezTo>
                    <a:cubicBezTo>
                      <a:pt x="15557" y="191404"/>
                      <a:pt x="17843" y="206168"/>
                      <a:pt x="28130" y="209883"/>
                    </a:cubicBezTo>
                    <a:cubicBezTo>
                      <a:pt x="38417" y="213598"/>
                      <a:pt x="48894" y="204549"/>
                      <a:pt x="56705" y="196453"/>
                    </a:cubicBezTo>
                    <a:cubicBezTo>
                      <a:pt x="64515" y="188356"/>
                      <a:pt x="75279" y="179784"/>
                      <a:pt x="85280" y="184451"/>
                    </a:cubicBez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3" name="Полилиния: фигура 702">
                <a:extLst>
                  <a:ext uri="{FF2B5EF4-FFF2-40B4-BE49-F238E27FC236}">
                    <a16:creationId xmlns:a16="http://schemas.microsoft.com/office/drawing/2014/main" id="{C8D5EE20-DD1C-4858-B0E1-A6DB77D8A87F}"/>
                  </a:ext>
                </a:extLst>
              </p:cNvPr>
              <p:cNvSpPr/>
              <p:nvPr/>
            </p:nvSpPr>
            <p:spPr>
              <a:xfrm>
                <a:off x="1526924" y="3674814"/>
                <a:ext cx="542925" cy="352425"/>
              </a:xfrm>
              <a:custGeom>
                <a:avLst/>
                <a:gdLst>
                  <a:gd name="connsiteX0" fmla="*/ 498391 w 542925"/>
                  <a:gd name="connsiteY0" fmla="*/ 149257 h 352425"/>
                  <a:gd name="connsiteX1" fmla="*/ 516796 w 542925"/>
                  <a:gd name="connsiteY1" fmla="*/ 153944 h 352425"/>
                  <a:gd name="connsiteX2" fmla="*/ 518679 w 542925"/>
                  <a:gd name="connsiteY2" fmla="*/ 160972 h 352425"/>
                  <a:gd name="connsiteX3" fmla="*/ 537931 w 542925"/>
                  <a:gd name="connsiteY3" fmla="*/ 195735 h 352425"/>
                  <a:gd name="connsiteX4" fmla="*/ 529156 w 542925"/>
                  <a:gd name="connsiteY4" fmla="*/ 209359 h 352425"/>
                  <a:gd name="connsiteX5" fmla="*/ 509440 w 542925"/>
                  <a:gd name="connsiteY5" fmla="*/ 206788 h 352425"/>
                  <a:gd name="connsiteX6" fmla="*/ 493914 w 542925"/>
                  <a:gd name="connsiteY6" fmla="*/ 220123 h 352425"/>
                  <a:gd name="connsiteX7" fmla="*/ 487101 w 542925"/>
                  <a:gd name="connsiteY7" fmla="*/ 249102 h 352425"/>
                  <a:gd name="connsiteX8" fmla="*/ 485437 w 542925"/>
                  <a:gd name="connsiteY8" fmla="*/ 250031 h 352425"/>
                  <a:gd name="connsiteX9" fmla="*/ 488437 w 542925"/>
                  <a:gd name="connsiteY9" fmla="*/ 281679 h 352425"/>
                  <a:gd name="connsiteX10" fmla="*/ 481531 w 542925"/>
                  <a:gd name="connsiteY10" fmla="*/ 287274 h 352425"/>
                  <a:gd name="connsiteX11" fmla="*/ 473143 w 542925"/>
                  <a:gd name="connsiteY11" fmla="*/ 310167 h 352425"/>
                  <a:gd name="connsiteX12" fmla="*/ 450250 w 542925"/>
                  <a:gd name="connsiteY12" fmla="*/ 301779 h 352425"/>
                  <a:gd name="connsiteX13" fmla="*/ 450194 w 542925"/>
                  <a:gd name="connsiteY13" fmla="*/ 301657 h 352425"/>
                  <a:gd name="connsiteX14" fmla="*/ 438764 w 542925"/>
                  <a:gd name="connsiteY14" fmla="*/ 318802 h 352425"/>
                  <a:gd name="connsiteX15" fmla="*/ 421014 w 542925"/>
                  <a:gd name="connsiteY15" fmla="*/ 316374 h 352425"/>
                  <a:gd name="connsiteX16" fmla="*/ 420571 w 542925"/>
                  <a:gd name="connsiteY16" fmla="*/ 315754 h 352425"/>
                  <a:gd name="connsiteX17" fmla="*/ 391037 w 542925"/>
                  <a:gd name="connsiteY17" fmla="*/ 331651 h 352425"/>
                  <a:gd name="connsiteX18" fmla="*/ 386853 w 542925"/>
                  <a:gd name="connsiteY18" fmla="*/ 329946 h 352425"/>
                  <a:gd name="connsiteX19" fmla="*/ 373795 w 542925"/>
                  <a:gd name="connsiteY19" fmla="*/ 347093 h 352425"/>
                  <a:gd name="connsiteX20" fmla="*/ 356849 w 542925"/>
                  <a:gd name="connsiteY20" fmla="*/ 335184 h 352425"/>
                  <a:gd name="connsiteX21" fmla="*/ 317416 w 542925"/>
                  <a:gd name="connsiteY21" fmla="*/ 338233 h 352425"/>
                  <a:gd name="connsiteX22" fmla="*/ 291222 w 542925"/>
                  <a:gd name="connsiteY22" fmla="*/ 338233 h 352425"/>
                  <a:gd name="connsiteX23" fmla="*/ 259694 w 542925"/>
                  <a:gd name="connsiteY23" fmla="*/ 327374 h 352425"/>
                  <a:gd name="connsiteX24" fmla="*/ 250169 w 542925"/>
                  <a:gd name="connsiteY24" fmla="*/ 322612 h 352425"/>
                  <a:gd name="connsiteX25" fmla="*/ 238358 w 542925"/>
                  <a:gd name="connsiteY25" fmla="*/ 325564 h 352425"/>
                  <a:gd name="connsiteX26" fmla="*/ 176636 w 542925"/>
                  <a:gd name="connsiteY26" fmla="*/ 316039 h 352425"/>
                  <a:gd name="connsiteX27" fmla="*/ 168064 w 542925"/>
                  <a:gd name="connsiteY27" fmla="*/ 310420 h 352425"/>
                  <a:gd name="connsiteX28" fmla="*/ 156348 w 542925"/>
                  <a:gd name="connsiteY28" fmla="*/ 309753 h 352425"/>
                  <a:gd name="connsiteX29" fmla="*/ 127773 w 542925"/>
                  <a:gd name="connsiteY29" fmla="*/ 308134 h 352425"/>
                  <a:gd name="connsiteX30" fmla="*/ 106532 w 542925"/>
                  <a:gd name="connsiteY30" fmla="*/ 296608 h 352425"/>
                  <a:gd name="connsiteX31" fmla="*/ 113866 w 542925"/>
                  <a:gd name="connsiteY31" fmla="*/ 277559 h 352425"/>
                  <a:gd name="connsiteX32" fmla="*/ 108151 w 542925"/>
                  <a:gd name="connsiteY32" fmla="*/ 262985 h 352425"/>
                  <a:gd name="connsiteX33" fmla="*/ 93578 w 542925"/>
                  <a:gd name="connsiteY33" fmla="*/ 263652 h 352425"/>
                  <a:gd name="connsiteX34" fmla="*/ 95182 w 542925"/>
                  <a:gd name="connsiteY34" fmla="*/ 274581 h 352425"/>
                  <a:gd name="connsiteX35" fmla="*/ 98150 w 542925"/>
                  <a:gd name="connsiteY35" fmla="*/ 275939 h 352425"/>
                  <a:gd name="connsiteX36" fmla="*/ 76180 w 542925"/>
                  <a:gd name="connsiteY36" fmla="*/ 270513 h 352425"/>
                  <a:gd name="connsiteX37" fmla="*/ 74052 w 542925"/>
                  <a:gd name="connsiteY37" fmla="*/ 264605 h 352425"/>
                  <a:gd name="connsiteX38" fmla="*/ 93769 w 542925"/>
                  <a:gd name="connsiteY38" fmla="*/ 242888 h 352425"/>
                  <a:gd name="connsiteX39" fmla="*/ 91102 w 542925"/>
                  <a:gd name="connsiteY39" fmla="*/ 219170 h 352425"/>
                  <a:gd name="connsiteX40" fmla="*/ 67480 w 542925"/>
                  <a:gd name="connsiteY40" fmla="*/ 223933 h 352425"/>
                  <a:gd name="connsiteX41" fmla="*/ 49097 w 542925"/>
                  <a:gd name="connsiteY41" fmla="*/ 239649 h 352425"/>
                  <a:gd name="connsiteX42" fmla="*/ 28237 w 542925"/>
                  <a:gd name="connsiteY42" fmla="*/ 230124 h 352425"/>
                  <a:gd name="connsiteX43" fmla="*/ 35550 w 542925"/>
                  <a:gd name="connsiteY43" fmla="*/ 213180 h 352425"/>
                  <a:gd name="connsiteX44" fmla="*/ 39190 w 542925"/>
                  <a:gd name="connsiteY44" fmla="*/ 212312 h 352425"/>
                  <a:gd name="connsiteX45" fmla="*/ 44337 w 542925"/>
                  <a:gd name="connsiteY45" fmla="*/ 190828 h 352425"/>
                  <a:gd name="connsiteX46" fmla="*/ 51001 w 542925"/>
                  <a:gd name="connsiteY46" fmla="*/ 188595 h 352425"/>
                  <a:gd name="connsiteX47" fmla="*/ 63574 w 542925"/>
                  <a:gd name="connsiteY47" fmla="*/ 161639 h 352425"/>
                  <a:gd name="connsiteX48" fmla="*/ 45904 w 542925"/>
                  <a:gd name="connsiteY48" fmla="*/ 158688 h 352425"/>
                  <a:gd name="connsiteX49" fmla="*/ 44524 w 542925"/>
                  <a:gd name="connsiteY49" fmla="*/ 156210 h 352425"/>
                  <a:gd name="connsiteX50" fmla="*/ 19283 w 542925"/>
                  <a:gd name="connsiteY50" fmla="*/ 159639 h 352425"/>
                  <a:gd name="connsiteX51" fmla="*/ 7186 w 542925"/>
                  <a:gd name="connsiteY51" fmla="*/ 142113 h 352425"/>
                  <a:gd name="connsiteX52" fmla="*/ 13187 w 542925"/>
                  <a:gd name="connsiteY52" fmla="*/ 130302 h 352425"/>
                  <a:gd name="connsiteX53" fmla="*/ 41762 w 542925"/>
                  <a:gd name="connsiteY53" fmla="*/ 120777 h 352425"/>
                  <a:gd name="connsiteX54" fmla="*/ 50525 w 542925"/>
                  <a:gd name="connsiteY54" fmla="*/ 80486 h 352425"/>
                  <a:gd name="connsiteX55" fmla="*/ 24141 w 542925"/>
                  <a:gd name="connsiteY55" fmla="*/ 62960 h 352425"/>
                  <a:gd name="connsiteX56" fmla="*/ 81291 w 542925"/>
                  <a:gd name="connsiteY56" fmla="*/ 27527 h 352425"/>
                  <a:gd name="connsiteX57" fmla="*/ 218070 w 542925"/>
                  <a:gd name="connsiteY57" fmla="*/ 7144 h 352425"/>
                  <a:gd name="connsiteX58" fmla="*/ 499153 w 542925"/>
                  <a:gd name="connsiteY58" fmla="*/ 149257 h 352425"/>
                  <a:gd name="connsiteX59" fmla="*/ 521395 w 542925"/>
                  <a:gd name="connsiteY59" fmla="*/ 146961 h 352425"/>
                  <a:gd name="connsiteX60" fmla="*/ 522775 w 542925"/>
                  <a:gd name="connsiteY60" fmla="*/ 144970 h 352425"/>
                  <a:gd name="connsiteX61" fmla="*/ 520489 w 542925"/>
                  <a:gd name="connsiteY61" fmla="*/ 118777 h 352425"/>
                  <a:gd name="connsiteX62" fmla="*/ 500296 w 542925"/>
                  <a:gd name="connsiteY62" fmla="*/ 99727 h 352425"/>
                  <a:gd name="connsiteX63" fmla="*/ 525156 w 542925"/>
                  <a:gd name="connsiteY63" fmla="*/ 91916 h 352425"/>
                  <a:gd name="connsiteX64" fmla="*/ 528871 w 542925"/>
                  <a:gd name="connsiteY64" fmla="*/ 76676 h 352425"/>
                  <a:gd name="connsiteX65" fmla="*/ 511249 w 542925"/>
                  <a:gd name="connsiteY65" fmla="*/ 65246 h 352425"/>
                  <a:gd name="connsiteX66" fmla="*/ 504011 w 542925"/>
                  <a:gd name="connsiteY66" fmla="*/ 55150 h 35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542925" h="352425">
                    <a:moveTo>
                      <a:pt x="498391" y="149257"/>
                    </a:moveTo>
                    <a:cubicBezTo>
                      <a:pt x="504768" y="145469"/>
                      <a:pt x="513008" y="147567"/>
                      <a:pt x="516796" y="153944"/>
                    </a:cubicBezTo>
                    <a:cubicBezTo>
                      <a:pt x="518059" y="156069"/>
                      <a:pt x="518710" y="158501"/>
                      <a:pt x="518679" y="160972"/>
                    </a:cubicBezTo>
                    <a:cubicBezTo>
                      <a:pt x="533595" y="165256"/>
                      <a:pt x="542214" y="180820"/>
                      <a:pt x="537931" y="195735"/>
                    </a:cubicBezTo>
                    <a:cubicBezTo>
                      <a:pt x="536407" y="201040"/>
                      <a:pt x="533356" y="205778"/>
                      <a:pt x="529156" y="209359"/>
                    </a:cubicBezTo>
                    <a:cubicBezTo>
                      <a:pt x="522965" y="214503"/>
                      <a:pt x="510678" y="214693"/>
                      <a:pt x="509440" y="206788"/>
                    </a:cubicBezTo>
                    <a:cubicBezTo>
                      <a:pt x="506786" y="213525"/>
                      <a:pt x="500975" y="218517"/>
                      <a:pt x="493914" y="220123"/>
                    </a:cubicBezTo>
                    <a:cubicBezTo>
                      <a:pt x="500035" y="230006"/>
                      <a:pt x="496985" y="242981"/>
                      <a:pt x="487101" y="249102"/>
                    </a:cubicBezTo>
                    <a:cubicBezTo>
                      <a:pt x="486560" y="249437"/>
                      <a:pt x="486005" y="249747"/>
                      <a:pt x="485437" y="250031"/>
                    </a:cubicBezTo>
                    <a:cubicBezTo>
                      <a:pt x="495005" y="257942"/>
                      <a:pt x="496348" y="272111"/>
                      <a:pt x="488437" y="281679"/>
                    </a:cubicBezTo>
                    <a:cubicBezTo>
                      <a:pt x="486530" y="283985"/>
                      <a:pt x="484183" y="285887"/>
                      <a:pt x="481531" y="287274"/>
                    </a:cubicBezTo>
                    <a:cubicBezTo>
                      <a:pt x="485537" y="295912"/>
                      <a:pt x="481781" y="306162"/>
                      <a:pt x="473143" y="310167"/>
                    </a:cubicBezTo>
                    <a:cubicBezTo>
                      <a:pt x="464505" y="314172"/>
                      <a:pt x="454256" y="310417"/>
                      <a:pt x="450250" y="301779"/>
                    </a:cubicBezTo>
                    <a:cubicBezTo>
                      <a:pt x="450231" y="301738"/>
                      <a:pt x="450213" y="301697"/>
                      <a:pt x="450194" y="301657"/>
                    </a:cubicBezTo>
                    <a:cubicBezTo>
                      <a:pt x="448111" y="308351"/>
                      <a:pt x="444142" y="314304"/>
                      <a:pt x="438764" y="318802"/>
                    </a:cubicBezTo>
                    <a:cubicBezTo>
                      <a:pt x="433192" y="323033"/>
                      <a:pt x="425245" y="321946"/>
                      <a:pt x="421014" y="316374"/>
                    </a:cubicBezTo>
                    <a:cubicBezTo>
                      <a:pt x="420860" y="316172"/>
                      <a:pt x="420713" y="315965"/>
                      <a:pt x="420571" y="315754"/>
                    </a:cubicBezTo>
                    <a:cubicBezTo>
                      <a:pt x="416806" y="328299"/>
                      <a:pt x="403582" y="335417"/>
                      <a:pt x="391037" y="331651"/>
                    </a:cubicBezTo>
                    <a:cubicBezTo>
                      <a:pt x="389591" y="331217"/>
                      <a:pt x="388190" y="330646"/>
                      <a:pt x="386853" y="329946"/>
                    </a:cubicBezTo>
                    <a:cubicBezTo>
                      <a:pt x="387982" y="338286"/>
                      <a:pt x="382136" y="345963"/>
                      <a:pt x="373795" y="347093"/>
                    </a:cubicBezTo>
                    <a:cubicBezTo>
                      <a:pt x="365903" y="348161"/>
                      <a:pt x="358518" y="342972"/>
                      <a:pt x="356849" y="335184"/>
                    </a:cubicBezTo>
                    <a:lnTo>
                      <a:pt x="317416" y="338233"/>
                    </a:lnTo>
                    <a:cubicBezTo>
                      <a:pt x="308703" y="339042"/>
                      <a:pt x="299934" y="339042"/>
                      <a:pt x="291222" y="338233"/>
                    </a:cubicBezTo>
                    <a:cubicBezTo>
                      <a:pt x="279995" y="337191"/>
                      <a:pt x="269182" y="333467"/>
                      <a:pt x="259694" y="327374"/>
                    </a:cubicBezTo>
                    <a:cubicBezTo>
                      <a:pt x="256916" y="325094"/>
                      <a:pt x="253661" y="323466"/>
                      <a:pt x="250169" y="322612"/>
                    </a:cubicBezTo>
                    <a:cubicBezTo>
                      <a:pt x="246049" y="322606"/>
                      <a:pt x="241991" y="323620"/>
                      <a:pt x="238358" y="325564"/>
                    </a:cubicBezTo>
                    <a:cubicBezTo>
                      <a:pt x="217528" y="333342"/>
                      <a:pt x="194153" y="329735"/>
                      <a:pt x="176636" y="316039"/>
                    </a:cubicBezTo>
                    <a:cubicBezTo>
                      <a:pt x="174085" y="313736"/>
                      <a:pt x="171194" y="311840"/>
                      <a:pt x="168064" y="310420"/>
                    </a:cubicBezTo>
                    <a:cubicBezTo>
                      <a:pt x="164247" y="309389"/>
                      <a:pt x="160257" y="309162"/>
                      <a:pt x="156348" y="309753"/>
                    </a:cubicBezTo>
                    <a:cubicBezTo>
                      <a:pt x="146792" y="310366"/>
                      <a:pt x="137198" y="309822"/>
                      <a:pt x="127773" y="308134"/>
                    </a:cubicBezTo>
                    <a:cubicBezTo>
                      <a:pt x="119411" y="307372"/>
                      <a:pt x="111730" y="303204"/>
                      <a:pt x="106532" y="296608"/>
                    </a:cubicBezTo>
                    <a:cubicBezTo>
                      <a:pt x="102055" y="289560"/>
                      <a:pt x="105580" y="277559"/>
                      <a:pt x="113866" y="277559"/>
                    </a:cubicBezTo>
                    <a:cubicBezTo>
                      <a:pt x="114298" y="272081"/>
                      <a:pt x="112191" y="266709"/>
                      <a:pt x="108151" y="262985"/>
                    </a:cubicBezTo>
                    <a:cubicBezTo>
                      <a:pt x="103877" y="259332"/>
                      <a:pt x="97501" y="259624"/>
                      <a:pt x="93578" y="263652"/>
                    </a:cubicBezTo>
                    <a:cubicBezTo>
                      <a:pt x="91003" y="267113"/>
                      <a:pt x="91721" y="272006"/>
                      <a:pt x="95182" y="274581"/>
                    </a:cubicBezTo>
                    <a:cubicBezTo>
                      <a:pt x="96064" y="275238"/>
                      <a:pt x="97076" y="275701"/>
                      <a:pt x="98150" y="275939"/>
                    </a:cubicBezTo>
                    <a:cubicBezTo>
                      <a:pt x="90585" y="280508"/>
                      <a:pt x="80748" y="278078"/>
                      <a:pt x="76180" y="270513"/>
                    </a:cubicBezTo>
                    <a:cubicBezTo>
                      <a:pt x="75087" y="268703"/>
                      <a:pt x="74364" y="266695"/>
                      <a:pt x="74052" y="264605"/>
                    </a:cubicBezTo>
                    <a:cubicBezTo>
                      <a:pt x="73912" y="253315"/>
                      <a:pt x="82518" y="243836"/>
                      <a:pt x="93769" y="242888"/>
                    </a:cubicBezTo>
                    <a:cubicBezTo>
                      <a:pt x="90881" y="235336"/>
                      <a:pt x="89963" y="227174"/>
                      <a:pt x="91102" y="219170"/>
                    </a:cubicBezTo>
                    <a:cubicBezTo>
                      <a:pt x="85686" y="226693"/>
                      <a:pt x="75387" y="228769"/>
                      <a:pt x="67480" y="223933"/>
                    </a:cubicBezTo>
                    <a:cubicBezTo>
                      <a:pt x="63772" y="231475"/>
                      <a:pt x="57124" y="237160"/>
                      <a:pt x="49097" y="239649"/>
                    </a:cubicBezTo>
                    <a:cubicBezTo>
                      <a:pt x="40766" y="241807"/>
                      <a:pt x="32062" y="237833"/>
                      <a:pt x="28237" y="230124"/>
                    </a:cubicBezTo>
                    <a:cubicBezTo>
                      <a:pt x="25577" y="223426"/>
                      <a:pt x="28851" y="215840"/>
                      <a:pt x="35550" y="213180"/>
                    </a:cubicBezTo>
                    <a:cubicBezTo>
                      <a:pt x="36715" y="212717"/>
                      <a:pt x="37941" y="212425"/>
                      <a:pt x="39190" y="212312"/>
                    </a:cubicBezTo>
                    <a:cubicBezTo>
                      <a:pt x="34679" y="204958"/>
                      <a:pt x="36983" y="195340"/>
                      <a:pt x="44337" y="190828"/>
                    </a:cubicBezTo>
                    <a:cubicBezTo>
                      <a:pt x="46360" y="189587"/>
                      <a:pt x="48639" y="188823"/>
                      <a:pt x="51001" y="188595"/>
                    </a:cubicBezTo>
                    <a:cubicBezTo>
                      <a:pt x="48627" y="177802"/>
                      <a:pt x="53779" y="166756"/>
                      <a:pt x="63574" y="161639"/>
                    </a:cubicBezTo>
                    <a:cubicBezTo>
                      <a:pt x="57880" y="165704"/>
                      <a:pt x="49968" y="164383"/>
                      <a:pt x="45904" y="158688"/>
                    </a:cubicBezTo>
                    <a:cubicBezTo>
                      <a:pt x="45353" y="157916"/>
                      <a:pt x="44890" y="157085"/>
                      <a:pt x="44524" y="156210"/>
                    </a:cubicBezTo>
                    <a:cubicBezTo>
                      <a:pt x="40143" y="164592"/>
                      <a:pt x="27760" y="163735"/>
                      <a:pt x="19283" y="159639"/>
                    </a:cubicBezTo>
                    <a:cubicBezTo>
                      <a:pt x="11650" y="157343"/>
                      <a:pt x="6626" y="150064"/>
                      <a:pt x="7186" y="142113"/>
                    </a:cubicBezTo>
                    <a:cubicBezTo>
                      <a:pt x="7709" y="137585"/>
                      <a:pt x="9838" y="133394"/>
                      <a:pt x="13187" y="130302"/>
                    </a:cubicBezTo>
                    <a:cubicBezTo>
                      <a:pt x="21431" y="124119"/>
                      <a:pt x="31458" y="120777"/>
                      <a:pt x="41762" y="120777"/>
                    </a:cubicBezTo>
                    <a:cubicBezTo>
                      <a:pt x="46854" y="107912"/>
                      <a:pt x="49814" y="94304"/>
                      <a:pt x="50525" y="80486"/>
                    </a:cubicBezTo>
                    <a:cubicBezTo>
                      <a:pt x="38617" y="81929"/>
                      <a:pt x="27428" y="74497"/>
                      <a:pt x="24141" y="62960"/>
                    </a:cubicBezTo>
                    <a:lnTo>
                      <a:pt x="81291" y="27527"/>
                    </a:lnTo>
                    <a:cubicBezTo>
                      <a:pt x="81291" y="27527"/>
                      <a:pt x="213307" y="7144"/>
                      <a:pt x="218070" y="7144"/>
                    </a:cubicBezTo>
                    <a:cubicBezTo>
                      <a:pt x="222832" y="7144"/>
                      <a:pt x="499153" y="149257"/>
                      <a:pt x="499153" y="149257"/>
                    </a:cubicBezTo>
                    <a:cubicBezTo>
                      <a:pt x="505929" y="154765"/>
                      <a:pt x="515887" y="153737"/>
                      <a:pt x="521395" y="146961"/>
                    </a:cubicBezTo>
                    <a:cubicBezTo>
                      <a:pt x="521905" y="146334"/>
                      <a:pt x="522367" y="145668"/>
                      <a:pt x="522775" y="144970"/>
                    </a:cubicBezTo>
                    <a:cubicBezTo>
                      <a:pt x="526892" y="136484"/>
                      <a:pt x="526014" y="126422"/>
                      <a:pt x="520489" y="118777"/>
                    </a:cubicBezTo>
                    <a:cubicBezTo>
                      <a:pt x="514981" y="111244"/>
                      <a:pt x="508136" y="104787"/>
                      <a:pt x="500296" y="99727"/>
                    </a:cubicBezTo>
                    <a:cubicBezTo>
                      <a:pt x="509249" y="100176"/>
                      <a:pt x="518068" y="97405"/>
                      <a:pt x="525156" y="91916"/>
                    </a:cubicBezTo>
                    <a:cubicBezTo>
                      <a:pt x="529439" y="88100"/>
                      <a:pt x="530917" y="82035"/>
                      <a:pt x="528871" y="76676"/>
                    </a:cubicBezTo>
                    <a:cubicBezTo>
                      <a:pt x="525727" y="69056"/>
                      <a:pt x="516964" y="69533"/>
                      <a:pt x="511249" y="65246"/>
                    </a:cubicBezTo>
                    <a:cubicBezTo>
                      <a:pt x="508232" y="62358"/>
                      <a:pt x="505777" y="58934"/>
                      <a:pt x="504011" y="55150"/>
                    </a:cubicBez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4" name="Полилиния: фигура 703">
                <a:extLst>
                  <a:ext uri="{FF2B5EF4-FFF2-40B4-BE49-F238E27FC236}">
                    <a16:creationId xmlns:a16="http://schemas.microsoft.com/office/drawing/2014/main" id="{DAF4ED58-2663-4290-B19F-2AEEFB300C09}"/>
                  </a:ext>
                </a:extLst>
              </p:cNvPr>
              <p:cNvSpPr/>
              <p:nvPr/>
            </p:nvSpPr>
            <p:spPr>
              <a:xfrm>
                <a:off x="1645853" y="3687435"/>
                <a:ext cx="285750" cy="504825"/>
              </a:xfrm>
              <a:custGeom>
                <a:avLst/>
                <a:gdLst>
                  <a:gd name="connsiteX0" fmla="*/ 10654 w 285750"/>
                  <a:gd name="connsiteY0" fmla="*/ 107013 h 504825"/>
                  <a:gd name="connsiteX1" fmla="*/ 92569 w 285750"/>
                  <a:gd name="connsiteY1" fmla="*/ 7477 h 504825"/>
                  <a:gd name="connsiteX2" fmla="*/ 239063 w 285750"/>
                  <a:gd name="connsiteY2" fmla="*/ 45577 h 504825"/>
                  <a:gd name="connsiteX3" fmla="*/ 263638 w 285750"/>
                  <a:gd name="connsiteY3" fmla="*/ 74152 h 504825"/>
                  <a:gd name="connsiteX4" fmla="*/ 248588 w 285750"/>
                  <a:gd name="connsiteY4" fmla="*/ 390667 h 504825"/>
                  <a:gd name="connsiteX5" fmla="*/ 282688 w 285750"/>
                  <a:gd name="connsiteY5" fmla="*/ 407622 h 504825"/>
                  <a:gd name="connsiteX6" fmla="*/ 246493 w 285750"/>
                  <a:gd name="connsiteY6" fmla="*/ 428196 h 504825"/>
                  <a:gd name="connsiteX7" fmla="*/ 115810 w 285750"/>
                  <a:gd name="connsiteY7" fmla="*/ 496966 h 504825"/>
                  <a:gd name="connsiteX8" fmla="*/ 84187 w 285750"/>
                  <a:gd name="connsiteY8" fmla="*/ 448103 h 504825"/>
                  <a:gd name="connsiteX9" fmla="*/ 83615 w 285750"/>
                  <a:gd name="connsiteY9" fmla="*/ 448103 h 504825"/>
                  <a:gd name="connsiteX10" fmla="*/ 51611 w 285750"/>
                  <a:gd name="connsiteY10" fmla="*/ 418576 h 504825"/>
                  <a:gd name="connsiteX11" fmla="*/ 83139 w 285750"/>
                  <a:gd name="connsiteY11" fmla="*/ 400669 h 504825"/>
                  <a:gd name="connsiteX12" fmla="*/ 83139 w 285750"/>
                  <a:gd name="connsiteY12" fmla="*/ 392096 h 504825"/>
                  <a:gd name="connsiteX13" fmla="*/ 83139 w 285750"/>
                  <a:gd name="connsiteY13" fmla="*/ 352091 h 504825"/>
                  <a:gd name="connsiteX14" fmla="*/ 11035 w 285750"/>
                  <a:gd name="connsiteY14" fmla="*/ 262937 h 504825"/>
                  <a:gd name="connsiteX15" fmla="*/ 10654 w 285750"/>
                  <a:gd name="connsiteY15" fmla="*/ 107013 h 504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750" h="504825">
                    <a:moveTo>
                      <a:pt x="10654" y="107013"/>
                    </a:moveTo>
                    <a:cubicBezTo>
                      <a:pt x="13892" y="59864"/>
                      <a:pt x="45610" y="2238"/>
                      <a:pt x="92569" y="7477"/>
                    </a:cubicBezTo>
                    <a:lnTo>
                      <a:pt x="239063" y="45577"/>
                    </a:lnTo>
                    <a:cubicBezTo>
                      <a:pt x="253466" y="47210"/>
                      <a:pt x="264178" y="59666"/>
                      <a:pt x="263638" y="74152"/>
                    </a:cubicBezTo>
                    <a:lnTo>
                      <a:pt x="248588" y="390667"/>
                    </a:lnTo>
                    <a:lnTo>
                      <a:pt x="282688" y="407622"/>
                    </a:lnTo>
                    <a:cubicBezTo>
                      <a:pt x="282688" y="407622"/>
                      <a:pt x="246207" y="428101"/>
                      <a:pt x="246493" y="428196"/>
                    </a:cubicBezTo>
                    <a:cubicBezTo>
                      <a:pt x="246778" y="428291"/>
                      <a:pt x="212584" y="527923"/>
                      <a:pt x="115810" y="496966"/>
                    </a:cubicBezTo>
                    <a:cubicBezTo>
                      <a:pt x="96760" y="490775"/>
                      <a:pt x="87901" y="469725"/>
                      <a:pt x="84187" y="448103"/>
                    </a:cubicBezTo>
                    <a:lnTo>
                      <a:pt x="83615" y="448103"/>
                    </a:lnTo>
                    <a:cubicBezTo>
                      <a:pt x="83615" y="445531"/>
                      <a:pt x="51611" y="421052"/>
                      <a:pt x="51611" y="418576"/>
                    </a:cubicBezTo>
                    <a:cubicBezTo>
                      <a:pt x="51611" y="421052"/>
                      <a:pt x="83139" y="400669"/>
                      <a:pt x="83139" y="400669"/>
                    </a:cubicBezTo>
                    <a:lnTo>
                      <a:pt x="83139" y="392096"/>
                    </a:lnTo>
                    <a:cubicBezTo>
                      <a:pt x="83139" y="363521"/>
                      <a:pt x="83139" y="351805"/>
                      <a:pt x="83139" y="352091"/>
                    </a:cubicBezTo>
                    <a:cubicBezTo>
                      <a:pt x="83139" y="352377"/>
                      <a:pt x="22941" y="341614"/>
                      <a:pt x="11035" y="262937"/>
                    </a:cubicBezTo>
                    <a:cubicBezTo>
                      <a:pt x="4558" y="223504"/>
                      <a:pt x="7415" y="159400"/>
                      <a:pt x="10654" y="107013"/>
                    </a:cubicBezTo>
                    <a:close/>
                  </a:path>
                </a:pathLst>
              </a:custGeom>
              <a:solidFill>
                <a:srgbClr val="B7887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5" name="Полилиния: фигура 704">
                <a:extLst>
                  <a:ext uri="{FF2B5EF4-FFF2-40B4-BE49-F238E27FC236}">
                    <a16:creationId xmlns:a16="http://schemas.microsoft.com/office/drawing/2014/main" id="{3C98012C-A222-4A5B-ABF0-20B1198E7280}"/>
                  </a:ext>
                </a:extLst>
              </p:cNvPr>
              <p:cNvSpPr/>
              <p:nvPr/>
            </p:nvSpPr>
            <p:spPr>
              <a:xfrm>
                <a:off x="1665722" y="3830404"/>
                <a:ext cx="28575" cy="28575"/>
              </a:xfrm>
              <a:custGeom>
                <a:avLst/>
                <a:gdLst>
                  <a:gd name="connsiteX0" fmla="*/ 7168 w 28575"/>
                  <a:gd name="connsiteY0" fmla="*/ 16717 h 28575"/>
                  <a:gd name="connsiteX1" fmla="*/ 16002 w 28575"/>
                  <a:gd name="connsiteY1" fmla="*/ 26886 h 28575"/>
                  <a:gd name="connsiteX2" fmla="*/ 16693 w 28575"/>
                  <a:gd name="connsiteY2" fmla="*/ 26909 h 28575"/>
                  <a:gd name="connsiteX3" fmla="*/ 27122 w 28575"/>
                  <a:gd name="connsiteY3" fmla="*/ 18384 h 28575"/>
                  <a:gd name="connsiteX4" fmla="*/ 27170 w 28575"/>
                  <a:gd name="connsiteY4" fmla="*/ 17384 h 28575"/>
                  <a:gd name="connsiteX5" fmla="*/ 17645 w 28575"/>
                  <a:gd name="connsiteY5" fmla="*/ 7192 h 28575"/>
                  <a:gd name="connsiteX6" fmla="*/ 7215 w 28575"/>
                  <a:gd name="connsiteY6" fmla="*/ 15717 h 28575"/>
                  <a:gd name="connsiteX7" fmla="*/ 7168 w 28575"/>
                  <a:gd name="connsiteY7" fmla="*/ 1671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75" h="28575">
                    <a:moveTo>
                      <a:pt x="7168" y="16717"/>
                    </a:moveTo>
                    <a:cubicBezTo>
                      <a:pt x="6799" y="21965"/>
                      <a:pt x="10755" y="26517"/>
                      <a:pt x="16002" y="26886"/>
                    </a:cubicBezTo>
                    <a:cubicBezTo>
                      <a:pt x="16232" y="26902"/>
                      <a:pt x="16462" y="26909"/>
                      <a:pt x="16693" y="26909"/>
                    </a:cubicBezTo>
                    <a:cubicBezTo>
                      <a:pt x="21927" y="27435"/>
                      <a:pt x="26596" y="23619"/>
                      <a:pt x="27122" y="18384"/>
                    </a:cubicBezTo>
                    <a:cubicBezTo>
                      <a:pt x="27156" y="18052"/>
                      <a:pt x="27172" y="17718"/>
                      <a:pt x="27170" y="17384"/>
                    </a:cubicBezTo>
                    <a:cubicBezTo>
                      <a:pt x="27230" y="11987"/>
                      <a:pt x="23034" y="7497"/>
                      <a:pt x="17645" y="7192"/>
                    </a:cubicBezTo>
                    <a:cubicBezTo>
                      <a:pt x="12411" y="6666"/>
                      <a:pt x="7741" y="10483"/>
                      <a:pt x="7215" y="15717"/>
                    </a:cubicBezTo>
                    <a:cubicBezTo>
                      <a:pt x="7182" y="16049"/>
                      <a:pt x="7166" y="16383"/>
                      <a:pt x="7168" y="1671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6" name="Полилиния: фигура 705">
                <a:extLst>
                  <a:ext uri="{FF2B5EF4-FFF2-40B4-BE49-F238E27FC236}">
                    <a16:creationId xmlns:a16="http://schemas.microsoft.com/office/drawing/2014/main" id="{23CD071E-F183-4CCB-9767-9B239FC16331}"/>
                  </a:ext>
                </a:extLst>
              </p:cNvPr>
              <p:cNvSpPr/>
              <p:nvPr/>
            </p:nvSpPr>
            <p:spPr>
              <a:xfrm>
                <a:off x="1662897" y="3810260"/>
                <a:ext cx="47625" cy="19050"/>
              </a:xfrm>
              <a:custGeom>
                <a:avLst/>
                <a:gdLst>
                  <a:gd name="connsiteX0" fmla="*/ 7326 w 47625"/>
                  <a:gd name="connsiteY0" fmla="*/ 17621 h 19050"/>
                  <a:gd name="connsiteX1" fmla="*/ 27042 w 47625"/>
                  <a:gd name="connsiteY1" fmla="*/ 13431 h 19050"/>
                  <a:gd name="connsiteX2" fmla="*/ 47045 w 47625"/>
                  <a:gd name="connsiteY2" fmla="*/ 17717 h 19050"/>
                  <a:gd name="connsiteX3" fmla="*/ 42854 w 47625"/>
                  <a:gd name="connsiteY3" fmla="*/ 12192 h 19050"/>
                  <a:gd name="connsiteX4" fmla="*/ 26947 w 47625"/>
                  <a:gd name="connsiteY4" fmla="*/ 7144 h 19050"/>
                  <a:gd name="connsiteX5" fmla="*/ 11136 w 47625"/>
                  <a:gd name="connsiteY5" fmla="*/ 12097 h 19050"/>
                  <a:gd name="connsiteX6" fmla="*/ 7326 w 47625"/>
                  <a:gd name="connsiteY6" fmla="*/ 1762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7326" y="17621"/>
                    </a:moveTo>
                    <a:cubicBezTo>
                      <a:pt x="8564" y="18955"/>
                      <a:pt x="16184" y="13335"/>
                      <a:pt x="27042" y="13431"/>
                    </a:cubicBezTo>
                    <a:cubicBezTo>
                      <a:pt x="37901" y="13526"/>
                      <a:pt x="46092" y="19050"/>
                      <a:pt x="47045" y="17717"/>
                    </a:cubicBezTo>
                    <a:cubicBezTo>
                      <a:pt x="47997" y="16383"/>
                      <a:pt x="46283" y="14764"/>
                      <a:pt x="42854" y="12192"/>
                    </a:cubicBezTo>
                    <a:cubicBezTo>
                      <a:pt x="38199" y="8910"/>
                      <a:pt x="32643" y="7146"/>
                      <a:pt x="26947" y="7144"/>
                    </a:cubicBezTo>
                    <a:cubicBezTo>
                      <a:pt x="21291" y="7120"/>
                      <a:pt x="15767" y="8850"/>
                      <a:pt x="11136" y="12097"/>
                    </a:cubicBezTo>
                    <a:cubicBezTo>
                      <a:pt x="7802" y="14669"/>
                      <a:pt x="6659" y="17050"/>
                      <a:pt x="7326" y="1762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7" name="Полилиния: фигура 706">
                <a:extLst>
                  <a:ext uri="{FF2B5EF4-FFF2-40B4-BE49-F238E27FC236}">
                    <a16:creationId xmlns:a16="http://schemas.microsoft.com/office/drawing/2014/main" id="{B4380EAC-8BD3-47E6-AB60-93837D6216A6}"/>
                  </a:ext>
                </a:extLst>
              </p:cNvPr>
              <p:cNvSpPr/>
              <p:nvPr/>
            </p:nvSpPr>
            <p:spPr>
              <a:xfrm>
                <a:off x="1769947" y="3830023"/>
                <a:ext cx="28575" cy="28575"/>
              </a:xfrm>
              <a:custGeom>
                <a:avLst/>
                <a:gdLst>
                  <a:gd name="connsiteX0" fmla="*/ 7146 w 28575"/>
                  <a:gd name="connsiteY0" fmla="*/ 16717 h 28575"/>
                  <a:gd name="connsiteX1" fmla="*/ 16671 w 28575"/>
                  <a:gd name="connsiteY1" fmla="*/ 27004 h 28575"/>
                  <a:gd name="connsiteX2" fmla="*/ 27101 w 28575"/>
                  <a:gd name="connsiteY2" fmla="*/ 18480 h 28575"/>
                  <a:gd name="connsiteX3" fmla="*/ 27148 w 28575"/>
                  <a:gd name="connsiteY3" fmla="*/ 17479 h 28575"/>
                  <a:gd name="connsiteX4" fmla="*/ 17623 w 28575"/>
                  <a:gd name="connsiteY4" fmla="*/ 7192 h 28575"/>
                  <a:gd name="connsiteX5" fmla="*/ 7194 w 28575"/>
                  <a:gd name="connsiteY5" fmla="*/ 15717 h 28575"/>
                  <a:gd name="connsiteX6" fmla="*/ 7146 w 28575"/>
                  <a:gd name="connsiteY6" fmla="*/ 1671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28575">
                    <a:moveTo>
                      <a:pt x="7146" y="16717"/>
                    </a:moveTo>
                    <a:cubicBezTo>
                      <a:pt x="7035" y="22151"/>
                      <a:pt x="11245" y="26698"/>
                      <a:pt x="16671" y="27004"/>
                    </a:cubicBezTo>
                    <a:cubicBezTo>
                      <a:pt x="21905" y="27530"/>
                      <a:pt x="26575" y="23714"/>
                      <a:pt x="27101" y="18480"/>
                    </a:cubicBezTo>
                    <a:cubicBezTo>
                      <a:pt x="27134" y="18147"/>
                      <a:pt x="27150" y="17813"/>
                      <a:pt x="27148" y="17479"/>
                    </a:cubicBezTo>
                    <a:cubicBezTo>
                      <a:pt x="27211" y="12064"/>
                      <a:pt x="23027" y="7546"/>
                      <a:pt x="17623" y="7192"/>
                    </a:cubicBezTo>
                    <a:cubicBezTo>
                      <a:pt x="12389" y="6666"/>
                      <a:pt x="7720" y="10483"/>
                      <a:pt x="7194" y="15717"/>
                    </a:cubicBezTo>
                    <a:cubicBezTo>
                      <a:pt x="7160" y="16049"/>
                      <a:pt x="7144" y="16383"/>
                      <a:pt x="7146" y="1671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8" name="Полилиния: фигура 707">
                <a:extLst>
                  <a:ext uri="{FF2B5EF4-FFF2-40B4-BE49-F238E27FC236}">
                    <a16:creationId xmlns:a16="http://schemas.microsoft.com/office/drawing/2014/main" id="{1FA3858F-ABCF-4A63-8B8A-E14DABFEFBBE}"/>
                  </a:ext>
                </a:extLst>
              </p:cNvPr>
              <p:cNvSpPr/>
              <p:nvPr/>
            </p:nvSpPr>
            <p:spPr>
              <a:xfrm>
                <a:off x="1769646" y="3813022"/>
                <a:ext cx="47625" cy="19050"/>
              </a:xfrm>
              <a:custGeom>
                <a:avLst/>
                <a:gdLst>
                  <a:gd name="connsiteX0" fmla="*/ 7447 w 47625"/>
                  <a:gd name="connsiteY0" fmla="*/ 17622 h 19050"/>
                  <a:gd name="connsiteX1" fmla="*/ 27259 w 47625"/>
                  <a:gd name="connsiteY1" fmla="*/ 13431 h 19050"/>
                  <a:gd name="connsiteX2" fmla="*/ 47166 w 47625"/>
                  <a:gd name="connsiteY2" fmla="*/ 17717 h 19050"/>
                  <a:gd name="connsiteX3" fmla="*/ 43070 w 47625"/>
                  <a:gd name="connsiteY3" fmla="*/ 12192 h 19050"/>
                  <a:gd name="connsiteX4" fmla="*/ 27069 w 47625"/>
                  <a:gd name="connsiteY4" fmla="*/ 7144 h 19050"/>
                  <a:gd name="connsiteX5" fmla="*/ 11352 w 47625"/>
                  <a:gd name="connsiteY5" fmla="*/ 12097 h 19050"/>
                  <a:gd name="connsiteX6" fmla="*/ 7447 w 47625"/>
                  <a:gd name="connsiteY6" fmla="*/ 17622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7447" y="17622"/>
                    </a:moveTo>
                    <a:cubicBezTo>
                      <a:pt x="8685" y="18955"/>
                      <a:pt x="16400" y="13335"/>
                      <a:pt x="27259" y="13431"/>
                    </a:cubicBezTo>
                    <a:cubicBezTo>
                      <a:pt x="38117" y="13526"/>
                      <a:pt x="46309" y="19050"/>
                      <a:pt x="47166" y="17717"/>
                    </a:cubicBezTo>
                    <a:cubicBezTo>
                      <a:pt x="48023" y="16383"/>
                      <a:pt x="46499" y="14764"/>
                      <a:pt x="43070" y="12192"/>
                    </a:cubicBezTo>
                    <a:cubicBezTo>
                      <a:pt x="38392" y="8885"/>
                      <a:pt x="32798" y="7121"/>
                      <a:pt x="27069" y="7144"/>
                    </a:cubicBezTo>
                    <a:cubicBezTo>
                      <a:pt x="21441" y="7114"/>
                      <a:pt x="15946" y="8846"/>
                      <a:pt x="11352" y="12097"/>
                    </a:cubicBezTo>
                    <a:cubicBezTo>
                      <a:pt x="7447" y="14669"/>
                      <a:pt x="6590" y="17050"/>
                      <a:pt x="7447" y="1762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9" name="Полилиния: фигура 708">
                <a:extLst>
                  <a:ext uri="{FF2B5EF4-FFF2-40B4-BE49-F238E27FC236}">
                    <a16:creationId xmlns:a16="http://schemas.microsoft.com/office/drawing/2014/main" id="{CC9C2D4F-ADD6-4950-9243-BAE7978D0FAF}"/>
                  </a:ext>
                </a:extLst>
              </p:cNvPr>
              <p:cNvSpPr/>
              <p:nvPr/>
            </p:nvSpPr>
            <p:spPr>
              <a:xfrm>
                <a:off x="1702513" y="3813308"/>
                <a:ext cx="38100" cy="104775"/>
              </a:xfrm>
              <a:custGeom>
                <a:avLst/>
                <a:gdLst>
                  <a:gd name="connsiteX0" fmla="*/ 34384 w 38100"/>
                  <a:gd name="connsiteY0" fmla="*/ 97536 h 104775"/>
                  <a:gd name="connsiteX1" fmla="*/ 16763 w 38100"/>
                  <a:gd name="connsiteY1" fmla="*/ 94202 h 104775"/>
                  <a:gd name="connsiteX2" fmla="*/ 10953 w 38100"/>
                  <a:gd name="connsiteY2" fmla="*/ 91440 h 104775"/>
                  <a:gd name="connsiteX3" fmla="*/ 12858 w 38100"/>
                  <a:gd name="connsiteY3" fmla="*/ 83249 h 104775"/>
                  <a:gd name="connsiteX4" fmla="*/ 21145 w 38100"/>
                  <a:gd name="connsiteY4" fmla="*/ 62198 h 104775"/>
                  <a:gd name="connsiteX5" fmla="*/ 40195 w 38100"/>
                  <a:gd name="connsiteY5" fmla="*/ 7144 h 104775"/>
                  <a:gd name="connsiteX6" fmla="*/ 16954 w 38100"/>
                  <a:gd name="connsiteY6" fmla="*/ 60579 h 104775"/>
                  <a:gd name="connsiteX7" fmla="*/ 8953 w 38100"/>
                  <a:gd name="connsiteY7" fmla="*/ 81725 h 104775"/>
                  <a:gd name="connsiteX8" fmla="*/ 7524 w 38100"/>
                  <a:gd name="connsiteY8" fmla="*/ 92583 h 104775"/>
                  <a:gd name="connsiteX9" fmla="*/ 12001 w 38100"/>
                  <a:gd name="connsiteY9" fmla="*/ 96679 h 104775"/>
                  <a:gd name="connsiteX10" fmla="*/ 16668 w 38100"/>
                  <a:gd name="connsiteY10" fmla="*/ 97441 h 104775"/>
                  <a:gd name="connsiteX11" fmla="*/ 34385 w 38100"/>
                  <a:gd name="connsiteY11" fmla="*/ 97536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100" h="104775">
                    <a:moveTo>
                      <a:pt x="34384" y="97536"/>
                    </a:moveTo>
                    <a:cubicBezTo>
                      <a:pt x="28662" y="95735"/>
                      <a:pt x="22748" y="94616"/>
                      <a:pt x="16763" y="94202"/>
                    </a:cubicBezTo>
                    <a:cubicBezTo>
                      <a:pt x="14001" y="94202"/>
                      <a:pt x="11429" y="93345"/>
                      <a:pt x="10953" y="91440"/>
                    </a:cubicBezTo>
                    <a:cubicBezTo>
                      <a:pt x="10746" y="88580"/>
                      <a:pt x="11410" y="85724"/>
                      <a:pt x="12858" y="83249"/>
                    </a:cubicBezTo>
                    <a:cubicBezTo>
                      <a:pt x="15525" y="76581"/>
                      <a:pt x="18287" y="69533"/>
                      <a:pt x="21145" y="62198"/>
                    </a:cubicBezTo>
                    <a:cubicBezTo>
                      <a:pt x="28931" y="44376"/>
                      <a:pt x="35301" y="25967"/>
                      <a:pt x="40195" y="7144"/>
                    </a:cubicBezTo>
                    <a:cubicBezTo>
                      <a:pt x="31024" y="24302"/>
                      <a:pt x="23252" y="42172"/>
                      <a:pt x="16954" y="60579"/>
                    </a:cubicBezTo>
                    <a:cubicBezTo>
                      <a:pt x="14160" y="68008"/>
                      <a:pt x="11493" y="75057"/>
                      <a:pt x="8953" y="81725"/>
                    </a:cubicBezTo>
                    <a:cubicBezTo>
                      <a:pt x="7214" y="85063"/>
                      <a:pt x="6708" y="88908"/>
                      <a:pt x="7524" y="92583"/>
                    </a:cubicBezTo>
                    <a:cubicBezTo>
                      <a:pt x="8259" y="94597"/>
                      <a:pt x="9930" y="96125"/>
                      <a:pt x="12001" y="96679"/>
                    </a:cubicBezTo>
                    <a:cubicBezTo>
                      <a:pt x="13519" y="97126"/>
                      <a:pt x="15087" y="97382"/>
                      <a:pt x="16668" y="97441"/>
                    </a:cubicBezTo>
                    <a:cubicBezTo>
                      <a:pt x="22543" y="98260"/>
                      <a:pt x="28501" y="98292"/>
                      <a:pt x="34385" y="9753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0" name="Полилиния: фигура 709">
                <a:extLst>
                  <a:ext uri="{FF2B5EF4-FFF2-40B4-BE49-F238E27FC236}">
                    <a16:creationId xmlns:a16="http://schemas.microsoft.com/office/drawing/2014/main" id="{507D875B-EF5E-4777-B075-F0D51682CC79}"/>
                  </a:ext>
                </a:extLst>
              </p:cNvPr>
              <p:cNvSpPr/>
              <p:nvPr/>
            </p:nvSpPr>
            <p:spPr>
              <a:xfrm>
                <a:off x="1721372" y="4004665"/>
                <a:ext cx="114300" cy="57150"/>
              </a:xfrm>
              <a:custGeom>
                <a:avLst/>
                <a:gdLst>
                  <a:gd name="connsiteX0" fmla="*/ 7144 w 114300"/>
                  <a:gd name="connsiteY0" fmla="*/ 34576 h 57150"/>
                  <a:gd name="connsiteX1" fmla="*/ 112871 w 114300"/>
                  <a:gd name="connsiteY1" fmla="*/ 7144 h 57150"/>
                  <a:gd name="connsiteX2" fmla="*/ 8096 w 114300"/>
                  <a:gd name="connsiteY2" fmla="*/ 5315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300" h="57150">
                    <a:moveTo>
                      <a:pt x="7144" y="34576"/>
                    </a:moveTo>
                    <a:cubicBezTo>
                      <a:pt x="44245" y="35388"/>
                      <a:pt x="80845" y="25892"/>
                      <a:pt x="112871" y="7144"/>
                    </a:cubicBezTo>
                    <a:cubicBezTo>
                      <a:pt x="112871" y="7144"/>
                      <a:pt x="86963" y="61055"/>
                      <a:pt x="8096" y="53150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1" name="Полилиния: фигура 710">
                <a:extLst>
                  <a:ext uri="{FF2B5EF4-FFF2-40B4-BE49-F238E27FC236}">
                    <a16:creationId xmlns:a16="http://schemas.microsoft.com/office/drawing/2014/main" id="{64B2BC1D-1D72-4DC5-94AD-BA2A6E070B00}"/>
                  </a:ext>
                </a:extLst>
              </p:cNvPr>
              <p:cNvSpPr/>
              <p:nvPr/>
            </p:nvSpPr>
            <p:spPr>
              <a:xfrm>
                <a:off x="1726835" y="3916177"/>
                <a:ext cx="47625" cy="38100"/>
              </a:xfrm>
              <a:custGeom>
                <a:avLst/>
                <a:gdLst>
                  <a:gd name="connsiteX0" fmla="*/ 8825 w 47625"/>
                  <a:gd name="connsiteY0" fmla="*/ 19146 h 38100"/>
                  <a:gd name="connsiteX1" fmla="*/ 31304 w 47625"/>
                  <a:gd name="connsiteY1" fmla="*/ 7145 h 38100"/>
                  <a:gd name="connsiteX2" fmla="*/ 48164 w 47625"/>
                  <a:gd name="connsiteY2" fmla="*/ 23620 h 38100"/>
                  <a:gd name="connsiteX3" fmla="*/ 45305 w 47625"/>
                  <a:gd name="connsiteY3" fmla="*/ 33148 h 38100"/>
                  <a:gd name="connsiteX4" fmla="*/ 27303 w 47625"/>
                  <a:gd name="connsiteY4" fmla="*/ 39720 h 38100"/>
                  <a:gd name="connsiteX5" fmla="*/ 11111 w 47625"/>
                  <a:gd name="connsiteY5" fmla="*/ 29529 h 38100"/>
                  <a:gd name="connsiteX6" fmla="*/ 7682 w 47625"/>
                  <a:gd name="connsiteY6" fmla="*/ 25338 h 38100"/>
                  <a:gd name="connsiteX7" fmla="*/ 8158 w 47625"/>
                  <a:gd name="connsiteY7" fmla="*/ 1971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625" h="38100">
                    <a:moveTo>
                      <a:pt x="8825" y="19146"/>
                    </a:moveTo>
                    <a:cubicBezTo>
                      <a:pt x="13903" y="11710"/>
                      <a:pt x="22299" y="7228"/>
                      <a:pt x="31304" y="7145"/>
                    </a:cubicBezTo>
                    <a:cubicBezTo>
                      <a:pt x="40509" y="7038"/>
                      <a:pt x="48058" y="14415"/>
                      <a:pt x="48164" y="23620"/>
                    </a:cubicBezTo>
                    <a:cubicBezTo>
                      <a:pt x="48203" y="27013"/>
                      <a:pt x="47206" y="30337"/>
                      <a:pt x="45305" y="33148"/>
                    </a:cubicBezTo>
                    <a:cubicBezTo>
                      <a:pt x="41220" y="38823"/>
                      <a:pt x="34084" y="41428"/>
                      <a:pt x="27303" y="39720"/>
                    </a:cubicBezTo>
                    <a:cubicBezTo>
                      <a:pt x="21159" y="37686"/>
                      <a:pt x="15602" y="34189"/>
                      <a:pt x="11111" y="29529"/>
                    </a:cubicBezTo>
                    <a:cubicBezTo>
                      <a:pt x="9691" y="28383"/>
                      <a:pt x="8524" y="26956"/>
                      <a:pt x="7682" y="25338"/>
                    </a:cubicBezTo>
                    <a:cubicBezTo>
                      <a:pt x="6821" y="23515"/>
                      <a:pt x="7003" y="21370"/>
                      <a:pt x="8158" y="19718"/>
                    </a:cubicBezTo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2" name="Полилиния: фигура 711">
                <a:extLst>
                  <a:ext uri="{FF2B5EF4-FFF2-40B4-BE49-F238E27FC236}">
                    <a16:creationId xmlns:a16="http://schemas.microsoft.com/office/drawing/2014/main" id="{198BC564-99F8-4BEB-8C9D-3E841FE32BA3}"/>
                  </a:ext>
                </a:extLst>
              </p:cNvPr>
              <p:cNvSpPr/>
              <p:nvPr/>
            </p:nvSpPr>
            <p:spPr>
              <a:xfrm>
                <a:off x="1726894" y="3911413"/>
                <a:ext cx="47625" cy="38100"/>
              </a:xfrm>
              <a:custGeom>
                <a:avLst/>
                <a:gdLst>
                  <a:gd name="connsiteX0" fmla="*/ 41912 w 47625"/>
                  <a:gd name="connsiteY0" fmla="*/ 7146 h 38100"/>
                  <a:gd name="connsiteX1" fmla="*/ 29911 w 47625"/>
                  <a:gd name="connsiteY1" fmla="*/ 27149 h 38100"/>
                  <a:gd name="connsiteX2" fmla="*/ 7146 w 47625"/>
                  <a:gd name="connsiteY2" fmla="*/ 35626 h 38100"/>
                  <a:gd name="connsiteX3" fmla="*/ 15147 w 47625"/>
                  <a:gd name="connsiteY3" fmla="*/ 38197 h 38100"/>
                  <a:gd name="connsiteX4" fmla="*/ 34197 w 47625"/>
                  <a:gd name="connsiteY4" fmla="*/ 31721 h 38100"/>
                  <a:gd name="connsiteX5" fmla="*/ 43722 w 47625"/>
                  <a:gd name="connsiteY5" fmla="*/ 14957 h 38100"/>
                  <a:gd name="connsiteX6" fmla="*/ 41912 w 47625"/>
                  <a:gd name="connsiteY6" fmla="*/ 7146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38100">
                    <a:moveTo>
                      <a:pt x="41912" y="7146"/>
                    </a:moveTo>
                    <a:cubicBezTo>
                      <a:pt x="40103" y="7146"/>
                      <a:pt x="40007" y="18862"/>
                      <a:pt x="29911" y="27149"/>
                    </a:cubicBezTo>
                    <a:cubicBezTo>
                      <a:pt x="19814" y="35435"/>
                      <a:pt x="7241" y="34007"/>
                      <a:pt x="7146" y="35626"/>
                    </a:cubicBezTo>
                    <a:cubicBezTo>
                      <a:pt x="7051" y="37245"/>
                      <a:pt x="9908" y="38007"/>
                      <a:pt x="15147" y="38197"/>
                    </a:cubicBezTo>
                    <a:cubicBezTo>
                      <a:pt x="22058" y="38327"/>
                      <a:pt x="28797" y="36036"/>
                      <a:pt x="34197" y="31721"/>
                    </a:cubicBezTo>
                    <a:cubicBezTo>
                      <a:pt x="39411" y="27566"/>
                      <a:pt x="42822" y="21562"/>
                      <a:pt x="43722" y="14957"/>
                    </a:cubicBezTo>
                    <a:cubicBezTo>
                      <a:pt x="44008" y="10004"/>
                      <a:pt x="42674" y="7051"/>
                      <a:pt x="41912" y="714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3" name="Полилиния: фигура 712">
                <a:extLst>
                  <a:ext uri="{FF2B5EF4-FFF2-40B4-BE49-F238E27FC236}">
                    <a16:creationId xmlns:a16="http://schemas.microsoft.com/office/drawing/2014/main" id="{92F9CE92-5DAB-4DD4-8B10-A3B29FC63008}"/>
                  </a:ext>
                </a:extLst>
              </p:cNvPr>
              <p:cNvSpPr/>
              <p:nvPr/>
            </p:nvSpPr>
            <p:spPr>
              <a:xfrm>
                <a:off x="1764860" y="3790422"/>
                <a:ext cx="57150" cy="28575"/>
              </a:xfrm>
              <a:custGeom>
                <a:avLst/>
                <a:gdLst>
                  <a:gd name="connsiteX0" fmla="*/ 7185 w 57150"/>
                  <a:gd name="connsiteY0" fmla="*/ 15171 h 28575"/>
                  <a:gd name="connsiteX1" fmla="*/ 31854 w 57150"/>
                  <a:gd name="connsiteY1" fmla="*/ 18409 h 28575"/>
                  <a:gd name="connsiteX2" fmla="*/ 56524 w 57150"/>
                  <a:gd name="connsiteY2" fmla="*/ 20981 h 28575"/>
                  <a:gd name="connsiteX3" fmla="*/ 51381 w 57150"/>
                  <a:gd name="connsiteY3" fmla="*/ 14028 h 28575"/>
                  <a:gd name="connsiteX4" fmla="*/ 33093 w 57150"/>
                  <a:gd name="connsiteY4" fmla="*/ 7456 h 28575"/>
                  <a:gd name="connsiteX5" fmla="*/ 14043 w 57150"/>
                  <a:gd name="connsiteY5" fmla="*/ 9646 h 28575"/>
                  <a:gd name="connsiteX6" fmla="*/ 7185 w 57150"/>
                  <a:gd name="connsiteY6" fmla="*/ 1517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150" h="28575">
                    <a:moveTo>
                      <a:pt x="7185" y="15171"/>
                    </a:moveTo>
                    <a:cubicBezTo>
                      <a:pt x="8232" y="18124"/>
                      <a:pt x="19091" y="16790"/>
                      <a:pt x="31854" y="18409"/>
                    </a:cubicBezTo>
                    <a:cubicBezTo>
                      <a:pt x="44618" y="20029"/>
                      <a:pt x="54810" y="23553"/>
                      <a:pt x="56524" y="20981"/>
                    </a:cubicBezTo>
                    <a:cubicBezTo>
                      <a:pt x="58239" y="18409"/>
                      <a:pt x="55476" y="16885"/>
                      <a:pt x="51381" y="14028"/>
                    </a:cubicBezTo>
                    <a:cubicBezTo>
                      <a:pt x="45877" y="10447"/>
                      <a:pt x="39616" y="8197"/>
                      <a:pt x="33093" y="7456"/>
                    </a:cubicBezTo>
                    <a:cubicBezTo>
                      <a:pt x="26659" y="6653"/>
                      <a:pt x="20126" y="7405"/>
                      <a:pt x="14043" y="9646"/>
                    </a:cubicBezTo>
                    <a:cubicBezTo>
                      <a:pt x="9090" y="11456"/>
                      <a:pt x="6804" y="13742"/>
                      <a:pt x="7185" y="1517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4" name="Полилиния: фигура 713">
                <a:extLst>
                  <a:ext uri="{FF2B5EF4-FFF2-40B4-BE49-F238E27FC236}">
                    <a16:creationId xmlns:a16="http://schemas.microsoft.com/office/drawing/2014/main" id="{DB6030A6-9E23-43B5-8D03-D4FD7C3F3413}"/>
                  </a:ext>
                </a:extLst>
              </p:cNvPr>
              <p:cNvSpPr/>
              <p:nvPr/>
            </p:nvSpPr>
            <p:spPr>
              <a:xfrm>
                <a:off x="1666984" y="3778335"/>
                <a:ext cx="47625" cy="19050"/>
              </a:xfrm>
              <a:custGeom>
                <a:avLst/>
                <a:gdLst>
                  <a:gd name="connsiteX0" fmla="*/ 7430 w 47625"/>
                  <a:gd name="connsiteY0" fmla="*/ 18209 h 19050"/>
                  <a:gd name="connsiteX1" fmla="*/ 25813 w 47625"/>
                  <a:gd name="connsiteY1" fmla="*/ 18209 h 19050"/>
                  <a:gd name="connsiteX2" fmla="*/ 44101 w 47625"/>
                  <a:gd name="connsiteY2" fmla="*/ 17352 h 19050"/>
                  <a:gd name="connsiteX3" fmla="*/ 40386 w 47625"/>
                  <a:gd name="connsiteY3" fmla="*/ 11351 h 19050"/>
                  <a:gd name="connsiteX4" fmla="*/ 25527 w 47625"/>
                  <a:gd name="connsiteY4" fmla="*/ 7160 h 19050"/>
                  <a:gd name="connsiteX5" fmla="*/ 10859 w 47625"/>
                  <a:gd name="connsiteY5" fmla="*/ 12018 h 19050"/>
                  <a:gd name="connsiteX6" fmla="*/ 7430 w 47625"/>
                  <a:gd name="connsiteY6" fmla="*/ 18209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7430" y="18209"/>
                    </a:moveTo>
                    <a:cubicBezTo>
                      <a:pt x="9335" y="20686"/>
                      <a:pt x="16955" y="18209"/>
                      <a:pt x="25813" y="18209"/>
                    </a:cubicBezTo>
                    <a:cubicBezTo>
                      <a:pt x="34671" y="18209"/>
                      <a:pt x="42387" y="19923"/>
                      <a:pt x="44101" y="17352"/>
                    </a:cubicBezTo>
                    <a:cubicBezTo>
                      <a:pt x="45816" y="14780"/>
                      <a:pt x="44101" y="13637"/>
                      <a:pt x="40386" y="11351"/>
                    </a:cubicBezTo>
                    <a:cubicBezTo>
                      <a:pt x="35993" y="8436"/>
                      <a:pt x="30796" y="6971"/>
                      <a:pt x="25527" y="7160"/>
                    </a:cubicBezTo>
                    <a:cubicBezTo>
                      <a:pt x="20255" y="7237"/>
                      <a:pt x="15135" y="8933"/>
                      <a:pt x="10859" y="12018"/>
                    </a:cubicBezTo>
                    <a:cubicBezTo>
                      <a:pt x="7620" y="14399"/>
                      <a:pt x="6573" y="17161"/>
                      <a:pt x="7430" y="1820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5" name="Полилиния: фигура 714">
                <a:extLst>
                  <a:ext uri="{FF2B5EF4-FFF2-40B4-BE49-F238E27FC236}">
                    <a16:creationId xmlns:a16="http://schemas.microsoft.com/office/drawing/2014/main" id="{A827B733-67A3-4587-A484-3F58F723EABA}"/>
                  </a:ext>
                </a:extLst>
              </p:cNvPr>
              <p:cNvSpPr/>
              <p:nvPr/>
            </p:nvSpPr>
            <p:spPr>
              <a:xfrm>
                <a:off x="1626693" y="3640612"/>
                <a:ext cx="342900" cy="228600"/>
              </a:xfrm>
              <a:custGeom>
                <a:avLst/>
                <a:gdLst>
                  <a:gd name="connsiteX0" fmla="*/ 283083 w 342900"/>
                  <a:gd name="connsiteY0" fmla="*/ 201270 h 228600"/>
                  <a:gd name="connsiteX1" fmla="*/ 279368 w 342900"/>
                  <a:gd name="connsiteY1" fmla="*/ 216320 h 228600"/>
                  <a:gd name="connsiteX2" fmla="*/ 266509 w 342900"/>
                  <a:gd name="connsiteY2" fmla="*/ 212796 h 228600"/>
                  <a:gd name="connsiteX3" fmla="*/ 256222 w 342900"/>
                  <a:gd name="connsiteY3" fmla="*/ 206700 h 228600"/>
                  <a:gd name="connsiteX4" fmla="*/ 247745 w 342900"/>
                  <a:gd name="connsiteY4" fmla="*/ 198032 h 228600"/>
                  <a:gd name="connsiteX5" fmla="*/ 237268 w 342900"/>
                  <a:gd name="connsiteY5" fmla="*/ 186602 h 228600"/>
                  <a:gd name="connsiteX6" fmla="*/ 232219 w 342900"/>
                  <a:gd name="connsiteY6" fmla="*/ 178506 h 228600"/>
                  <a:gd name="connsiteX7" fmla="*/ 224028 w 342900"/>
                  <a:gd name="connsiteY7" fmla="*/ 148788 h 228600"/>
                  <a:gd name="connsiteX8" fmla="*/ 214503 w 342900"/>
                  <a:gd name="connsiteY8" fmla="*/ 119736 h 228600"/>
                  <a:gd name="connsiteX9" fmla="*/ 212122 w 342900"/>
                  <a:gd name="connsiteY9" fmla="*/ 100210 h 228600"/>
                  <a:gd name="connsiteX10" fmla="*/ 208407 w 342900"/>
                  <a:gd name="connsiteY10" fmla="*/ 95638 h 228600"/>
                  <a:gd name="connsiteX11" fmla="*/ 201454 w 342900"/>
                  <a:gd name="connsiteY11" fmla="*/ 105830 h 228600"/>
                  <a:gd name="connsiteX12" fmla="*/ 189547 w 342900"/>
                  <a:gd name="connsiteY12" fmla="*/ 105830 h 228600"/>
                  <a:gd name="connsiteX13" fmla="*/ 177832 w 342900"/>
                  <a:gd name="connsiteY13" fmla="*/ 103544 h 228600"/>
                  <a:gd name="connsiteX14" fmla="*/ 170593 w 342900"/>
                  <a:gd name="connsiteY14" fmla="*/ 105735 h 228600"/>
                  <a:gd name="connsiteX15" fmla="*/ 168497 w 342900"/>
                  <a:gd name="connsiteY15" fmla="*/ 124785 h 228600"/>
                  <a:gd name="connsiteX16" fmla="*/ 161734 w 342900"/>
                  <a:gd name="connsiteY16" fmla="*/ 135453 h 228600"/>
                  <a:gd name="connsiteX17" fmla="*/ 154434 w 342900"/>
                  <a:gd name="connsiteY17" fmla="*/ 132670 h 228600"/>
                  <a:gd name="connsiteX18" fmla="*/ 154019 w 342900"/>
                  <a:gd name="connsiteY18" fmla="*/ 129547 h 228600"/>
                  <a:gd name="connsiteX19" fmla="*/ 145271 w 342900"/>
                  <a:gd name="connsiteY19" fmla="*/ 129170 h 228600"/>
                  <a:gd name="connsiteX20" fmla="*/ 144494 w 342900"/>
                  <a:gd name="connsiteY20" fmla="*/ 128118 h 228600"/>
                  <a:gd name="connsiteX21" fmla="*/ 141827 w 342900"/>
                  <a:gd name="connsiteY21" fmla="*/ 116022 h 228600"/>
                  <a:gd name="connsiteX22" fmla="*/ 151352 w 342900"/>
                  <a:gd name="connsiteY22" fmla="*/ 87447 h 228600"/>
                  <a:gd name="connsiteX23" fmla="*/ 131159 w 342900"/>
                  <a:gd name="connsiteY23" fmla="*/ 106497 h 228600"/>
                  <a:gd name="connsiteX24" fmla="*/ 126206 w 342900"/>
                  <a:gd name="connsiteY24" fmla="*/ 109545 h 228600"/>
                  <a:gd name="connsiteX25" fmla="*/ 121183 w 342900"/>
                  <a:gd name="connsiteY25" fmla="*/ 115529 h 228600"/>
                  <a:gd name="connsiteX26" fmla="*/ 120491 w 342900"/>
                  <a:gd name="connsiteY26" fmla="*/ 115546 h 228600"/>
                  <a:gd name="connsiteX27" fmla="*/ 112871 w 342900"/>
                  <a:gd name="connsiteY27" fmla="*/ 110402 h 228600"/>
                  <a:gd name="connsiteX28" fmla="*/ 107061 w 342900"/>
                  <a:gd name="connsiteY28" fmla="*/ 90590 h 228600"/>
                  <a:gd name="connsiteX29" fmla="*/ 104754 w 342900"/>
                  <a:gd name="connsiteY29" fmla="*/ 84694 h 228600"/>
                  <a:gd name="connsiteX30" fmla="*/ 105061 w 342900"/>
                  <a:gd name="connsiteY30" fmla="*/ 84113 h 228600"/>
                  <a:gd name="connsiteX31" fmla="*/ 82105 w 342900"/>
                  <a:gd name="connsiteY31" fmla="*/ 101734 h 228600"/>
                  <a:gd name="connsiteX32" fmla="*/ 86392 w 342900"/>
                  <a:gd name="connsiteY32" fmla="*/ 106973 h 228600"/>
                  <a:gd name="connsiteX33" fmla="*/ 81629 w 342900"/>
                  <a:gd name="connsiteY33" fmla="*/ 113831 h 228600"/>
                  <a:gd name="connsiteX34" fmla="*/ 84391 w 342900"/>
                  <a:gd name="connsiteY34" fmla="*/ 124785 h 228600"/>
                  <a:gd name="connsiteX35" fmla="*/ 93440 w 342900"/>
                  <a:gd name="connsiteY35" fmla="*/ 133833 h 228600"/>
                  <a:gd name="connsiteX36" fmla="*/ 81248 w 342900"/>
                  <a:gd name="connsiteY36" fmla="*/ 143358 h 228600"/>
                  <a:gd name="connsiteX37" fmla="*/ 70961 w 342900"/>
                  <a:gd name="connsiteY37" fmla="*/ 136691 h 228600"/>
                  <a:gd name="connsiteX38" fmla="*/ 62770 w 342900"/>
                  <a:gd name="connsiteY38" fmla="*/ 125070 h 228600"/>
                  <a:gd name="connsiteX39" fmla="*/ 55626 w 342900"/>
                  <a:gd name="connsiteY39" fmla="*/ 115545 h 228600"/>
                  <a:gd name="connsiteX40" fmla="*/ 59626 w 342900"/>
                  <a:gd name="connsiteY40" fmla="*/ 88685 h 228600"/>
                  <a:gd name="connsiteX41" fmla="*/ 57340 w 342900"/>
                  <a:gd name="connsiteY41" fmla="*/ 90399 h 228600"/>
                  <a:gd name="connsiteX42" fmla="*/ 57112 w 342900"/>
                  <a:gd name="connsiteY42" fmla="*/ 87580 h 228600"/>
                  <a:gd name="connsiteX43" fmla="*/ 57340 w 342900"/>
                  <a:gd name="connsiteY43" fmla="*/ 87351 h 228600"/>
                  <a:gd name="connsiteX44" fmla="*/ 44482 w 342900"/>
                  <a:gd name="connsiteY44" fmla="*/ 119070 h 228600"/>
                  <a:gd name="connsiteX45" fmla="*/ 37433 w 342900"/>
                  <a:gd name="connsiteY45" fmla="*/ 145549 h 228600"/>
                  <a:gd name="connsiteX46" fmla="*/ 33814 w 342900"/>
                  <a:gd name="connsiteY46" fmla="*/ 155074 h 228600"/>
                  <a:gd name="connsiteX47" fmla="*/ 31337 w 342900"/>
                  <a:gd name="connsiteY47" fmla="*/ 154407 h 228600"/>
                  <a:gd name="connsiteX48" fmla="*/ 10382 w 342900"/>
                  <a:gd name="connsiteY48" fmla="*/ 130309 h 228600"/>
                  <a:gd name="connsiteX49" fmla="*/ 7144 w 342900"/>
                  <a:gd name="connsiteY49" fmla="*/ 119165 h 228600"/>
                  <a:gd name="connsiteX50" fmla="*/ 10287 w 342900"/>
                  <a:gd name="connsiteY50" fmla="*/ 95067 h 228600"/>
                  <a:gd name="connsiteX51" fmla="*/ 10954 w 342900"/>
                  <a:gd name="connsiteY51" fmla="*/ 84303 h 228600"/>
                  <a:gd name="connsiteX52" fmla="*/ 19241 w 342900"/>
                  <a:gd name="connsiteY52" fmla="*/ 70206 h 228600"/>
                  <a:gd name="connsiteX53" fmla="*/ 61341 w 342900"/>
                  <a:gd name="connsiteY53" fmla="*/ 34964 h 228600"/>
                  <a:gd name="connsiteX54" fmla="*/ 92583 w 342900"/>
                  <a:gd name="connsiteY54" fmla="*/ 28011 h 228600"/>
                  <a:gd name="connsiteX55" fmla="*/ 110871 w 342900"/>
                  <a:gd name="connsiteY55" fmla="*/ 19533 h 228600"/>
                  <a:gd name="connsiteX56" fmla="*/ 190786 w 342900"/>
                  <a:gd name="connsiteY56" fmla="*/ 8294 h 228600"/>
                  <a:gd name="connsiteX57" fmla="*/ 235077 w 342900"/>
                  <a:gd name="connsiteY57" fmla="*/ 18581 h 228600"/>
                  <a:gd name="connsiteX58" fmla="*/ 276701 w 342900"/>
                  <a:gd name="connsiteY58" fmla="*/ 50394 h 228600"/>
                  <a:gd name="connsiteX59" fmla="*/ 325755 w 342900"/>
                  <a:gd name="connsiteY59" fmla="*/ 116022 h 228600"/>
                  <a:gd name="connsiteX60" fmla="*/ 337566 w 342900"/>
                  <a:gd name="connsiteY60" fmla="*/ 180887 h 228600"/>
                  <a:gd name="connsiteX61" fmla="*/ 301942 w 342900"/>
                  <a:gd name="connsiteY61" fmla="*/ 228512 h 228600"/>
                  <a:gd name="connsiteX62" fmla="*/ 294608 w 342900"/>
                  <a:gd name="connsiteY62" fmla="*/ 22013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342900" h="228600">
                    <a:moveTo>
                      <a:pt x="283083" y="201270"/>
                    </a:moveTo>
                    <a:cubicBezTo>
                      <a:pt x="285249" y="206561"/>
                      <a:pt x="283747" y="212645"/>
                      <a:pt x="279368" y="216320"/>
                    </a:cubicBezTo>
                    <a:cubicBezTo>
                      <a:pt x="274837" y="218841"/>
                      <a:pt x="269122" y="217274"/>
                      <a:pt x="266509" y="212796"/>
                    </a:cubicBezTo>
                    <a:cubicBezTo>
                      <a:pt x="263080" y="217368"/>
                      <a:pt x="255175" y="212796"/>
                      <a:pt x="256222" y="206700"/>
                    </a:cubicBezTo>
                    <a:cubicBezTo>
                      <a:pt x="252031" y="209081"/>
                      <a:pt x="246697" y="203366"/>
                      <a:pt x="247745" y="198032"/>
                    </a:cubicBezTo>
                    <a:cubicBezTo>
                      <a:pt x="242792" y="199937"/>
                      <a:pt x="239935" y="191936"/>
                      <a:pt x="237268" y="186602"/>
                    </a:cubicBezTo>
                    <a:cubicBezTo>
                      <a:pt x="235753" y="183802"/>
                      <a:pt x="234068" y="181098"/>
                      <a:pt x="232219" y="178506"/>
                    </a:cubicBezTo>
                    <a:cubicBezTo>
                      <a:pt x="226739" y="169571"/>
                      <a:pt x="223899" y="159268"/>
                      <a:pt x="224028" y="148788"/>
                    </a:cubicBezTo>
                    <a:cubicBezTo>
                      <a:pt x="218150" y="140209"/>
                      <a:pt x="214845" y="130130"/>
                      <a:pt x="214503" y="119736"/>
                    </a:cubicBezTo>
                    <a:lnTo>
                      <a:pt x="212122" y="100210"/>
                    </a:lnTo>
                    <a:lnTo>
                      <a:pt x="208407" y="95638"/>
                    </a:lnTo>
                    <a:cubicBezTo>
                      <a:pt x="208517" y="100176"/>
                      <a:pt x="205719" y="104277"/>
                      <a:pt x="201454" y="105830"/>
                    </a:cubicBezTo>
                    <a:cubicBezTo>
                      <a:pt x="197554" y="106877"/>
                      <a:pt x="193447" y="106877"/>
                      <a:pt x="189547" y="105830"/>
                    </a:cubicBezTo>
                    <a:lnTo>
                      <a:pt x="177832" y="103544"/>
                    </a:lnTo>
                    <a:lnTo>
                      <a:pt x="170593" y="105735"/>
                    </a:lnTo>
                    <a:cubicBezTo>
                      <a:pt x="171981" y="112144"/>
                      <a:pt x="171246" y="118831"/>
                      <a:pt x="168497" y="124785"/>
                    </a:cubicBezTo>
                    <a:cubicBezTo>
                      <a:pt x="167522" y="129006"/>
                      <a:pt x="165136" y="132769"/>
                      <a:pt x="161734" y="135453"/>
                    </a:cubicBezTo>
                    <a:cubicBezTo>
                      <a:pt x="158950" y="136700"/>
                      <a:pt x="155681" y="135454"/>
                      <a:pt x="154434" y="132670"/>
                    </a:cubicBezTo>
                    <a:cubicBezTo>
                      <a:pt x="153996" y="131691"/>
                      <a:pt x="153851" y="130606"/>
                      <a:pt x="154019" y="129547"/>
                    </a:cubicBezTo>
                    <a:cubicBezTo>
                      <a:pt x="151499" y="131859"/>
                      <a:pt x="147583" y="131690"/>
                      <a:pt x="145271" y="129170"/>
                    </a:cubicBezTo>
                    <a:cubicBezTo>
                      <a:pt x="144976" y="128848"/>
                      <a:pt x="144715" y="128495"/>
                      <a:pt x="144494" y="128118"/>
                    </a:cubicBezTo>
                    <a:cubicBezTo>
                      <a:pt x="142378" y="124458"/>
                      <a:pt x="141446" y="120233"/>
                      <a:pt x="141827" y="116022"/>
                    </a:cubicBezTo>
                    <a:cubicBezTo>
                      <a:pt x="142108" y="105765"/>
                      <a:pt x="145423" y="95821"/>
                      <a:pt x="151352" y="87447"/>
                    </a:cubicBezTo>
                    <a:lnTo>
                      <a:pt x="131159" y="106497"/>
                    </a:lnTo>
                    <a:cubicBezTo>
                      <a:pt x="129839" y="107972"/>
                      <a:pt x="128118" y="109031"/>
                      <a:pt x="126206" y="109545"/>
                    </a:cubicBezTo>
                    <a:cubicBezTo>
                      <a:pt x="126471" y="112584"/>
                      <a:pt x="124222" y="115263"/>
                      <a:pt x="121183" y="115529"/>
                    </a:cubicBezTo>
                    <a:cubicBezTo>
                      <a:pt x="120953" y="115549"/>
                      <a:pt x="120722" y="115554"/>
                      <a:pt x="120491" y="115546"/>
                    </a:cubicBezTo>
                    <a:cubicBezTo>
                      <a:pt x="117451" y="114724"/>
                      <a:pt x="114770" y="112914"/>
                      <a:pt x="112871" y="110402"/>
                    </a:cubicBezTo>
                    <a:cubicBezTo>
                      <a:pt x="107918" y="105258"/>
                      <a:pt x="102679" y="96400"/>
                      <a:pt x="107061" y="90590"/>
                    </a:cubicBezTo>
                    <a:cubicBezTo>
                      <a:pt x="104796" y="89599"/>
                      <a:pt x="103763" y="86959"/>
                      <a:pt x="104754" y="84694"/>
                    </a:cubicBezTo>
                    <a:cubicBezTo>
                      <a:pt x="104842" y="84493"/>
                      <a:pt x="104944" y="84299"/>
                      <a:pt x="105061" y="84113"/>
                    </a:cubicBezTo>
                    <a:lnTo>
                      <a:pt x="82105" y="101734"/>
                    </a:lnTo>
                    <a:cubicBezTo>
                      <a:pt x="84392" y="100401"/>
                      <a:pt x="86963" y="104020"/>
                      <a:pt x="86392" y="106973"/>
                    </a:cubicBezTo>
                    <a:cubicBezTo>
                      <a:pt x="85668" y="109752"/>
                      <a:pt x="83980" y="112183"/>
                      <a:pt x="81629" y="113831"/>
                    </a:cubicBezTo>
                    <a:cubicBezTo>
                      <a:pt x="83701" y="117091"/>
                      <a:pt x="84670" y="120932"/>
                      <a:pt x="84391" y="124785"/>
                    </a:cubicBezTo>
                    <a:cubicBezTo>
                      <a:pt x="88487" y="120975"/>
                      <a:pt x="94774" y="127928"/>
                      <a:pt x="93440" y="133833"/>
                    </a:cubicBezTo>
                    <a:cubicBezTo>
                      <a:pt x="91900" y="139335"/>
                      <a:pt x="86959" y="143195"/>
                      <a:pt x="81248" y="143358"/>
                    </a:cubicBezTo>
                    <a:cubicBezTo>
                      <a:pt x="76655" y="143931"/>
                      <a:pt x="72314" y="141118"/>
                      <a:pt x="70961" y="136691"/>
                    </a:cubicBezTo>
                    <a:cubicBezTo>
                      <a:pt x="65913" y="137739"/>
                      <a:pt x="61436" y="130785"/>
                      <a:pt x="62770" y="125070"/>
                    </a:cubicBezTo>
                    <a:cubicBezTo>
                      <a:pt x="59150" y="127547"/>
                      <a:pt x="55912" y="120975"/>
                      <a:pt x="55626" y="115545"/>
                    </a:cubicBezTo>
                    <a:cubicBezTo>
                      <a:pt x="55220" y="106418"/>
                      <a:pt x="56579" y="97298"/>
                      <a:pt x="59626" y="88685"/>
                    </a:cubicBezTo>
                    <a:cubicBezTo>
                      <a:pt x="59626" y="90018"/>
                      <a:pt x="58293" y="91066"/>
                      <a:pt x="57340" y="90399"/>
                    </a:cubicBezTo>
                    <a:cubicBezTo>
                      <a:pt x="56499" y="89684"/>
                      <a:pt x="56396" y="88422"/>
                      <a:pt x="57112" y="87580"/>
                    </a:cubicBezTo>
                    <a:cubicBezTo>
                      <a:pt x="57182" y="87498"/>
                      <a:pt x="57258" y="87421"/>
                      <a:pt x="57340" y="87351"/>
                    </a:cubicBezTo>
                    <a:lnTo>
                      <a:pt x="44482" y="119070"/>
                    </a:lnTo>
                    <a:cubicBezTo>
                      <a:pt x="40521" y="127387"/>
                      <a:pt x="38132" y="136364"/>
                      <a:pt x="37433" y="145549"/>
                    </a:cubicBezTo>
                    <a:cubicBezTo>
                      <a:pt x="37433" y="149264"/>
                      <a:pt x="37433" y="154503"/>
                      <a:pt x="33814" y="155074"/>
                    </a:cubicBezTo>
                    <a:cubicBezTo>
                      <a:pt x="32941" y="155093"/>
                      <a:pt x="32082" y="154861"/>
                      <a:pt x="31337" y="154407"/>
                    </a:cubicBezTo>
                    <a:cubicBezTo>
                      <a:pt x="21787" y="149026"/>
                      <a:pt x="14386" y="140514"/>
                      <a:pt x="10382" y="130309"/>
                    </a:cubicBezTo>
                    <a:cubicBezTo>
                      <a:pt x="8731" y="126785"/>
                      <a:pt x="7639" y="123025"/>
                      <a:pt x="7144" y="119165"/>
                    </a:cubicBezTo>
                    <a:cubicBezTo>
                      <a:pt x="7581" y="111064"/>
                      <a:pt x="8632" y="103008"/>
                      <a:pt x="10287" y="95067"/>
                    </a:cubicBezTo>
                    <a:cubicBezTo>
                      <a:pt x="10317" y="91470"/>
                      <a:pt x="10539" y="87877"/>
                      <a:pt x="10954" y="84303"/>
                    </a:cubicBezTo>
                    <a:cubicBezTo>
                      <a:pt x="12528" y="79000"/>
                      <a:pt x="15373" y="74161"/>
                      <a:pt x="19241" y="70206"/>
                    </a:cubicBezTo>
                    <a:cubicBezTo>
                      <a:pt x="31623" y="55824"/>
                      <a:pt x="44767" y="40869"/>
                      <a:pt x="61341" y="34964"/>
                    </a:cubicBezTo>
                    <a:cubicBezTo>
                      <a:pt x="71533" y="31440"/>
                      <a:pt x="82391" y="31535"/>
                      <a:pt x="92583" y="28011"/>
                    </a:cubicBezTo>
                    <a:cubicBezTo>
                      <a:pt x="98836" y="25537"/>
                      <a:pt x="104942" y="22707"/>
                      <a:pt x="110871" y="19533"/>
                    </a:cubicBezTo>
                    <a:cubicBezTo>
                      <a:pt x="136066" y="8856"/>
                      <a:pt x="163623" y="4980"/>
                      <a:pt x="190786" y="8294"/>
                    </a:cubicBezTo>
                    <a:cubicBezTo>
                      <a:pt x="206044" y="9061"/>
                      <a:pt x="221043" y="12544"/>
                      <a:pt x="235077" y="18581"/>
                    </a:cubicBezTo>
                    <a:cubicBezTo>
                      <a:pt x="250669" y="26727"/>
                      <a:pt x="264748" y="37488"/>
                      <a:pt x="276701" y="50394"/>
                    </a:cubicBezTo>
                    <a:cubicBezTo>
                      <a:pt x="296721" y="69272"/>
                      <a:pt x="313318" y="91476"/>
                      <a:pt x="325755" y="116022"/>
                    </a:cubicBezTo>
                    <a:cubicBezTo>
                      <a:pt x="335919" y="136034"/>
                      <a:pt x="340024" y="158576"/>
                      <a:pt x="337566" y="180887"/>
                    </a:cubicBezTo>
                    <a:cubicBezTo>
                      <a:pt x="334327" y="203175"/>
                      <a:pt x="320611" y="224035"/>
                      <a:pt x="301942" y="228512"/>
                    </a:cubicBezTo>
                    <a:lnTo>
                      <a:pt x="294608" y="220130"/>
                    </a:ln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6" name="Полилиния: фигура 715">
                <a:extLst>
                  <a:ext uri="{FF2B5EF4-FFF2-40B4-BE49-F238E27FC236}">
                    <a16:creationId xmlns:a16="http://schemas.microsoft.com/office/drawing/2014/main" id="{19BA13E4-4918-475F-BA1D-2347B90AD2D6}"/>
                  </a:ext>
                </a:extLst>
              </p:cNvPr>
              <p:cNvSpPr/>
              <p:nvPr/>
            </p:nvSpPr>
            <p:spPr>
              <a:xfrm>
                <a:off x="1880154" y="3847633"/>
                <a:ext cx="57150" cy="76200"/>
              </a:xfrm>
              <a:custGeom>
                <a:avLst/>
                <a:gdLst>
                  <a:gd name="connsiteX0" fmla="*/ 8191 w 57150"/>
                  <a:gd name="connsiteY0" fmla="*/ 9299 h 76200"/>
                  <a:gd name="connsiteX1" fmla="*/ 51530 w 57150"/>
                  <a:gd name="connsiteY1" fmla="*/ 39112 h 76200"/>
                  <a:gd name="connsiteX2" fmla="*/ 7144 w 57150"/>
                  <a:gd name="connsiteY2" fmla="*/ 72355 h 76200"/>
                  <a:gd name="connsiteX3" fmla="*/ 8191 w 57150"/>
                  <a:gd name="connsiteY3" fmla="*/ 9299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50" h="76200">
                    <a:moveTo>
                      <a:pt x="8191" y="9299"/>
                    </a:moveTo>
                    <a:cubicBezTo>
                      <a:pt x="9239" y="9299"/>
                      <a:pt x="51911" y="-4798"/>
                      <a:pt x="51530" y="39112"/>
                    </a:cubicBezTo>
                    <a:cubicBezTo>
                      <a:pt x="51149" y="83023"/>
                      <a:pt x="7144" y="73593"/>
                      <a:pt x="7144" y="72355"/>
                    </a:cubicBezTo>
                    <a:cubicBezTo>
                      <a:pt x="7144" y="71116"/>
                      <a:pt x="8191" y="9299"/>
                      <a:pt x="8191" y="9299"/>
                    </a:cubicBezTo>
                    <a:close/>
                  </a:path>
                </a:pathLst>
              </a:custGeom>
              <a:solidFill>
                <a:srgbClr val="B7887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7" name="Полилиния: фигура 716">
                <a:extLst>
                  <a:ext uri="{FF2B5EF4-FFF2-40B4-BE49-F238E27FC236}">
                    <a16:creationId xmlns:a16="http://schemas.microsoft.com/office/drawing/2014/main" id="{DBB5F6DC-AA62-45E8-A513-B243DDB0342D}"/>
                  </a:ext>
                </a:extLst>
              </p:cNvPr>
              <p:cNvSpPr/>
              <p:nvPr/>
            </p:nvSpPr>
            <p:spPr>
              <a:xfrm>
                <a:off x="1893774" y="3861442"/>
                <a:ext cx="28575" cy="47625"/>
              </a:xfrm>
              <a:custGeom>
                <a:avLst/>
                <a:gdLst>
                  <a:gd name="connsiteX0" fmla="*/ 7144 w 28575"/>
                  <a:gd name="connsiteY0" fmla="*/ 41973 h 47625"/>
                  <a:gd name="connsiteX1" fmla="*/ 9144 w 28575"/>
                  <a:gd name="connsiteY1" fmla="*/ 43116 h 47625"/>
                  <a:gd name="connsiteX2" fmla="*/ 14859 w 28575"/>
                  <a:gd name="connsiteY2" fmla="*/ 43116 h 47625"/>
                  <a:gd name="connsiteX3" fmla="*/ 23813 w 28575"/>
                  <a:gd name="connsiteY3" fmla="*/ 26256 h 47625"/>
                  <a:gd name="connsiteX4" fmla="*/ 21717 w 28575"/>
                  <a:gd name="connsiteY4" fmla="*/ 15303 h 47625"/>
                  <a:gd name="connsiteX5" fmla="*/ 16097 w 28575"/>
                  <a:gd name="connsiteY5" fmla="*/ 9397 h 47625"/>
                  <a:gd name="connsiteX6" fmla="*/ 11525 w 28575"/>
                  <a:gd name="connsiteY6" fmla="*/ 11398 h 47625"/>
                  <a:gd name="connsiteX7" fmla="*/ 10954 w 28575"/>
                  <a:gd name="connsiteY7" fmla="*/ 13588 h 47625"/>
                  <a:gd name="connsiteX8" fmla="*/ 10382 w 28575"/>
                  <a:gd name="connsiteY8" fmla="*/ 11016 h 47625"/>
                  <a:gd name="connsiteX9" fmla="*/ 12192 w 28575"/>
                  <a:gd name="connsiteY9" fmla="*/ 8254 h 47625"/>
                  <a:gd name="connsiteX10" fmla="*/ 16383 w 28575"/>
                  <a:gd name="connsiteY10" fmla="*/ 7206 h 47625"/>
                  <a:gd name="connsiteX11" fmla="*/ 24289 w 28575"/>
                  <a:gd name="connsiteY11" fmla="*/ 14064 h 47625"/>
                  <a:gd name="connsiteX12" fmla="*/ 26861 w 28575"/>
                  <a:gd name="connsiteY12" fmla="*/ 26352 h 47625"/>
                  <a:gd name="connsiteX13" fmla="*/ 15526 w 28575"/>
                  <a:gd name="connsiteY13" fmla="*/ 45402 h 47625"/>
                  <a:gd name="connsiteX14" fmla="*/ 8573 w 28575"/>
                  <a:gd name="connsiteY14" fmla="*/ 44163 h 47625"/>
                  <a:gd name="connsiteX15" fmla="*/ 7144 w 28575"/>
                  <a:gd name="connsiteY15" fmla="*/ 41973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75" h="47625">
                    <a:moveTo>
                      <a:pt x="7144" y="41973"/>
                    </a:moveTo>
                    <a:cubicBezTo>
                      <a:pt x="7144" y="41973"/>
                      <a:pt x="7906" y="42544"/>
                      <a:pt x="9144" y="43116"/>
                    </a:cubicBezTo>
                    <a:cubicBezTo>
                      <a:pt x="10968" y="43899"/>
                      <a:pt x="13035" y="43899"/>
                      <a:pt x="14859" y="43116"/>
                    </a:cubicBezTo>
                    <a:cubicBezTo>
                      <a:pt x="20647" y="39505"/>
                      <a:pt x="24062" y="33074"/>
                      <a:pt x="23813" y="26256"/>
                    </a:cubicBezTo>
                    <a:cubicBezTo>
                      <a:pt x="23940" y="22495"/>
                      <a:pt x="23224" y="18752"/>
                      <a:pt x="21717" y="15303"/>
                    </a:cubicBezTo>
                    <a:cubicBezTo>
                      <a:pt x="20975" y="12504"/>
                      <a:pt x="18856" y="10277"/>
                      <a:pt x="16097" y="9397"/>
                    </a:cubicBezTo>
                    <a:cubicBezTo>
                      <a:pt x="14291" y="8876"/>
                      <a:pt x="12369" y="9717"/>
                      <a:pt x="11525" y="11398"/>
                    </a:cubicBezTo>
                    <a:cubicBezTo>
                      <a:pt x="10954" y="12636"/>
                      <a:pt x="11525" y="13493"/>
                      <a:pt x="10954" y="13588"/>
                    </a:cubicBezTo>
                    <a:cubicBezTo>
                      <a:pt x="10382" y="13683"/>
                      <a:pt x="10001" y="12826"/>
                      <a:pt x="10382" y="11016"/>
                    </a:cubicBezTo>
                    <a:cubicBezTo>
                      <a:pt x="10665" y="9922"/>
                      <a:pt x="11301" y="8951"/>
                      <a:pt x="12192" y="8254"/>
                    </a:cubicBezTo>
                    <a:cubicBezTo>
                      <a:pt x="13394" y="7361"/>
                      <a:pt x="14902" y="6983"/>
                      <a:pt x="16383" y="7206"/>
                    </a:cubicBezTo>
                    <a:cubicBezTo>
                      <a:pt x="20027" y="7971"/>
                      <a:pt x="23017" y="10565"/>
                      <a:pt x="24289" y="14064"/>
                    </a:cubicBezTo>
                    <a:cubicBezTo>
                      <a:pt x="26140" y="17888"/>
                      <a:pt x="27023" y="22107"/>
                      <a:pt x="26861" y="26352"/>
                    </a:cubicBezTo>
                    <a:cubicBezTo>
                      <a:pt x="27294" y="34413"/>
                      <a:pt x="22817" y="41937"/>
                      <a:pt x="15526" y="45402"/>
                    </a:cubicBezTo>
                    <a:cubicBezTo>
                      <a:pt x="13140" y="46061"/>
                      <a:pt x="10584" y="45605"/>
                      <a:pt x="8573" y="44163"/>
                    </a:cubicBezTo>
                    <a:cubicBezTo>
                      <a:pt x="7144" y="43116"/>
                      <a:pt x="7144" y="42068"/>
                      <a:pt x="7144" y="41973"/>
                    </a:cubicBezTo>
                    <a:close/>
                  </a:path>
                </a:pathLst>
              </a:custGeom>
              <a:solidFill>
                <a:srgbClr val="AA655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8" name="Полилиния: фигура 717">
                <a:extLst>
                  <a:ext uri="{FF2B5EF4-FFF2-40B4-BE49-F238E27FC236}">
                    <a16:creationId xmlns:a16="http://schemas.microsoft.com/office/drawing/2014/main" id="{98547EC9-01AE-465A-8AC9-FE896BD85791}"/>
                  </a:ext>
                </a:extLst>
              </p:cNvPr>
              <p:cNvSpPr/>
              <p:nvPr/>
            </p:nvSpPr>
            <p:spPr>
              <a:xfrm>
                <a:off x="1737287" y="3783499"/>
                <a:ext cx="114300" cy="114300"/>
              </a:xfrm>
              <a:custGeom>
                <a:avLst/>
                <a:gdLst>
                  <a:gd name="connsiteX0" fmla="*/ 7516 w 114300"/>
                  <a:gd name="connsiteY0" fmla="*/ 59622 h 114300"/>
                  <a:gd name="connsiteX1" fmla="*/ 9516 w 114300"/>
                  <a:gd name="connsiteY1" fmla="*/ 47049 h 114300"/>
                  <a:gd name="connsiteX2" fmla="*/ 72451 w 114300"/>
                  <a:gd name="connsiteY2" fmla="*/ 10574 h 114300"/>
                  <a:gd name="connsiteX3" fmla="*/ 76954 w 114300"/>
                  <a:gd name="connsiteY3" fmla="*/ 11997 h 114300"/>
                  <a:gd name="connsiteX4" fmla="*/ 89812 w 114300"/>
                  <a:gd name="connsiteY4" fmla="*/ 19045 h 114300"/>
                  <a:gd name="connsiteX5" fmla="*/ 100576 w 114300"/>
                  <a:gd name="connsiteY5" fmla="*/ 29808 h 114300"/>
                  <a:gd name="connsiteX6" fmla="*/ 100576 w 114300"/>
                  <a:gd name="connsiteY6" fmla="*/ 90197 h 114300"/>
                  <a:gd name="connsiteX7" fmla="*/ 89812 w 114300"/>
                  <a:gd name="connsiteY7" fmla="*/ 101055 h 114300"/>
                  <a:gd name="connsiteX8" fmla="*/ 76954 w 114300"/>
                  <a:gd name="connsiteY8" fmla="*/ 108009 h 114300"/>
                  <a:gd name="connsiteX9" fmla="*/ 50093 w 114300"/>
                  <a:gd name="connsiteY9" fmla="*/ 110295 h 114300"/>
                  <a:gd name="connsiteX10" fmla="*/ 28471 w 114300"/>
                  <a:gd name="connsiteY10" fmla="*/ 100770 h 114300"/>
                  <a:gd name="connsiteX11" fmla="*/ 9421 w 114300"/>
                  <a:gd name="connsiteY11" fmla="*/ 72671 h 114300"/>
                  <a:gd name="connsiteX12" fmla="*/ 7421 w 114300"/>
                  <a:gd name="connsiteY12" fmla="*/ 60003 h 114300"/>
                  <a:gd name="connsiteX13" fmla="*/ 7421 w 114300"/>
                  <a:gd name="connsiteY13" fmla="*/ 63336 h 114300"/>
                  <a:gd name="connsiteX14" fmla="*/ 7421 w 114300"/>
                  <a:gd name="connsiteY14" fmla="*/ 67337 h 114300"/>
                  <a:gd name="connsiteX15" fmla="*/ 8373 w 114300"/>
                  <a:gd name="connsiteY15" fmla="*/ 72861 h 114300"/>
                  <a:gd name="connsiteX16" fmla="*/ 49331 w 114300"/>
                  <a:gd name="connsiteY16" fmla="*/ 111914 h 114300"/>
                  <a:gd name="connsiteX17" fmla="*/ 77144 w 114300"/>
                  <a:gd name="connsiteY17" fmla="*/ 109723 h 114300"/>
                  <a:gd name="connsiteX18" fmla="*/ 90574 w 114300"/>
                  <a:gd name="connsiteY18" fmla="*/ 102580 h 114300"/>
                  <a:gd name="connsiteX19" fmla="*/ 101814 w 114300"/>
                  <a:gd name="connsiteY19" fmla="*/ 91340 h 114300"/>
                  <a:gd name="connsiteX20" fmla="*/ 112101 w 114300"/>
                  <a:gd name="connsiteY20" fmla="*/ 60003 h 114300"/>
                  <a:gd name="connsiteX21" fmla="*/ 101814 w 114300"/>
                  <a:gd name="connsiteY21" fmla="*/ 28666 h 114300"/>
                  <a:gd name="connsiteX22" fmla="*/ 77144 w 114300"/>
                  <a:gd name="connsiteY22" fmla="*/ 10283 h 114300"/>
                  <a:gd name="connsiteX23" fmla="*/ 27233 w 114300"/>
                  <a:gd name="connsiteY23" fmla="*/ 18093 h 114300"/>
                  <a:gd name="connsiteX24" fmla="*/ 8183 w 114300"/>
                  <a:gd name="connsiteY24" fmla="*/ 47240 h 114300"/>
                  <a:gd name="connsiteX25" fmla="*/ 7230 w 114300"/>
                  <a:gd name="connsiteY25" fmla="*/ 52669 h 114300"/>
                  <a:gd name="connsiteX26" fmla="*/ 7230 w 114300"/>
                  <a:gd name="connsiteY26" fmla="*/ 56669 h 114300"/>
                  <a:gd name="connsiteX27" fmla="*/ 7516 w 114300"/>
                  <a:gd name="connsiteY27" fmla="*/ 59622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4300" h="114300">
                    <a:moveTo>
                      <a:pt x="7516" y="59622"/>
                    </a:moveTo>
                    <a:cubicBezTo>
                      <a:pt x="7848" y="55384"/>
                      <a:pt x="8517" y="51180"/>
                      <a:pt x="9516" y="47049"/>
                    </a:cubicBezTo>
                    <a:cubicBezTo>
                      <a:pt x="16823" y="19597"/>
                      <a:pt x="45000" y="3267"/>
                      <a:pt x="72451" y="10574"/>
                    </a:cubicBezTo>
                    <a:cubicBezTo>
                      <a:pt x="73973" y="10979"/>
                      <a:pt x="75475" y="11454"/>
                      <a:pt x="76954" y="11997"/>
                    </a:cubicBezTo>
                    <a:cubicBezTo>
                      <a:pt x="81571" y="13683"/>
                      <a:pt x="85907" y="16060"/>
                      <a:pt x="89812" y="19045"/>
                    </a:cubicBezTo>
                    <a:cubicBezTo>
                      <a:pt x="93954" y="22033"/>
                      <a:pt x="97588" y="25667"/>
                      <a:pt x="100576" y="29808"/>
                    </a:cubicBezTo>
                    <a:cubicBezTo>
                      <a:pt x="113911" y="47729"/>
                      <a:pt x="113911" y="72276"/>
                      <a:pt x="100576" y="90197"/>
                    </a:cubicBezTo>
                    <a:cubicBezTo>
                      <a:pt x="97636" y="94406"/>
                      <a:pt x="93995" y="98078"/>
                      <a:pt x="89812" y="101055"/>
                    </a:cubicBezTo>
                    <a:cubicBezTo>
                      <a:pt x="85927" y="104048"/>
                      <a:pt x="81585" y="106396"/>
                      <a:pt x="76954" y="108009"/>
                    </a:cubicBezTo>
                    <a:cubicBezTo>
                      <a:pt x="68361" y="111141"/>
                      <a:pt x="59091" y="111930"/>
                      <a:pt x="50093" y="110295"/>
                    </a:cubicBezTo>
                    <a:cubicBezTo>
                      <a:pt x="42227" y="108896"/>
                      <a:pt x="34812" y="105629"/>
                      <a:pt x="28471" y="100770"/>
                    </a:cubicBezTo>
                    <a:cubicBezTo>
                      <a:pt x="19113" y="93840"/>
                      <a:pt x="12394" y="83930"/>
                      <a:pt x="9421" y="72671"/>
                    </a:cubicBezTo>
                    <a:cubicBezTo>
                      <a:pt x="8410" y="68510"/>
                      <a:pt x="7741" y="64273"/>
                      <a:pt x="7421" y="60003"/>
                    </a:cubicBezTo>
                    <a:cubicBezTo>
                      <a:pt x="7317" y="61111"/>
                      <a:pt x="7317" y="62228"/>
                      <a:pt x="7421" y="63336"/>
                    </a:cubicBezTo>
                    <a:cubicBezTo>
                      <a:pt x="7297" y="64667"/>
                      <a:pt x="7297" y="66006"/>
                      <a:pt x="7421" y="67337"/>
                    </a:cubicBezTo>
                    <a:cubicBezTo>
                      <a:pt x="7592" y="69201"/>
                      <a:pt x="7910" y="71048"/>
                      <a:pt x="8373" y="72861"/>
                    </a:cubicBezTo>
                    <a:cubicBezTo>
                      <a:pt x="13237" y="92755"/>
                      <a:pt x="29228" y="108002"/>
                      <a:pt x="49331" y="111914"/>
                    </a:cubicBezTo>
                    <a:cubicBezTo>
                      <a:pt x="58631" y="113683"/>
                      <a:pt x="68235" y="112926"/>
                      <a:pt x="77144" y="109723"/>
                    </a:cubicBezTo>
                    <a:cubicBezTo>
                      <a:pt x="81974" y="108077"/>
                      <a:pt x="86509" y="105665"/>
                      <a:pt x="90574" y="102580"/>
                    </a:cubicBezTo>
                    <a:cubicBezTo>
                      <a:pt x="94893" y="99453"/>
                      <a:pt x="98687" y="95659"/>
                      <a:pt x="101814" y="91340"/>
                    </a:cubicBezTo>
                    <a:cubicBezTo>
                      <a:pt x="108503" y="82262"/>
                      <a:pt x="112108" y="71279"/>
                      <a:pt x="112101" y="60003"/>
                    </a:cubicBezTo>
                    <a:cubicBezTo>
                      <a:pt x="112049" y="48736"/>
                      <a:pt x="108450" y="37771"/>
                      <a:pt x="101814" y="28666"/>
                    </a:cubicBezTo>
                    <a:cubicBezTo>
                      <a:pt x="95531" y="20291"/>
                      <a:pt x="86965" y="13908"/>
                      <a:pt x="77144" y="10283"/>
                    </a:cubicBezTo>
                    <a:cubicBezTo>
                      <a:pt x="60268" y="4163"/>
                      <a:pt x="41433" y="7110"/>
                      <a:pt x="27233" y="18093"/>
                    </a:cubicBezTo>
                    <a:cubicBezTo>
                      <a:pt x="17705" y="25315"/>
                      <a:pt x="10973" y="35614"/>
                      <a:pt x="8183" y="47240"/>
                    </a:cubicBezTo>
                    <a:cubicBezTo>
                      <a:pt x="7713" y="49019"/>
                      <a:pt x="7394" y="50835"/>
                      <a:pt x="7230" y="52669"/>
                    </a:cubicBezTo>
                    <a:cubicBezTo>
                      <a:pt x="7115" y="54000"/>
                      <a:pt x="7115" y="55338"/>
                      <a:pt x="7230" y="56669"/>
                    </a:cubicBezTo>
                    <a:cubicBezTo>
                      <a:pt x="7244" y="57660"/>
                      <a:pt x="7339" y="58648"/>
                      <a:pt x="7516" y="5962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9" name="Полилиния: фигура 718">
                <a:extLst>
                  <a:ext uri="{FF2B5EF4-FFF2-40B4-BE49-F238E27FC236}">
                    <a16:creationId xmlns:a16="http://schemas.microsoft.com/office/drawing/2014/main" id="{2D93DB3A-F864-4C9B-A454-222429CF4FD4}"/>
                  </a:ext>
                </a:extLst>
              </p:cNvPr>
              <p:cNvSpPr/>
              <p:nvPr/>
            </p:nvSpPr>
            <p:spPr>
              <a:xfrm>
                <a:off x="1613462" y="3783499"/>
                <a:ext cx="114300" cy="114300"/>
              </a:xfrm>
              <a:custGeom>
                <a:avLst/>
                <a:gdLst>
                  <a:gd name="connsiteX0" fmla="*/ 7516 w 114300"/>
                  <a:gd name="connsiteY0" fmla="*/ 59622 h 114300"/>
                  <a:gd name="connsiteX1" fmla="*/ 9516 w 114300"/>
                  <a:gd name="connsiteY1" fmla="*/ 47049 h 114300"/>
                  <a:gd name="connsiteX2" fmla="*/ 72451 w 114300"/>
                  <a:gd name="connsiteY2" fmla="*/ 10574 h 114300"/>
                  <a:gd name="connsiteX3" fmla="*/ 76954 w 114300"/>
                  <a:gd name="connsiteY3" fmla="*/ 11997 h 114300"/>
                  <a:gd name="connsiteX4" fmla="*/ 89812 w 114300"/>
                  <a:gd name="connsiteY4" fmla="*/ 19045 h 114300"/>
                  <a:gd name="connsiteX5" fmla="*/ 100576 w 114300"/>
                  <a:gd name="connsiteY5" fmla="*/ 29808 h 114300"/>
                  <a:gd name="connsiteX6" fmla="*/ 100576 w 114300"/>
                  <a:gd name="connsiteY6" fmla="*/ 90197 h 114300"/>
                  <a:gd name="connsiteX7" fmla="*/ 89812 w 114300"/>
                  <a:gd name="connsiteY7" fmla="*/ 101055 h 114300"/>
                  <a:gd name="connsiteX8" fmla="*/ 76954 w 114300"/>
                  <a:gd name="connsiteY8" fmla="*/ 108009 h 114300"/>
                  <a:gd name="connsiteX9" fmla="*/ 50093 w 114300"/>
                  <a:gd name="connsiteY9" fmla="*/ 110295 h 114300"/>
                  <a:gd name="connsiteX10" fmla="*/ 28471 w 114300"/>
                  <a:gd name="connsiteY10" fmla="*/ 100770 h 114300"/>
                  <a:gd name="connsiteX11" fmla="*/ 9421 w 114300"/>
                  <a:gd name="connsiteY11" fmla="*/ 72671 h 114300"/>
                  <a:gd name="connsiteX12" fmla="*/ 7421 w 114300"/>
                  <a:gd name="connsiteY12" fmla="*/ 60003 h 114300"/>
                  <a:gd name="connsiteX13" fmla="*/ 7421 w 114300"/>
                  <a:gd name="connsiteY13" fmla="*/ 63336 h 114300"/>
                  <a:gd name="connsiteX14" fmla="*/ 7421 w 114300"/>
                  <a:gd name="connsiteY14" fmla="*/ 67337 h 114300"/>
                  <a:gd name="connsiteX15" fmla="*/ 8373 w 114300"/>
                  <a:gd name="connsiteY15" fmla="*/ 72861 h 114300"/>
                  <a:gd name="connsiteX16" fmla="*/ 49331 w 114300"/>
                  <a:gd name="connsiteY16" fmla="*/ 111914 h 114300"/>
                  <a:gd name="connsiteX17" fmla="*/ 77144 w 114300"/>
                  <a:gd name="connsiteY17" fmla="*/ 109723 h 114300"/>
                  <a:gd name="connsiteX18" fmla="*/ 90574 w 114300"/>
                  <a:gd name="connsiteY18" fmla="*/ 102580 h 114300"/>
                  <a:gd name="connsiteX19" fmla="*/ 101814 w 114300"/>
                  <a:gd name="connsiteY19" fmla="*/ 91340 h 114300"/>
                  <a:gd name="connsiteX20" fmla="*/ 112101 w 114300"/>
                  <a:gd name="connsiteY20" fmla="*/ 60003 h 114300"/>
                  <a:gd name="connsiteX21" fmla="*/ 101814 w 114300"/>
                  <a:gd name="connsiteY21" fmla="*/ 28666 h 114300"/>
                  <a:gd name="connsiteX22" fmla="*/ 77144 w 114300"/>
                  <a:gd name="connsiteY22" fmla="*/ 10283 h 114300"/>
                  <a:gd name="connsiteX23" fmla="*/ 27233 w 114300"/>
                  <a:gd name="connsiteY23" fmla="*/ 18093 h 114300"/>
                  <a:gd name="connsiteX24" fmla="*/ 8183 w 114300"/>
                  <a:gd name="connsiteY24" fmla="*/ 47240 h 114300"/>
                  <a:gd name="connsiteX25" fmla="*/ 7230 w 114300"/>
                  <a:gd name="connsiteY25" fmla="*/ 52669 h 114300"/>
                  <a:gd name="connsiteX26" fmla="*/ 7230 w 114300"/>
                  <a:gd name="connsiteY26" fmla="*/ 56669 h 114300"/>
                  <a:gd name="connsiteX27" fmla="*/ 7516 w 114300"/>
                  <a:gd name="connsiteY27" fmla="*/ 59622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4300" h="114300">
                    <a:moveTo>
                      <a:pt x="7516" y="59622"/>
                    </a:moveTo>
                    <a:cubicBezTo>
                      <a:pt x="7848" y="55384"/>
                      <a:pt x="8517" y="51180"/>
                      <a:pt x="9516" y="47049"/>
                    </a:cubicBezTo>
                    <a:cubicBezTo>
                      <a:pt x="16823" y="19597"/>
                      <a:pt x="45000" y="3267"/>
                      <a:pt x="72451" y="10574"/>
                    </a:cubicBezTo>
                    <a:cubicBezTo>
                      <a:pt x="73973" y="10979"/>
                      <a:pt x="75475" y="11454"/>
                      <a:pt x="76954" y="11997"/>
                    </a:cubicBezTo>
                    <a:cubicBezTo>
                      <a:pt x="81571" y="13683"/>
                      <a:pt x="85907" y="16060"/>
                      <a:pt x="89812" y="19045"/>
                    </a:cubicBezTo>
                    <a:cubicBezTo>
                      <a:pt x="93954" y="22033"/>
                      <a:pt x="97588" y="25667"/>
                      <a:pt x="100576" y="29808"/>
                    </a:cubicBezTo>
                    <a:cubicBezTo>
                      <a:pt x="113911" y="47729"/>
                      <a:pt x="113911" y="72276"/>
                      <a:pt x="100576" y="90197"/>
                    </a:cubicBezTo>
                    <a:cubicBezTo>
                      <a:pt x="97636" y="94406"/>
                      <a:pt x="93995" y="98078"/>
                      <a:pt x="89812" y="101055"/>
                    </a:cubicBezTo>
                    <a:cubicBezTo>
                      <a:pt x="85927" y="104048"/>
                      <a:pt x="81585" y="106396"/>
                      <a:pt x="76954" y="108009"/>
                    </a:cubicBezTo>
                    <a:cubicBezTo>
                      <a:pt x="68361" y="111141"/>
                      <a:pt x="59091" y="111930"/>
                      <a:pt x="50093" y="110295"/>
                    </a:cubicBezTo>
                    <a:cubicBezTo>
                      <a:pt x="42227" y="108896"/>
                      <a:pt x="34812" y="105629"/>
                      <a:pt x="28471" y="100770"/>
                    </a:cubicBezTo>
                    <a:cubicBezTo>
                      <a:pt x="19113" y="93840"/>
                      <a:pt x="12394" y="83930"/>
                      <a:pt x="9421" y="72671"/>
                    </a:cubicBezTo>
                    <a:cubicBezTo>
                      <a:pt x="8410" y="68510"/>
                      <a:pt x="7741" y="64273"/>
                      <a:pt x="7421" y="60003"/>
                    </a:cubicBezTo>
                    <a:cubicBezTo>
                      <a:pt x="7317" y="61111"/>
                      <a:pt x="7317" y="62228"/>
                      <a:pt x="7421" y="63336"/>
                    </a:cubicBezTo>
                    <a:cubicBezTo>
                      <a:pt x="7297" y="64667"/>
                      <a:pt x="7297" y="66006"/>
                      <a:pt x="7421" y="67337"/>
                    </a:cubicBezTo>
                    <a:cubicBezTo>
                      <a:pt x="7592" y="69201"/>
                      <a:pt x="7910" y="71048"/>
                      <a:pt x="8373" y="72861"/>
                    </a:cubicBezTo>
                    <a:cubicBezTo>
                      <a:pt x="13237" y="92755"/>
                      <a:pt x="29228" y="108002"/>
                      <a:pt x="49331" y="111914"/>
                    </a:cubicBezTo>
                    <a:cubicBezTo>
                      <a:pt x="58631" y="113683"/>
                      <a:pt x="68235" y="112926"/>
                      <a:pt x="77144" y="109723"/>
                    </a:cubicBezTo>
                    <a:cubicBezTo>
                      <a:pt x="81974" y="108077"/>
                      <a:pt x="86509" y="105665"/>
                      <a:pt x="90574" y="102580"/>
                    </a:cubicBezTo>
                    <a:cubicBezTo>
                      <a:pt x="94893" y="99453"/>
                      <a:pt x="98687" y="95659"/>
                      <a:pt x="101814" y="91340"/>
                    </a:cubicBezTo>
                    <a:cubicBezTo>
                      <a:pt x="108503" y="82262"/>
                      <a:pt x="112108" y="71279"/>
                      <a:pt x="112101" y="60003"/>
                    </a:cubicBezTo>
                    <a:cubicBezTo>
                      <a:pt x="112049" y="48736"/>
                      <a:pt x="108450" y="37771"/>
                      <a:pt x="101814" y="28666"/>
                    </a:cubicBezTo>
                    <a:cubicBezTo>
                      <a:pt x="95531" y="20291"/>
                      <a:pt x="86965" y="13908"/>
                      <a:pt x="77144" y="10283"/>
                    </a:cubicBezTo>
                    <a:cubicBezTo>
                      <a:pt x="60268" y="4163"/>
                      <a:pt x="41433" y="7110"/>
                      <a:pt x="27233" y="18093"/>
                    </a:cubicBezTo>
                    <a:cubicBezTo>
                      <a:pt x="17705" y="25315"/>
                      <a:pt x="10973" y="35614"/>
                      <a:pt x="8183" y="47240"/>
                    </a:cubicBezTo>
                    <a:cubicBezTo>
                      <a:pt x="7713" y="49019"/>
                      <a:pt x="7394" y="50835"/>
                      <a:pt x="7230" y="52669"/>
                    </a:cubicBezTo>
                    <a:cubicBezTo>
                      <a:pt x="7115" y="54000"/>
                      <a:pt x="7115" y="55338"/>
                      <a:pt x="7230" y="56669"/>
                    </a:cubicBezTo>
                    <a:cubicBezTo>
                      <a:pt x="7244" y="57660"/>
                      <a:pt x="7339" y="58648"/>
                      <a:pt x="7516" y="5962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0" name="Полилиния: фигура 719">
                <a:extLst>
                  <a:ext uri="{FF2B5EF4-FFF2-40B4-BE49-F238E27FC236}">
                    <a16:creationId xmlns:a16="http://schemas.microsoft.com/office/drawing/2014/main" id="{A8EFB967-7A1E-4BEC-984B-597719E8AC17}"/>
                  </a:ext>
                </a:extLst>
              </p:cNvPr>
              <p:cNvSpPr/>
              <p:nvPr/>
            </p:nvSpPr>
            <p:spPr>
              <a:xfrm>
                <a:off x="1715561" y="3820421"/>
                <a:ext cx="28575" cy="9525"/>
              </a:xfrm>
              <a:custGeom>
                <a:avLst/>
                <a:gdLst>
                  <a:gd name="connsiteX0" fmla="*/ 7144 w 28575"/>
                  <a:gd name="connsiteY0" fmla="*/ 10889 h 9525"/>
                  <a:gd name="connsiteX1" fmla="*/ 18955 w 28575"/>
                  <a:gd name="connsiteY1" fmla="*/ 9174 h 9525"/>
                  <a:gd name="connsiteX2" fmla="*/ 30766 w 28575"/>
                  <a:gd name="connsiteY2" fmla="*/ 10127 h 9525"/>
                  <a:gd name="connsiteX3" fmla="*/ 18860 w 28575"/>
                  <a:gd name="connsiteY3" fmla="*/ 7269 h 9525"/>
                  <a:gd name="connsiteX4" fmla="*/ 7144 w 28575"/>
                  <a:gd name="connsiteY4" fmla="*/ 10889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9525">
                    <a:moveTo>
                      <a:pt x="7144" y="10889"/>
                    </a:moveTo>
                    <a:cubicBezTo>
                      <a:pt x="7144" y="11460"/>
                      <a:pt x="12383" y="9365"/>
                      <a:pt x="18955" y="9174"/>
                    </a:cubicBezTo>
                    <a:cubicBezTo>
                      <a:pt x="25527" y="8984"/>
                      <a:pt x="30575" y="10603"/>
                      <a:pt x="30766" y="10127"/>
                    </a:cubicBezTo>
                    <a:cubicBezTo>
                      <a:pt x="27266" y="7781"/>
                      <a:pt x="23042" y="6768"/>
                      <a:pt x="18860" y="7269"/>
                    </a:cubicBezTo>
                    <a:cubicBezTo>
                      <a:pt x="14652" y="7075"/>
                      <a:pt x="10509" y="8355"/>
                      <a:pt x="7144" y="10889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1" name="Полилиния: фигура 720">
                <a:extLst>
                  <a:ext uri="{FF2B5EF4-FFF2-40B4-BE49-F238E27FC236}">
                    <a16:creationId xmlns:a16="http://schemas.microsoft.com/office/drawing/2014/main" id="{11457AEB-4D87-42D5-985C-466ED7D30BFE}"/>
                  </a:ext>
                </a:extLst>
              </p:cNvPr>
              <p:cNvSpPr/>
              <p:nvPr/>
            </p:nvSpPr>
            <p:spPr>
              <a:xfrm>
                <a:off x="1842054" y="3841433"/>
                <a:ext cx="57150" cy="19050"/>
              </a:xfrm>
              <a:custGeom>
                <a:avLst/>
                <a:gdLst>
                  <a:gd name="connsiteX0" fmla="*/ 7144 w 57150"/>
                  <a:gd name="connsiteY0" fmla="*/ 7212 h 19050"/>
                  <a:gd name="connsiteX1" fmla="*/ 29051 w 57150"/>
                  <a:gd name="connsiteY1" fmla="*/ 12832 h 19050"/>
                  <a:gd name="connsiteX2" fmla="*/ 51625 w 57150"/>
                  <a:gd name="connsiteY2" fmla="*/ 14451 h 19050"/>
                  <a:gd name="connsiteX3" fmla="*/ 29337 w 57150"/>
                  <a:gd name="connsiteY3" fmla="*/ 10832 h 19050"/>
                  <a:gd name="connsiteX4" fmla="*/ 7144 w 57150"/>
                  <a:gd name="connsiteY4" fmla="*/ 7212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19050">
                    <a:moveTo>
                      <a:pt x="7144" y="7212"/>
                    </a:moveTo>
                    <a:cubicBezTo>
                      <a:pt x="14155" y="10078"/>
                      <a:pt x="21526" y="11969"/>
                      <a:pt x="29051" y="12832"/>
                    </a:cubicBezTo>
                    <a:cubicBezTo>
                      <a:pt x="36477" y="14323"/>
                      <a:pt x="44063" y="14867"/>
                      <a:pt x="51625" y="14451"/>
                    </a:cubicBezTo>
                    <a:cubicBezTo>
                      <a:pt x="51625" y="13880"/>
                      <a:pt x="41624" y="12832"/>
                      <a:pt x="29337" y="10832"/>
                    </a:cubicBezTo>
                    <a:cubicBezTo>
                      <a:pt x="17050" y="8831"/>
                      <a:pt x="7334" y="6736"/>
                      <a:pt x="7144" y="721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2" name="Полилиния: фигура 721">
                <a:extLst>
                  <a:ext uri="{FF2B5EF4-FFF2-40B4-BE49-F238E27FC236}">
                    <a16:creationId xmlns:a16="http://schemas.microsoft.com/office/drawing/2014/main" id="{5726FB5A-DBCF-463B-9A03-1FB11B0DA0CA}"/>
                  </a:ext>
                </a:extLst>
              </p:cNvPr>
              <p:cNvSpPr/>
              <p:nvPr/>
            </p:nvSpPr>
            <p:spPr>
              <a:xfrm>
                <a:off x="1742923" y="3828167"/>
                <a:ext cx="47625" cy="57150"/>
              </a:xfrm>
              <a:custGeom>
                <a:avLst/>
                <a:gdLst>
                  <a:gd name="connsiteX0" fmla="*/ 7310 w 47625"/>
                  <a:gd name="connsiteY0" fmla="*/ 7144 h 57150"/>
                  <a:gd name="connsiteX1" fmla="*/ 7881 w 47625"/>
                  <a:gd name="connsiteY1" fmla="*/ 16669 h 57150"/>
                  <a:gd name="connsiteX2" fmla="*/ 16454 w 47625"/>
                  <a:gd name="connsiteY2" fmla="*/ 38767 h 57150"/>
                  <a:gd name="connsiteX3" fmla="*/ 33027 w 47625"/>
                  <a:gd name="connsiteY3" fmla="*/ 55817 h 57150"/>
                  <a:gd name="connsiteX4" fmla="*/ 42552 w 47625"/>
                  <a:gd name="connsiteY4" fmla="*/ 57912 h 57150"/>
                  <a:gd name="connsiteX5" fmla="*/ 33694 w 47625"/>
                  <a:gd name="connsiteY5" fmla="*/ 54674 h 57150"/>
                  <a:gd name="connsiteX6" fmla="*/ 18073 w 47625"/>
                  <a:gd name="connsiteY6" fmla="*/ 37719 h 57150"/>
                  <a:gd name="connsiteX7" fmla="*/ 9120 w 47625"/>
                  <a:gd name="connsiteY7" fmla="*/ 16383 h 57150"/>
                  <a:gd name="connsiteX8" fmla="*/ 7310 w 47625"/>
                  <a:gd name="connsiteY8" fmla="*/ 7144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625" h="57150">
                    <a:moveTo>
                      <a:pt x="7310" y="7144"/>
                    </a:moveTo>
                    <a:cubicBezTo>
                      <a:pt x="6965" y="10328"/>
                      <a:pt x="7158" y="13548"/>
                      <a:pt x="7881" y="16669"/>
                    </a:cubicBezTo>
                    <a:cubicBezTo>
                      <a:pt x="9263" y="24525"/>
                      <a:pt x="12176" y="32034"/>
                      <a:pt x="16454" y="38767"/>
                    </a:cubicBezTo>
                    <a:cubicBezTo>
                      <a:pt x="20633" y="45619"/>
                      <a:pt x="26296" y="51445"/>
                      <a:pt x="33027" y="55817"/>
                    </a:cubicBezTo>
                    <a:cubicBezTo>
                      <a:pt x="35752" y="57854"/>
                      <a:pt x="39224" y="58618"/>
                      <a:pt x="42552" y="57912"/>
                    </a:cubicBezTo>
                    <a:cubicBezTo>
                      <a:pt x="39403" y="57474"/>
                      <a:pt x="36383" y="56370"/>
                      <a:pt x="33694" y="54674"/>
                    </a:cubicBezTo>
                    <a:cubicBezTo>
                      <a:pt x="27434" y="50092"/>
                      <a:pt x="22128" y="44333"/>
                      <a:pt x="18073" y="37719"/>
                    </a:cubicBezTo>
                    <a:cubicBezTo>
                      <a:pt x="13923" y="31154"/>
                      <a:pt x="10897" y="23944"/>
                      <a:pt x="9120" y="16383"/>
                    </a:cubicBezTo>
                    <a:cubicBezTo>
                      <a:pt x="7881" y="10859"/>
                      <a:pt x="7691" y="7144"/>
                      <a:pt x="7310" y="714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3" name="Полилиния: фигура 722">
                <a:extLst>
                  <a:ext uri="{FF2B5EF4-FFF2-40B4-BE49-F238E27FC236}">
                    <a16:creationId xmlns:a16="http://schemas.microsoft.com/office/drawing/2014/main" id="{16C68CE5-5BCB-494D-B4BD-CAB00834958F}"/>
                  </a:ext>
                </a:extLst>
              </p:cNvPr>
              <p:cNvSpPr/>
              <p:nvPr/>
            </p:nvSpPr>
            <p:spPr>
              <a:xfrm>
                <a:off x="1619602" y="3803531"/>
                <a:ext cx="19050" cy="66675"/>
              </a:xfrm>
              <a:custGeom>
                <a:avLst/>
                <a:gdLst>
                  <a:gd name="connsiteX0" fmla="*/ 17378 w 19050"/>
                  <a:gd name="connsiteY0" fmla="*/ 65212 h 66675"/>
                  <a:gd name="connsiteX1" fmla="*/ 13187 w 19050"/>
                  <a:gd name="connsiteY1" fmla="*/ 57020 h 66675"/>
                  <a:gd name="connsiteX2" fmla="*/ 9758 w 19050"/>
                  <a:gd name="connsiteY2" fmla="*/ 47495 h 66675"/>
                  <a:gd name="connsiteX3" fmla="*/ 9758 w 19050"/>
                  <a:gd name="connsiteY3" fmla="*/ 35684 h 66675"/>
                  <a:gd name="connsiteX4" fmla="*/ 15949 w 19050"/>
                  <a:gd name="connsiteY4" fmla="*/ 14729 h 66675"/>
                  <a:gd name="connsiteX5" fmla="*/ 20997 w 19050"/>
                  <a:gd name="connsiteY5" fmla="*/ 7205 h 66675"/>
                  <a:gd name="connsiteX6" fmla="*/ 18997 w 19050"/>
                  <a:gd name="connsiteY6" fmla="*/ 8729 h 66675"/>
                  <a:gd name="connsiteX7" fmla="*/ 14711 w 19050"/>
                  <a:gd name="connsiteY7" fmla="*/ 14063 h 66675"/>
                  <a:gd name="connsiteX8" fmla="*/ 7758 w 19050"/>
                  <a:gd name="connsiteY8" fmla="*/ 35399 h 66675"/>
                  <a:gd name="connsiteX9" fmla="*/ 7758 w 19050"/>
                  <a:gd name="connsiteY9" fmla="*/ 47972 h 66675"/>
                  <a:gd name="connsiteX10" fmla="*/ 11758 w 19050"/>
                  <a:gd name="connsiteY10" fmla="*/ 57497 h 66675"/>
                  <a:gd name="connsiteX11" fmla="*/ 17378 w 19050"/>
                  <a:gd name="connsiteY11" fmla="*/ 65212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050" h="66675">
                    <a:moveTo>
                      <a:pt x="17378" y="65212"/>
                    </a:moveTo>
                    <a:cubicBezTo>
                      <a:pt x="16169" y="62389"/>
                      <a:pt x="14769" y="59652"/>
                      <a:pt x="13187" y="57020"/>
                    </a:cubicBezTo>
                    <a:cubicBezTo>
                      <a:pt x="11636" y="54008"/>
                      <a:pt x="10483" y="50806"/>
                      <a:pt x="9758" y="47495"/>
                    </a:cubicBezTo>
                    <a:cubicBezTo>
                      <a:pt x="8990" y="43596"/>
                      <a:pt x="8990" y="39584"/>
                      <a:pt x="9758" y="35684"/>
                    </a:cubicBezTo>
                    <a:cubicBezTo>
                      <a:pt x="10555" y="28386"/>
                      <a:pt x="12652" y="21289"/>
                      <a:pt x="15949" y="14729"/>
                    </a:cubicBezTo>
                    <a:cubicBezTo>
                      <a:pt x="18616" y="9776"/>
                      <a:pt x="21283" y="7395"/>
                      <a:pt x="20997" y="7205"/>
                    </a:cubicBezTo>
                    <a:cubicBezTo>
                      <a:pt x="20712" y="7014"/>
                      <a:pt x="20235" y="7205"/>
                      <a:pt x="18997" y="8729"/>
                    </a:cubicBezTo>
                    <a:cubicBezTo>
                      <a:pt x="17337" y="10307"/>
                      <a:pt x="15895" y="12101"/>
                      <a:pt x="14711" y="14063"/>
                    </a:cubicBezTo>
                    <a:cubicBezTo>
                      <a:pt x="10980" y="20634"/>
                      <a:pt x="8615" y="27891"/>
                      <a:pt x="7758" y="35399"/>
                    </a:cubicBezTo>
                    <a:cubicBezTo>
                      <a:pt x="6939" y="39550"/>
                      <a:pt x="6939" y="43821"/>
                      <a:pt x="7758" y="47972"/>
                    </a:cubicBezTo>
                    <a:cubicBezTo>
                      <a:pt x="8641" y="51318"/>
                      <a:pt x="9988" y="54523"/>
                      <a:pt x="11758" y="57497"/>
                    </a:cubicBezTo>
                    <a:cubicBezTo>
                      <a:pt x="13233" y="60337"/>
                      <a:pt x="15127" y="62938"/>
                      <a:pt x="17378" y="6521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4" name="Полилиния: фигура 723">
                <a:extLst>
                  <a:ext uri="{FF2B5EF4-FFF2-40B4-BE49-F238E27FC236}">
                    <a16:creationId xmlns:a16="http://schemas.microsoft.com/office/drawing/2014/main" id="{ED8A2A5A-7E78-4163-A898-D892DE40A522}"/>
                  </a:ext>
                </a:extLst>
              </p:cNvPr>
              <p:cNvSpPr/>
              <p:nvPr/>
            </p:nvSpPr>
            <p:spPr>
              <a:xfrm>
                <a:off x="1890239" y="3905319"/>
                <a:ext cx="38100" cy="47625"/>
              </a:xfrm>
              <a:custGeom>
                <a:avLst/>
                <a:gdLst>
                  <a:gd name="connsiteX0" fmla="*/ 29063 w 38100"/>
                  <a:gd name="connsiteY0" fmla="*/ 13145 h 47625"/>
                  <a:gd name="connsiteX1" fmla="*/ 31920 w 38100"/>
                  <a:gd name="connsiteY1" fmla="*/ 14954 h 47625"/>
                  <a:gd name="connsiteX2" fmla="*/ 36968 w 38100"/>
                  <a:gd name="connsiteY2" fmla="*/ 22289 h 47625"/>
                  <a:gd name="connsiteX3" fmla="*/ 34301 w 38100"/>
                  <a:gd name="connsiteY3" fmla="*/ 34576 h 47625"/>
                  <a:gd name="connsiteX4" fmla="*/ 19728 w 38100"/>
                  <a:gd name="connsiteY4" fmla="*/ 38862 h 47625"/>
                  <a:gd name="connsiteX5" fmla="*/ 9725 w 38100"/>
                  <a:gd name="connsiteY5" fmla="*/ 18863 h 47625"/>
                  <a:gd name="connsiteX6" fmla="*/ 11727 w 38100"/>
                  <a:gd name="connsiteY6" fmla="*/ 14859 h 47625"/>
                  <a:gd name="connsiteX7" fmla="*/ 18490 w 38100"/>
                  <a:gd name="connsiteY7" fmla="*/ 8668 h 47625"/>
                  <a:gd name="connsiteX8" fmla="*/ 21538 w 38100"/>
                  <a:gd name="connsiteY8" fmla="*/ 7144 h 47625"/>
                  <a:gd name="connsiteX9" fmla="*/ 18109 w 38100"/>
                  <a:gd name="connsiteY9" fmla="*/ 8001 h 47625"/>
                  <a:gd name="connsiteX10" fmla="*/ 10584 w 38100"/>
                  <a:gd name="connsiteY10" fmla="*/ 14002 h 47625"/>
                  <a:gd name="connsiteX11" fmla="*/ 7536 w 38100"/>
                  <a:gd name="connsiteY11" fmla="*/ 27908 h 47625"/>
                  <a:gd name="connsiteX12" fmla="*/ 19157 w 38100"/>
                  <a:gd name="connsiteY12" fmla="*/ 40767 h 47625"/>
                  <a:gd name="connsiteX13" fmla="*/ 35635 w 38100"/>
                  <a:gd name="connsiteY13" fmla="*/ 35814 h 47625"/>
                  <a:gd name="connsiteX14" fmla="*/ 38969 w 38100"/>
                  <a:gd name="connsiteY14" fmla="*/ 28670 h 47625"/>
                  <a:gd name="connsiteX15" fmla="*/ 32396 w 38100"/>
                  <a:gd name="connsiteY15" fmla="*/ 14383 h 47625"/>
                  <a:gd name="connsiteX16" fmla="*/ 29063 w 38100"/>
                  <a:gd name="connsiteY16" fmla="*/ 1314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8100" h="47625">
                    <a:moveTo>
                      <a:pt x="29063" y="13145"/>
                    </a:moveTo>
                    <a:cubicBezTo>
                      <a:pt x="29063" y="13145"/>
                      <a:pt x="30206" y="13716"/>
                      <a:pt x="31920" y="14954"/>
                    </a:cubicBezTo>
                    <a:cubicBezTo>
                      <a:pt x="34304" y="16834"/>
                      <a:pt x="36064" y="19391"/>
                      <a:pt x="36968" y="22289"/>
                    </a:cubicBezTo>
                    <a:cubicBezTo>
                      <a:pt x="38318" y="26568"/>
                      <a:pt x="37303" y="31241"/>
                      <a:pt x="34301" y="34576"/>
                    </a:cubicBezTo>
                    <a:cubicBezTo>
                      <a:pt x="30596" y="38567"/>
                      <a:pt x="25004" y="40212"/>
                      <a:pt x="19728" y="38862"/>
                    </a:cubicBezTo>
                    <a:cubicBezTo>
                      <a:pt x="11443" y="36102"/>
                      <a:pt x="6965" y="27148"/>
                      <a:pt x="9725" y="18863"/>
                    </a:cubicBezTo>
                    <a:cubicBezTo>
                      <a:pt x="10199" y="17440"/>
                      <a:pt x="10873" y="16092"/>
                      <a:pt x="11727" y="14859"/>
                    </a:cubicBezTo>
                    <a:cubicBezTo>
                      <a:pt x="13461" y="12290"/>
                      <a:pt x="15778" y="10168"/>
                      <a:pt x="18490" y="8668"/>
                    </a:cubicBezTo>
                    <a:cubicBezTo>
                      <a:pt x="20395" y="7620"/>
                      <a:pt x="21538" y="7334"/>
                      <a:pt x="21538" y="7144"/>
                    </a:cubicBezTo>
                    <a:cubicBezTo>
                      <a:pt x="20343" y="7157"/>
                      <a:pt x="19169" y="7450"/>
                      <a:pt x="18109" y="8001"/>
                    </a:cubicBezTo>
                    <a:cubicBezTo>
                      <a:pt x="15105" y="9285"/>
                      <a:pt x="12505" y="11359"/>
                      <a:pt x="10584" y="14002"/>
                    </a:cubicBezTo>
                    <a:cubicBezTo>
                      <a:pt x="7589" y="17971"/>
                      <a:pt x="6476" y="23050"/>
                      <a:pt x="7536" y="27908"/>
                    </a:cubicBezTo>
                    <a:cubicBezTo>
                      <a:pt x="8835" y="33962"/>
                      <a:pt x="13265" y="38864"/>
                      <a:pt x="19157" y="40767"/>
                    </a:cubicBezTo>
                    <a:cubicBezTo>
                      <a:pt x="25144" y="42343"/>
                      <a:pt x="31509" y="40430"/>
                      <a:pt x="35635" y="35814"/>
                    </a:cubicBezTo>
                    <a:cubicBezTo>
                      <a:pt x="37421" y="33810"/>
                      <a:pt x="38580" y="31327"/>
                      <a:pt x="38969" y="28670"/>
                    </a:cubicBezTo>
                    <a:cubicBezTo>
                      <a:pt x="39732" y="23037"/>
                      <a:pt x="37171" y="17469"/>
                      <a:pt x="32396" y="14383"/>
                    </a:cubicBezTo>
                    <a:cubicBezTo>
                      <a:pt x="31439" y="13637"/>
                      <a:pt x="30275" y="13205"/>
                      <a:pt x="29063" y="13145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5" name="Полилиния: фигура 724">
                <a:extLst>
                  <a:ext uri="{FF2B5EF4-FFF2-40B4-BE49-F238E27FC236}">
                    <a16:creationId xmlns:a16="http://schemas.microsoft.com/office/drawing/2014/main" id="{398AF1CC-2DE6-439F-920E-C61EBDB7A0B6}"/>
                  </a:ext>
                </a:extLst>
              </p:cNvPr>
              <p:cNvSpPr/>
              <p:nvPr/>
            </p:nvSpPr>
            <p:spPr>
              <a:xfrm>
                <a:off x="1726298" y="3669860"/>
                <a:ext cx="76200" cy="47625"/>
              </a:xfrm>
              <a:custGeom>
                <a:avLst/>
                <a:gdLst>
                  <a:gd name="connsiteX0" fmla="*/ 10980 w 76200"/>
                  <a:gd name="connsiteY0" fmla="*/ 47817 h 47625"/>
                  <a:gd name="connsiteX1" fmla="*/ 8027 w 76200"/>
                  <a:gd name="connsiteY1" fmla="*/ 42102 h 47625"/>
                  <a:gd name="connsiteX2" fmla="*/ 9932 w 76200"/>
                  <a:gd name="connsiteY2" fmla="*/ 35530 h 47625"/>
                  <a:gd name="connsiteX3" fmla="*/ 18314 w 76200"/>
                  <a:gd name="connsiteY3" fmla="*/ 33339 h 47625"/>
                  <a:gd name="connsiteX4" fmla="*/ 20219 w 76200"/>
                  <a:gd name="connsiteY4" fmla="*/ 34006 h 47625"/>
                  <a:gd name="connsiteX5" fmla="*/ 19362 w 76200"/>
                  <a:gd name="connsiteY5" fmla="*/ 32196 h 47625"/>
                  <a:gd name="connsiteX6" fmla="*/ 21743 w 76200"/>
                  <a:gd name="connsiteY6" fmla="*/ 22671 h 47625"/>
                  <a:gd name="connsiteX7" fmla="*/ 32602 w 76200"/>
                  <a:gd name="connsiteY7" fmla="*/ 22671 h 47625"/>
                  <a:gd name="connsiteX8" fmla="*/ 34031 w 76200"/>
                  <a:gd name="connsiteY8" fmla="*/ 21337 h 47625"/>
                  <a:gd name="connsiteX9" fmla="*/ 33459 w 76200"/>
                  <a:gd name="connsiteY9" fmla="*/ 20194 h 47625"/>
                  <a:gd name="connsiteX10" fmla="*/ 34126 w 76200"/>
                  <a:gd name="connsiteY10" fmla="*/ 16099 h 47625"/>
                  <a:gd name="connsiteX11" fmla="*/ 37746 w 76200"/>
                  <a:gd name="connsiteY11" fmla="*/ 13813 h 47625"/>
                  <a:gd name="connsiteX12" fmla="*/ 42127 w 76200"/>
                  <a:gd name="connsiteY12" fmla="*/ 13813 h 47625"/>
                  <a:gd name="connsiteX13" fmla="*/ 47080 w 76200"/>
                  <a:gd name="connsiteY13" fmla="*/ 14956 h 47625"/>
                  <a:gd name="connsiteX14" fmla="*/ 51176 w 76200"/>
                  <a:gd name="connsiteY14" fmla="*/ 12289 h 47625"/>
                  <a:gd name="connsiteX15" fmla="*/ 54509 w 76200"/>
                  <a:gd name="connsiteY15" fmla="*/ 10193 h 47625"/>
                  <a:gd name="connsiteX16" fmla="*/ 61558 w 76200"/>
                  <a:gd name="connsiteY16" fmla="*/ 8574 h 47625"/>
                  <a:gd name="connsiteX17" fmla="*/ 71845 w 76200"/>
                  <a:gd name="connsiteY17" fmla="*/ 11050 h 47625"/>
                  <a:gd name="connsiteX18" fmla="*/ 75179 w 76200"/>
                  <a:gd name="connsiteY18" fmla="*/ 13241 h 47625"/>
                  <a:gd name="connsiteX19" fmla="*/ 72226 w 76200"/>
                  <a:gd name="connsiteY19" fmla="*/ 10384 h 47625"/>
                  <a:gd name="connsiteX20" fmla="*/ 61558 w 76200"/>
                  <a:gd name="connsiteY20" fmla="*/ 7145 h 47625"/>
                  <a:gd name="connsiteX21" fmla="*/ 50033 w 76200"/>
                  <a:gd name="connsiteY21" fmla="*/ 10860 h 47625"/>
                  <a:gd name="connsiteX22" fmla="*/ 46794 w 76200"/>
                  <a:gd name="connsiteY22" fmla="*/ 13146 h 47625"/>
                  <a:gd name="connsiteX23" fmla="*/ 42603 w 76200"/>
                  <a:gd name="connsiteY23" fmla="*/ 12003 h 47625"/>
                  <a:gd name="connsiteX24" fmla="*/ 37364 w 76200"/>
                  <a:gd name="connsiteY24" fmla="*/ 12003 h 47625"/>
                  <a:gd name="connsiteX25" fmla="*/ 32507 w 76200"/>
                  <a:gd name="connsiteY25" fmla="*/ 15051 h 47625"/>
                  <a:gd name="connsiteX26" fmla="*/ 31554 w 76200"/>
                  <a:gd name="connsiteY26" fmla="*/ 20956 h 47625"/>
                  <a:gd name="connsiteX27" fmla="*/ 32507 w 76200"/>
                  <a:gd name="connsiteY27" fmla="*/ 22671 h 47625"/>
                  <a:gd name="connsiteX28" fmla="*/ 33935 w 76200"/>
                  <a:gd name="connsiteY28" fmla="*/ 21337 h 47625"/>
                  <a:gd name="connsiteX29" fmla="*/ 19670 w 76200"/>
                  <a:gd name="connsiteY29" fmla="*/ 21961 h 47625"/>
                  <a:gd name="connsiteX30" fmla="*/ 17838 w 76200"/>
                  <a:gd name="connsiteY30" fmla="*/ 32767 h 47625"/>
                  <a:gd name="connsiteX31" fmla="*/ 18886 w 76200"/>
                  <a:gd name="connsiteY31" fmla="*/ 31624 h 47625"/>
                  <a:gd name="connsiteX32" fmla="*/ 9361 w 76200"/>
                  <a:gd name="connsiteY32" fmla="*/ 34482 h 47625"/>
                  <a:gd name="connsiteX33" fmla="*/ 7360 w 76200"/>
                  <a:gd name="connsiteY33" fmla="*/ 42197 h 47625"/>
                  <a:gd name="connsiteX34" fmla="*/ 9837 w 76200"/>
                  <a:gd name="connsiteY34" fmla="*/ 46674 h 47625"/>
                  <a:gd name="connsiteX35" fmla="*/ 10980 w 76200"/>
                  <a:gd name="connsiteY35" fmla="*/ 47817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6200" h="47625">
                    <a:moveTo>
                      <a:pt x="10980" y="47817"/>
                    </a:moveTo>
                    <a:cubicBezTo>
                      <a:pt x="9446" y="46250"/>
                      <a:pt x="8418" y="44259"/>
                      <a:pt x="8027" y="42102"/>
                    </a:cubicBezTo>
                    <a:cubicBezTo>
                      <a:pt x="7572" y="39732"/>
                      <a:pt x="8280" y="37288"/>
                      <a:pt x="9932" y="35530"/>
                    </a:cubicBezTo>
                    <a:cubicBezTo>
                      <a:pt x="12092" y="33281"/>
                      <a:pt x="15331" y="32434"/>
                      <a:pt x="18314" y="33339"/>
                    </a:cubicBezTo>
                    <a:lnTo>
                      <a:pt x="20219" y="34006"/>
                    </a:lnTo>
                    <a:lnTo>
                      <a:pt x="19362" y="32196"/>
                    </a:lnTo>
                    <a:cubicBezTo>
                      <a:pt x="18079" y="28836"/>
                      <a:pt x="19030" y="25032"/>
                      <a:pt x="21743" y="22671"/>
                    </a:cubicBezTo>
                    <a:cubicBezTo>
                      <a:pt x="24874" y="20010"/>
                      <a:pt x="29471" y="20010"/>
                      <a:pt x="32602" y="22671"/>
                    </a:cubicBezTo>
                    <a:lnTo>
                      <a:pt x="34031" y="21337"/>
                    </a:lnTo>
                    <a:cubicBezTo>
                      <a:pt x="33784" y="20987"/>
                      <a:pt x="33591" y="20602"/>
                      <a:pt x="33459" y="20194"/>
                    </a:cubicBezTo>
                    <a:cubicBezTo>
                      <a:pt x="33058" y="18798"/>
                      <a:pt x="33302" y="17295"/>
                      <a:pt x="34126" y="16099"/>
                    </a:cubicBezTo>
                    <a:cubicBezTo>
                      <a:pt x="34976" y="14881"/>
                      <a:pt x="36281" y="14057"/>
                      <a:pt x="37746" y="13813"/>
                    </a:cubicBezTo>
                    <a:cubicBezTo>
                      <a:pt x="39186" y="13472"/>
                      <a:pt x="40686" y="13472"/>
                      <a:pt x="42127" y="13813"/>
                    </a:cubicBezTo>
                    <a:cubicBezTo>
                      <a:pt x="43677" y="14546"/>
                      <a:pt x="45366" y="14936"/>
                      <a:pt x="47080" y="14956"/>
                    </a:cubicBezTo>
                    <a:cubicBezTo>
                      <a:pt x="49175" y="14956"/>
                      <a:pt x="50033" y="12955"/>
                      <a:pt x="51176" y="12289"/>
                    </a:cubicBezTo>
                    <a:cubicBezTo>
                      <a:pt x="52205" y="11468"/>
                      <a:pt x="53324" y="10766"/>
                      <a:pt x="54509" y="10193"/>
                    </a:cubicBezTo>
                    <a:cubicBezTo>
                      <a:pt x="56725" y="9182"/>
                      <a:pt x="59123" y="8631"/>
                      <a:pt x="61558" y="8574"/>
                    </a:cubicBezTo>
                    <a:cubicBezTo>
                      <a:pt x="65152" y="8411"/>
                      <a:pt x="68719" y="9270"/>
                      <a:pt x="71845" y="11050"/>
                    </a:cubicBezTo>
                    <a:cubicBezTo>
                      <a:pt x="74036" y="12289"/>
                      <a:pt x="74988" y="13336"/>
                      <a:pt x="75179" y="13241"/>
                    </a:cubicBezTo>
                    <a:cubicBezTo>
                      <a:pt x="74429" y="12073"/>
                      <a:pt x="73418" y="11094"/>
                      <a:pt x="72226" y="10384"/>
                    </a:cubicBezTo>
                    <a:cubicBezTo>
                      <a:pt x="69072" y="8264"/>
                      <a:pt x="65357" y="7136"/>
                      <a:pt x="61558" y="7145"/>
                    </a:cubicBezTo>
                    <a:cubicBezTo>
                      <a:pt x="57414" y="7097"/>
                      <a:pt x="53368" y="8401"/>
                      <a:pt x="50033" y="10860"/>
                    </a:cubicBezTo>
                    <a:cubicBezTo>
                      <a:pt x="48794" y="11812"/>
                      <a:pt x="47842" y="13050"/>
                      <a:pt x="46794" y="13146"/>
                    </a:cubicBezTo>
                    <a:cubicBezTo>
                      <a:pt x="45350" y="12963"/>
                      <a:pt x="43940" y="12578"/>
                      <a:pt x="42603" y="12003"/>
                    </a:cubicBezTo>
                    <a:cubicBezTo>
                      <a:pt x="40883" y="11571"/>
                      <a:pt x="39084" y="11571"/>
                      <a:pt x="37364" y="12003"/>
                    </a:cubicBezTo>
                    <a:cubicBezTo>
                      <a:pt x="35410" y="12347"/>
                      <a:pt x="33667" y="13441"/>
                      <a:pt x="32507" y="15051"/>
                    </a:cubicBezTo>
                    <a:cubicBezTo>
                      <a:pt x="31289" y="16764"/>
                      <a:pt x="30937" y="18947"/>
                      <a:pt x="31554" y="20956"/>
                    </a:cubicBezTo>
                    <a:cubicBezTo>
                      <a:pt x="31754" y="21586"/>
                      <a:pt x="32078" y="22169"/>
                      <a:pt x="32507" y="22671"/>
                    </a:cubicBezTo>
                    <a:lnTo>
                      <a:pt x="33935" y="21337"/>
                    </a:lnTo>
                    <a:cubicBezTo>
                      <a:pt x="29824" y="17570"/>
                      <a:pt x="23437" y="17849"/>
                      <a:pt x="19670" y="21961"/>
                    </a:cubicBezTo>
                    <a:cubicBezTo>
                      <a:pt x="16987" y="24889"/>
                      <a:pt x="16270" y="29118"/>
                      <a:pt x="17838" y="32767"/>
                    </a:cubicBezTo>
                    <a:lnTo>
                      <a:pt x="18886" y="31624"/>
                    </a:lnTo>
                    <a:cubicBezTo>
                      <a:pt x="15426" y="30712"/>
                      <a:pt x="11747" y="31816"/>
                      <a:pt x="9361" y="34482"/>
                    </a:cubicBezTo>
                    <a:cubicBezTo>
                      <a:pt x="7481" y="36576"/>
                      <a:pt x="6735" y="39453"/>
                      <a:pt x="7360" y="42197"/>
                    </a:cubicBezTo>
                    <a:cubicBezTo>
                      <a:pt x="7705" y="43909"/>
                      <a:pt x="8570" y="45472"/>
                      <a:pt x="9837" y="46674"/>
                    </a:cubicBezTo>
                    <a:cubicBezTo>
                      <a:pt x="10118" y="47143"/>
                      <a:pt x="10511" y="47535"/>
                      <a:pt x="10980" y="47817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6" name="Полилиния: фигура 725">
                <a:extLst>
                  <a:ext uri="{FF2B5EF4-FFF2-40B4-BE49-F238E27FC236}">
                    <a16:creationId xmlns:a16="http://schemas.microsoft.com/office/drawing/2014/main" id="{5BAF9F52-329E-437B-87F2-E6CFEC942357}"/>
                  </a:ext>
                </a:extLst>
              </p:cNvPr>
              <p:cNvSpPr/>
              <p:nvPr/>
            </p:nvSpPr>
            <p:spPr>
              <a:xfrm>
                <a:off x="1675120" y="3654745"/>
                <a:ext cx="95250" cy="76200"/>
              </a:xfrm>
              <a:custGeom>
                <a:avLst/>
                <a:gdLst>
                  <a:gd name="connsiteX0" fmla="*/ 13105 w 95250"/>
                  <a:gd name="connsiteY0" fmla="*/ 75600 h 76200"/>
                  <a:gd name="connsiteX1" fmla="*/ 9390 w 95250"/>
                  <a:gd name="connsiteY1" fmla="*/ 70075 h 76200"/>
                  <a:gd name="connsiteX2" fmla="*/ 9390 w 95250"/>
                  <a:gd name="connsiteY2" fmla="*/ 62646 h 76200"/>
                  <a:gd name="connsiteX3" fmla="*/ 17105 w 95250"/>
                  <a:gd name="connsiteY3" fmla="*/ 57026 h 76200"/>
                  <a:gd name="connsiteX4" fmla="*/ 18534 w 95250"/>
                  <a:gd name="connsiteY4" fmla="*/ 57026 h 76200"/>
                  <a:gd name="connsiteX5" fmla="*/ 17581 w 95250"/>
                  <a:gd name="connsiteY5" fmla="*/ 55883 h 76200"/>
                  <a:gd name="connsiteX6" fmla="*/ 14248 w 95250"/>
                  <a:gd name="connsiteY6" fmla="*/ 45215 h 76200"/>
                  <a:gd name="connsiteX7" fmla="*/ 18153 w 95250"/>
                  <a:gd name="connsiteY7" fmla="*/ 40738 h 76200"/>
                  <a:gd name="connsiteX8" fmla="*/ 23963 w 95250"/>
                  <a:gd name="connsiteY8" fmla="*/ 41500 h 76200"/>
                  <a:gd name="connsiteX9" fmla="*/ 29583 w 95250"/>
                  <a:gd name="connsiteY9" fmla="*/ 47501 h 76200"/>
                  <a:gd name="connsiteX10" fmla="*/ 25487 w 95250"/>
                  <a:gd name="connsiteY10" fmla="*/ 40357 h 76200"/>
                  <a:gd name="connsiteX11" fmla="*/ 24916 w 95250"/>
                  <a:gd name="connsiteY11" fmla="*/ 31785 h 76200"/>
                  <a:gd name="connsiteX12" fmla="*/ 31774 w 95250"/>
                  <a:gd name="connsiteY12" fmla="*/ 25975 h 76200"/>
                  <a:gd name="connsiteX13" fmla="*/ 38346 w 95250"/>
                  <a:gd name="connsiteY13" fmla="*/ 26641 h 76200"/>
                  <a:gd name="connsiteX14" fmla="*/ 40632 w 95250"/>
                  <a:gd name="connsiteY14" fmla="*/ 27784 h 76200"/>
                  <a:gd name="connsiteX15" fmla="*/ 39680 w 95250"/>
                  <a:gd name="connsiteY15" fmla="*/ 25403 h 76200"/>
                  <a:gd name="connsiteX16" fmla="*/ 44539 w 95250"/>
                  <a:gd name="connsiteY16" fmla="*/ 17798 h 76200"/>
                  <a:gd name="connsiteX17" fmla="*/ 45204 w 95250"/>
                  <a:gd name="connsiteY17" fmla="*/ 17688 h 76200"/>
                  <a:gd name="connsiteX18" fmla="*/ 55586 w 95250"/>
                  <a:gd name="connsiteY18" fmla="*/ 20260 h 76200"/>
                  <a:gd name="connsiteX19" fmla="*/ 57491 w 95250"/>
                  <a:gd name="connsiteY19" fmla="*/ 21307 h 76200"/>
                  <a:gd name="connsiteX20" fmla="*/ 56824 w 95250"/>
                  <a:gd name="connsiteY20" fmla="*/ 19212 h 76200"/>
                  <a:gd name="connsiteX21" fmla="*/ 59206 w 95250"/>
                  <a:gd name="connsiteY21" fmla="*/ 12163 h 76200"/>
                  <a:gd name="connsiteX22" fmla="*/ 65969 w 95250"/>
                  <a:gd name="connsiteY22" fmla="*/ 9211 h 76200"/>
                  <a:gd name="connsiteX23" fmla="*/ 78542 w 95250"/>
                  <a:gd name="connsiteY23" fmla="*/ 9211 h 76200"/>
                  <a:gd name="connsiteX24" fmla="*/ 89114 w 95250"/>
                  <a:gd name="connsiteY24" fmla="*/ 13021 h 76200"/>
                  <a:gd name="connsiteX25" fmla="*/ 86638 w 95250"/>
                  <a:gd name="connsiteY25" fmla="*/ 11306 h 76200"/>
                  <a:gd name="connsiteX26" fmla="*/ 78827 w 95250"/>
                  <a:gd name="connsiteY26" fmla="*/ 8163 h 76200"/>
                  <a:gd name="connsiteX27" fmla="*/ 65683 w 95250"/>
                  <a:gd name="connsiteY27" fmla="*/ 7496 h 76200"/>
                  <a:gd name="connsiteX28" fmla="*/ 58158 w 95250"/>
                  <a:gd name="connsiteY28" fmla="*/ 10734 h 76200"/>
                  <a:gd name="connsiteX29" fmla="*/ 55110 w 95250"/>
                  <a:gd name="connsiteY29" fmla="*/ 19402 h 76200"/>
                  <a:gd name="connsiteX30" fmla="*/ 56444 w 95250"/>
                  <a:gd name="connsiteY30" fmla="*/ 18355 h 76200"/>
                  <a:gd name="connsiteX31" fmla="*/ 44823 w 95250"/>
                  <a:gd name="connsiteY31" fmla="*/ 15497 h 76200"/>
                  <a:gd name="connsiteX32" fmla="*/ 39108 w 95250"/>
                  <a:gd name="connsiteY32" fmla="*/ 18926 h 76200"/>
                  <a:gd name="connsiteX33" fmla="*/ 37870 w 95250"/>
                  <a:gd name="connsiteY33" fmla="*/ 25879 h 76200"/>
                  <a:gd name="connsiteX34" fmla="*/ 39203 w 95250"/>
                  <a:gd name="connsiteY34" fmla="*/ 24641 h 76200"/>
                  <a:gd name="connsiteX35" fmla="*/ 23423 w 95250"/>
                  <a:gd name="connsiteY35" fmla="*/ 30118 h 76200"/>
                  <a:gd name="connsiteX36" fmla="*/ 23106 w 95250"/>
                  <a:gd name="connsiteY36" fmla="*/ 30832 h 76200"/>
                  <a:gd name="connsiteX37" fmla="*/ 23868 w 95250"/>
                  <a:gd name="connsiteY37" fmla="*/ 41024 h 76200"/>
                  <a:gd name="connsiteX38" fmla="*/ 25392 w 95250"/>
                  <a:gd name="connsiteY38" fmla="*/ 39881 h 76200"/>
                  <a:gd name="connsiteX39" fmla="*/ 17486 w 95250"/>
                  <a:gd name="connsiteY39" fmla="*/ 38738 h 76200"/>
                  <a:gd name="connsiteX40" fmla="*/ 12533 w 95250"/>
                  <a:gd name="connsiteY40" fmla="*/ 44453 h 76200"/>
                  <a:gd name="connsiteX41" fmla="*/ 16534 w 95250"/>
                  <a:gd name="connsiteY41" fmla="*/ 56645 h 76200"/>
                  <a:gd name="connsiteX42" fmla="*/ 16534 w 95250"/>
                  <a:gd name="connsiteY42" fmla="*/ 55407 h 76200"/>
                  <a:gd name="connsiteX43" fmla="*/ 7961 w 95250"/>
                  <a:gd name="connsiteY43" fmla="*/ 61979 h 76200"/>
                  <a:gd name="connsiteX44" fmla="*/ 7961 w 95250"/>
                  <a:gd name="connsiteY44" fmla="*/ 70171 h 76200"/>
                  <a:gd name="connsiteX45" fmla="*/ 11009 w 95250"/>
                  <a:gd name="connsiteY45" fmla="*/ 74457 h 76200"/>
                  <a:gd name="connsiteX46" fmla="*/ 13105 w 95250"/>
                  <a:gd name="connsiteY46" fmla="*/ 75600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95250" h="76200">
                    <a:moveTo>
                      <a:pt x="13105" y="75600"/>
                    </a:moveTo>
                    <a:cubicBezTo>
                      <a:pt x="11413" y="74108"/>
                      <a:pt x="10134" y="72205"/>
                      <a:pt x="9390" y="70075"/>
                    </a:cubicBezTo>
                    <a:cubicBezTo>
                      <a:pt x="8384" y="67701"/>
                      <a:pt x="8384" y="65020"/>
                      <a:pt x="9390" y="62646"/>
                    </a:cubicBezTo>
                    <a:cubicBezTo>
                      <a:pt x="10945" y="59672"/>
                      <a:pt x="13798" y="57594"/>
                      <a:pt x="17105" y="57026"/>
                    </a:cubicBezTo>
                    <a:lnTo>
                      <a:pt x="18534" y="57026"/>
                    </a:lnTo>
                    <a:lnTo>
                      <a:pt x="17581" y="55883"/>
                    </a:lnTo>
                    <a:cubicBezTo>
                      <a:pt x="14781" y="53093"/>
                      <a:pt x="13534" y="49103"/>
                      <a:pt x="14248" y="45215"/>
                    </a:cubicBezTo>
                    <a:cubicBezTo>
                      <a:pt x="14762" y="43186"/>
                      <a:pt x="16213" y="41524"/>
                      <a:pt x="18153" y="40738"/>
                    </a:cubicBezTo>
                    <a:cubicBezTo>
                      <a:pt x="20059" y="39756"/>
                      <a:pt x="22375" y="40060"/>
                      <a:pt x="23963" y="41500"/>
                    </a:cubicBezTo>
                    <a:lnTo>
                      <a:pt x="29583" y="47501"/>
                    </a:lnTo>
                    <a:lnTo>
                      <a:pt x="25487" y="40357"/>
                    </a:lnTo>
                    <a:cubicBezTo>
                      <a:pt x="24056" y="37720"/>
                      <a:pt x="23847" y="34589"/>
                      <a:pt x="24916" y="31785"/>
                    </a:cubicBezTo>
                    <a:cubicBezTo>
                      <a:pt x="26087" y="28823"/>
                      <a:pt x="28660" y="26643"/>
                      <a:pt x="31774" y="25975"/>
                    </a:cubicBezTo>
                    <a:cubicBezTo>
                      <a:pt x="33979" y="25475"/>
                      <a:pt x="36286" y="25710"/>
                      <a:pt x="38346" y="26641"/>
                    </a:cubicBezTo>
                    <a:lnTo>
                      <a:pt x="40632" y="27784"/>
                    </a:lnTo>
                    <a:lnTo>
                      <a:pt x="39680" y="25403"/>
                    </a:lnTo>
                    <a:cubicBezTo>
                      <a:pt x="38921" y="21961"/>
                      <a:pt x="41097" y="18556"/>
                      <a:pt x="44539" y="17798"/>
                    </a:cubicBezTo>
                    <a:cubicBezTo>
                      <a:pt x="44759" y="17749"/>
                      <a:pt x="44981" y="17713"/>
                      <a:pt x="45204" y="17688"/>
                    </a:cubicBezTo>
                    <a:cubicBezTo>
                      <a:pt x="48856" y="17344"/>
                      <a:pt x="52517" y="18251"/>
                      <a:pt x="55586" y="20260"/>
                    </a:cubicBezTo>
                    <a:lnTo>
                      <a:pt x="57491" y="21307"/>
                    </a:lnTo>
                    <a:lnTo>
                      <a:pt x="56824" y="19212"/>
                    </a:lnTo>
                    <a:cubicBezTo>
                      <a:pt x="56320" y="16607"/>
                      <a:pt x="57225" y="13929"/>
                      <a:pt x="59206" y="12163"/>
                    </a:cubicBezTo>
                    <a:cubicBezTo>
                      <a:pt x="61132" y="10554"/>
                      <a:pt x="63479" y="9529"/>
                      <a:pt x="65969" y="9211"/>
                    </a:cubicBezTo>
                    <a:cubicBezTo>
                      <a:pt x="70123" y="8429"/>
                      <a:pt x="74387" y="8429"/>
                      <a:pt x="78542" y="9211"/>
                    </a:cubicBezTo>
                    <a:cubicBezTo>
                      <a:pt x="82191" y="10101"/>
                      <a:pt x="85736" y="11378"/>
                      <a:pt x="89114" y="13021"/>
                    </a:cubicBezTo>
                    <a:cubicBezTo>
                      <a:pt x="89114" y="13021"/>
                      <a:pt x="88352" y="12259"/>
                      <a:pt x="86638" y="11306"/>
                    </a:cubicBezTo>
                    <a:cubicBezTo>
                      <a:pt x="84181" y="9925"/>
                      <a:pt x="81556" y="8868"/>
                      <a:pt x="78827" y="8163"/>
                    </a:cubicBezTo>
                    <a:cubicBezTo>
                      <a:pt x="74531" y="7087"/>
                      <a:pt x="70066" y="6860"/>
                      <a:pt x="65683" y="7496"/>
                    </a:cubicBezTo>
                    <a:cubicBezTo>
                      <a:pt x="62916" y="7834"/>
                      <a:pt x="60305" y="8958"/>
                      <a:pt x="58158" y="10734"/>
                    </a:cubicBezTo>
                    <a:cubicBezTo>
                      <a:pt x="55624" y="12842"/>
                      <a:pt x="54453" y="16172"/>
                      <a:pt x="55110" y="19402"/>
                    </a:cubicBezTo>
                    <a:lnTo>
                      <a:pt x="56444" y="18355"/>
                    </a:lnTo>
                    <a:cubicBezTo>
                      <a:pt x="52977" y="16178"/>
                      <a:pt x="48903" y="15177"/>
                      <a:pt x="44823" y="15497"/>
                    </a:cubicBezTo>
                    <a:cubicBezTo>
                      <a:pt x="42567" y="15914"/>
                      <a:pt x="40538" y="17132"/>
                      <a:pt x="39108" y="18926"/>
                    </a:cubicBezTo>
                    <a:cubicBezTo>
                      <a:pt x="37461" y="20846"/>
                      <a:pt x="36987" y="23509"/>
                      <a:pt x="37870" y="25879"/>
                    </a:cubicBezTo>
                    <a:lnTo>
                      <a:pt x="39203" y="24641"/>
                    </a:lnTo>
                    <a:cubicBezTo>
                      <a:pt x="33333" y="21796"/>
                      <a:pt x="26268" y="24248"/>
                      <a:pt x="23423" y="30118"/>
                    </a:cubicBezTo>
                    <a:cubicBezTo>
                      <a:pt x="23310" y="30353"/>
                      <a:pt x="23204" y="30591"/>
                      <a:pt x="23106" y="30832"/>
                    </a:cubicBezTo>
                    <a:cubicBezTo>
                      <a:pt x="21855" y="34177"/>
                      <a:pt x="22134" y="37902"/>
                      <a:pt x="23868" y="41024"/>
                    </a:cubicBezTo>
                    <a:lnTo>
                      <a:pt x="25392" y="39881"/>
                    </a:lnTo>
                    <a:cubicBezTo>
                      <a:pt x="23224" y="37949"/>
                      <a:pt x="20112" y="37499"/>
                      <a:pt x="17486" y="38738"/>
                    </a:cubicBezTo>
                    <a:cubicBezTo>
                      <a:pt x="15030" y="39760"/>
                      <a:pt x="13196" y="41876"/>
                      <a:pt x="12533" y="44453"/>
                    </a:cubicBezTo>
                    <a:cubicBezTo>
                      <a:pt x="11749" y="48930"/>
                      <a:pt x="13250" y="53503"/>
                      <a:pt x="16534" y="56645"/>
                    </a:cubicBezTo>
                    <a:lnTo>
                      <a:pt x="16534" y="55407"/>
                    </a:lnTo>
                    <a:cubicBezTo>
                      <a:pt x="12770" y="56056"/>
                      <a:pt x="9565" y="58513"/>
                      <a:pt x="7961" y="61979"/>
                    </a:cubicBezTo>
                    <a:cubicBezTo>
                      <a:pt x="6871" y="64601"/>
                      <a:pt x="6871" y="67549"/>
                      <a:pt x="7961" y="70171"/>
                    </a:cubicBezTo>
                    <a:cubicBezTo>
                      <a:pt x="8581" y="71843"/>
                      <a:pt x="9632" y="73322"/>
                      <a:pt x="11009" y="74457"/>
                    </a:cubicBezTo>
                    <a:cubicBezTo>
                      <a:pt x="12438" y="75409"/>
                      <a:pt x="13105" y="75695"/>
                      <a:pt x="13105" y="75600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7" name="Полилиния: фигура 726">
                <a:extLst>
                  <a:ext uri="{FF2B5EF4-FFF2-40B4-BE49-F238E27FC236}">
                    <a16:creationId xmlns:a16="http://schemas.microsoft.com/office/drawing/2014/main" id="{78669A23-0D93-4426-9109-C2D09DB168C0}"/>
                  </a:ext>
                </a:extLst>
              </p:cNvPr>
              <p:cNvSpPr/>
              <p:nvPr/>
            </p:nvSpPr>
            <p:spPr>
              <a:xfrm>
                <a:off x="1575353" y="3665212"/>
                <a:ext cx="104775" cy="76200"/>
              </a:xfrm>
              <a:custGeom>
                <a:avLst/>
                <a:gdLst>
                  <a:gd name="connsiteX0" fmla="*/ 7145 w 104775"/>
                  <a:gd name="connsiteY0" fmla="*/ 74277 h 76200"/>
                  <a:gd name="connsiteX1" fmla="*/ 9716 w 104775"/>
                  <a:gd name="connsiteY1" fmla="*/ 68943 h 76200"/>
                  <a:gd name="connsiteX2" fmla="*/ 16289 w 104775"/>
                  <a:gd name="connsiteY2" fmla="*/ 66562 h 76200"/>
                  <a:gd name="connsiteX3" fmla="*/ 25814 w 104775"/>
                  <a:gd name="connsiteY3" fmla="*/ 68752 h 76200"/>
                  <a:gd name="connsiteX4" fmla="*/ 26956 w 104775"/>
                  <a:gd name="connsiteY4" fmla="*/ 68752 h 76200"/>
                  <a:gd name="connsiteX5" fmla="*/ 26956 w 104775"/>
                  <a:gd name="connsiteY5" fmla="*/ 67609 h 76200"/>
                  <a:gd name="connsiteX6" fmla="*/ 33910 w 104775"/>
                  <a:gd name="connsiteY6" fmla="*/ 59323 h 76200"/>
                  <a:gd name="connsiteX7" fmla="*/ 47816 w 104775"/>
                  <a:gd name="connsiteY7" fmla="*/ 61609 h 76200"/>
                  <a:gd name="connsiteX8" fmla="*/ 54008 w 104775"/>
                  <a:gd name="connsiteY8" fmla="*/ 63895 h 76200"/>
                  <a:gd name="connsiteX9" fmla="*/ 48769 w 104775"/>
                  <a:gd name="connsiteY9" fmla="*/ 59989 h 76200"/>
                  <a:gd name="connsiteX10" fmla="*/ 48502 w 104775"/>
                  <a:gd name="connsiteY10" fmla="*/ 50160 h 76200"/>
                  <a:gd name="connsiteX11" fmla="*/ 48769 w 104775"/>
                  <a:gd name="connsiteY11" fmla="*/ 49893 h 76200"/>
                  <a:gd name="connsiteX12" fmla="*/ 61056 w 104775"/>
                  <a:gd name="connsiteY12" fmla="*/ 47035 h 76200"/>
                  <a:gd name="connsiteX13" fmla="*/ 61627 w 104775"/>
                  <a:gd name="connsiteY13" fmla="*/ 47035 h 76200"/>
                  <a:gd name="connsiteX14" fmla="*/ 65533 w 104775"/>
                  <a:gd name="connsiteY14" fmla="*/ 47035 h 76200"/>
                  <a:gd name="connsiteX15" fmla="*/ 62294 w 104775"/>
                  <a:gd name="connsiteY15" fmla="*/ 44845 h 76200"/>
                  <a:gd name="connsiteX16" fmla="*/ 61618 w 104775"/>
                  <a:gd name="connsiteY16" fmla="*/ 34360 h 76200"/>
                  <a:gd name="connsiteX17" fmla="*/ 63151 w 104775"/>
                  <a:gd name="connsiteY17" fmla="*/ 33034 h 76200"/>
                  <a:gd name="connsiteX18" fmla="*/ 75725 w 104775"/>
                  <a:gd name="connsiteY18" fmla="*/ 34272 h 76200"/>
                  <a:gd name="connsiteX19" fmla="*/ 79820 w 104775"/>
                  <a:gd name="connsiteY19" fmla="*/ 37415 h 76200"/>
                  <a:gd name="connsiteX20" fmla="*/ 77058 w 104775"/>
                  <a:gd name="connsiteY20" fmla="*/ 33034 h 76200"/>
                  <a:gd name="connsiteX21" fmla="*/ 77058 w 104775"/>
                  <a:gd name="connsiteY21" fmla="*/ 15793 h 76200"/>
                  <a:gd name="connsiteX22" fmla="*/ 88679 w 104775"/>
                  <a:gd name="connsiteY22" fmla="*/ 8364 h 76200"/>
                  <a:gd name="connsiteX23" fmla="*/ 98204 w 104775"/>
                  <a:gd name="connsiteY23" fmla="*/ 9507 h 76200"/>
                  <a:gd name="connsiteX24" fmla="*/ 101347 w 104775"/>
                  <a:gd name="connsiteY24" fmla="*/ 11031 h 76200"/>
                  <a:gd name="connsiteX25" fmla="*/ 100680 w 104775"/>
                  <a:gd name="connsiteY25" fmla="*/ 10364 h 76200"/>
                  <a:gd name="connsiteX26" fmla="*/ 98489 w 104775"/>
                  <a:gd name="connsiteY26" fmla="*/ 9031 h 76200"/>
                  <a:gd name="connsiteX27" fmla="*/ 88964 w 104775"/>
                  <a:gd name="connsiteY27" fmla="*/ 7221 h 76200"/>
                  <a:gd name="connsiteX28" fmla="*/ 76105 w 104775"/>
                  <a:gd name="connsiteY28" fmla="*/ 14936 h 76200"/>
                  <a:gd name="connsiteX29" fmla="*/ 76105 w 104775"/>
                  <a:gd name="connsiteY29" fmla="*/ 33986 h 76200"/>
                  <a:gd name="connsiteX30" fmla="*/ 77439 w 104775"/>
                  <a:gd name="connsiteY30" fmla="*/ 32843 h 76200"/>
                  <a:gd name="connsiteX31" fmla="*/ 62675 w 104775"/>
                  <a:gd name="connsiteY31" fmla="*/ 31415 h 76200"/>
                  <a:gd name="connsiteX32" fmla="*/ 58389 w 104775"/>
                  <a:gd name="connsiteY32" fmla="*/ 38558 h 76200"/>
                  <a:gd name="connsiteX33" fmla="*/ 61723 w 104775"/>
                  <a:gd name="connsiteY33" fmla="*/ 46559 h 76200"/>
                  <a:gd name="connsiteX34" fmla="*/ 62389 w 104775"/>
                  <a:gd name="connsiteY34" fmla="*/ 44749 h 76200"/>
                  <a:gd name="connsiteX35" fmla="*/ 61818 w 104775"/>
                  <a:gd name="connsiteY35" fmla="*/ 44749 h 76200"/>
                  <a:gd name="connsiteX36" fmla="*/ 48007 w 104775"/>
                  <a:gd name="connsiteY36" fmla="*/ 48274 h 76200"/>
                  <a:gd name="connsiteX37" fmla="*/ 45054 w 104775"/>
                  <a:gd name="connsiteY37" fmla="*/ 54751 h 76200"/>
                  <a:gd name="connsiteX38" fmla="*/ 47721 w 104775"/>
                  <a:gd name="connsiteY38" fmla="*/ 61132 h 76200"/>
                  <a:gd name="connsiteX39" fmla="*/ 48578 w 104775"/>
                  <a:gd name="connsiteY39" fmla="*/ 59513 h 76200"/>
                  <a:gd name="connsiteX40" fmla="*/ 33529 w 104775"/>
                  <a:gd name="connsiteY40" fmla="*/ 57418 h 76200"/>
                  <a:gd name="connsiteX41" fmla="*/ 25623 w 104775"/>
                  <a:gd name="connsiteY41" fmla="*/ 67514 h 76200"/>
                  <a:gd name="connsiteX42" fmla="*/ 26575 w 104775"/>
                  <a:gd name="connsiteY42" fmla="*/ 66752 h 76200"/>
                  <a:gd name="connsiteX43" fmla="*/ 17050 w 104775"/>
                  <a:gd name="connsiteY43" fmla="*/ 64752 h 76200"/>
                  <a:gd name="connsiteX44" fmla="*/ 9907 w 104775"/>
                  <a:gd name="connsiteY44" fmla="*/ 67705 h 76200"/>
                  <a:gd name="connsiteX45" fmla="*/ 7811 w 104775"/>
                  <a:gd name="connsiteY45" fmla="*/ 71991 h 76200"/>
                  <a:gd name="connsiteX46" fmla="*/ 7144 w 104775"/>
                  <a:gd name="connsiteY46" fmla="*/ 74277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104775" h="76200">
                    <a:moveTo>
                      <a:pt x="7145" y="74277"/>
                    </a:moveTo>
                    <a:cubicBezTo>
                      <a:pt x="7258" y="72228"/>
                      <a:pt x="8184" y="70308"/>
                      <a:pt x="9716" y="68943"/>
                    </a:cubicBezTo>
                    <a:cubicBezTo>
                      <a:pt x="11526" y="67345"/>
                      <a:pt x="13875" y="66494"/>
                      <a:pt x="16289" y="66562"/>
                    </a:cubicBezTo>
                    <a:cubicBezTo>
                      <a:pt x="19564" y="66751"/>
                      <a:pt x="22785" y="67491"/>
                      <a:pt x="25814" y="68752"/>
                    </a:cubicBezTo>
                    <a:lnTo>
                      <a:pt x="26956" y="68752"/>
                    </a:lnTo>
                    <a:lnTo>
                      <a:pt x="26956" y="67609"/>
                    </a:lnTo>
                    <a:cubicBezTo>
                      <a:pt x="26982" y="63535"/>
                      <a:pt x="29902" y="60055"/>
                      <a:pt x="33910" y="59323"/>
                    </a:cubicBezTo>
                    <a:cubicBezTo>
                      <a:pt x="38669" y="58727"/>
                      <a:pt x="43498" y="59521"/>
                      <a:pt x="47816" y="61609"/>
                    </a:cubicBezTo>
                    <a:lnTo>
                      <a:pt x="54008" y="63895"/>
                    </a:lnTo>
                    <a:lnTo>
                      <a:pt x="48769" y="59989"/>
                    </a:lnTo>
                    <a:cubicBezTo>
                      <a:pt x="45981" y="57349"/>
                      <a:pt x="45861" y="52948"/>
                      <a:pt x="48502" y="50160"/>
                    </a:cubicBezTo>
                    <a:cubicBezTo>
                      <a:pt x="48589" y="50068"/>
                      <a:pt x="48677" y="49979"/>
                      <a:pt x="48769" y="49893"/>
                    </a:cubicBezTo>
                    <a:cubicBezTo>
                      <a:pt x="52296" y="47288"/>
                      <a:pt x="56742" y="46254"/>
                      <a:pt x="61056" y="47035"/>
                    </a:cubicBezTo>
                    <a:lnTo>
                      <a:pt x="61627" y="47035"/>
                    </a:lnTo>
                    <a:lnTo>
                      <a:pt x="65533" y="47035"/>
                    </a:lnTo>
                    <a:lnTo>
                      <a:pt x="62294" y="44845"/>
                    </a:lnTo>
                    <a:cubicBezTo>
                      <a:pt x="59212" y="42136"/>
                      <a:pt x="58909" y="37442"/>
                      <a:pt x="61618" y="34360"/>
                    </a:cubicBezTo>
                    <a:cubicBezTo>
                      <a:pt x="62066" y="33850"/>
                      <a:pt x="62582" y="33403"/>
                      <a:pt x="63151" y="33034"/>
                    </a:cubicBezTo>
                    <a:cubicBezTo>
                      <a:pt x="67200" y="30829"/>
                      <a:pt x="72184" y="31320"/>
                      <a:pt x="75725" y="34272"/>
                    </a:cubicBezTo>
                    <a:lnTo>
                      <a:pt x="79820" y="37415"/>
                    </a:lnTo>
                    <a:lnTo>
                      <a:pt x="77058" y="33034"/>
                    </a:lnTo>
                    <a:cubicBezTo>
                      <a:pt x="73898" y="27721"/>
                      <a:pt x="73898" y="21106"/>
                      <a:pt x="77058" y="15793"/>
                    </a:cubicBezTo>
                    <a:cubicBezTo>
                      <a:pt x="79580" y="11659"/>
                      <a:pt x="83867" y="8918"/>
                      <a:pt x="88679" y="8364"/>
                    </a:cubicBezTo>
                    <a:cubicBezTo>
                      <a:pt x="91899" y="7891"/>
                      <a:pt x="95187" y="8285"/>
                      <a:pt x="98204" y="9507"/>
                    </a:cubicBezTo>
                    <a:cubicBezTo>
                      <a:pt x="100299" y="10364"/>
                      <a:pt x="101251" y="11126"/>
                      <a:pt x="101347" y="11031"/>
                    </a:cubicBezTo>
                    <a:cubicBezTo>
                      <a:pt x="101156" y="10779"/>
                      <a:pt x="100932" y="10555"/>
                      <a:pt x="100680" y="10364"/>
                    </a:cubicBezTo>
                    <a:cubicBezTo>
                      <a:pt x="100013" y="9823"/>
                      <a:pt x="99276" y="9374"/>
                      <a:pt x="98489" y="9031"/>
                    </a:cubicBezTo>
                    <a:cubicBezTo>
                      <a:pt x="95549" y="7539"/>
                      <a:pt x="92246" y="6911"/>
                      <a:pt x="88964" y="7221"/>
                    </a:cubicBezTo>
                    <a:cubicBezTo>
                      <a:pt x="83721" y="7682"/>
                      <a:pt x="78980" y="10527"/>
                      <a:pt x="76105" y="14936"/>
                    </a:cubicBezTo>
                    <a:cubicBezTo>
                      <a:pt x="72702" y="20830"/>
                      <a:pt x="72702" y="28092"/>
                      <a:pt x="76105" y="33986"/>
                    </a:cubicBezTo>
                    <a:lnTo>
                      <a:pt x="77439" y="32843"/>
                    </a:lnTo>
                    <a:cubicBezTo>
                      <a:pt x="73293" y="29344"/>
                      <a:pt x="67415" y="28776"/>
                      <a:pt x="62675" y="31415"/>
                    </a:cubicBezTo>
                    <a:cubicBezTo>
                      <a:pt x="60226" y="33012"/>
                      <a:pt x="58645" y="35645"/>
                      <a:pt x="58389" y="38558"/>
                    </a:cubicBezTo>
                    <a:cubicBezTo>
                      <a:pt x="57971" y="41632"/>
                      <a:pt x="59246" y="44692"/>
                      <a:pt x="61723" y="46559"/>
                    </a:cubicBezTo>
                    <a:lnTo>
                      <a:pt x="62389" y="44749"/>
                    </a:lnTo>
                    <a:lnTo>
                      <a:pt x="61818" y="44749"/>
                    </a:lnTo>
                    <a:cubicBezTo>
                      <a:pt x="56923" y="43914"/>
                      <a:pt x="51903" y="45195"/>
                      <a:pt x="48007" y="48274"/>
                    </a:cubicBezTo>
                    <a:cubicBezTo>
                      <a:pt x="46222" y="49970"/>
                      <a:pt x="45164" y="52291"/>
                      <a:pt x="45054" y="54751"/>
                    </a:cubicBezTo>
                    <a:cubicBezTo>
                      <a:pt x="44785" y="57195"/>
                      <a:pt x="45793" y="59606"/>
                      <a:pt x="47721" y="61132"/>
                    </a:cubicBezTo>
                    <a:lnTo>
                      <a:pt x="48578" y="59513"/>
                    </a:lnTo>
                    <a:cubicBezTo>
                      <a:pt x="43870" y="57376"/>
                      <a:pt x="38642" y="56648"/>
                      <a:pt x="33529" y="57418"/>
                    </a:cubicBezTo>
                    <a:cubicBezTo>
                      <a:pt x="28820" y="58463"/>
                      <a:pt x="25508" y="62692"/>
                      <a:pt x="25623" y="67514"/>
                    </a:cubicBezTo>
                    <a:lnTo>
                      <a:pt x="26575" y="66752"/>
                    </a:lnTo>
                    <a:cubicBezTo>
                      <a:pt x="23533" y="65563"/>
                      <a:pt x="20314" y="64887"/>
                      <a:pt x="17050" y="64752"/>
                    </a:cubicBezTo>
                    <a:cubicBezTo>
                      <a:pt x="14382" y="64799"/>
                      <a:pt x="11830" y="65854"/>
                      <a:pt x="9907" y="67705"/>
                    </a:cubicBezTo>
                    <a:cubicBezTo>
                      <a:pt x="8680" y="68809"/>
                      <a:pt x="7929" y="70345"/>
                      <a:pt x="7811" y="71991"/>
                    </a:cubicBezTo>
                    <a:cubicBezTo>
                      <a:pt x="7362" y="72668"/>
                      <a:pt x="7130" y="73465"/>
                      <a:pt x="7144" y="74277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8" name="Полилиния: фигура 727">
                <a:extLst>
                  <a:ext uri="{FF2B5EF4-FFF2-40B4-BE49-F238E27FC236}">
                    <a16:creationId xmlns:a16="http://schemas.microsoft.com/office/drawing/2014/main" id="{F6464340-1FC4-4AA5-8532-2B82E4DC4E9F}"/>
                  </a:ext>
                </a:extLst>
              </p:cNvPr>
              <p:cNvSpPr/>
              <p:nvPr/>
            </p:nvSpPr>
            <p:spPr>
              <a:xfrm>
                <a:off x="1630789" y="3630943"/>
                <a:ext cx="95250" cy="28575"/>
              </a:xfrm>
              <a:custGeom>
                <a:avLst/>
                <a:gdLst>
                  <a:gd name="connsiteX0" fmla="*/ 7144 w 95250"/>
                  <a:gd name="connsiteY0" fmla="*/ 7962 h 28575"/>
                  <a:gd name="connsiteX1" fmla="*/ 9716 w 95250"/>
                  <a:gd name="connsiteY1" fmla="*/ 8915 h 28575"/>
                  <a:gd name="connsiteX2" fmla="*/ 17431 w 95250"/>
                  <a:gd name="connsiteY2" fmla="*/ 8915 h 28575"/>
                  <a:gd name="connsiteX3" fmla="*/ 28480 w 95250"/>
                  <a:gd name="connsiteY3" fmla="*/ 10534 h 28575"/>
                  <a:gd name="connsiteX4" fmla="*/ 32290 w 95250"/>
                  <a:gd name="connsiteY4" fmla="*/ 15391 h 28575"/>
                  <a:gd name="connsiteX5" fmla="*/ 30289 w 95250"/>
                  <a:gd name="connsiteY5" fmla="*/ 21202 h 28575"/>
                  <a:gd name="connsiteX6" fmla="*/ 31623 w 95250"/>
                  <a:gd name="connsiteY6" fmla="*/ 22154 h 28575"/>
                  <a:gd name="connsiteX7" fmla="*/ 38005 w 95250"/>
                  <a:gd name="connsiteY7" fmla="*/ 16249 h 28575"/>
                  <a:gd name="connsiteX8" fmla="*/ 47530 w 95250"/>
                  <a:gd name="connsiteY8" fmla="*/ 12343 h 28575"/>
                  <a:gd name="connsiteX9" fmla="*/ 57055 w 95250"/>
                  <a:gd name="connsiteY9" fmla="*/ 13772 h 28575"/>
                  <a:gd name="connsiteX10" fmla="*/ 61150 w 95250"/>
                  <a:gd name="connsiteY10" fmla="*/ 21011 h 28575"/>
                  <a:gd name="connsiteX11" fmla="*/ 61150 w 95250"/>
                  <a:gd name="connsiteY11" fmla="*/ 23488 h 28575"/>
                  <a:gd name="connsiteX12" fmla="*/ 62960 w 95250"/>
                  <a:gd name="connsiteY12" fmla="*/ 21869 h 28575"/>
                  <a:gd name="connsiteX13" fmla="*/ 75819 w 95250"/>
                  <a:gd name="connsiteY13" fmla="*/ 16535 h 28575"/>
                  <a:gd name="connsiteX14" fmla="*/ 86963 w 95250"/>
                  <a:gd name="connsiteY14" fmla="*/ 18154 h 28575"/>
                  <a:gd name="connsiteX15" fmla="*/ 95441 w 95250"/>
                  <a:gd name="connsiteY15" fmla="*/ 23583 h 28575"/>
                  <a:gd name="connsiteX16" fmla="*/ 93726 w 95250"/>
                  <a:gd name="connsiteY16" fmla="*/ 21392 h 28575"/>
                  <a:gd name="connsiteX17" fmla="*/ 87344 w 95250"/>
                  <a:gd name="connsiteY17" fmla="*/ 17106 h 28575"/>
                  <a:gd name="connsiteX18" fmla="*/ 75724 w 95250"/>
                  <a:gd name="connsiteY18" fmla="*/ 15011 h 28575"/>
                  <a:gd name="connsiteX19" fmla="*/ 61722 w 95250"/>
                  <a:gd name="connsiteY19" fmla="*/ 20440 h 28575"/>
                  <a:gd name="connsiteX20" fmla="*/ 63246 w 95250"/>
                  <a:gd name="connsiteY20" fmla="*/ 21297 h 28575"/>
                  <a:gd name="connsiteX21" fmla="*/ 58388 w 95250"/>
                  <a:gd name="connsiteY21" fmla="*/ 11772 h 28575"/>
                  <a:gd name="connsiteX22" fmla="*/ 47530 w 95250"/>
                  <a:gd name="connsiteY22" fmla="*/ 9962 h 28575"/>
                  <a:gd name="connsiteX23" fmla="*/ 38005 w 95250"/>
                  <a:gd name="connsiteY23" fmla="*/ 14248 h 28575"/>
                  <a:gd name="connsiteX24" fmla="*/ 33719 w 95250"/>
                  <a:gd name="connsiteY24" fmla="*/ 17011 h 28575"/>
                  <a:gd name="connsiteX25" fmla="*/ 30766 w 95250"/>
                  <a:gd name="connsiteY25" fmla="*/ 21487 h 28575"/>
                  <a:gd name="connsiteX26" fmla="*/ 30766 w 95250"/>
                  <a:gd name="connsiteY26" fmla="*/ 23297 h 28575"/>
                  <a:gd name="connsiteX27" fmla="*/ 32385 w 95250"/>
                  <a:gd name="connsiteY27" fmla="*/ 22440 h 28575"/>
                  <a:gd name="connsiteX28" fmla="*/ 35242 w 95250"/>
                  <a:gd name="connsiteY28" fmla="*/ 14534 h 28575"/>
                  <a:gd name="connsiteX29" fmla="*/ 30385 w 95250"/>
                  <a:gd name="connsiteY29" fmla="*/ 8819 h 28575"/>
                  <a:gd name="connsiteX30" fmla="*/ 18574 w 95250"/>
                  <a:gd name="connsiteY30" fmla="*/ 7390 h 28575"/>
                  <a:gd name="connsiteX31" fmla="*/ 11049 w 95250"/>
                  <a:gd name="connsiteY31" fmla="*/ 739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95250" h="28575">
                    <a:moveTo>
                      <a:pt x="7144" y="7962"/>
                    </a:moveTo>
                    <a:cubicBezTo>
                      <a:pt x="7144" y="7962"/>
                      <a:pt x="7906" y="8533"/>
                      <a:pt x="9716" y="8915"/>
                    </a:cubicBezTo>
                    <a:cubicBezTo>
                      <a:pt x="12280" y="9195"/>
                      <a:pt x="14867" y="9195"/>
                      <a:pt x="17431" y="8915"/>
                    </a:cubicBezTo>
                    <a:cubicBezTo>
                      <a:pt x="21190" y="8560"/>
                      <a:pt x="24980" y="9115"/>
                      <a:pt x="28480" y="10534"/>
                    </a:cubicBezTo>
                    <a:cubicBezTo>
                      <a:pt x="30420" y="11492"/>
                      <a:pt x="31821" y="13279"/>
                      <a:pt x="32290" y="15391"/>
                    </a:cubicBezTo>
                    <a:cubicBezTo>
                      <a:pt x="33014" y="17558"/>
                      <a:pt x="32194" y="19940"/>
                      <a:pt x="30289" y="21202"/>
                    </a:cubicBezTo>
                    <a:lnTo>
                      <a:pt x="31623" y="22154"/>
                    </a:lnTo>
                    <a:cubicBezTo>
                      <a:pt x="31623" y="19582"/>
                      <a:pt x="35147" y="17963"/>
                      <a:pt x="38005" y="16249"/>
                    </a:cubicBezTo>
                    <a:cubicBezTo>
                      <a:pt x="40955" y="14455"/>
                      <a:pt x="44169" y="13137"/>
                      <a:pt x="47530" y="12343"/>
                    </a:cubicBezTo>
                    <a:cubicBezTo>
                      <a:pt x="50761" y="11407"/>
                      <a:pt x="54241" y="11928"/>
                      <a:pt x="57055" y="13772"/>
                    </a:cubicBezTo>
                    <a:cubicBezTo>
                      <a:pt x="59715" y="15180"/>
                      <a:pt x="61314" y="18006"/>
                      <a:pt x="61150" y="21011"/>
                    </a:cubicBezTo>
                    <a:lnTo>
                      <a:pt x="61150" y="23488"/>
                    </a:lnTo>
                    <a:lnTo>
                      <a:pt x="62960" y="21869"/>
                    </a:lnTo>
                    <a:cubicBezTo>
                      <a:pt x="66553" y="18740"/>
                      <a:pt x="71067" y="16867"/>
                      <a:pt x="75819" y="16535"/>
                    </a:cubicBezTo>
                    <a:cubicBezTo>
                      <a:pt x="79609" y="16215"/>
                      <a:pt x="83421" y="16769"/>
                      <a:pt x="86963" y="18154"/>
                    </a:cubicBezTo>
                    <a:cubicBezTo>
                      <a:pt x="90041" y="19535"/>
                      <a:pt x="92898" y="21365"/>
                      <a:pt x="95441" y="23583"/>
                    </a:cubicBezTo>
                    <a:cubicBezTo>
                      <a:pt x="94979" y="22773"/>
                      <a:pt x="94402" y="22035"/>
                      <a:pt x="93726" y="21392"/>
                    </a:cubicBezTo>
                    <a:cubicBezTo>
                      <a:pt x="91883" y="19581"/>
                      <a:pt x="89719" y="18127"/>
                      <a:pt x="87344" y="17106"/>
                    </a:cubicBezTo>
                    <a:cubicBezTo>
                      <a:pt x="83698" y="15477"/>
                      <a:pt x="79710" y="14758"/>
                      <a:pt x="75724" y="15011"/>
                    </a:cubicBezTo>
                    <a:cubicBezTo>
                      <a:pt x="70589" y="15242"/>
                      <a:pt x="65671" y="17149"/>
                      <a:pt x="61722" y="20440"/>
                    </a:cubicBezTo>
                    <a:lnTo>
                      <a:pt x="63246" y="21297"/>
                    </a:lnTo>
                    <a:cubicBezTo>
                      <a:pt x="63730" y="17427"/>
                      <a:pt x="61805" y="13653"/>
                      <a:pt x="58388" y="11772"/>
                    </a:cubicBezTo>
                    <a:cubicBezTo>
                      <a:pt x="55172" y="9701"/>
                      <a:pt x="51244" y="9046"/>
                      <a:pt x="47530" y="9962"/>
                    </a:cubicBezTo>
                    <a:cubicBezTo>
                      <a:pt x="44160" y="10910"/>
                      <a:pt x="40949" y="12355"/>
                      <a:pt x="38005" y="14248"/>
                    </a:cubicBezTo>
                    <a:cubicBezTo>
                      <a:pt x="36500" y="15045"/>
                      <a:pt x="35066" y="15969"/>
                      <a:pt x="33719" y="17011"/>
                    </a:cubicBezTo>
                    <a:cubicBezTo>
                      <a:pt x="32204" y="18077"/>
                      <a:pt x="31150" y="19676"/>
                      <a:pt x="30766" y="21487"/>
                    </a:cubicBezTo>
                    <a:lnTo>
                      <a:pt x="30766" y="23297"/>
                    </a:lnTo>
                    <a:lnTo>
                      <a:pt x="32385" y="22440"/>
                    </a:lnTo>
                    <a:cubicBezTo>
                      <a:pt x="35003" y="20744"/>
                      <a:pt x="36171" y="17512"/>
                      <a:pt x="35242" y="14534"/>
                    </a:cubicBezTo>
                    <a:cubicBezTo>
                      <a:pt x="34600" y="11978"/>
                      <a:pt x="32805" y="9865"/>
                      <a:pt x="30385" y="8819"/>
                    </a:cubicBezTo>
                    <a:cubicBezTo>
                      <a:pt x="26649" y="7286"/>
                      <a:pt x="22568" y="6793"/>
                      <a:pt x="18574" y="7390"/>
                    </a:cubicBezTo>
                    <a:cubicBezTo>
                      <a:pt x="16071" y="7624"/>
                      <a:pt x="13552" y="7624"/>
                      <a:pt x="11049" y="7390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9" name="Полилиния: фигура 728">
                <a:extLst>
                  <a:ext uri="{FF2B5EF4-FFF2-40B4-BE49-F238E27FC236}">
                    <a16:creationId xmlns:a16="http://schemas.microsoft.com/office/drawing/2014/main" id="{60035728-30B5-4836-933F-1AF42E3AA8F6}"/>
                  </a:ext>
                </a:extLst>
              </p:cNvPr>
              <p:cNvSpPr/>
              <p:nvPr/>
            </p:nvSpPr>
            <p:spPr>
              <a:xfrm>
                <a:off x="1728801" y="3593637"/>
                <a:ext cx="47625" cy="57150"/>
              </a:xfrm>
              <a:custGeom>
                <a:avLst/>
                <a:gdLst>
                  <a:gd name="connsiteX0" fmla="*/ 7144 w 47625"/>
                  <a:gd name="connsiteY0" fmla="*/ 7263 h 57150"/>
                  <a:gd name="connsiteX1" fmla="*/ 12383 w 47625"/>
                  <a:gd name="connsiteY1" fmla="*/ 8025 h 57150"/>
                  <a:gd name="connsiteX2" fmla="*/ 17336 w 47625"/>
                  <a:gd name="connsiteY2" fmla="*/ 11168 h 57150"/>
                  <a:gd name="connsiteX3" fmla="*/ 20479 w 47625"/>
                  <a:gd name="connsiteY3" fmla="*/ 17740 h 57150"/>
                  <a:gd name="connsiteX4" fmla="*/ 20479 w 47625"/>
                  <a:gd name="connsiteY4" fmla="*/ 18883 h 57150"/>
                  <a:gd name="connsiteX5" fmla="*/ 21431 w 47625"/>
                  <a:gd name="connsiteY5" fmla="*/ 18883 h 57150"/>
                  <a:gd name="connsiteX6" fmla="*/ 28670 w 47625"/>
                  <a:gd name="connsiteY6" fmla="*/ 22979 h 57150"/>
                  <a:gd name="connsiteX7" fmla="*/ 28670 w 47625"/>
                  <a:gd name="connsiteY7" fmla="*/ 33837 h 57150"/>
                  <a:gd name="connsiteX8" fmla="*/ 28099 w 47625"/>
                  <a:gd name="connsiteY8" fmla="*/ 37743 h 57150"/>
                  <a:gd name="connsiteX9" fmla="*/ 30480 w 47625"/>
                  <a:gd name="connsiteY9" fmla="*/ 34600 h 57150"/>
                  <a:gd name="connsiteX10" fmla="*/ 30480 w 47625"/>
                  <a:gd name="connsiteY10" fmla="*/ 34028 h 57150"/>
                  <a:gd name="connsiteX11" fmla="*/ 37338 w 47625"/>
                  <a:gd name="connsiteY11" fmla="*/ 31266 h 57150"/>
                  <a:gd name="connsiteX12" fmla="*/ 43720 w 47625"/>
                  <a:gd name="connsiteY12" fmla="*/ 34028 h 57150"/>
                  <a:gd name="connsiteX13" fmla="*/ 47720 w 47625"/>
                  <a:gd name="connsiteY13" fmla="*/ 45744 h 57150"/>
                  <a:gd name="connsiteX14" fmla="*/ 45530 w 47625"/>
                  <a:gd name="connsiteY14" fmla="*/ 54316 h 57150"/>
                  <a:gd name="connsiteX15" fmla="*/ 44291 w 47625"/>
                  <a:gd name="connsiteY15" fmla="*/ 57364 h 57150"/>
                  <a:gd name="connsiteX16" fmla="*/ 46196 w 47625"/>
                  <a:gd name="connsiteY16" fmla="*/ 54602 h 57150"/>
                  <a:gd name="connsiteX17" fmla="*/ 49149 w 47625"/>
                  <a:gd name="connsiteY17" fmla="*/ 45839 h 57150"/>
                  <a:gd name="connsiteX18" fmla="*/ 45053 w 47625"/>
                  <a:gd name="connsiteY18" fmla="*/ 32790 h 57150"/>
                  <a:gd name="connsiteX19" fmla="*/ 29575 w 47625"/>
                  <a:gd name="connsiteY19" fmla="*/ 32171 h 57150"/>
                  <a:gd name="connsiteX20" fmla="*/ 28956 w 47625"/>
                  <a:gd name="connsiteY20" fmla="*/ 32790 h 57150"/>
                  <a:gd name="connsiteX21" fmla="*/ 28480 w 47625"/>
                  <a:gd name="connsiteY21" fmla="*/ 33457 h 57150"/>
                  <a:gd name="connsiteX22" fmla="*/ 30290 w 47625"/>
                  <a:gd name="connsiteY22" fmla="*/ 34123 h 57150"/>
                  <a:gd name="connsiteX23" fmla="*/ 29623 w 47625"/>
                  <a:gd name="connsiteY23" fmla="*/ 22122 h 57150"/>
                  <a:gd name="connsiteX24" fmla="*/ 20098 w 47625"/>
                  <a:gd name="connsiteY24" fmla="*/ 17264 h 57150"/>
                  <a:gd name="connsiteX25" fmla="*/ 21146 w 47625"/>
                  <a:gd name="connsiteY25" fmla="*/ 18026 h 57150"/>
                  <a:gd name="connsiteX26" fmla="*/ 17240 w 47625"/>
                  <a:gd name="connsiteY26" fmla="*/ 10501 h 57150"/>
                  <a:gd name="connsiteX27" fmla="*/ 11621 w 47625"/>
                  <a:gd name="connsiteY27" fmla="*/ 7453 h 57150"/>
                  <a:gd name="connsiteX28" fmla="*/ 7525 w 47625"/>
                  <a:gd name="connsiteY28" fmla="*/ 7453 h 57150"/>
                  <a:gd name="connsiteX29" fmla="*/ 7144 w 47625"/>
                  <a:gd name="connsiteY29" fmla="*/ 7263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7625" h="57150">
                    <a:moveTo>
                      <a:pt x="7144" y="7263"/>
                    </a:moveTo>
                    <a:cubicBezTo>
                      <a:pt x="8912" y="7333"/>
                      <a:pt x="10668" y="7589"/>
                      <a:pt x="12383" y="8025"/>
                    </a:cubicBezTo>
                    <a:cubicBezTo>
                      <a:pt x="14275" y="8632"/>
                      <a:pt x="15981" y="9714"/>
                      <a:pt x="17336" y="11168"/>
                    </a:cubicBezTo>
                    <a:cubicBezTo>
                      <a:pt x="19084" y="12949"/>
                      <a:pt x="20190" y="15261"/>
                      <a:pt x="20479" y="17740"/>
                    </a:cubicBezTo>
                    <a:lnTo>
                      <a:pt x="20479" y="18883"/>
                    </a:lnTo>
                    <a:lnTo>
                      <a:pt x="21431" y="18883"/>
                    </a:lnTo>
                    <a:cubicBezTo>
                      <a:pt x="24518" y="18314"/>
                      <a:pt x="27568" y="20040"/>
                      <a:pt x="28670" y="22979"/>
                    </a:cubicBezTo>
                    <a:cubicBezTo>
                      <a:pt x="29724" y="26522"/>
                      <a:pt x="29724" y="30295"/>
                      <a:pt x="28670" y="33837"/>
                    </a:cubicBezTo>
                    <a:lnTo>
                      <a:pt x="28099" y="37743"/>
                    </a:lnTo>
                    <a:lnTo>
                      <a:pt x="30480" y="34600"/>
                    </a:lnTo>
                    <a:lnTo>
                      <a:pt x="30480" y="34028"/>
                    </a:lnTo>
                    <a:cubicBezTo>
                      <a:pt x="32215" y="32095"/>
                      <a:pt x="34748" y="31074"/>
                      <a:pt x="37338" y="31266"/>
                    </a:cubicBezTo>
                    <a:cubicBezTo>
                      <a:pt x="39738" y="31350"/>
                      <a:pt x="42017" y="32336"/>
                      <a:pt x="43720" y="34028"/>
                    </a:cubicBezTo>
                    <a:cubicBezTo>
                      <a:pt x="46694" y="37165"/>
                      <a:pt x="48155" y="41443"/>
                      <a:pt x="47720" y="45744"/>
                    </a:cubicBezTo>
                    <a:cubicBezTo>
                      <a:pt x="47431" y="48696"/>
                      <a:pt x="46692" y="51587"/>
                      <a:pt x="45530" y="54316"/>
                    </a:cubicBezTo>
                    <a:cubicBezTo>
                      <a:pt x="44999" y="55280"/>
                      <a:pt x="44584" y="56303"/>
                      <a:pt x="44291" y="57364"/>
                    </a:cubicBezTo>
                    <a:cubicBezTo>
                      <a:pt x="44291" y="57364"/>
                      <a:pt x="45149" y="56507"/>
                      <a:pt x="46196" y="54602"/>
                    </a:cubicBezTo>
                    <a:cubicBezTo>
                      <a:pt x="47758" y="51908"/>
                      <a:pt x="48762" y="48928"/>
                      <a:pt x="49149" y="45839"/>
                    </a:cubicBezTo>
                    <a:cubicBezTo>
                      <a:pt x="49791" y="41097"/>
                      <a:pt x="48290" y="36314"/>
                      <a:pt x="45053" y="32790"/>
                    </a:cubicBezTo>
                    <a:cubicBezTo>
                      <a:pt x="40950" y="28345"/>
                      <a:pt x="34020" y="28068"/>
                      <a:pt x="29575" y="32171"/>
                    </a:cubicBezTo>
                    <a:cubicBezTo>
                      <a:pt x="29360" y="32369"/>
                      <a:pt x="29154" y="32575"/>
                      <a:pt x="28956" y="32790"/>
                    </a:cubicBezTo>
                    <a:lnTo>
                      <a:pt x="28480" y="33457"/>
                    </a:lnTo>
                    <a:lnTo>
                      <a:pt x="30290" y="34123"/>
                    </a:lnTo>
                    <a:cubicBezTo>
                      <a:pt x="31261" y="30145"/>
                      <a:pt x="31029" y="25968"/>
                      <a:pt x="29623" y="22122"/>
                    </a:cubicBezTo>
                    <a:cubicBezTo>
                      <a:pt x="28088" y="18368"/>
                      <a:pt x="24037" y="16302"/>
                      <a:pt x="20098" y="17264"/>
                    </a:cubicBezTo>
                    <a:lnTo>
                      <a:pt x="21146" y="18026"/>
                    </a:lnTo>
                    <a:cubicBezTo>
                      <a:pt x="20803" y="15126"/>
                      <a:pt x="19414" y="12451"/>
                      <a:pt x="17240" y="10501"/>
                    </a:cubicBezTo>
                    <a:cubicBezTo>
                      <a:pt x="15646" y="9038"/>
                      <a:pt x="13716" y="7991"/>
                      <a:pt x="11621" y="7453"/>
                    </a:cubicBezTo>
                    <a:cubicBezTo>
                      <a:pt x="10268" y="7191"/>
                      <a:pt x="8877" y="7191"/>
                      <a:pt x="7525" y="7453"/>
                    </a:cubicBezTo>
                    <a:cubicBezTo>
                      <a:pt x="7620" y="6977"/>
                      <a:pt x="7144" y="7168"/>
                      <a:pt x="7144" y="7263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0" name="Полилиния: фигура 729">
                <a:extLst>
                  <a:ext uri="{FF2B5EF4-FFF2-40B4-BE49-F238E27FC236}">
                    <a16:creationId xmlns:a16="http://schemas.microsoft.com/office/drawing/2014/main" id="{95CE3B70-384D-4E8D-80DF-D904BC4D821F}"/>
                  </a:ext>
                </a:extLst>
              </p:cNvPr>
              <p:cNvSpPr/>
              <p:nvPr/>
            </p:nvSpPr>
            <p:spPr>
              <a:xfrm>
                <a:off x="1815288" y="3599757"/>
                <a:ext cx="38100" cy="66675"/>
              </a:xfrm>
              <a:custGeom>
                <a:avLst/>
                <a:gdLst>
                  <a:gd name="connsiteX0" fmla="*/ 7144 w 38100"/>
                  <a:gd name="connsiteY0" fmla="*/ 61246 h 66675"/>
                  <a:gd name="connsiteX1" fmla="*/ 9716 w 38100"/>
                  <a:gd name="connsiteY1" fmla="*/ 60579 h 66675"/>
                  <a:gd name="connsiteX2" fmla="*/ 15716 w 38100"/>
                  <a:gd name="connsiteY2" fmla="*/ 56388 h 66675"/>
                  <a:gd name="connsiteX3" fmla="*/ 20193 w 38100"/>
                  <a:gd name="connsiteY3" fmla="*/ 46863 h 66675"/>
                  <a:gd name="connsiteX4" fmla="*/ 21527 w 38100"/>
                  <a:gd name="connsiteY4" fmla="*/ 41434 h 66675"/>
                  <a:gd name="connsiteX5" fmla="*/ 26575 w 38100"/>
                  <a:gd name="connsiteY5" fmla="*/ 36862 h 66675"/>
                  <a:gd name="connsiteX6" fmla="*/ 24133 w 38100"/>
                  <a:gd name="connsiteY6" fmla="*/ 23615 h 66675"/>
                  <a:gd name="connsiteX7" fmla="*/ 24003 w 38100"/>
                  <a:gd name="connsiteY7" fmla="*/ 23527 h 66675"/>
                  <a:gd name="connsiteX8" fmla="*/ 24003 w 38100"/>
                  <a:gd name="connsiteY8" fmla="*/ 24289 h 66675"/>
                  <a:gd name="connsiteX9" fmla="*/ 32480 w 38100"/>
                  <a:gd name="connsiteY9" fmla="*/ 12573 h 66675"/>
                  <a:gd name="connsiteX10" fmla="*/ 33814 w 38100"/>
                  <a:gd name="connsiteY10" fmla="*/ 7144 h 66675"/>
                  <a:gd name="connsiteX11" fmla="*/ 31433 w 38100"/>
                  <a:gd name="connsiteY11" fmla="*/ 12097 h 66675"/>
                  <a:gd name="connsiteX12" fmla="*/ 22860 w 38100"/>
                  <a:gd name="connsiteY12" fmla="*/ 22955 h 66675"/>
                  <a:gd name="connsiteX13" fmla="*/ 21908 w 38100"/>
                  <a:gd name="connsiteY13" fmla="*/ 23717 h 66675"/>
                  <a:gd name="connsiteX14" fmla="*/ 22860 w 38100"/>
                  <a:gd name="connsiteY14" fmla="*/ 24384 h 66675"/>
                  <a:gd name="connsiteX15" fmla="*/ 24765 w 38100"/>
                  <a:gd name="connsiteY15" fmla="*/ 35147 h 66675"/>
                  <a:gd name="connsiteX16" fmla="*/ 19907 w 38100"/>
                  <a:gd name="connsiteY16" fmla="*/ 39529 h 66675"/>
                  <a:gd name="connsiteX17" fmla="*/ 18288 w 38100"/>
                  <a:gd name="connsiteY17" fmla="*/ 46006 h 66675"/>
                  <a:gd name="connsiteX18" fmla="*/ 14573 w 38100"/>
                  <a:gd name="connsiteY18" fmla="*/ 55531 h 66675"/>
                  <a:gd name="connsiteX19" fmla="*/ 7144 w 38100"/>
                  <a:gd name="connsiteY19" fmla="*/ 61246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8100" h="66675">
                    <a:moveTo>
                      <a:pt x="7144" y="61246"/>
                    </a:moveTo>
                    <a:cubicBezTo>
                      <a:pt x="8043" y="61240"/>
                      <a:pt x="8927" y="61011"/>
                      <a:pt x="9716" y="60579"/>
                    </a:cubicBezTo>
                    <a:cubicBezTo>
                      <a:pt x="12038" y="59711"/>
                      <a:pt x="14102" y="58270"/>
                      <a:pt x="15716" y="56388"/>
                    </a:cubicBezTo>
                    <a:cubicBezTo>
                      <a:pt x="18170" y="53761"/>
                      <a:pt x="19736" y="50429"/>
                      <a:pt x="20193" y="46863"/>
                    </a:cubicBezTo>
                    <a:cubicBezTo>
                      <a:pt x="20040" y="44957"/>
                      <a:pt x="20508" y="43052"/>
                      <a:pt x="21527" y="41434"/>
                    </a:cubicBezTo>
                    <a:cubicBezTo>
                      <a:pt x="22670" y="40100"/>
                      <a:pt x="25051" y="39148"/>
                      <a:pt x="26575" y="36862"/>
                    </a:cubicBezTo>
                    <a:cubicBezTo>
                      <a:pt x="29559" y="32529"/>
                      <a:pt x="28465" y="26598"/>
                      <a:pt x="24133" y="23615"/>
                    </a:cubicBezTo>
                    <a:cubicBezTo>
                      <a:pt x="24090" y="23585"/>
                      <a:pt x="24046" y="23556"/>
                      <a:pt x="24003" y="23527"/>
                    </a:cubicBezTo>
                    <a:lnTo>
                      <a:pt x="24003" y="24289"/>
                    </a:lnTo>
                    <a:cubicBezTo>
                      <a:pt x="27659" y="21057"/>
                      <a:pt x="30554" y="17056"/>
                      <a:pt x="32480" y="12573"/>
                    </a:cubicBezTo>
                    <a:cubicBezTo>
                      <a:pt x="33293" y="10874"/>
                      <a:pt x="33747" y="9026"/>
                      <a:pt x="33814" y="7144"/>
                    </a:cubicBezTo>
                    <a:cubicBezTo>
                      <a:pt x="33814" y="7144"/>
                      <a:pt x="33052" y="9049"/>
                      <a:pt x="31433" y="12097"/>
                    </a:cubicBezTo>
                    <a:cubicBezTo>
                      <a:pt x="29300" y="16234"/>
                      <a:pt x="26389" y="19921"/>
                      <a:pt x="22860" y="22955"/>
                    </a:cubicBezTo>
                    <a:lnTo>
                      <a:pt x="21908" y="23717"/>
                    </a:lnTo>
                    <a:lnTo>
                      <a:pt x="22860" y="24384"/>
                    </a:lnTo>
                    <a:cubicBezTo>
                      <a:pt x="26187" y="26937"/>
                      <a:pt x="27013" y="31608"/>
                      <a:pt x="24765" y="35147"/>
                    </a:cubicBezTo>
                    <a:cubicBezTo>
                      <a:pt x="23813" y="36862"/>
                      <a:pt x="21622" y="37624"/>
                      <a:pt x="19907" y="39529"/>
                    </a:cubicBezTo>
                    <a:cubicBezTo>
                      <a:pt x="18695" y="41462"/>
                      <a:pt x="18128" y="43730"/>
                      <a:pt x="18288" y="46006"/>
                    </a:cubicBezTo>
                    <a:cubicBezTo>
                      <a:pt x="18098" y="49496"/>
                      <a:pt x="16796" y="52833"/>
                      <a:pt x="14573" y="55531"/>
                    </a:cubicBezTo>
                    <a:cubicBezTo>
                      <a:pt x="12439" y="57844"/>
                      <a:pt x="9927" y="59776"/>
                      <a:pt x="7144" y="61246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1" name="Полилиния: фигура 730">
                <a:extLst>
                  <a:ext uri="{FF2B5EF4-FFF2-40B4-BE49-F238E27FC236}">
                    <a16:creationId xmlns:a16="http://schemas.microsoft.com/office/drawing/2014/main" id="{00008D80-BA2E-4A8D-95EA-04023EC4FDF7}"/>
                  </a:ext>
                </a:extLst>
              </p:cNvPr>
              <p:cNvSpPr/>
              <p:nvPr/>
            </p:nvSpPr>
            <p:spPr>
              <a:xfrm>
                <a:off x="1840720" y="3637762"/>
                <a:ext cx="95250" cy="47625"/>
              </a:xfrm>
              <a:custGeom>
                <a:avLst/>
                <a:gdLst>
                  <a:gd name="connsiteX0" fmla="*/ 7144 w 95250"/>
                  <a:gd name="connsiteY0" fmla="*/ 40576 h 47625"/>
                  <a:gd name="connsiteX1" fmla="*/ 8858 w 95250"/>
                  <a:gd name="connsiteY1" fmla="*/ 40576 h 47625"/>
                  <a:gd name="connsiteX2" fmla="*/ 27908 w 95250"/>
                  <a:gd name="connsiteY2" fmla="*/ 31813 h 47625"/>
                  <a:gd name="connsiteX3" fmla="*/ 26670 w 95250"/>
                  <a:gd name="connsiteY3" fmla="*/ 31813 h 47625"/>
                  <a:gd name="connsiteX4" fmla="*/ 38291 w 95250"/>
                  <a:gd name="connsiteY4" fmla="*/ 37909 h 47625"/>
                  <a:gd name="connsiteX5" fmla="*/ 45720 w 95250"/>
                  <a:gd name="connsiteY5" fmla="*/ 37052 h 47625"/>
                  <a:gd name="connsiteX6" fmla="*/ 52007 w 95250"/>
                  <a:gd name="connsiteY6" fmla="*/ 32099 h 47625"/>
                  <a:gd name="connsiteX7" fmla="*/ 52769 w 95250"/>
                  <a:gd name="connsiteY7" fmla="*/ 29242 h 47625"/>
                  <a:gd name="connsiteX8" fmla="*/ 54007 w 95250"/>
                  <a:gd name="connsiteY8" fmla="*/ 27432 h 47625"/>
                  <a:gd name="connsiteX9" fmla="*/ 58579 w 95250"/>
                  <a:gd name="connsiteY9" fmla="*/ 25432 h 47625"/>
                  <a:gd name="connsiteX10" fmla="*/ 63722 w 95250"/>
                  <a:gd name="connsiteY10" fmla="*/ 23336 h 47625"/>
                  <a:gd name="connsiteX11" fmla="*/ 66484 w 95250"/>
                  <a:gd name="connsiteY11" fmla="*/ 18478 h 47625"/>
                  <a:gd name="connsiteX12" fmla="*/ 65246 w 95250"/>
                  <a:gd name="connsiteY12" fmla="*/ 19336 h 47625"/>
                  <a:gd name="connsiteX13" fmla="*/ 77343 w 95250"/>
                  <a:gd name="connsiteY13" fmla="*/ 19336 h 47625"/>
                  <a:gd name="connsiteX14" fmla="*/ 85249 w 95250"/>
                  <a:gd name="connsiteY14" fmla="*/ 14383 h 47625"/>
                  <a:gd name="connsiteX15" fmla="*/ 88487 w 95250"/>
                  <a:gd name="connsiteY15" fmla="*/ 9239 h 47625"/>
                  <a:gd name="connsiteX16" fmla="*/ 89059 w 95250"/>
                  <a:gd name="connsiteY16" fmla="*/ 7144 h 47625"/>
                  <a:gd name="connsiteX17" fmla="*/ 84487 w 95250"/>
                  <a:gd name="connsiteY17" fmla="*/ 13621 h 47625"/>
                  <a:gd name="connsiteX18" fmla="*/ 76867 w 95250"/>
                  <a:gd name="connsiteY18" fmla="*/ 17907 h 47625"/>
                  <a:gd name="connsiteX19" fmla="*/ 65913 w 95250"/>
                  <a:gd name="connsiteY19" fmla="*/ 17907 h 47625"/>
                  <a:gd name="connsiteX20" fmla="*/ 64580 w 95250"/>
                  <a:gd name="connsiteY20" fmla="*/ 17335 h 47625"/>
                  <a:gd name="connsiteX21" fmla="*/ 64580 w 95250"/>
                  <a:gd name="connsiteY21" fmla="*/ 18764 h 47625"/>
                  <a:gd name="connsiteX22" fmla="*/ 62579 w 95250"/>
                  <a:gd name="connsiteY22" fmla="*/ 22003 h 47625"/>
                  <a:gd name="connsiteX23" fmla="*/ 58007 w 95250"/>
                  <a:gd name="connsiteY23" fmla="*/ 23717 h 47625"/>
                  <a:gd name="connsiteX24" fmla="*/ 52673 w 95250"/>
                  <a:gd name="connsiteY24" fmla="*/ 26098 h 47625"/>
                  <a:gd name="connsiteX25" fmla="*/ 50768 w 95250"/>
                  <a:gd name="connsiteY25" fmla="*/ 28861 h 47625"/>
                  <a:gd name="connsiteX26" fmla="*/ 50102 w 95250"/>
                  <a:gd name="connsiteY26" fmla="*/ 31528 h 47625"/>
                  <a:gd name="connsiteX27" fmla="*/ 44958 w 95250"/>
                  <a:gd name="connsiteY27" fmla="*/ 35433 h 47625"/>
                  <a:gd name="connsiteX28" fmla="*/ 38386 w 95250"/>
                  <a:gd name="connsiteY28" fmla="*/ 36290 h 47625"/>
                  <a:gd name="connsiteX29" fmla="*/ 27908 w 95250"/>
                  <a:gd name="connsiteY29" fmla="*/ 30956 h 47625"/>
                  <a:gd name="connsiteX30" fmla="*/ 27242 w 95250"/>
                  <a:gd name="connsiteY30" fmla="*/ 30194 h 47625"/>
                  <a:gd name="connsiteX31" fmla="*/ 26575 w 95250"/>
                  <a:gd name="connsiteY31" fmla="*/ 30956 h 47625"/>
                  <a:gd name="connsiteX32" fmla="*/ 13049 w 95250"/>
                  <a:gd name="connsiteY32" fmla="*/ 39433 h 47625"/>
                  <a:gd name="connsiteX33" fmla="*/ 7144 w 95250"/>
                  <a:gd name="connsiteY33" fmla="*/ 40576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95250" h="47625">
                    <a:moveTo>
                      <a:pt x="7144" y="40576"/>
                    </a:moveTo>
                    <a:cubicBezTo>
                      <a:pt x="7144" y="40576"/>
                      <a:pt x="7715" y="40576"/>
                      <a:pt x="8858" y="40576"/>
                    </a:cubicBezTo>
                    <a:cubicBezTo>
                      <a:pt x="16151" y="40435"/>
                      <a:pt x="23056" y="37260"/>
                      <a:pt x="27908" y="31813"/>
                    </a:cubicBezTo>
                    <a:lnTo>
                      <a:pt x="26670" y="31813"/>
                    </a:lnTo>
                    <a:cubicBezTo>
                      <a:pt x="29589" y="35298"/>
                      <a:pt x="33765" y="37489"/>
                      <a:pt x="38291" y="37909"/>
                    </a:cubicBezTo>
                    <a:cubicBezTo>
                      <a:pt x="40800" y="38187"/>
                      <a:pt x="43340" y="37894"/>
                      <a:pt x="45720" y="37052"/>
                    </a:cubicBezTo>
                    <a:cubicBezTo>
                      <a:pt x="48370" y="36262"/>
                      <a:pt x="50618" y="34490"/>
                      <a:pt x="52007" y="32099"/>
                    </a:cubicBezTo>
                    <a:cubicBezTo>
                      <a:pt x="52359" y="31176"/>
                      <a:pt x="52614" y="30218"/>
                      <a:pt x="52769" y="29242"/>
                    </a:cubicBezTo>
                    <a:cubicBezTo>
                      <a:pt x="53035" y="28550"/>
                      <a:pt x="53459" y="27931"/>
                      <a:pt x="54007" y="27432"/>
                    </a:cubicBezTo>
                    <a:cubicBezTo>
                      <a:pt x="55401" y="26500"/>
                      <a:pt x="56949" y="25823"/>
                      <a:pt x="58579" y="25432"/>
                    </a:cubicBezTo>
                    <a:cubicBezTo>
                      <a:pt x="60395" y="25016"/>
                      <a:pt x="62132" y="24308"/>
                      <a:pt x="63722" y="23336"/>
                    </a:cubicBezTo>
                    <a:cubicBezTo>
                      <a:pt x="65470" y="22351"/>
                      <a:pt x="66532" y="20483"/>
                      <a:pt x="66484" y="18478"/>
                    </a:cubicBezTo>
                    <a:lnTo>
                      <a:pt x="65246" y="19336"/>
                    </a:lnTo>
                    <a:cubicBezTo>
                      <a:pt x="69154" y="20755"/>
                      <a:pt x="73436" y="20755"/>
                      <a:pt x="77343" y="19336"/>
                    </a:cubicBezTo>
                    <a:cubicBezTo>
                      <a:pt x="80335" y="18338"/>
                      <a:pt x="83045" y="16640"/>
                      <a:pt x="85249" y="14383"/>
                    </a:cubicBezTo>
                    <a:cubicBezTo>
                      <a:pt x="86653" y="12895"/>
                      <a:pt x="87753" y="11148"/>
                      <a:pt x="88487" y="9239"/>
                    </a:cubicBezTo>
                    <a:cubicBezTo>
                      <a:pt x="88746" y="8561"/>
                      <a:pt x="88938" y="7859"/>
                      <a:pt x="89059" y="7144"/>
                    </a:cubicBezTo>
                    <a:cubicBezTo>
                      <a:pt x="87874" y="9523"/>
                      <a:pt x="86332" y="11707"/>
                      <a:pt x="84487" y="13621"/>
                    </a:cubicBezTo>
                    <a:cubicBezTo>
                      <a:pt x="82313" y="15621"/>
                      <a:pt x="79705" y="17088"/>
                      <a:pt x="76867" y="17907"/>
                    </a:cubicBezTo>
                    <a:cubicBezTo>
                      <a:pt x="73319" y="19133"/>
                      <a:pt x="69461" y="19133"/>
                      <a:pt x="65913" y="17907"/>
                    </a:cubicBezTo>
                    <a:lnTo>
                      <a:pt x="64580" y="17335"/>
                    </a:lnTo>
                    <a:lnTo>
                      <a:pt x="64580" y="18764"/>
                    </a:lnTo>
                    <a:cubicBezTo>
                      <a:pt x="64539" y="20123"/>
                      <a:pt x="63776" y="21358"/>
                      <a:pt x="62579" y="22003"/>
                    </a:cubicBezTo>
                    <a:cubicBezTo>
                      <a:pt x="61169" y="22841"/>
                      <a:pt x="59621" y="23422"/>
                      <a:pt x="58007" y="23717"/>
                    </a:cubicBezTo>
                    <a:cubicBezTo>
                      <a:pt x="56089" y="24150"/>
                      <a:pt x="54276" y="24960"/>
                      <a:pt x="52673" y="26098"/>
                    </a:cubicBezTo>
                    <a:cubicBezTo>
                      <a:pt x="51820" y="26847"/>
                      <a:pt x="51165" y="27796"/>
                      <a:pt x="50768" y="28861"/>
                    </a:cubicBezTo>
                    <a:cubicBezTo>
                      <a:pt x="50592" y="29760"/>
                      <a:pt x="50369" y="30650"/>
                      <a:pt x="50102" y="31528"/>
                    </a:cubicBezTo>
                    <a:cubicBezTo>
                      <a:pt x="48894" y="33389"/>
                      <a:pt x="47075" y="34770"/>
                      <a:pt x="44958" y="35433"/>
                    </a:cubicBezTo>
                    <a:cubicBezTo>
                      <a:pt x="42843" y="36139"/>
                      <a:pt x="40611" y="36430"/>
                      <a:pt x="38386" y="36290"/>
                    </a:cubicBezTo>
                    <a:cubicBezTo>
                      <a:pt x="34335" y="35935"/>
                      <a:pt x="30579" y="34023"/>
                      <a:pt x="27908" y="30956"/>
                    </a:cubicBezTo>
                    <a:lnTo>
                      <a:pt x="27242" y="30194"/>
                    </a:lnTo>
                    <a:lnTo>
                      <a:pt x="26575" y="30956"/>
                    </a:lnTo>
                    <a:cubicBezTo>
                      <a:pt x="23006" y="35060"/>
                      <a:pt x="18298" y="38011"/>
                      <a:pt x="13049" y="39433"/>
                    </a:cubicBezTo>
                    <a:cubicBezTo>
                      <a:pt x="9525" y="40481"/>
                      <a:pt x="7144" y="40386"/>
                      <a:pt x="7144" y="40576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2" name="Полилиния: фигура 731">
                <a:extLst>
                  <a:ext uri="{FF2B5EF4-FFF2-40B4-BE49-F238E27FC236}">
                    <a16:creationId xmlns:a16="http://schemas.microsoft.com/office/drawing/2014/main" id="{1951D76E-72DC-42C2-9D54-E0431E856DF7}"/>
                  </a:ext>
                </a:extLst>
              </p:cNvPr>
              <p:cNvSpPr/>
              <p:nvPr/>
            </p:nvSpPr>
            <p:spPr>
              <a:xfrm>
                <a:off x="1878058" y="3675754"/>
                <a:ext cx="133350" cy="66675"/>
              </a:xfrm>
              <a:custGeom>
                <a:avLst/>
                <a:gdLst>
                  <a:gd name="connsiteX0" fmla="*/ 126206 w 133350"/>
                  <a:gd name="connsiteY0" fmla="*/ 63449 h 66675"/>
                  <a:gd name="connsiteX1" fmla="*/ 126206 w 133350"/>
                  <a:gd name="connsiteY1" fmla="*/ 62782 h 66675"/>
                  <a:gd name="connsiteX2" fmla="*/ 126206 w 133350"/>
                  <a:gd name="connsiteY2" fmla="*/ 60782 h 66675"/>
                  <a:gd name="connsiteX3" fmla="*/ 125254 w 133350"/>
                  <a:gd name="connsiteY3" fmla="*/ 52876 h 66675"/>
                  <a:gd name="connsiteX4" fmla="*/ 119920 w 133350"/>
                  <a:gd name="connsiteY4" fmla="*/ 41732 h 66675"/>
                  <a:gd name="connsiteX5" fmla="*/ 115538 w 133350"/>
                  <a:gd name="connsiteY5" fmla="*/ 35445 h 66675"/>
                  <a:gd name="connsiteX6" fmla="*/ 112109 w 133350"/>
                  <a:gd name="connsiteY6" fmla="*/ 32778 h 66675"/>
                  <a:gd name="connsiteX7" fmla="*/ 107251 w 133350"/>
                  <a:gd name="connsiteY7" fmla="*/ 32778 h 66675"/>
                  <a:gd name="connsiteX8" fmla="*/ 108490 w 133350"/>
                  <a:gd name="connsiteY8" fmla="*/ 33540 h 66675"/>
                  <a:gd name="connsiteX9" fmla="*/ 96780 w 133350"/>
                  <a:gd name="connsiteY9" fmla="*/ 19103 h 66675"/>
                  <a:gd name="connsiteX10" fmla="*/ 86963 w 133350"/>
                  <a:gd name="connsiteY10" fmla="*/ 22110 h 66675"/>
                  <a:gd name="connsiteX11" fmla="*/ 88582 w 133350"/>
                  <a:gd name="connsiteY11" fmla="*/ 22872 h 66675"/>
                  <a:gd name="connsiteX12" fmla="*/ 84868 w 133350"/>
                  <a:gd name="connsiteY12" fmla="*/ 15443 h 66675"/>
                  <a:gd name="connsiteX13" fmla="*/ 76486 w 133350"/>
                  <a:gd name="connsiteY13" fmla="*/ 14395 h 66675"/>
                  <a:gd name="connsiteX14" fmla="*/ 72580 w 133350"/>
                  <a:gd name="connsiteY14" fmla="*/ 17348 h 66675"/>
                  <a:gd name="connsiteX15" fmla="*/ 74390 w 133350"/>
                  <a:gd name="connsiteY15" fmla="*/ 18015 h 66675"/>
                  <a:gd name="connsiteX16" fmla="*/ 72295 w 133350"/>
                  <a:gd name="connsiteY16" fmla="*/ 13347 h 66675"/>
                  <a:gd name="connsiteX17" fmla="*/ 67818 w 133350"/>
                  <a:gd name="connsiteY17" fmla="*/ 11538 h 66675"/>
                  <a:gd name="connsiteX18" fmla="*/ 59341 w 133350"/>
                  <a:gd name="connsiteY18" fmla="*/ 13633 h 66675"/>
                  <a:gd name="connsiteX19" fmla="*/ 60484 w 133350"/>
                  <a:gd name="connsiteY19" fmla="*/ 13633 h 66675"/>
                  <a:gd name="connsiteX20" fmla="*/ 51911 w 133350"/>
                  <a:gd name="connsiteY20" fmla="*/ 7728 h 66675"/>
                  <a:gd name="connsiteX21" fmla="*/ 42386 w 133350"/>
                  <a:gd name="connsiteY21" fmla="*/ 7728 h 66675"/>
                  <a:gd name="connsiteX22" fmla="*/ 27527 w 133350"/>
                  <a:gd name="connsiteY22" fmla="*/ 15157 h 66675"/>
                  <a:gd name="connsiteX23" fmla="*/ 28575 w 133350"/>
                  <a:gd name="connsiteY23" fmla="*/ 16014 h 66675"/>
                  <a:gd name="connsiteX24" fmla="*/ 28575 w 133350"/>
                  <a:gd name="connsiteY24" fmla="*/ 12585 h 66675"/>
                  <a:gd name="connsiteX25" fmla="*/ 26194 w 133350"/>
                  <a:gd name="connsiteY25" fmla="*/ 10680 h 66675"/>
                  <a:gd name="connsiteX26" fmla="*/ 20860 w 133350"/>
                  <a:gd name="connsiteY26" fmla="*/ 9918 h 66675"/>
                  <a:gd name="connsiteX27" fmla="*/ 12954 w 133350"/>
                  <a:gd name="connsiteY27" fmla="*/ 12300 h 66675"/>
                  <a:gd name="connsiteX28" fmla="*/ 8572 w 133350"/>
                  <a:gd name="connsiteY28" fmla="*/ 14967 h 66675"/>
                  <a:gd name="connsiteX29" fmla="*/ 7144 w 133350"/>
                  <a:gd name="connsiteY29" fmla="*/ 16109 h 66675"/>
                  <a:gd name="connsiteX30" fmla="*/ 13335 w 133350"/>
                  <a:gd name="connsiteY30" fmla="*/ 13062 h 66675"/>
                  <a:gd name="connsiteX31" fmla="*/ 21050 w 133350"/>
                  <a:gd name="connsiteY31" fmla="*/ 11061 h 66675"/>
                  <a:gd name="connsiteX32" fmla="*/ 25622 w 133350"/>
                  <a:gd name="connsiteY32" fmla="*/ 11918 h 66675"/>
                  <a:gd name="connsiteX33" fmla="*/ 27718 w 133350"/>
                  <a:gd name="connsiteY33" fmla="*/ 15443 h 66675"/>
                  <a:gd name="connsiteX34" fmla="*/ 26575 w 133350"/>
                  <a:gd name="connsiteY34" fmla="*/ 17634 h 66675"/>
                  <a:gd name="connsiteX35" fmla="*/ 28765 w 133350"/>
                  <a:gd name="connsiteY35" fmla="*/ 16300 h 66675"/>
                  <a:gd name="connsiteX36" fmla="*/ 43339 w 133350"/>
                  <a:gd name="connsiteY36" fmla="*/ 9347 h 66675"/>
                  <a:gd name="connsiteX37" fmla="*/ 52102 w 133350"/>
                  <a:gd name="connsiteY37" fmla="*/ 9347 h 66675"/>
                  <a:gd name="connsiteX38" fmla="*/ 59531 w 133350"/>
                  <a:gd name="connsiteY38" fmla="*/ 14586 h 66675"/>
                  <a:gd name="connsiteX39" fmla="*/ 59531 w 133350"/>
                  <a:gd name="connsiteY39" fmla="*/ 15252 h 66675"/>
                  <a:gd name="connsiteX40" fmla="*/ 60293 w 133350"/>
                  <a:gd name="connsiteY40" fmla="*/ 15252 h 66675"/>
                  <a:gd name="connsiteX41" fmla="*/ 67818 w 133350"/>
                  <a:gd name="connsiteY41" fmla="*/ 13252 h 66675"/>
                  <a:gd name="connsiteX42" fmla="*/ 72580 w 133350"/>
                  <a:gd name="connsiteY42" fmla="*/ 17729 h 66675"/>
                  <a:gd name="connsiteX43" fmla="*/ 72580 w 133350"/>
                  <a:gd name="connsiteY43" fmla="*/ 21158 h 66675"/>
                  <a:gd name="connsiteX44" fmla="*/ 74676 w 133350"/>
                  <a:gd name="connsiteY44" fmla="*/ 18300 h 66675"/>
                  <a:gd name="connsiteX45" fmla="*/ 77629 w 133350"/>
                  <a:gd name="connsiteY45" fmla="*/ 16110 h 66675"/>
                  <a:gd name="connsiteX46" fmla="*/ 84201 w 133350"/>
                  <a:gd name="connsiteY46" fmla="*/ 16872 h 66675"/>
                  <a:gd name="connsiteX47" fmla="*/ 87154 w 133350"/>
                  <a:gd name="connsiteY47" fmla="*/ 22587 h 66675"/>
                  <a:gd name="connsiteX48" fmla="*/ 87154 w 133350"/>
                  <a:gd name="connsiteY48" fmla="*/ 24777 h 66675"/>
                  <a:gd name="connsiteX49" fmla="*/ 88773 w 133350"/>
                  <a:gd name="connsiteY49" fmla="*/ 23444 h 66675"/>
                  <a:gd name="connsiteX50" fmla="*/ 104797 w 133350"/>
                  <a:gd name="connsiteY50" fmla="*/ 23889 h 66675"/>
                  <a:gd name="connsiteX51" fmla="*/ 107823 w 133350"/>
                  <a:gd name="connsiteY51" fmla="*/ 32969 h 66675"/>
                  <a:gd name="connsiteX52" fmla="*/ 107823 w 133350"/>
                  <a:gd name="connsiteY52" fmla="*/ 34683 h 66675"/>
                  <a:gd name="connsiteX53" fmla="*/ 108585 w 133350"/>
                  <a:gd name="connsiteY53" fmla="*/ 34017 h 66675"/>
                  <a:gd name="connsiteX54" fmla="*/ 114967 w 133350"/>
                  <a:gd name="connsiteY54" fmla="*/ 36207 h 66675"/>
                  <a:gd name="connsiteX55" fmla="*/ 119348 w 133350"/>
                  <a:gd name="connsiteY55" fmla="*/ 42208 h 66675"/>
                  <a:gd name="connsiteX56" fmla="*/ 124873 w 133350"/>
                  <a:gd name="connsiteY56" fmla="*/ 52876 h 66675"/>
                  <a:gd name="connsiteX57" fmla="*/ 126206 w 133350"/>
                  <a:gd name="connsiteY57" fmla="*/ 63449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133350" h="66675">
                    <a:moveTo>
                      <a:pt x="126206" y="63449"/>
                    </a:moveTo>
                    <a:cubicBezTo>
                      <a:pt x="126206" y="63449"/>
                      <a:pt x="126206" y="63449"/>
                      <a:pt x="126206" y="62782"/>
                    </a:cubicBezTo>
                    <a:cubicBezTo>
                      <a:pt x="126206" y="62115"/>
                      <a:pt x="126206" y="61639"/>
                      <a:pt x="126206" y="60782"/>
                    </a:cubicBezTo>
                    <a:cubicBezTo>
                      <a:pt x="126430" y="58109"/>
                      <a:pt x="126106" y="55419"/>
                      <a:pt x="125254" y="52876"/>
                    </a:cubicBezTo>
                    <a:cubicBezTo>
                      <a:pt x="123957" y="48949"/>
                      <a:pt x="122165" y="45204"/>
                      <a:pt x="119920" y="41732"/>
                    </a:cubicBezTo>
                    <a:cubicBezTo>
                      <a:pt x="118665" y="39500"/>
                      <a:pt x="117198" y="37395"/>
                      <a:pt x="115538" y="35445"/>
                    </a:cubicBezTo>
                    <a:cubicBezTo>
                      <a:pt x="114538" y="34387"/>
                      <a:pt x="113381" y="33487"/>
                      <a:pt x="112109" y="32778"/>
                    </a:cubicBezTo>
                    <a:cubicBezTo>
                      <a:pt x="110592" y="31965"/>
                      <a:pt x="108769" y="31965"/>
                      <a:pt x="107251" y="32778"/>
                    </a:cubicBezTo>
                    <a:lnTo>
                      <a:pt x="108490" y="33540"/>
                    </a:lnTo>
                    <a:cubicBezTo>
                      <a:pt x="109243" y="26320"/>
                      <a:pt x="104000" y="19856"/>
                      <a:pt x="96780" y="19103"/>
                    </a:cubicBezTo>
                    <a:cubicBezTo>
                      <a:pt x="93235" y="18733"/>
                      <a:pt x="89692" y="19818"/>
                      <a:pt x="86963" y="22110"/>
                    </a:cubicBezTo>
                    <a:lnTo>
                      <a:pt x="88582" y="22872"/>
                    </a:lnTo>
                    <a:cubicBezTo>
                      <a:pt x="88637" y="19936"/>
                      <a:pt x="87249" y="17160"/>
                      <a:pt x="84868" y="15443"/>
                    </a:cubicBezTo>
                    <a:cubicBezTo>
                      <a:pt x="82452" y="13646"/>
                      <a:pt x="79270" y="13248"/>
                      <a:pt x="76486" y="14395"/>
                    </a:cubicBezTo>
                    <a:cubicBezTo>
                      <a:pt x="74949" y="15022"/>
                      <a:pt x="73603" y="16040"/>
                      <a:pt x="72580" y="17348"/>
                    </a:cubicBezTo>
                    <a:lnTo>
                      <a:pt x="74390" y="18015"/>
                    </a:lnTo>
                    <a:cubicBezTo>
                      <a:pt x="74451" y="16218"/>
                      <a:pt x="73677" y="14495"/>
                      <a:pt x="72295" y="13347"/>
                    </a:cubicBezTo>
                    <a:cubicBezTo>
                      <a:pt x="71024" y="12297"/>
                      <a:pt x="69461" y="11665"/>
                      <a:pt x="67818" y="11538"/>
                    </a:cubicBezTo>
                    <a:cubicBezTo>
                      <a:pt x="64860" y="11505"/>
                      <a:pt x="61943" y="12227"/>
                      <a:pt x="59341" y="13633"/>
                    </a:cubicBezTo>
                    <a:lnTo>
                      <a:pt x="60484" y="13633"/>
                    </a:lnTo>
                    <a:cubicBezTo>
                      <a:pt x="58528" y="10600"/>
                      <a:pt x="55442" y="8474"/>
                      <a:pt x="51911" y="7728"/>
                    </a:cubicBezTo>
                    <a:cubicBezTo>
                      <a:pt x="48784" y="6949"/>
                      <a:pt x="45514" y="6949"/>
                      <a:pt x="42386" y="7728"/>
                    </a:cubicBezTo>
                    <a:cubicBezTo>
                      <a:pt x="37040" y="9325"/>
                      <a:pt x="32013" y="11839"/>
                      <a:pt x="27527" y="15157"/>
                    </a:cubicBezTo>
                    <a:lnTo>
                      <a:pt x="28575" y="16014"/>
                    </a:lnTo>
                    <a:cubicBezTo>
                      <a:pt x="29187" y="14953"/>
                      <a:pt x="29187" y="13646"/>
                      <a:pt x="28575" y="12585"/>
                    </a:cubicBezTo>
                    <a:cubicBezTo>
                      <a:pt x="27947" y="11767"/>
                      <a:pt x="27130" y="11114"/>
                      <a:pt x="26194" y="10680"/>
                    </a:cubicBezTo>
                    <a:cubicBezTo>
                      <a:pt x="24511" y="9970"/>
                      <a:pt x="22674" y="9707"/>
                      <a:pt x="20860" y="9918"/>
                    </a:cubicBezTo>
                    <a:cubicBezTo>
                      <a:pt x="18123" y="10325"/>
                      <a:pt x="15460" y="11127"/>
                      <a:pt x="12954" y="12300"/>
                    </a:cubicBezTo>
                    <a:cubicBezTo>
                      <a:pt x="11397" y="13019"/>
                      <a:pt x="9927" y="13914"/>
                      <a:pt x="8572" y="14967"/>
                    </a:cubicBezTo>
                    <a:cubicBezTo>
                      <a:pt x="8067" y="15309"/>
                      <a:pt x="7589" y="15692"/>
                      <a:pt x="7144" y="16109"/>
                    </a:cubicBezTo>
                    <a:cubicBezTo>
                      <a:pt x="7144" y="16109"/>
                      <a:pt x="9239" y="14681"/>
                      <a:pt x="13335" y="13062"/>
                    </a:cubicBezTo>
                    <a:cubicBezTo>
                      <a:pt x="15801" y="12038"/>
                      <a:pt x="18398" y="11364"/>
                      <a:pt x="21050" y="11061"/>
                    </a:cubicBezTo>
                    <a:cubicBezTo>
                      <a:pt x="22625" y="10888"/>
                      <a:pt x="24217" y="11186"/>
                      <a:pt x="25622" y="11918"/>
                    </a:cubicBezTo>
                    <a:cubicBezTo>
                      <a:pt x="27146" y="12585"/>
                      <a:pt x="28384" y="14014"/>
                      <a:pt x="27718" y="15443"/>
                    </a:cubicBezTo>
                    <a:lnTo>
                      <a:pt x="26575" y="17634"/>
                    </a:lnTo>
                    <a:lnTo>
                      <a:pt x="28765" y="16300"/>
                    </a:lnTo>
                    <a:cubicBezTo>
                      <a:pt x="33229" y="13234"/>
                      <a:pt x="38147" y="10887"/>
                      <a:pt x="43339" y="9347"/>
                    </a:cubicBezTo>
                    <a:cubicBezTo>
                      <a:pt x="46216" y="8633"/>
                      <a:pt x="49224" y="8633"/>
                      <a:pt x="52102" y="9347"/>
                    </a:cubicBezTo>
                    <a:cubicBezTo>
                      <a:pt x="55157" y="10079"/>
                      <a:pt x="57815" y="11954"/>
                      <a:pt x="59531" y="14586"/>
                    </a:cubicBezTo>
                    <a:lnTo>
                      <a:pt x="59531" y="15252"/>
                    </a:lnTo>
                    <a:lnTo>
                      <a:pt x="60293" y="15252"/>
                    </a:lnTo>
                    <a:cubicBezTo>
                      <a:pt x="62610" y="14004"/>
                      <a:pt x="65187" y="13319"/>
                      <a:pt x="67818" y="13252"/>
                    </a:cubicBezTo>
                    <a:cubicBezTo>
                      <a:pt x="70199" y="13252"/>
                      <a:pt x="72771" y="15443"/>
                      <a:pt x="72580" y="17729"/>
                    </a:cubicBezTo>
                    <a:lnTo>
                      <a:pt x="72580" y="21158"/>
                    </a:lnTo>
                    <a:lnTo>
                      <a:pt x="74676" y="18300"/>
                    </a:lnTo>
                    <a:cubicBezTo>
                      <a:pt x="75442" y="17315"/>
                      <a:pt x="76463" y="16557"/>
                      <a:pt x="77629" y="16110"/>
                    </a:cubicBezTo>
                    <a:cubicBezTo>
                      <a:pt x="79794" y="15141"/>
                      <a:pt x="82315" y="15434"/>
                      <a:pt x="84201" y="16872"/>
                    </a:cubicBezTo>
                    <a:cubicBezTo>
                      <a:pt x="86002" y="18230"/>
                      <a:pt x="87088" y="20332"/>
                      <a:pt x="87154" y="22587"/>
                    </a:cubicBezTo>
                    <a:lnTo>
                      <a:pt x="87154" y="24777"/>
                    </a:lnTo>
                    <a:lnTo>
                      <a:pt x="88773" y="23444"/>
                    </a:lnTo>
                    <a:cubicBezTo>
                      <a:pt x="93321" y="19142"/>
                      <a:pt x="100495" y="19342"/>
                      <a:pt x="104797" y="23889"/>
                    </a:cubicBezTo>
                    <a:cubicBezTo>
                      <a:pt x="107096" y="26321"/>
                      <a:pt x="108204" y="29644"/>
                      <a:pt x="107823" y="32969"/>
                    </a:cubicBezTo>
                    <a:lnTo>
                      <a:pt x="107823" y="34683"/>
                    </a:lnTo>
                    <a:lnTo>
                      <a:pt x="108585" y="34017"/>
                    </a:lnTo>
                    <a:cubicBezTo>
                      <a:pt x="110776" y="32778"/>
                      <a:pt x="113347" y="34493"/>
                      <a:pt x="114967" y="36207"/>
                    </a:cubicBezTo>
                    <a:cubicBezTo>
                      <a:pt x="116602" y="38074"/>
                      <a:pt x="118069" y="40082"/>
                      <a:pt x="119348" y="42208"/>
                    </a:cubicBezTo>
                    <a:cubicBezTo>
                      <a:pt x="121633" y="45517"/>
                      <a:pt x="123489" y="49101"/>
                      <a:pt x="124873" y="52876"/>
                    </a:cubicBezTo>
                    <a:cubicBezTo>
                      <a:pt x="126098" y="56257"/>
                      <a:pt x="126553" y="59869"/>
                      <a:pt x="126206" y="63449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3" name="Полилиния: фигура 732">
                <a:extLst>
                  <a:ext uri="{FF2B5EF4-FFF2-40B4-BE49-F238E27FC236}">
                    <a16:creationId xmlns:a16="http://schemas.microsoft.com/office/drawing/2014/main" id="{ABEA985F-4363-448B-9A72-F8A5B706C3CE}"/>
                  </a:ext>
                </a:extLst>
              </p:cNvPr>
              <p:cNvSpPr/>
              <p:nvPr/>
            </p:nvSpPr>
            <p:spPr>
              <a:xfrm>
                <a:off x="1887100" y="3715513"/>
                <a:ext cx="114300" cy="85725"/>
              </a:xfrm>
              <a:custGeom>
                <a:avLst/>
                <a:gdLst>
                  <a:gd name="connsiteX0" fmla="*/ 106116 w 114300"/>
                  <a:gd name="connsiteY0" fmla="*/ 81793 h 85725"/>
                  <a:gd name="connsiteX1" fmla="*/ 107163 w 114300"/>
                  <a:gd name="connsiteY1" fmla="*/ 80460 h 85725"/>
                  <a:gd name="connsiteX2" fmla="*/ 109449 w 114300"/>
                  <a:gd name="connsiteY2" fmla="*/ 76554 h 85725"/>
                  <a:gd name="connsiteX3" fmla="*/ 110974 w 114300"/>
                  <a:gd name="connsiteY3" fmla="*/ 69220 h 85725"/>
                  <a:gd name="connsiteX4" fmla="*/ 109545 w 114300"/>
                  <a:gd name="connsiteY4" fmla="*/ 64743 h 85725"/>
                  <a:gd name="connsiteX5" fmla="*/ 105163 w 114300"/>
                  <a:gd name="connsiteY5" fmla="*/ 61409 h 85725"/>
                  <a:gd name="connsiteX6" fmla="*/ 105163 w 114300"/>
                  <a:gd name="connsiteY6" fmla="*/ 62457 h 85725"/>
                  <a:gd name="connsiteX7" fmla="*/ 105163 w 114300"/>
                  <a:gd name="connsiteY7" fmla="*/ 52932 h 85725"/>
                  <a:gd name="connsiteX8" fmla="*/ 94971 w 114300"/>
                  <a:gd name="connsiteY8" fmla="*/ 48551 h 85725"/>
                  <a:gd name="connsiteX9" fmla="*/ 95829 w 114300"/>
                  <a:gd name="connsiteY9" fmla="*/ 49980 h 85725"/>
                  <a:gd name="connsiteX10" fmla="*/ 95829 w 114300"/>
                  <a:gd name="connsiteY10" fmla="*/ 41121 h 85725"/>
                  <a:gd name="connsiteX11" fmla="*/ 87351 w 114300"/>
                  <a:gd name="connsiteY11" fmla="*/ 37216 h 85725"/>
                  <a:gd name="connsiteX12" fmla="*/ 82970 w 114300"/>
                  <a:gd name="connsiteY12" fmla="*/ 37216 h 85725"/>
                  <a:gd name="connsiteX13" fmla="*/ 80208 w 114300"/>
                  <a:gd name="connsiteY13" fmla="*/ 34835 h 85725"/>
                  <a:gd name="connsiteX14" fmla="*/ 77636 w 114300"/>
                  <a:gd name="connsiteY14" fmla="*/ 30548 h 85725"/>
                  <a:gd name="connsiteX15" fmla="*/ 72969 w 114300"/>
                  <a:gd name="connsiteY15" fmla="*/ 27977 h 85725"/>
                  <a:gd name="connsiteX16" fmla="*/ 62396 w 114300"/>
                  <a:gd name="connsiteY16" fmla="*/ 27977 h 85725"/>
                  <a:gd name="connsiteX17" fmla="*/ 53919 w 114300"/>
                  <a:gd name="connsiteY17" fmla="*/ 25500 h 85725"/>
                  <a:gd name="connsiteX18" fmla="*/ 51156 w 114300"/>
                  <a:gd name="connsiteY18" fmla="*/ 21690 h 85725"/>
                  <a:gd name="connsiteX19" fmla="*/ 47156 w 114300"/>
                  <a:gd name="connsiteY19" fmla="*/ 18642 h 85725"/>
                  <a:gd name="connsiteX20" fmla="*/ 37631 w 114300"/>
                  <a:gd name="connsiteY20" fmla="*/ 19119 h 85725"/>
                  <a:gd name="connsiteX21" fmla="*/ 38869 w 114300"/>
                  <a:gd name="connsiteY21" fmla="*/ 20357 h 85725"/>
                  <a:gd name="connsiteX22" fmla="*/ 37726 w 114300"/>
                  <a:gd name="connsiteY22" fmla="*/ 10832 h 85725"/>
                  <a:gd name="connsiteX23" fmla="*/ 30297 w 114300"/>
                  <a:gd name="connsiteY23" fmla="*/ 7212 h 85725"/>
                  <a:gd name="connsiteX24" fmla="*/ 17343 w 114300"/>
                  <a:gd name="connsiteY24" fmla="*/ 8831 h 85725"/>
                  <a:gd name="connsiteX25" fmla="*/ 9628 w 114300"/>
                  <a:gd name="connsiteY25" fmla="*/ 11880 h 85725"/>
                  <a:gd name="connsiteX26" fmla="*/ 7151 w 114300"/>
                  <a:gd name="connsiteY26" fmla="*/ 13499 h 85725"/>
                  <a:gd name="connsiteX27" fmla="*/ 17628 w 114300"/>
                  <a:gd name="connsiteY27" fmla="*/ 9784 h 85725"/>
                  <a:gd name="connsiteX28" fmla="*/ 30106 w 114300"/>
                  <a:gd name="connsiteY28" fmla="*/ 8641 h 85725"/>
                  <a:gd name="connsiteX29" fmla="*/ 36488 w 114300"/>
                  <a:gd name="connsiteY29" fmla="*/ 11880 h 85725"/>
                  <a:gd name="connsiteX30" fmla="*/ 37440 w 114300"/>
                  <a:gd name="connsiteY30" fmla="*/ 19023 h 85725"/>
                  <a:gd name="connsiteX31" fmla="*/ 35250 w 114300"/>
                  <a:gd name="connsiteY31" fmla="*/ 22166 h 85725"/>
                  <a:gd name="connsiteX32" fmla="*/ 38583 w 114300"/>
                  <a:gd name="connsiteY32" fmla="*/ 20261 h 85725"/>
                  <a:gd name="connsiteX33" fmla="*/ 46203 w 114300"/>
                  <a:gd name="connsiteY33" fmla="*/ 20261 h 85725"/>
                  <a:gd name="connsiteX34" fmla="*/ 49442 w 114300"/>
                  <a:gd name="connsiteY34" fmla="*/ 22738 h 85725"/>
                  <a:gd name="connsiteX35" fmla="*/ 52299 w 114300"/>
                  <a:gd name="connsiteY35" fmla="*/ 26738 h 85725"/>
                  <a:gd name="connsiteX36" fmla="*/ 56967 w 114300"/>
                  <a:gd name="connsiteY36" fmla="*/ 29405 h 85725"/>
                  <a:gd name="connsiteX37" fmla="*/ 62206 w 114300"/>
                  <a:gd name="connsiteY37" fmla="*/ 29882 h 85725"/>
                  <a:gd name="connsiteX38" fmla="*/ 72302 w 114300"/>
                  <a:gd name="connsiteY38" fmla="*/ 29882 h 85725"/>
                  <a:gd name="connsiteX39" fmla="*/ 76017 w 114300"/>
                  <a:gd name="connsiteY39" fmla="*/ 31882 h 85725"/>
                  <a:gd name="connsiteX40" fmla="*/ 78303 w 114300"/>
                  <a:gd name="connsiteY40" fmla="*/ 35787 h 85725"/>
                  <a:gd name="connsiteX41" fmla="*/ 82399 w 114300"/>
                  <a:gd name="connsiteY41" fmla="*/ 39121 h 85725"/>
                  <a:gd name="connsiteX42" fmla="*/ 87161 w 114300"/>
                  <a:gd name="connsiteY42" fmla="*/ 39121 h 85725"/>
                  <a:gd name="connsiteX43" fmla="*/ 94210 w 114300"/>
                  <a:gd name="connsiteY43" fmla="*/ 42264 h 85725"/>
                  <a:gd name="connsiteX44" fmla="*/ 94210 w 114300"/>
                  <a:gd name="connsiteY44" fmla="*/ 48837 h 85725"/>
                  <a:gd name="connsiteX45" fmla="*/ 92590 w 114300"/>
                  <a:gd name="connsiteY45" fmla="*/ 50932 h 85725"/>
                  <a:gd name="connsiteX46" fmla="*/ 95067 w 114300"/>
                  <a:gd name="connsiteY46" fmla="*/ 50265 h 85725"/>
                  <a:gd name="connsiteX47" fmla="*/ 103544 w 114300"/>
                  <a:gd name="connsiteY47" fmla="*/ 53694 h 85725"/>
                  <a:gd name="connsiteX48" fmla="*/ 103544 w 114300"/>
                  <a:gd name="connsiteY48" fmla="*/ 61981 h 85725"/>
                  <a:gd name="connsiteX49" fmla="*/ 103544 w 114300"/>
                  <a:gd name="connsiteY49" fmla="*/ 62838 h 85725"/>
                  <a:gd name="connsiteX50" fmla="*/ 104496 w 114300"/>
                  <a:gd name="connsiteY50" fmla="*/ 62838 h 85725"/>
                  <a:gd name="connsiteX51" fmla="*/ 109545 w 114300"/>
                  <a:gd name="connsiteY51" fmla="*/ 69506 h 85725"/>
                  <a:gd name="connsiteX52" fmla="*/ 108402 w 114300"/>
                  <a:gd name="connsiteY52" fmla="*/ 76269 h 85725"/>
                  <a:gd name="connsiteX53" fmla="*/ 106116 w 114300"/>
                  <a:gd name="connsiteY53" fmla="*/ 81793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114300" h="85725">
                    <a:moveTo>
                      <a:pt x="106116" y="81793"/>
                    </a:moveTo>
                    <a:cubicBezTo>
                      <a:pt x="106116" y="81793"/>
                      <a:pt x="106116" y="81793"/>
                      <a:pt x="107163" y="80460"/>
                    </a:cubicBezTo>
                    <a:cubicBezTo>
                      <a:pt x="108027" y="79220"/>
                      <a:pt x="108792" y="77914"/>
                      <a:pt x="109449" y="76554"/>
                    </a:cubicBezTo>
                    <a:cubicBezTo>
                      <a:pt x="110623" y="74297"/>
                      <a:pt x="111151" y="71758"/>
                      <a:pt x="110974" y="69220"/>
                    </a:cubicBezTo>
                    <a:cubicBezTo>
                      <a:pt x="110849" y="67638"/>
                      <a:pt x="110360" y="66105"/>
                      <a:pt x="109545" y="64743"/>
                    </a:cubicBezTo>
                    <a:cubicBezTo>
                      <a:pt x="108558" y="63118"/>
                      <a:pt x="106993" y="61927"/>
                      <a:pt x="105163" y="61409"/>
                    </a:cubicBezTo>
                    <a:lnTo>
                      <a:pt x="105163" y="62457"/>
                    </a:lnTo>
                    <a:cubicBezTo>
                      <a:pt x="106865" y="59510"/>
                      <a:pt x="106865" y="55879"/>
                      <a:pt x="105163" y="52932"/>
                    </a:cubicBezTo>
                    <a:cubicBezTo>
                      <a:pt x="103055" y="49440"/>
                      <a:pt x="98956" y="47678"/>
                      <a:pt x="94971" y="48551"/>
                    </a:cubicBezTo>
                    <a:lnTo>
                      <a:pt x="95829" y="49980"/>
                    </a:lnTo>
                    <a:cubicBezTo>
                      <a:pt x="97781" y="47350"/>
                      <a:pt x="97781" y="43751"/>
                      <a:pt x="95829" y="41121"/>
                    </a:cubicBezTo>
                    <a:cubicBezTo>
                      <a:pt x="93718" y="38631"/>
                      <a:pt x="90615" y="37202"/>
                      <a:pt x="87351" y="37216"/>
                    </a:cubicBezTo>
                    <a:cubicBezTo>
                      <a:pt x="85732" y="37216"/>
                      <a:pt x="84208" y="37216"/>
                      <a:pt x="82970" y="37216"/>
                    </a:cubicBezTo>
                    <a:cubicBezTo>
                      <a:pt x="81704" y="36943"/>
                      <a:pt x="80664" y="36046"/>
                      <a:pt x="80208" y="34835"/>
                    </a:cubicBezTo>
                    <a:cubicBezTo>
                      <a:pt x="79580" y="33280"/>
                      <a:pt x="78712" y="31834"/>
                      <a:pt x="77636" y="30548"/>
                    </a:cubicBezTo>
                    <a:cubicBezTo>
                      <a:pt x="76397" y="29212"/>
                      <a:pt x="74760" y="28310"/>
                      <a:pt x="72969" y="27977"/>
                    </a:cubicBezTo>
                    <a:cubicBezTo>
                      <a:pt x="69454" y="27601"/>
                      <a:pt x="65910" y="27601"/>
                      <a:pt x="62396" y="27977"/>
                    </a:cubicBezTo>
                    <a:cubicBezTo>
                      <a:pt x="59349" y="28365"/>
                      <a:pt x="56277" y="27468"/>
                      <a:pt x="53919" y="25500"/>
                    </a:cubicBezTo>
                    <a:cubicBezTo>
                      <a:pt x="52886" y="24315"/>
                      <a:pt x="51962" y="23040"/>
                      <a:pt x="51156" y="21690"/>
                    </a:cubicBezTo>
                    <a:cubicBezTo>
                      <a:pt x="50090" y="20365"/>
                      <a:pt x="48717" y="19319"/>
                      <a:pt x="47156" y="18642"/>
                    </a:cubicBezTo>
                    <a:cubicBezTo>
                      <a:pt x="44083" y="17294"/>
                      <a:pt x="40554" y="17470"/>
                      <a:pt x="37631" y="19119"/>
                    </a:cubicBezTo>
                    <a:lnTo>
                      <a:pt x="38869" y="20357"/>
                    </a:lnTo>
                    <a:cubicBezTo>
                      <a:pt x="40713" y="17294"/>
                      <a:pt x="40242" y="13371"/>
                      <a:pt x="37726" y="10832"/>
                    </a:cubicBezTo>
                    <a:cubicBezTo>
                      <a:pt x="35824" y="8693"/>
                      <a:pt x="33154" y="7392"/>
                      <a:pt x="30297" y="7212"/>
                    </a:cubicBezTo>
                    <a:cubicBezTo>
                      <a:pt x="25915" y="6938"/>
                      <a:pt x="21522" y="7488"/>
                      <a:pt x="17343" y="8831"/>
                    </a:cubicBezTo>
                    <a:cubicBezTo>
                      <a:pt x="14690" y="9630"/>
                      <a:pt x="12110" y="10650"/>
                      <a:pt x="9628" y="11880"/>
                    </a:cubicBezTo>
                    <a:cubicBezTo>
                      <a:pt x="7913" y="12832"/>
                      <a:pt x="7056" y="13403"/>
                      <a:pt x="7151" y="13499"/>
                    </a:cubicBezTo>
                    <a:cubicBezTo>
                      <a:pt x="10559" y="12035"/>
                      <a:pt x="14059" y="10794"/>
                      <a:pt x="17628" y="9784"/>
                    </a:cubicBezTo>
                    <a:cubicBezTo>
                      <a:pt x="21690" y="8684"/>
                      <a:pt x="25912" y="8298"/>
                      <a:pt x="30106" y="8641"/>
                    </a:cubicBezTo>
                    <a:cubicBezTo>
                      <a:pt x="32573" y="8850"/>
                      <a:pt x="34862" y="10012"/>
                      <a:pt x="36488" y="11880"/>
                    </a:cubicBezTo>
                    <a:cubicBezTo>
                      <a:pt x="38301" y="13812"/>
                      <a:pt x="38684" y="16684"/>
                      <a:pt x="37440" y="19023"/>
                    </a:cubicBezTo>
                    <a:lnTo>
                      <a:pt x="35250" y="22166"/>
                    </a:lnTo>
                    <a:lnTo>
                      <a:pt x="38583" y="20261"/>
                    </a:lnTo>
                    <a:cubicBezTo>
                      <a:pt x="40984" y="19071"/>
                      <a:pt x="43803" y="19071"/>
                      <a:pt x="46203" y="20261"/>
                    </a:cubicBezTo>
                    <a:cubicBezTo>
                      <a:pt x="47449" y="20844"/>
                      <a:pt x="48554" y="21688"/>
                      <a:pt x="49442" y="22738"/>
                    </a:cubicBezTo>
                    <a:cubicBezTo>
                      <a:pt x="50312" y="24128"/>
                      <a:pt x="51266" y="25464"/>
                      <a:pt x="52299" y="26738"/>
                    </a:cubicBezTo>
                    <a:cubicBezTo>
                      <a:pt x="53597" y="28018"/>
                      <a:pt x="55206" y="28937"/>
                      <a:pt x="56967" y="29405"/>
                    </a:cubicBezTo>
                    <a:cubicBezTo>
                      <a:pt x="58691" y="29748"/>
                      <a:pt x="60447" y="29908"/>
                      <a:pt x="62206" y="29882"/>
                    </a:cubicBezTo>
                    <a:cubicBezTo>
                      <a:pt x="65563" y="29545"/>
                      <a:pt x="68945" y="29545"/>
                      <a:pt x="72302" y="29882"/>
                    </a:cubicBezTo>
                    <a:cubicBezTo>
                      <a:pt x="73715" y="30153"/>
                      <a:pt x="75012" y="30852"/>
                      <a:pt x="76017" y="31882"/>
                    </a:cubicBezTo>
                    <a:cubicBezTo>
                      <a:pt x="76937" y="33085"/>
                      <a:pt x="77704" y="34396"/>
                      <a:pt x="78303" y="35787"/>
                    </a:cubicBezTo>
                    <a:cubicBezTo>
                      <a:pt x="79028" y="37511"/>
                      <a:pt x="80564" y="38760"/>
                      <a:pt x="82399" y="39121"/>
                    </a:cubicBezTo>
                    <a:cubicBezTo>
                      <a:pt x="83985" y="39217"/>
                      <a:pt x="85575" y="39217"/>
                      <a:pt x="87161" y="39121"/>
                    </a:cubicBezTo>
                    <a:cubicBezTo>
                      <a:pt x="89849" y="39127"/>
                      <a:pt x="92409" y="40269"/>
                      <a:pt x="94210" y="42264"/>
                    </a:cubicBezTo>
                    <a:cubicBezTo>
                      <a:pt x="95568" y="44245"/>
                      <a:pt x="95568" y="46856"/>
                      <a:pt x="94210" y="48837"/>
                    </a:cubicBezTo>
                    <a:lnTo>
                      <a:pt x="92590" y="50932"/>
                    </a:lnTo>
                    <a:lnTo>
                      <a:pt x="95067" y="50265"/>
                    </a:lnTo>
                    <a:cubicBezTo>
                      <a:pt x="98334" y="49492"/>
                      <a:pt x="101733" y="50867"/>
                      <a:pt x="103544" y="53694"/>
                    </a:cubicBezTo>
                    <a:cubicBezTo>
                      <a:pt x="105024" y="56258"/>
                      <a:pt x="105024" y="59417"/>
                      <a:pt x="103544" y="61981"/>
                    </a:cubicBezTo>
                    <a:lnTo>
                      <a:pt x="103544" y="62838"/>
                    </a:lnTo>
                    <a:lnTo>
                      <a:pt x="104496" y="62838"/>
                    </a:lnTo>
                    <a:cubicBezTo>
                      <a:pt x="107373" y="63835"/>
                      <a:pt x="109366" y="66467"/>
                      <a:pt x="109545" y="69506"/>
                    </a:cubicBezTo>
                    <a:cubicBezTo>
                      <a:pt x="109715" y="71819"/>
                      <a:pt x="109322" y="74139"/>
                      <a:pt x="108402" y="76269"/>
                    </a:cubicBezTo>
                    <a:cubicBezTo>
                      <a:pt x="107163" y="79983"/>
                      <a:pt x="105925" y="81698"/>
                      <a:pt x="106116" y="81793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4" name="Полилиния: фигура 733">
                <a:extLst>
                  <a:ext uri="{FF2B5EF4-FFF2-40B4-BE49-F238E27FC236}">
                    <a16:creationId xmlns:a16="http://schemas.microsoft.com/office/drawing/2014/main" id="{81E39B01-2685-474A-A6AB-6015F5C95C0F}"/>
                  </a:ext>
                </a:extLst>
              </p:cNvPr>
              <p:cNvSpPr/>
              <p:nvPr/>
            </p:nvSpPr>
            <p:spPr>
              <a:xfrm>
                <a:off x="1950162" y="3819769"/>
                <a:ext cx="57150" cy="104775"/>
              </a:xfrm>
              <a:custGeom>
                <a:avLst/>
                <a:gdLst>
                  <a:gd name="connsiteX0" fmla="*/ 39719 w 57150"/>
                  <a:gd name="connsiteY0" fmla="*/ 98124 h 104775"/>
                  <a:gd name="connsiteX1" fmla="*/ 41624 w 57150"/>
                  <a:gd name="connsiteY1" fmla="*/ 97552 h 104775"/>
                  <a:gd name="connsiteX2" fmla="*/ 46196 w 57150"/>
                  <a:gd name="connsiteY2" fmla="*/ 93932 h 104775"/>
                  <a:gd name="connsiteX3" fmla="*/ 49530 w 57150"/>
                  <a:gd name="connsiteY3" fmla="*/ 85550 h 104775"/>
                  <a:gd name="connsiteX4" fmla="*/ 45434 w 57150"/>
                  <a:gd name="connsiteY4" fmla="*/ 74501 h 104775"/>
                  <a:gd name="connsiteX5" fmla="*/ 45434 w 57150"/>
                  <a:gd name="connsiteY5" fmla="*/ 75549 h 104775"/>
                  <a:gd name="connsiteX6" fmla="*/ 50578 w 57150"/>
                  <a:gd name="connsiteY6" fmla="*/ 66024 h 104775"/>
                  <a:gd name="connsiteX7" fmla="*/ 50101 w 57150"/>
                  <a:gd name="connsiteY7" fmla="*/ 59643 h 104775"/>
                  <a:gd name="connsiteX8" fmla="*/ 45434 w 57150"/>
                  <a:gd name="connsiteY8" fmla="*/ 54785 h 104775"/>
                  <a:gd name="connsiteX9" fmla="*/ 45434 w 57150"/>
                  <a:gd name="connsiteY9" fmla="*/ 56499 h 104775"/>
                  <a:gd name="connsiteX10" fmla="*/ 50387 w 57150"/>
                  <a:gd name="connsiteY10" fmla="*/ 46117 h 104775"/>
                  <a:gd name="connsiteX11" fmla="*/ 48292 w 57150"/>
                  <a:gd name="connsiteY11" fmla="*/ 39640 h 104775"/>
                  <a:gd name="connsiteX12" fmla="*/ 43244 w 57150"/>
                  <a:gd name="connsiteY12" fmla="*/ 35544 h 104775"/>
                  <a:gd name="connsiteX13" fmla="*/ 40386 w 57150"/>
                  <a:gd name="connsiteY13" fmla="*/ 31925 h 104775"/>
                  <a:gd name="connsiteX14" fmla="*/ 39053 w 57150"/>
                  <a:gd name="connsiteY14" fmla="*/ 26115 h 104775"/>
                  <a:gd name="connsiteX15" fmla="*/ 31623 w 57150"/>
                  <a:gd name="connsiteY15" fmla="*/ 18209 h 104775"/>
                  <a:gd name="connsiteX16" fmla="*/ 24194 w 57150"/>
                  <a:gd name="connsiteY16" fmla="*/ 12875 h 104775"/>
                  <a:gd name="connsiteX17" fmla="*/ 12097 w 57150"/>
                  <a:gd name="connsiteY17" fmla="*/ 7255 h 104775"/>
                  <a:gd name="connsiteX18" fmla="*/ 8477 w 57150"/>
                  <a:gd name="connsiteY18" fmla="*/ 7255 h 104775"/>
                  <a:gd name="connsiteX19" fmla="*/ 7144 w 57150"/>
                  <a:gd name="connsiteY19" fmla="*/ 7255 h 104775"/>
                  <a:gd name="connsiteX20" fmla="*/ 11906 w 57150"/>
                  <a:gd name="connsiteY20" fmla="*/ 8112 h 104775"/>
                  <a:gd name="connsiteX21" fmla="*/ 23336 w 57150"/>
                  <a:gd name="connsiteY21" fmla="*/ 14113 h 104775"/>
                  <a:gd name="connsiteX22" fmla="*/ 30671 w 57150"/>
                  <a:gd name="connsiteY22" fmla="*/ 19638 h 104775"/>
                  <a:gd name="connsiteX23" fmla="*/ 37338 w 57150"/>
                  <a:gd name="connsiteY23" fmla="*/ 26972 h 104775"/>
                  <a:gd name="connsiteX24" fmla="*/ 38481 w 57150"/>
                  <a:gd name="connsiteY24" fmla="*/ 32211 h 104775"/>
                  <a:gd name="connsiteX25" fmla="*/ 39624 w 57150"/>
                  <a:gd name="connsiteY25" fmla="*/ 35449 h 104775"/>
                  <a:gd name="connsiteX26" fmla="*/ 42386 w 57150"/>
                  <a:gd name="connsiteY26" fmla="*/ 37449 h 104775"/>
                  <a:gd name="connsiteX27" fmla="*/ 47489 w 57150"/>
                  <a:gd name="connsiteY27" fmla="*/ 51073 h 104775"/>
                  <a:gd name="connsiteX28" fmla="*/ 44386 w 57150"/>
                  <a:gd name="connsiteY28" fmla="*/ 54975 h 104775"/>
                  <a:gd name="connsiteX29" fmla="*/ 42672 w 57150"/>
                  <a:gd name="connsiteY29" fmla="*/ 56023 h 104775"/>
                  <a:gd name="connsiteX30" fmla="*/ 44577 w 57150"/>
                  <a:gd name="connsiteY30" fmla="*/ 56690 h 104775"/>
                  <a:gd name="connsiteX31" fmla="*/ 48578 w 57150"/>
                  <a:gd name="connsiteY31" fmla="*/ 65739 h 104775"/>
                  <a:gd name="connsiteX32" fmla="*/ 43910 w 57150"/>
                  <a:gd name="connsiteY32" fmla="*/ 75264 h 104775"/>
                  <a:gd name="connsiteX33" fmla="*/ 43910 w 57150"/>
                  <a:gd name="connsiteY33" fmla="*/ 75835 h 104775"/>
                  <a:gd name="connsiteX34" fmla="*/ 43910 w 57150"/>
                  <a:gd name="connsiteY34" fmla="*/ 76311 h 104775"/>
                  <a:gd name="connsiteX35" fmla="*/ 47816 w 57150"/>
                  <a:gd name="connsiteY35" fmla="*/ 85836 h 104775"/>
                  <a:gd name="connsiteX36" fmla="*/ 45053 w 57150"/>
                  <a:gd name="connsiteY36" fmla="*/ 93647 h 104775"/>
                  <a:gd name="connsiteX37" fmla="*/ 39719 w 57150"/>
                  <a:gd name="connsiteY37" fmla="*/ 9812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57150" h="104775">
                    <a:moveTo>
                      <a:pt x="39719" y="98124"/>
                    </a:moveTo>
                    <a:cubicBezTo>
                      <a:pt x="39719" y="98124"/>
                      <a:pt x="40481" y="98124"/>
                      <a:pt x="41624" y="97552"/>
                    </a:cubicBezTo>
                    <a:cubicBezTo>
                      <a:pt x="43409" y="96717"/>
                      <a:pt x="44974" y="95478"/>
                      <a:pt x="46196" y="93932"/>
                    </a:cubicBezTo>
                    <a:cubicBezTo>
                      <a:pt x="48195" y="91579"/>
                      <a:pt x="49367" y="88634"/>
                      <a:pt x="49530" y="85550"/>
                    </a:cubicBezTo>
                    <a:cubicBezTo>
                      <a:pt x="49723" y="81464"/>
                      <a:pt x="48245" y="77475"/>
                      <a:pt x="45434" y="74501"/>
                    </a:cubicBezTo>
                    <a:lnTo>
                      <a:pt x="45434" y="75549"/>
                    </a:lnTo>
                    <a:cubicBezTo>
                      <a:pt x="47782" y="72759"/>
                      <a:pt x="49532" y="69518"/>
                      <a:pt x="50578" y="66024"/>
                    </a:cubicBezTo>
                    <a:cubicBezTo>
                      <a:pt x="51041" y="63896"/>
                      <a:pt x="50875" y="61679"/>
                      <a:pt x="50101" y="59643"/>
                    </a:cubicBezTo>
                    <a:cubicBezTo>
                      <a:pt x="49325" y="57422"/>
                      <a:pt x="47622" y="55649"/>
                      <a:pt x="45434" y="54785"/>
                    </a:cubicBezTo>
                    <a:lnTo>
                      <a:pt x="45434" y="56499"/>
                    </a:lnTo>
                    <a:cubicBezTo>
                      <a:pt x="48818" y="54169"/>
                      <a:pt x="50705" y="50213"/>
                      <a:pt x="50387" y="46117"/>
                    </a:cubicBezTo>
                    <a:cubicBezTo>
                      <a:pt x="50318" y="43803"/>
                      <a:pt x="49591" y="41556"/>
                      <a:pt x="48292" y="39640"/>
                    </a:cubicBezTo>
                    <a:cubicBezTo>
                      <a:pt x="47058" y="37800"/>
                      <a:pt x="45299" y="36372"/>
                      <a:pt x="43244" y="35544"/>
                    </a:cubicBezTo>
                    <a:cubicBezTo>
                      <a:pt x="41567" y="35147"/>
                      <a:pt x="40384" y="33648"/>
                      <a:pt x="40386" y="31925"/>
                    </a:cubicBezTo>
                    <a:cubicBezTo>
                      <a:pt x="40319" y="29921"/>
                      <a:pt x="39866" y="27948"/>
                      <a:pt x="39053" y="26115"/>
                    </a:cubicBezTo>
                    <a:cubicBezTo>
                      <a:pt x="37328" y="22862"/>
                      <a:pt x="34762" y="20132"/>
                      <a:pt x="31623" y="18209"/>
                    </a:cubicBezTo>
                    <a:lnTo>
                      <a:pt x="24194" y="12875"/>
                    </a:lnTo>
                    <a:cubicBezTo>
                      <a:pt x="20585" y="10199"/>
                      <a:pt x="16469" y="8287"/>
                      <a:pt x="12097" y="7255"/>
                    </a:cubicBezTo>
                    <a:cubicBezTo>
                      <a:pt x="10895" y="7107"/>
                      <a:pt x="9679" y="7107"/>
                      <a:pt x="8477" y="7255"/>
                    </a:cubicBezTo>
                    <a:cubicBezTo>
                      <a:pt x="7620" y="7255"/>
                      <a:pt x="7144" y="7255"/>
                      <a:pt x="7144" y="7255"/>
                    </a:cubicBezTo>
                    <a:cubicBezTo>
                      <a:pt x="8745" y="7457"/>
                      <a:pt x="10335" y="7743"/>
                      <a:pt x="11906" y="8112"/>
                    </a:cubicBezTo>
                    <a:cubicBezTo>
                      <a:pt x="16064" y="9367"/>
                      <a:pt x="19943" y="11403"/>
                      <a:pt x="23336" y="14113"/>
                    </a:cubicBezTo>
                    <a:lnTo>
                      <a:pt x="30671" y="19638"/>
                    </a:lnTo>
                    <a:cubicBezTo>
                      <a:pt x="33523" y="21426"/>
                      <a:pt x="35829" y="23963"/>
                      <a:pt x="37338" y="26972"/>
                    </a:cubicBezTo>
                    <a:cubicBezTo>
                      <a:pt x="38072" y="28622"/>
                      <a:pt x="38461" y="30405"/>
                      <a:pt x="38481" y="32211"/>
                    </a:cubicBezTo>
                    <a:cubicBezTo>
                      <a:pt x="38515" y="33383"/>
                      <a:pt x="38914" y="34515"/>
                      <a:pt x="39624" y="35449"/>
                    </a:cubicBezTo>
                    <a:cubicBezTo>
                      <a:pt x="40361" y="36338"/>
                      <a:pt x="41312" y="37026"/>
                      <a:pt x="42386" y="37449"/>
                    </a:cubicBezTo>
                    <a:cubicBezTo>
                      <a:pt x="47557" y="39802"/>
                      <a:pt x="49842" y="45902"/>
                      <a:pt x="47489" y="51073"/>
                    </a:cubicBezTo>
                    <a:cubicBezTo>
                      <a:pt x="46791" y="52609"/>
                      <a:pt x="45725" y="53949"/>
                      <a:pt x="44386" y="54975"/>
                    </a:cubicBezTo>
                    <a:lnTo>
                      <a:pt x="42672" y="56023"/>
                    </a:lnTo>
                    <a:lnTo>
                      <a:pt x="44577" y="56690"/>
                    </a:lnTo>
                    <a:cubicBezTo>
                      <a:pt x="47894" y="58369"/>
                      <a:pt x="49568" y="62155"/>
                      <a:pt x="48578" y="65739"/>
                    </a:cubicBezTo>
                    <a:cubicBezTo>
                      <a:pt x="47630" y="69177"/>
                      <a:pt x="46047" y="72408"/>
                      <a:pt x="43910" y="75264"/>
                    </a:cubicBezTo>
                    <a:lnTo>
                      <a:pt x="43910" y="75835"/>
                    </a:lnTo>
                    <a:lnTo>
                      <a:pt x="43910" y="76311"/>
                    </a:lnTo>
                    <a:cubicBezTo>
                      <a:pt x="46343" y="78896"/>
                      <a:pt x="47734" y="82288"/>
                      <a:pt x="47816" y="85836"/>
                    </a:cubicBezTo>
                    <a:cubicBezTo>
                      <a:pt x="47722" y="88662"/>
                      <a:pt x="46757" y="91390"/>
                      <a:pt x="45053" y="93647"/>
                    </a:cubicBezTo>
                    <a:cubicBezTo>
                      <a:pt x="43566" y="95454"/>
                      <a:pt x="41757" y="96972"/>
                      <a:pt x="39719" y="9812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5" name="Полилиния: фигура 734">
                <a:extLst>
                  <a:ext uri="{FF2B5EF4-FFF2-40B4-BE49-F238E27FC236}">
                    <a16:creationId xmlns:a16="http://schemas.microsoft.com/office/drawing/2014/main" id="{33DA13FA-7154-40AA-A1B0-4BD73B83FB9B}"/>
                  </a:ext>
                </a:extLst>
              </p:cNvPr>
              <p:cNvSpPr/>
              <p:nvPr/>
            </p:nvSpPr>
            <p:spPr>
              <a:xfrm>
                <a:off x="1878058" y="3774255"/>
                <a:ext cx="66675" cy="95250"/>
              </a:xfrm>
              <a:custGeom>
                <a:avLst/>
                <a:gdLst>
                  <a:gd name="connsiteX0" fmla="*/ 49816 w 66675"/>
                  <a:gd name="connsiteY0" fmla="*/ 92107 h 95250"/>
                  <a:gd name="connsiteX1" fmla="*/ 52483 w 66675"/>
                  <a:gd name="connsiteY1" fmla="*/ 91535 h 95250"/>
                  <a:gd name="connsiteX2" fmla="*/ 59436 w 66675"/>
                  <a:gd name="connsiteY2" fmla="*/ 87916 h 95250"/>
                  <a:gd name="connsiteX3" fmla="*/ 67342 w 66675"/>
                  <a:gd name="connsiteY3" fmla="*/ 78391 h 95250"/>
                  <a:gd name="connsiteX4" fmla="*/ 68675 w 66675"/>
                  <a:gd name="connsiteY4" fmla="*/ 70771 h 95250"/>
                  <a:gd name="connsiteX5" fmla="*/ 65627 w 66675"/>
                  <a:gd name="connsiteY5" fmla="*/ 67342 h 95250"/>
                  <a:gd name="connsiteX6" fmla="*/ 60865 w 66675"/>
                  <a:gd name="connsiteY6" fmla="*/ 68199 h 95250"/>
                  <a:gd name="connsiteX7" fmla="*/ 62293 w 66675"/>
                  <a:gd name="connsiteY7" fmla="*/ 69056 h 95250"/>
                  <a:gd name="connsiteX8" fmla="*/ 63722 w 66675"/>
                  <a:gd name="connsiteY8" fmla="*/ 61436 h 95250"/>
                  <a:gd name="connsiteX9" fmla="*/ 61341 w 66675"/>
                  <a:gd name="connsiteY9" fmla="*/ 57721 h 95250"/>
                  <a:gd name="connsiteX10" fmla="*/ 56769 w 66675"/>
                  <a:gd name="connsiteY10" fmla="*/ 57055 h 95250"/>
                  <a:gd name="connsiteX11" fmla="*/ 53340 w 66675"/>
                  <a:gd name="connsiteY11" fmla="*/ 57531 h 95250"/>
                  <a:gd name="connsiteX12" fmla="*/ 52578 w 66675"/>
                  <a:gd name="connsiteY12" fmla="*/ 54959 h 95250"/>
                  <a:gd name="connsiteX13" fmla="*/ 49244 w 66675"/>
                  <a:gd name="connsiteY13" fmla="*/ 46577 h 95250"/>
                  <a:gd name="connsiteX14" fmla="*/ 35719 w 66675"/>
                  <a:gd name="connsiteY14" fmla="*/ 42672 h 95250"/>
                  <a:gd name="connsiteX15" fmla="*/ 36957 w 66675"/>
                  <a:gd name="connsiteY15" fmla="*/ 43815 h 95250"/>
                  <a:gd name="connsiteX16" fmla="*/ 34957 w 66675"/>
                  <a:gd name="connsiteY16" fmla="*/ 32956 h 95250"/>
                  <a:gd name="connsiteX17" fmla="*/ 29527 w 66675"/>
                  <a:gd name="connsiteY17" fmla="*/ 31242 h 95250"/>
                  <a:gd name="connsiteX18" fmla="*/ 25146 w 66675"/>
                  <a:gd name="connsiteY18" fmla="*/ 34480 h 95250"/>
                  <a:gd name="connsiteX19" fmla="*/ 26860 w 66675"/>
                  <a:gd name="connsiteY19" fmla="*/ 34480 h 95250"/>
                  <a:gd name="connsiteX20" fmla="*/ 23431 w 66675"/>
                  <a:gd name="connsiteY20" fmla="*/ 20098 h 95250"/>
                  <a:gd name="connsiteX21" fmla="*/ 16002 w 66675"/>
                  <a:gd name="connsiteY21" fmla="*/ 11335 h 95250"/>
                  <a:gd name="connsiteX22" fmla="*/ 9620 w 66675"/>
                  <a:gd name="connsiteY22" fmla="*/ 7715 h 95250"/>
                  <a:gd name="connsiteX23" fmla="*/ 7144 w 66675"/>
                  <a:gd name="connsiteY23" fmla="*/ 7144 h 95250"/>
                  <a:gd name="connsiteX24" fmla="*/ 15430 w 66675"/>
                  <a:gd name="connsiteY24" fmla="*/ 12192 h 95250"/>
                  <a:gd name="connsiteX25" fmla="*/ 22193 w 66675"/>
                  <a:gd name="connsiteY25" fmla="*/ 20764 h 95250"/>
                  <a:gd name="connsiteX26" fmla="*/ 25146 w 66675"/>
                  <a:gd name="connsiteY26" fmla="*/ 34385 h 95250"/>
                  <a:gd name="connsiteX27" fmla="*/ 24670 w 66675"/>
                  <a:gd name="connsiteY27" fmla="*/ 41624 h 95250"/>
                  <a:gd name="connsiteX28" fmla="*/ 26765 w 66675"/>
                  <a:gd name="connsiteY28" fmla="*/ 34766 h 95250"/>
                  <a:gd name="connsiteX29" fmla="*/ 33623 w 66675"/>
                  <a:gd name="connsiteY29" fmla="*/ 34004 h 95250"/>
                  <a:gd name="connsiteX30" fmla="*/ 35147 w 66675"/>
                  <a:gd name="connsiteY30" fmla="*/ 43053 h 95250"/>
                  <a:gd name="connsiteX31" fmla="*/ 35147 w 66675"/>
                  <a:gd name="connsiteY31" fmla="*/ 44863 h 95250"/>
                  <a:gd name="connsiteX32" fmla="*/ 36862 w 66675"/>
                  <a:gd name="connsiteY32" fmla="*/ 44196 h 95250"/>
                  <a:gd name="connsiteX33" fmla="*/ 48196 w 66675"/>
                  <a:gd name="connsiteY33" fmla="*/ 47625 h 95250"/>
                  <a:gd name="connsiteX34" fmla="*/ 51054 w 66675"/>
                  <a:gd name="connsiteY34" fmla="*/ 54578 h 95250"/>
                  <a:gd name="connsiteX35" fmla="*/ 51054 w 66675"/>
                  <a:gd name="connsiteY35" fmla="*/ 56959 h 95250"/>
                  <a:gd name="connsiteX36" fmla="*/ 52959 w 66675"/>
                  <a:gd name="connsiteY36" fmla="*/ 59055 h 95250"/>
                  <a:gd name="connsiteX37" fmla="*/ 57436 w 66675"/>
                  <a:gd name="connsiteY37" fmla="*/ 59055 h 95250"/>
                  <a:gd name="connsiteX38" fmla="*/ 60484 w 66675"/>
                  <a:gd name="connsiteY38" fmla="*/ 59055 h 95250"/>
                  <a:gd name="connsiteX39" fmla="*/ 62198 w 66675"/>
                  <a:gd name="connsiteY39" fmla="*/ 61722 h 95250"/>
                  <a:gd name="connsiteX40" fmla="*/ 60960 w 66675"/>
                  <a:gd name="connsiteY40" fmla="*/ 68294 h 95250"/>
                  <a:gd name="connsiteX41" fmla="*/ 59150 w 66675"/>
                  <a:gd name="connsiteY41" fmla="*/ 73057 h 95250"/>
                  <a:gd name="connsiteX42" fmla="*/ 62484 w 66675"/>
                  <a:gd name="connsiteY42" fmla="*/ 69151 h 95250"/>
                  <a:gd name="connsiteX43" fmla="*/ 67437 w 66675"/>
                  <a:gd name="connsiteY43" fmla="*/ 71056 h 95250"/>
                  <a:gd name="connsiteX44" fmla="*/ 66389 w 66675"/>
                  <a:gd name="connsiteY44" fmla="*/ 77533 h 95250"/>
                  <a:gd name="connsiteX45" fmla="*/ 59150 w 66675"/>
                  <a:gd name="connsiteY45" fmla="*/ 86582 h 95250"/>
                  <a:gd name="connsiteX46" fmla="*/ 49816 w 66675"/>
                  <a:gd name="connsiteY46" fmla="*/ 92107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66675" h="95250">
                    <a:moveTo>
                      <a:pt x="49816" y="92107"/>
                    </a:moveTo>
                    <a:cubicBezTo>
                      <a:pt x="50735" y="92108"/>
                      <a:pt x="51644" y="91913"/>
                      <a:pt x="52483" y="91535"/>
                    </a:cubicBezTo>
                    <a:cubicBezTo>
                      <a:pt x="54972" y="90691"/>
                      <a:pt x="57317" y="89470"/>
                      <a:pt x="59436" y="87916"/>
                    </a:cubicBezTo>
                    <a:cubicBezTo>
                      <a:pt x="62782" y="85405"/>
                      <a:pt x="65490" y="82142"/>
                      <a:pt x="67342" y="78391"/>
                    </a:cubicBezTo>
                    <a:cubicBezTo>
                      <a:pt x="68770" y="76125"/>
                      <a:pt x="69249" y="73387"/>
                      <a:pt x="68675" y="70771"/>
                    </a:cubicBezTo>
                    <a:cubicBezTo>
                      <a:pt x="68240" y="69220"/>
                      <a:pt x="67116" y="67955"/>
                      <a:pt x="65627" y="67342"/>
                    </a:cubicBezTo>
                    <a:cubicBezTo>
                      <a:pt x="64018" y="66590"/>
                      <a:pt x="62110" y="66933"/>
                      <a:pt x="60865" y="68199"/>
                    </a:cubicBezTo>
                    <a:lnTo>
                      <a:pt x="62293" y="69056"/>
                    </a:lnTo>
                    <a:cubicBezTo>
                      <a:pt x="63531" y="66720"/>
                      <a:pt x="64029" y="64062"/>
                      <a:pt x="63722" y="61436"/>
                    </a:cubicBezTo>
                    <a:cubicBezTo>
                      <a:pt x="63359" y="59969"/>
                      <a:pt x="62522" y="58664"/>
                      <a:pt x="61341" y="57721"/>
                    </a:cubicBezTo>
                    <a:cubicBezTo>
                      <a:pt x="59997" y="56816"/>
                      <a:pt x="58315" y="56571"/>
                      <a:pt x="56769" y="57055"/>
                    </a:cubicBezTo>
                    <a:cubicBezTo>
                      <a:pt x="55674" y="57459"/>
                      <a:pt x="54504" y="57621"/>
                      <a:pt x="53340" y="57531"/>
                    </a:cubicBezTo>
                    <a:cubicBezTo>
                      <a:pt x="52673" y="57531"/>
                      <a:pt x="52483" y="56388"/>
                      <a:pt x="52578" y="54959"/>
                    </a:cubicBezTo>
                    <a:cubicBezTo>
                      <a:pt x="52619" y="51834"/>
                      <a:pt x="51421" y="48820"/>
                      <a:pt x="49244" y="46577"/>
                    </a:cubicBezTo>
                    <a:cubicBezTo>
                      <a:pt x="45871" y="42767"/>
                      <a:pt x="40603" y="41246"/>
                      <a:pt x="35719" y="42672"/>
                    </a:cubicBezTo>
                    <a:lnTo>
                      <a:pt x="36957" y="43815"/>
                    </a:lnTo>
                    <a:cubicBezTo>
                      <a:pt x="38256" y="40096"/>
                      <a:pt x="37496" y="35968"/>
                      <a:pt x="34957" y="32956"/>
                    </a:cubicBezTo>
                    <a:cubicBezTo>
                      <a:pt x="33481" y="31625"/>
                      <a:pt x="31500" y="31000"/>
                      <a:pt x="29527" y="31242"/>
                    </a:cubicBezTo>
                    <a:cubicBezTo>
                      <a:pt x="27560" y="31373"/>
                      <a:pt x="25848" y="32638"/>
                      <a:pt x="25146" y="34480"/>
                    </a:cubicBezTo>
                    <a:lnTo>
                      <a:pt x="26860" y="34480"/>
                    </a:lnTo>
                    <a:cubicBezTo>
                      <a:pt x="27112" y="29457"/>
                      <a:pt x="25922" y="24467"/>
                      <a:pt x="23431" y="20098"/>
                    </a:cubicBezTo>
                    <a:cubicBezTo>
                      <a:pt x="21621" y="16672"/>
                      <a:pt x="19086" y="13681"/>
                      <a:pt x="16002" y="11335"/>
                    </a:cubicBezTo>
                    <a:cubicBezTo>
                      <a:pt x="14049" y="9844"/>
                      <a:pt x="11902" y="8626"/>
                      <a:pt x="9620" y="7715"/>
                    </a:cubicBezTo>
                    <a:cubicBezTo>
                      <a:pt x="8829" y="7400"/>
                      <a:pt x="7993" y="7207"/>
                      <a:pt x="7144" y="7144"/>
                    </a:cubicBezTo>
                    <a:cubicBezTo>
                      <a:pt x="10096" y="8492"/>
                      <a:pt x="12878" y="10187"/>
                      <a:pt x="15430" y="12192"/>
                    </a:cubicBezTo>
                    <a:cubicBezTo>
                      <a:pt x="18215" y="14588"/>
                      <a:pt x="20511" y="17499"/>
                      <a:pt x="22193" y="20764"/>
                    </a:cubicBezTo>
                    <a:cubicBezTo>
                      <a:pt x="24403" y="24950"/>
                      <a:pt x="25424" y="29660"/>
                      <a:pt x="25146" y="34385"/>
                    </a:cubicBezTo>
                    <a:lnTo>
                      <a:pt x="24670" y="41624"/>
                    </a:lnTo>
                    <a:lnTo>
                      <a:pt x="26765" y="34766"/>
                    </a:lnTo>
                    <a:cubicBezTo>
                      <a:pt x="27527" y="32385"/>
                      <a:pt x="31718" y="32004"/>
                      <a:pt x="33623" y="34004"/>
                    </a:cubicBezTo>
                    <a:cubicBezTo>
                      <a:pt x="35646" y="36561"/>
                      <a:pt x="36221" y="39975"/>
                      <a:pt x="35147" y="43053"/>
                    </a:cubicBezTo>
                    <a:lnTo>
                      <a:pt x="35147" y="44863"/>
                    </a:lnTo>
                    <a:lnTo>
                      <a:pt x="36862" y="44196"/>
                    </a:lnTo>
                    <a:cubicBezTo>
                      <a:pt x="40985" y="43071"/>
                      <a:pt x="45388" y="44403"/>
                      <a:pt x="48196" y="47625"/>
                    </a:cubicBezTo>
                    <a:cubicBezTo>
                      <a:pt x="50062" y="49453"/>
                      <a:pt x="51095" y="51967"/>
                      <a:pt x="51054" y="54578"/>
                    </a:cubicBezTo>
                    <a:cubicBezTo>
                      <a:pt x="50919" y="55366"/>
                      <a:pt x="50919" y="56171"/>
                      <a:pt x="51054" y="56959"/>
                    </a:cubicBezTo>
                    <a:cubicBezTo>
                      <a:pt x="51291" y="57937"/>
                      <a:pt x="52009" y="58726"/>
                      <a:pt x="52959" y="59055"/>
                    </a:cubicBezTo>
                    <a:cubicBezTo>
                      <a:pt x="54422" y="59471"/>
                      <a:pt x="55972" y="59471"/>
                      <a:pt x="57436" y="59055"/>
                    </a:cubicBezTo>
                    <a:cubicBezTo>
                      <a:pt x="58402" y="58606"/>
                      <a:pt x="59517" y="58606"/>
                      <a:pt x="60484" y="59055"/>
                    </a:cubicBezTo>
                    <a:cubicBezTo>
                      <a:pt x="61349" y="59717"/>
                      <a:pt x="61956" y="60660"/>
                      <a:pt x="62198" y="61722"/>
                    </a:cubicBezTo>
                    <a:cubicBezTo>
                      <a:pt x="62433" y="63987"/>
                      <a:pt x="62003" y="66270"/>
                      <a:pt x="60960" y="68294"/>
                    </a:cubicBezTo>
                    <a:lnTo>
                      <a:pt x="59150" y="73057"/>
                    </a:lnTo>
                    <a:lnTo>
                      <a:pt x="62484" y="69151"/>
                    </a:lnTo>
                    <a:cubicBezTo>
                      <a:pt x="63817" y="67627"/>
                      <a:pt x="67056" y="69151"/>
                      <a:pt x="67437" y="71056"/>
                    </a:cubicBezTo>
                    <a:cubicBezTo>
                      <a:pt x="67866" y="73271"/>
                      <a:pt x="67494" y="75567"/>
                      <a:pt x="66389" y="77533"/>
                    </a:cubicBezTo>
                    <a:cubicBezTo>
                      <a:pt x="64666" y="81042"/>
                      <a:pt x="62195" y="84131"/>
                      <a:pt x="59150" y="86582"/>
                    </a:cubicBezTo>
                    <a:cubicBezTo>
                      <a:pt x="56299" y="88832"/>
                      <a:pt x="53160" y="90690"/>
                      <a:pt x="49816" y="92107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6" name="Полилиния: фигура 735">
                <a:extLst>
                  <a:ext uri="{FF2B5EF4-FFF2-40B4-BE49-F238E27FC236}">
                    <a16:creationId xmlns:a16="http://schemas.microsoft.com/office/drawing/2014/main" id="{88B6D2AC-65AC-4496-84DB-30335FBD03CF}"/>
                  </a:ext>
                </a:extLst>
              </p:cNvPr>
              <p:cNvSpPr/>
              <p:nvPr/>
            </p:nvSpPr>
            <p:spPr>
              <a:xfrm>
                <a:off x="1821373" y="3704391"/>
                <a:ext cx="28575" cy="38100"/>
              </a:xfrm>
              <a:custGeom>
                <a:avLst/>
                <a:gdLst>
                  <a:gd name="connsiteX0" fmla="*/ 7155 w 28575"/>
                  <a:gd name="connsiteY0" fmla="*/ 39765 h 38100"/>
                  <a:gd name="connsiteX1" fmla="*/ 13061 w 28575"/>
                  <a:gd name="connsiteY1" fmla="*/ 37384 h 38100"/>
                  <a:gd name="connsiteX2" fmla="*/ 18300 w 28575"/>
                  <a:gd name="connsiteY2" fmla="*/ 32716 h 38100"/>
                  <a:gd name="connsiteX3" fmla="*/ 20300 w 28575"/>
                  <a:gd name="connsiteY3" fmla="*/ 24144 h 38100"/>
                  <a:gd name="connsiteX4" fmla="*/ 19443 w 28575"/>
                  <a:gd name="connsiteY4" fmla="*/ 22048 h 38100"/>
                  <a:gd name="connsiteX5" fmla="*/ 19443 w 28575"/>
                  <a:gd name="connsiteY5" fmla="*/ 23477 h 38100"/>
                  <a:gd name="connsiteX6" fmla="*/ 24300 w 28575"/>
                  <a:gd name="connsiteY6" fmla="*/ 16905 h 38100"/>
                  <a:gd name="connsiteX7" fmla="*/ 23062 w 28575"/>
                  <a:gd name="connsiteY7" fmla="*/ 10428 h 38100"/>
                  <a:gd name="connsiteX8" fmla="*/ 18300 w 28575"/>
                  <a:gd name="connsiteY8" fmla="*/ 7189 h 38100"/>
                  <a:gd name="connsiteX9" fmla="*/ 21919 w 28575"/>
                  <a:gd name="connsiteY9" fmla="*/ 11190 h 38100"/>
                  <a:gd name="connsiteX10" fmla="*/ 22586 w 28575"/>
                  <a:gd name="connsiteY10" fmla="*/ 16524 h 38100"/>
                  <a:gd name="connsiteX11" fmla="*/ 18490 w 28575"/>
                  <a:gd name="connsiteY11" fmla="*/ 21667 h 38100"/>
                  <a:gd name="connsiteX12" fmla="*/ 17633 w 28575"/>
                  <a:gd name="connsiteY12" fmla="*/ 21667 h 38100"/>
                  <a:gd name="connsiteX13" fmla="*/ 17633 w 28575"/>
                  <a:gd name="connsiteY13" fmla="*/ 22620 h 38100"/>
                  <a:gd name="connsiteX14" fmla="*/ 18204 w 28575"/>
                  <a:gd name="connsiteY14" fmla="*/ 24144 h 38100"/>
                  <a:gd name="connsiteX15" fmla="*/ 16680 w 28575"/>
                  <a:gd name="connsiteY15" fmla="*/ 31288 h 38100"/>
                  <a:gd name="connsiteX16" fmla="*/ 12204 w 28575"/>
                  <a:gd name="connsiteY16" fmla="*/ 35764 h 38100"/>
                  <a:gd name="connsiteX17" fmla="*/ 7155 w 28575"/>
                  <a:gd name="connsiteY17" fmla="*/ 39765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8575" h="38100">
                    <a:moveTo>
                      <a:pt x="7155" y="39765"/>
                    </a:moveTo>
                    <a:cubicBezTo>
                      <a:pt x="9262" y="39370"/>
                      <a:pt x="11269" y="38560"/>
                      <a:pt x="13061" y="37384"/>
                    </a:cubicBezTo>
                    <a:cubicBezTo>
                      <a:pt x="15122" y="36222"/>
                      <a:pt x="16908" y="34630"/>
                      <a:pt x="18300" y="32716"/>
                    </a:cubicBezTo>
                    <a:cubicBezTo>
                      <a:pt x="20193" y="30291"/>
                      <a:pt x="20924" y="27156"/>
                      <a:pt x="20300" y="24144"/>
                    </a:cubicBezTo>
                    <a:cubicBezTo>
                      <a:pt x="20114" y="23409"/>
                      <a:pt x="19825" y="22703"/>
                      <a:pt x="19443" y="22048"/>
                    </a:cubicBezTo>
                    <a:lnTo>
                      <a:pt x="19443" y="23477"/>
                    </a:lnTo>
                    <a:cubicBezTo>
                      <a:pt x="21967" y="22128"/>
                      <a:pt x="23751" y="19714"/>
                      <a:pt x="24300" y="16905"/>
                    </a:cubicBezTo>
                    <a:cubicBezTo>
                      <a:pt x="24672" y="14667"/>
                      <a:pt x="24233" y="12370"/>
                      <a:pt x="23062" y="10428"/>
                    </a:cubicBezTo>
                    <a:cubicBezTo>
                      <a:pt x="20871" y="7285"/>
                      <a:pt x="18300" y="6999"/>
                      <a:pt x="18300" y="7189"/>
                    </a:cubicBezTo>
                    <a:cubicBezTo>
                      <a:pt x="18300" y="7380"/>
                      <a:pt x="20300" y="8237"/>
                      <a:pt x="21919" y="11190"/>
                    </a:cubicBezTo>
                    <a:cubicBezTo>
                      <a:pt x="22742" y="12840"/>
                      <a:pt x="22978" y="14722"/>
                      <a:pt x="22586" y="16524"/>
                    </a:cubicBezTo>
                    <a:cubicBezTo>
                      <a:pt x="22044" y="18757"/>
                      <a:pt x="20546" y="20639"/>
                      <a:pt x="18490" y="21667"/>
                    </a:cubicBezTo>
                    <a:lnTo>
                      <a:pt x="17633" y="21667"/>
                    </a:lnTo>
                    <a:lnTo>
                      <a:pt x="17633" y="22620"/>
                    </a:lnTo>
                    <a:cubicBezTo>
                      <a:pt x="17921" y="23086"/>
                      <a:pt x="18115" y="23603"/>
                      <a:pt x="18204" y="24144"/>
                    </a:cubicBezTo>
                    <a:cubicBezTo>
                      <a:pt x="18666" y="26633"/>
                      <a:pt x="18117" y="29203"/>
                      <a:pt x="16680" y="31288"/>
                    </a:cubicBezTo>
                    <a:cubicBezTo>
                      <a:pt x="15436" y="33009"/>
                      <a:pt x="13925" y="34520"/>
                      <a:pt x="12204" y="35764"/>
                    </a:cubicBezTo>
                    <a:cubicBezTo>
                      <a:pt x="9156" y="38336"/>
                      <a:pt x="6965" y="39479"/>
                      <a:pt x="7155" y="39765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7" name="Полилиния: фигура 736">
                <a:extLst>
                  <a:ext uri="{FF2B5EF4-FFF2-40B4-BE49-F238E27FC236}">
                    <a16:creationId xmlns:a16="http://schemas.microsoft.com/office/drawing/2014/main" id="{4E87DD01-7B20-45EE-B79E-DF9FBCB28121}"/>
                  </a:ext>
                </a:extLst>
              </p:cNvPr>
              <p:cNvSpPr/>
              <p:nvPr/>
            </p:nvSpPr>
            <p:spPr>
              <a:xfrm>
                <a:off x="1772355" y="3684911"/>
                <a:ext cx="66675" cy="38100"/>
              </a:xfrm>
              <a:custGeom>
                <a:avLst/>
                <a:gdLst>
                  <a:gd name="connsiteX0" fmla="*/ 10072 w 66675"/>
                  <a:gd name="connsiteY0" fmla="*/ 37910 h 38100"/>
                  <a:gd name="connsiteX1" fmla="*/ 8643 w 66675"/>
                  <a:gd name="connsiteY1" fmla="*/ 30671 h 38100"/>
                  <a:gd name="connsiteX2" fmla="*/ 13310 w 66675"/>
                  <a:gd name="connsiteY2" fmla="*/ 24384 h 38100"/>
                  <a:gd name="connsiteX3" fmla="*/ 22835 w 66675"/>
                  <a:gd name="connsiteY3" fmla="*/ 25908 h 38100"/>
                  <a:gd name="connsiteX4" fmla="*/ 24169 w 66675"/>
                  <a:gd name="connsiteY4" fmla="*/ 27051 h 38100"/>
                  <a:gd name="connsiteX5" fmla="*/ 24169 w 66675"/>
                  <a:gd name="connsiteY5" fmla="*/ 25337 h 38100"/>
                  <a:gd name="connsiteX6" fmla="*/ 26455 w 66675"/>
                  <a:gd name="connsiteY6" fmla="*/ 19526 h 38100"/>
                  <a:gd name="connsiteX7" fmla="*/ 31408 w 66675"/>
                  <a:gd name="connsiteY7" fmla="*/ 16002 h 38100"/>
                  <a:gd name="connsiteX8" fmla="*/ 37218 w 66675"/>
                  <a:gd name="connsiteY8" fmla="*/ 21146 h 38100"/>
                  <a:gd name="connsiteX9" fmla="*/ 39123 w 66675"/>
                  <a:gd name="connsiteY9" fmla="*/ 21146 h 38100"/>
                  <a:gd name="connsiteX10" fmla="*/ 44552 w 66675"/>
                  <a:gd name="connsiteY10" fmla="*/ 11621 h 38100"/>
                  <a:gd name="connsiteX11" fmla="*/ 53030 w 66675"/>
                  <a:gd name="connsiteY11" fmla="*/ 8382 h 38100"/>
                  <a:gd name="connsiteX12" fmla="*/ 61316 w 66675"/>
                  <a:gd name="connsiteY12" fmla="*/ 9811 h 38100"/>
                  <a:gd name="connsiteX13" fmla="*/ 59411 w 66675"/>
                  <a:gd name="connsiteY13" fmla="*/ 8573 h 38100"/>
                  <a:gd name="connsiteX14" fmla="*/ 53030 w 66675"/>
                  <a:gd name="connsiteY14" fmla="*/ 7144 h 38100"/>
                  <a:gd name="connsiteX15" fmla="*/ 43505 w 66675"/>
                  <a:gd name="connsiteY15" fmla="*/ 10287 h 38100"/>
                  <a:gd name="connsiteX16" fmla="*/ 37218 w 66675"/>
                  <a:gd name="connsiteY16" fmla="*/ 21241 h 38100"/>
                  <a:gd name="connsiteX17" fmla="*/ 39028 w 66675"/>
                  <a:gd name="connsiteY17" fmla="*/ 21241 h 38100"/>
                  <a:gd name="connsiteX18" fmla="*/ 37123 w 66675"/>
                  <a:gd name="connsiteY18" fmla="*/ 15526 h 38100"/>
                  <a:gd name="connsiteX19" fmla="*/ 31122 w 66675"/>
                  <a:gd name="connsiteY19" fmla="*/ 13621 h 38100"/>
                  <a:gd name="connsiteX20" fmla="*/ 24740 w 66675"/>
                  <a:gd name="connsiteY20" fmla="*/ 18098 h 38100"/>
                  <a:gd name="connsiteX21" fmla="*/ 22359 w 66675"/>
                  <a:gd name="connsiteY21" fmla="*/ 24670 h 38100"/>
                  <a:gd name="connsiteX22" fmla="*/ 23788 w 66675"/>
                  <a:gd name="connsiteY22" fmla="*/ 24860 h 38100"/>
                  <a:gd name="connsiteX23" fmla="*/ 12358 w 66675"/>
                  <a:gd name="connsiteY23" fmla="*/ 23336 h 38100"/>
                  <a:gd name="connsiteX24" fmla="*/ 7214 w 66675"/>
                  <a:gd name="connsiteY24" fmla="*/ 30861 h 38100"/>
                  <a:gd name="connsiteX25" fmla="*/ 8357 w 66675"/>
                  <a:gd name="connsiteY25" fmla="*/ 36671 h 38100"/>
                  <a:gd name="connsiteX26" fmla="*/ 10072 w 66675"/>
                  <a:gd name="connsiteY26" fmla="*/ 3791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66675" h="38100">
                    <a:moveTo>
                      <a:pt x="10072" y="37910"/>
                    </a:moveTo>
                    <a:cubicBezTo>
                      <a:pt x="8841" y="35709"/>
                      <a:pt x="8341" y="33174"/>
                      <a:pt x="8643" y="30671"/>
                    </a:cubicBezTo>
                    <a:cubicBezTo>
                      <a:pt x="9048" y="27926"/>
                      <a:pt x="10800" y="25566"/>
                      <a:pt x="13310" y="24384"/>
                    </a:cubicBezTo>
                    <a:cubicBezTo>
                      <a:pt x="16505" y="22942"/>
                      <a:pt x="20251" y="23541"/>
                      <a:pt x="22835" y="25908"/>
                    </a:cubicBezTo>
                    <a:lnTo>
                      <a:pt x="24169" y="27051"/>
                    </a:lnTo>
                    <a:lnTo>
                      <a:pt x="24169" y="25337"/>
                    </a:lnTo>
                    <a:cubicBezTo>
                      <a:pt x="24519" y="23262"/>
                      <a:pt x="25297" y="21283"/>
                      <a:pt x="26455" y="19526"/>
                    </a:cubicBezTo>
                    <a:cubicBezTo>
                      <a:pt x="27537" y="17707"/>
                      <a:pt x="29335" y="16428"/>
                      <a:pt x="31408" y="16002"/>
                    </a:cubicBezTo>
                    <a:cubicBezTo>
                      <a:pt x="34551" y="16002"/>
                      <a:pt x="38075" y="18479"/>
                      <a:pt x="37218" y="21146"/>
                    </a:cubicBezTo>
                    <a:lnTo>
                      <a:pt x="39123" y="21146"/>
                    </a:lnTo>
                    <a:cubicBezTo>
                      <a:pt x="39653" y="17395"/>
                      <a:pt x="41595" y="13988"/>
                      <a:pt x="44552" y="11621"/>
                    </a:cubicBezTo>
                    <a:cubicBezTo>
                      <a:pt x="46937" y="9624"/>
                      <a:pt x="49921" y="8483"/>
                      <a:pt x="53030" y="8382"/>
                    </a:cubicBezTo>
                    <a:cubicBezTo>
                      <a:pt x="55855" y="8357"/>
                      <a:pt x="58662" y="8841"/>
                      <a:pt x="61316" y="9811"/>
                    </a:cubicBezTo>
                    <a:cubicBezTo>
                      <a:pt x="61316" y="9811"/>
                      <a:pt x="60745" y="9239"/>
                      <a:pt x="59411" y="8573"/>
                    </a:cubicBezTo>
                    <a:cubicBezTo>
                      <a:pt x="57415" y="7634"/>
                      <a:pt x="55236" y="7146"/>
                      <a:pt x="53030" y="7144"/>
                    </a:cubicBezTo>
                    <a:cubicBezTo>
                      <a:pt x="49598" y="7130"/>
                      <a:pt x="46254" y="8233"/>
                      <a:pt x="43505" y="10287"/>
                    </a:cubicBezTo>
                    <a:cubicBezTo>
                      <a:pt x="40061" y="12979"/>
                      <a:pt x="37806" y="16910"/>
                      <a:pt x="37218" y="21241"/>
                    </a:cubicBezTo>
                    <a:lnTo>
                      <a:pt x="39028" y="21241"/>
                    </a:lnTo>
                    <a:cubicBezTo>
                      <a:pt x="39605" y="19126"/>
                      <a:pt x="38853" y="16871"/>
                      <a:pt x="37123" y="15526"/>
                    </a:cubicBezTo>
                    <a:cubicBezTo>
                      <a:pt x="35451" y="14126"/>
                      <a:pt x="33295" y="13442"/>
                      <a:pt x="31122" y="13621"/>
                    </a:cubicBezTo>
                    <a:cubicBezTo>
                      <a:pt x="28454" y="14134"/>
                      <a:pt x="26132" y="15763"/>
                      <a:pt x="24740" y="18098"/>
                    </a:cubicBezTo>
                    <a:cubicBezTo>
                      <a:pt x="23518" y="20108"/>
                      <a:pt x="22709" y="22343"/>
                      <a:pt x="22359" y="24670"/>
                    </a:cubicBezTo>
                    <a:lnTo>
                      <a:pt x="23788" y="24860"/>
                    </a:lnTo>
                    <a:cubicBezTo>
                      <a:pt x="20625" y="22113"/>
                      <a:pt x="16130" y="21514"/>
                      <a:pt x="12358" y="23336"/>
                    </a:cubicBezTo>
                    <a:cubicBezTo>
                      <a:pt x="9477" y="24808"/>
                      <a:pt x="7540" y="27642"/>
                      <a:pt x="7214" y="30861"/>
                    </a:cubicBezTo>
                    <a:cubicBezTo>
                      <a:pt x="6968" y="32870"/>
                      <a:pt x="7369" y="34905"/>
                      <a:pt x="8357" y="36671"/>
                    </a:cubicBezTo>
                    <a:cubicBezTo>
                      <a:pt x="8831" y="37205"/>
                      <a:pt x="9416" y="37628"/>
                      <a:pt x="10072" y="37910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8" name="Полилиния: фигура 737">
                <a:extLst>
                  <a:ext uri="{FF2B5EF4-FFF2-40B4-BE49-F238E27FC236}">
                    <a16:creationId xmlns:a16="http://schemas.microsoft.com/office/drawing/2014/main" id="{4F8286CF-B889-49AF-90D2-19134023DB3E}"/>
                  </a:ext>
                </a:extLst>
              </p:cNvPr>
              <p:cNvSpPr/>
              <p:nvPr/>
            </p:nvSpPr>
            <p:spPr>
              <a:xfrm>
                <a:off x="1414095" y="6154458"/>
                <a:ext cx="304800" cy="257175"/>
              </a:xfrm>
              <a:custGeom>
                <a:avLst/>
                <a:gdLst>
                  <a:gd name="connsiteX0" fmla="*/ 299180 w 304800"/>
                  <a:gd name="connsiteY0" fmla="*/ 7144 h 257175"/>
                  <a:gd name="connsiteX1" fmla="*/ 302419 w 304800"/>
                  <a:gd name="connsiteY1" fmla="*/ 244792 h 257175"/>
                  <a:gd name="connsiteX2" fmla="*/ 7144 w 304800"/>
                  <a:gd name="connsiteY2" fmla="*/ 250317 h 257175"/>
                  <a:gd name="connsiteX3" fmla="*/ 160211 w 304800"/>
                  <a:gd name="connsiteY3" fmla="*/ 162496 h 257175"/>
                  <a:gd name="connsiteX4" fmla="*/ 151924 w 304800"/>
                  <a:gd name="connsiteY4" fmla="*/ 10096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4800" h="257175">
                    <a:moveTo>
                      <a:pt x="299180" y="7144"/>
                    </a:moveTo>
                    <a:lnTo>
                      <a:pt x="302419" y="244792"/>
                    </a:lnTo>
                    <a:lnTo>
                      <a:pt x="7144" y="250317"/>
                    </a:lnTo>
                    <a:cubicBezTo>
                      <a:pt x="8287" y="221742"/>
                      <a:pt x="160211" y="162496"/>
                      <a:pt x="160211" y="162496"/>
                    </a:cubicBezTo>
                    <a:lnTo>
                      <a:pt x="151924" y="10096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9" name="Полилиния: фигура 738">
                <a:extLst>
                  <a:ext uri="{FF2B5EF4-FFF2-40B4-BE49-F238E27FC236}">
                    <a16:creationId xmlns:a16="http://schemas.microsoft.com/office/drawing/2014/main" id="{BAE5F7F2-BE8E-4047-A54C-56BB3F491046}"/>
                  </a:ext>
                </a:extLst>
              </p:cNvPr>
              <p:cNvSpPr/>
              <p:nvPr/>
            </p:nvSpPr>
            <p:spPr>
              <a:xfrm>
                <a:off x="1643461" y="6295025"/>
                <a:ext cx="28575" cy="28575"/>
              </a:xfrm>
              <a:custGeom>
                <a:avLst/>
                <a:gdLst>
                  <a:gd name="connsiteX0" fmla="*/ 21618 w 28575"/>
                  <a:gd name="connsiteY0" fmla="*/ 7355 h 28575"/>
                  <a:gd name="connsiteX1" fmla="*/ 30286 w 28575"/>
                  <a:gd name="connsiteY1" fmla="*/ 20976 h 28575"/>
                  <a:gd name="connsiteX2" fmla="*/ 16856 w 28575"/>
                  <a:gd name="connsiteY2" fmla="*/ 29644 h 28575"/>
                  <a:gd name="connsiteX3" fmla="*/ 7331 w 28575"/>
                  <a:gd name="connsiteY3" fmla="*/ 15166 h 28575"/>
                  <a:gd name="connsiteX4" fmla="*/ 22285 w 28575"/>
                  <a:gd name="connsiteY4" fmla="*/ 773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21618" y="7355"/>
                    </a:moveTo>
                    <a:cubicBezTo>
                      <a:pt x="27558" y="9021"/>
                      <a:pt x="31293" y="14890"/>
                      <a:pt x="30286" y="20976"/>
                    </a:cubicBezTo>
                    <a:cubicBezTo>
                      <a:pt x="28782" y="26945"/>
                      <a:pt x="22915" y="30731"/>
                      <a:pt x="16856" y="29644"/>
                    </a:cubicBezTo>
                    <a:cubicBezTo>
                      <a:pt x="10360" y="28084"/>
                      <a:pt x="6192" y="21748"/>
                      <a:pt x="7331" y="15166"/>
                    </a:cubicBezTo>
                    <a:cubicBezTo>
                      <a:pt x="9453" y="9023"/>
                      <a:pt x="16108" y="5717"/>
                      <a:pt x="22285" y="7736"/>
                    </a:cubicBez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0" name="Полилиния: фигура 739">
                <a:extLst>
                  <a:ext uri="{FF2B5EF4-FFF2-40B4-BE49-F238E27FC236}">
                    <a16:creationId xmlns:a16="http://schemas.microsoft.com/office/drawing/2014/main" id="{89416D5C-4B96-4A85-90A7-A06337153175}"/>
                  </a:ext>
                </a:extLst>
              </p:cNvPr>
              <p:cNvSpPr/>
              <p:nvPr/>
            </p:nvSpPr>
            <p:spPr>
              <a:xfrm>
                <a:off x="1413749" y="6367151"/>
                <a:ext cx="304800" cy="38100"/>
              </a:xfrm>
              <a:custGeom>
                <a:avLst/>
                <a:gdLst>
                  <a:gd name="connsiteX0" fmla="*/ 302765 w 304800"/>
                  <a:gd name="connsiteY0" fmla="*/ 31147 h 38100"/>
                  <a:gd name="connsiteX1" fmla="*/ 302765 w 304800"/>
                  <a:gd name="connsiteY1" fmla="*/ 7144 h 38100"/>
                  <a:gd name="connsiteX2" fmla="*/ 18634 w 304800"/>
                  <a:gd name="connsiteY2" fmla="*/ 23241 h 38100"/>
                  <a:gd name="connsiteX3" fmla="*/ 7299 w 304800"/>
                  <a:gd name="connsiteY3" fmla="*/ 38576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800" h="38100">
                    <a:moveTo>
                      <a:pt x="302765" y="31147"/>
                    </a:moveTo>
                    <a:lnTo>
                      <a:pt x="302765" y="7144"/>
                    </a:lnTo>
                    <a:lnTo>
                      <a:pt x="18634" y="23241"/>
                    </a:lnTo>
                    <a:cubicBezTo>
                      <a:pt x="18634" y="23241"/>
                      <a:pt x="5585" y="29337"/>
                      <a:pt x="7299" y="38576"/>
                    </a:cubicBez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1" name="Полилиния: фигура 740">
                <a:extLst>
                  <a:ext uri="{FF2B5EF4-FFF2-40B4-BE49-F238E27FC236}">
                    <a16:creationId xmlns:a16="http://schemas.microsoft.com/office/drawing/2014/main" id="{ADC99728-E54F-4BF3-8D9D-B1F75666CAC6}"/>
                  </a:ext>
                </a:extLst>
              </p:cNvPr>
              <p:cNvSpPr/>
              <p:nvPr/>
            </p:nvSpPr>
            <p:spPr>
              <a:xfrm>
                <a:off x="1561917" y="6306821"/>
                <a:ext cx="38100" cy="28575"/>
              </a:xfrm>
              <a:custGeom>
                <a:avLst/>
                <a:gdLst>
                  <a:gd name="connsiteX0" fmla="*/ 7150 w 38100"/>
                  <a:gd name="connsiteY0" fmla="*/ 8705 h 28575"/>
                  <a:gd name="connsiteX1" fmla="*/ 21723 w 38100"/>
                  <a:gd name="connsiteY1" fmla="*/ 15182 h 28575"/>
                  <a:gd name="connsiteX2" fmla="*/ 34106 w 38100"/>
                  <a:gd name="connsiteY2" fmla="*/ 24707 h 28575"/>
                  <a:gd name="connsiteX3" fmla="*/ 24581 w 38100"/>
                  <a:gd name="connsiteY3" fmla="*/ 10515 h 28575"/>
                  <a:gd name="connsiteX4" fmla="*/ 7150 w 38100"/>
                  <a:gd name="connsiteY4" fmla="*/ 870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7150" y="8705"/>
                    </a:moveTo>
                    <a:cubicBezTo>
                      <a:pt x="7150" y="10133"/>
                      <a:pt x="14484" y="10610"/>
                      <a:pt x="21723" y="15182"/>
                    </a:cubicBezTo>
                    <a:cubicBezTo>
                      <a:pt x="28962" y="19754"/>
                      <a:pt x="32772" y="25659"/>
                      <a:pt x="34106" y="24707"/>
                    </a:cubicBezTo>
                    <a:cubicBezTo>
                      <a:pt x="35439" y="23754"/>
                      <a:pt x="33058" y="15753"/>
                      <a:pt x="24581" y="10515"/>
                    </a:cubicBezTo>
                    <a:cubicBezTo>
                      <a:pt x="16104" y="5276"/>
                      <a:pt x="6864" y="7371"/>
                      <a:pt x="7150" y="8705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2" name="Полилиния: фигура 741">
                <a:extLst>
                  <a:ext uri="{FF2B5EF4-FFF2-40B4-BE49-F238E27FC236}">
                    <a16:creationId xmlns:a16="http://schemas.microsoft.com/office/drawing/2014/main" id="{841E1C21-1E62-4B4E-A4CB-306DE6B7DAB8}"/>
                  </a:ext>
                </a:extLst>
              </p:cNvPr>
              <p:cNvSpPr/>
              <p:nvPr/>
            </p:nvSpPr>
            <p:spPr>
              <a:xfrm>
                <a:off x="1531157" y="6321221"/>
                <a:ext cx="28575" cy="28575"/>
              </a:xfrm>
              <a:custGeom>
                <a:avLst/>
                <a:gdLst>
                  <a:gd name="connsiteX0" fmla="*/ 7144 w 28575"/>
                  <a:gd name="connsiteY0" fmla="*/ 7925 h 28575"/>
                  <a:gd name="connsiteX1" fmla="*/ 18193 w 28575"/>
                  <a:gd name="connsiteY1" fmla="*/ 17450 h 28575"/>
                  <a:gd name="connsiteX2" fmla="*/ 26194 w 28575"/>
                  <a:gd name="connsiteY2" fmla="*/ 29832 h 28575"/>
                  <a:gd name="connsiteX3" fmla="*/ 22003 w 28575"/>
                  <a:gd name="connsiteY3" fmla="*/ 14116 h 28575"/>
                  <a:gd name="connsiteX4" fmla="*/ 7144 w 28575"/>
                  <a:gd name="connsiteY4" fmla="*/ 792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7144" y="7925"/>
                    </a:moveTo>
                    <a:cubicBezTo>
                      <a:pt x="7144" y="9354"/>
                      <a:pt x="13145" y="11735"/>
                      <a:pt x="18193" y="17450"/>
                    </a:cubicBezTo>
                    <a:cubicBezTo>
                      <a:pt x="23241" y="23165"/>
                      <a:pt x="24765" y="29928"/>
                      <a:pt x="26194" y="29832"/>
                    </a:cubicBezTo>
                    <a:cubicBezTo>
                      <a:pt x="27623" y="29737"/>
                      <a:pt x="28385" y="21546"/>
                      <a:pt x="22003" y="14116"/>
                    </a:cubicBezTo>
                    <a:cubicBezTo>
                      <a:pt x="15621" y="6687"/>
                      <a:pt x="7144" y="6306"/>
                      <a:pt x="7144" y="7925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3" name="Полилиния: фигура 742">
                <a:extLst>
                  <a:ext uri="{FF2B5EF4-FFF2-40B4-BE49-F238E27FC236}">
                    <a16:creationId xmlns:a16="http://schemas.microsoft.com/office/drawing/2014/main" id="{7D07FFEA-9B60-4052-BC3B-B998630F85C5}"/>
                  </a:ext>
                </a:extLst>
              </p:cNvPr>
              <p:cNvSpPr/>
              <p:nvPr/>
            </p:nvSpPr>
            <p:spPr>
              <a:xfrm>
                <a:off x="1502339" y="6334558"/>
                <a:ext cx="19050" cy="38100"/>
              </a:xfrm>
              <a:custGeom>
                <a:avLst/>
                <a:gdLst>
                  <a:gd name="connsiteX0" fmla="*/ 19103 w 19050"/>
                  <a:gd name="connsiteY0" fmla="*/ 31831 h 38100"/>
                  <a:gd name="connsiteX1" fmla="*/ 18436 w 19050"/>
                  <a:gd name="connsiteY1" fmla="*/ 16972 h 38100"/>
                  <a:gd name="connsiteX2" fmla="*/ 7197 w 19050"/>
                  <a:gd name="connsiteY2" fmla="*/ 7447 h 38100"/>
                  <a:gd name="connsiteX3" fmla="*/ 13864 w 19050"/>
                  <a:gd name="connsiteY3" fmla="*/ 19258 h 38100"/>
                  <a:gd name="connsiteX4" fmla="*/ 19103 w 19050"/>
                  <a:gd name="connsiteY4" fmla="*/ 3183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19103" y="31831"/>
                    </a:moveTo>
                    <a:cubicBezTo>
                      <a:pt x="20436" y="31831"/>
                      <a:pt x="22246" y="24782"/>
                      <a:pt x="18436" y="16972"/>
                    </a:cubicBezTo>
                    <a:cubicBezTo>
                      <a:pt x="14626" y="9161"/>
                      <a:pt x="7768" y="6113"/>
                      <a:pt x="7197" y="7447"/>
                    </a:cubicBezTo>
                    <a:cubicBezTo>
                      <a:pt x="6625" y="8780"/>
                      <a:pt x="10816" y="12781"/>
                      <a:pt x="13864" y="19258"/>
                    </a:cubicBezTo>
                    <a:cubicBezTo>
                      <a:pt x="16912" y="25735"/>
                      <a:pt x="17579" y="31640"/>
                      <a:pt x="19103" y="3183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4" name="Полилиния: фигура 743">
                <a:extLst>
                  <a:ext uri="{FF2B5EF4-FFF2-40B4-BE49-F238E27FC236}">
                    <a16:creationId xmlns:a16="http://schemas.microsoft.com/office/drawing/2014/main" id="{B6C9C404-7AD4-454A-82D5-8242F3F8D82D}"/>
                  </a:ext>
                </a:extLst>
              </p:cNvPr>
              <p:cNvSpPr/>
              <p:nvPr/>
            </p:nvSpPr>
            <p:spPr>
              <a:xfrm>
                <a:off x="1563865" y="6268353"/>
                <a:ext cx="38100" cy="19050"/>
              </a:xfrm>
              <a:custGeom>
                <a:avLst/>
                <a:gdLst>
                  <a:gd name="connsiteX0" fmla="*/ 7202 w 38100"/>
                  <a:gd name="connsiteY0" fmla="*/ 12215 h 19050"/>
                  <a:gd name="connsiteX1" fmla="*/ 22538 w 38100"/>
                  <a:gd name="connsiteY1" fmla="*/ 12215 h 19050"/>
                  <a:gd name="connsiteX2" fmla="*/ 37873 w 38100"/>
                  <a:gd name="connsiteY2" fmla="*/ 13835 h 19050"/>
                  <a:gd name="connsiteX3" fmla="*/ 22823 w 38100"/>
                  <a:gd name="connsiteY3" fmla="*/ 7167 h 19050"/>
                  <a:gd name="connsiteX4" fmla="*/ 7202 w 38100"/>
                  <a:gd name="connsiteY4" fmla="*/ 12215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7202" y="12215"/>
                    </a:moveTo>
                    <a:cubicBezTo>
                      <a:pt x="7869" y="13549"/>
                      <a:pt x="14441" y="11454"/>
                      <a:pt x="22538" y="12215"/>
                    </a:cubicBezTo>
                    <a:cubicBezTo>
                      <a:pt x="30634" y="12978"/>
                      <a:pt x="37206" y="15073"/>
                      <a:pt x="37873" y="13835"/>
                    </a:cubicBezTo>
                    <a:cubicBezTo>
                      <a:pt x="38540" y="12596"/>
                      <a:pt x="32444" y="7548"/>
                      <a:pt x="22823" y="7167"/>
                    </a:cubicBezTo>
                    <a:cubicBezTo>
                      <a:pt x="13203" y="6786"/>
                      <a:pt x="6440" y="11168"/>
                      <a:pt x="7202" y="12215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5" name="Полилиния: фигура 744">
                <a:extLst>
                  <a:ext uri="{FF2B5EF4-FFF2-40B4-BE49-F238E27FC236}">
                    <a16:creationId xmlns:a16="http://schemas.microsoft.com/office/drawing/2014/main" id="{F230ABDD-C486-48A6-A6F0-C86CC94E3A63}"/>
                  </a:ext>
                </a:extLst>
              </p:cNvPr>
              <p:cNvSpPr/>
              <p:nvPr/>
            </p:nvSpPr>
            <p:spPr>
              <a:xfrm>
                <a:off x="1569924" y="6214084"/>
                <a:ext cx="57150" cy="38100"/>
              </a:xfrm>
              <a:custGeom>
                <a:avLst/>
                <a:gdLst>
                  <a:gd name="connsiteX0" fmla="*/ 7144 w 57150"/>
                  <a:gd name="connsiteY0" fmla="*/ 31338 h 38100"/>
                  <a:gd name="connsiteX1" fmla="*/ 21908 w 57150"/>
                  <a:gd name="connsiteY1" fmla="*/ 31338 h 38100"/>
                  <a:gd name="connsiteX2" fmla="*/ 37338 w 57150"/>
                  <a:gd name="connsiteY2" fmla="*/ 26289 h 38100"/>
                  <a:gd name="connsiteX3" fmla="*/ 45720 w 57150"/>
                  <a:gd name="connsiteY3" fmla="*/ 21622 h 38100"/>
                  <a:gd name="connsiteX4" fmla="*/ 50197 w 57150"/>
                  <a:gd name="connsiteY4" fmla="*/ 18003 h 38100"/>
                  <a:gd name="connsiteX5" fmla="*/ 50673 w 57150"/>
                  <a:gd name="connsiteY5" fmla="*/ 10383 h 38100"/>
                  <a:gd name="connsiteX6" fmla="*/ 44291 w 57150"/>
                  <a:gd name="connsiteY6" fmla="*/ 7144 h 38100"/>
                  <a:gd name="connsiteX7" fmla="*/ 38767 w 57150"/>
                  <a:gd name="connsiteY7" fmla="*/ 8002 h 38100"/>
                  <a:gd name="connsiteX8" fmla="*/ 29242 w 57150"/>
                  <a:gd name="connsiteY8" fmla="*/ 11335 h 38100"/>
                  <a:gd name="connsiteX9" fmla="*/ 15716 w 57150"/>
                  <a:gd name="connsiteY9" fmla="*/ 20860 h 38100"/>
                  <a:gd name="connsiteX10" fmla="*/ 7239 w 57150"/>
                  <a:gd name="connsiteY10" fmla="*/ 33052 h 38100"/>
                  <a:gd name="connsiteX11" fmla="*/ 18097 w 57150"/>
                  <a:gd name="connsiteY11" fmla="*/ 23527 h 38100"/>
                  <a:gd name="connsiteX12" fmla="*/ 31147 w 57150"/>
                  <a:gd name="connsiteY12" fmla="*/ 15812 h 38100"/>
                  <a:gd name="connsiteX13" fmla="*/ 39624 w 57150"/>
                  <a:gd name="connsiteY13" fmla="*/ 13050 h 38100"/>
                  <a:gd name="connsiteX14" fmla="*/ 46196 w 57150"/>
                  <a:gd name="connsiteY14" fmla="*/ 13050 h 38100"/>
                  <a:gd name="connsiteX15" fmla="*/ 46196 w 57150"/>
                  <a:gd name="connsiteY15" fmla="*/ 14764 h 38100"/>
                  <a:gd name="connsiteX16" fmla="*/ 42958 w 57150"/>
                  <a:gd name="connsiteY16" fmla="*/ 17336 h 38100"/>
                  <a:gd name="connsiteX17" fmla="*/ 35242 w 57150"/>
                  <a:gd name="connsiteY17" fmla="*/ 21908 h 38100"/>
                  <a:gd name="connsiteX18" fmla="*/ 20955 w 57150"/>
                  <a:gd name="connsiteY18" fmla="*/ 27718 h 38100"/>
                  <a:gd name="connsiteX19" fmla="*/ 7144 w 57150"/>
                  <a:gd name="connsiteY19" fmla="*/ 31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7150" h="38100">
                    <a:moveTo>
                      <a:pt x="7144" y="31338"/>
                    </a:moveTo>
                    <a:cubicBezTo>
                      <a:pt x="11980" y="32631"/>
                      <a:pt x="17071" y="32631"/>
                      <a:pt x="21908" y="31338"/>
                    </a:cubicBezTo>
                    <a:cubicBezTo>
                      <a:pt x="27240" y="30298"/>
                      <a:pt x="32423" y="28603"/>
                      <a:pt x="37338" y="26289"/>
                    </a:cubicBezTo>
                    <a:cubicBezTo>
                      <a:pt x="40230" y="24917"/>
                      <a:pt x="43030" y="23358"/>
                      <a:pt x="45720" y="21622"/>
                    </a:cubicBezTo>
                    <a:cubicBezTo>
                      <a:pt x="47395" y="20661"/>
                      <a:pt x="48906" y="19439"/>
                      <a:pt x="50197" y="18003"/>
                    </a:cubicBezTo>
                    <a:cubicBezTo>
                      <a:pt x="52089" y="15875"/>
                      <a:pt x="52286" y="12730"/>
                      <a:pt x="50673" y="10383"/>
                    </a:cubicBezTo>
                    <a:cubicBezTo>
                      <a:pt x="49205" y="8322"/>
                      <a:pt x="46821" y="7112"/>
                      <a:pt x="44291" y="7144"/>
                    </a:cubicBezTo>
                    <a:cubicBezTo>
                      <a:pt x="42421" y="7199"/>
                      <a:pt x="40566" y="7487"/>
                      <a:pt x="38767" y="8002"/>
                    </a:cubicBezTo>
                    <a:cubicBezTo>
                      <a:pt x="35505" y="8846"/>
                      <a:pt x="32319" y="9962"/>
                      <a:pt x="29242" y="11335"/>
                    </a:cubicBezTo>
                    <a:cubicBezTo>
                      <a:pt x="24299" y="13845"/>
                      <a:pt x="19744" y="17052"/>
                      <a:pt x="15716" y="20860"/>
                    </a:cubicBezTo>
                    <a:cubicBezTo>
                      <a:pt x="9049" y="27337"/>
                      <a:pt x="6763" y="32766"/>
                      <a:pt x="7239" y="33052"/>
                    </a:cubicBezTo>
                    <a:cubicBezTo>
                      <a:pt x="7715" y="33338"/>
                      <a:pt x="11144" y="28956"/>
                      <a:pt x="18097" y="23527"/>
                    </a:cubicBezTo>
                    <a:cubicBezTo>
                      <a:pt x="22065" y="20358"/>
                      <a:pt x="26458" y="17761"/>
                      <a:pt x="31147" y="15812"/>
                    </a:cubicBezTo>
                    <a:cubicBezTo>
                      <a:pt x="33872" y="14608"/>
                      <a:pt x="36712" y="13683"/>
                      <a:pt x="39624" y="13050"/>
                    </a:cubicBezTo>
                    <a:cubicBezTo>
                      <a:pt x="42672" y="12097"/>
                      <a:pt x="45339" y="12097"/>
                      <a:pt x="46196" y="13050"/>
                    </a:cubicBezTo>
                    <a:cubicBezTo>
                      <a:pt x="47054" y="14002"/>
                      <a:pt x="46196" y="13812"/>
                      <a:pt x="46196" y="14764"/>
                    </a:cubicBezTo>
                    <a:cubicBezTo>
                      <a:pt x="45228" y="15753"/>
                      <a:pt x="44140" y="16616"/>
                      <a:pt x="42958" y="17336"/>
                    </a:cubicBezTo>
                    <a:cubicBezTo>
                      <a:pt x="40386" y="19051"/>
                      <a:pt x="37719" y="20574"/>
                      <a:pt x="35242" y="21908"/>
                    </a:cubicBezTo>
                    <a:cubicBezTo>
                      <a:pt x="30681" y="24305"/>
                      <a:pt x="25895" y="26251"/>
                      <a:pt x="20955" y="27718"/>
                    </a:cubicBezTo>
                    <a:cubicBezTo>
                      <a:pt x="16259" y="28538"/>
                      <a:pt x="11639" y="29749"/>
                      <a:pt x="7144" y="31338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6" name="Полилиния: фигура 745">
                <a:extLst>
                  <a:ext uri="{FF2B5EF4-FFF2-40B4-BE49-F238E27FC236}">
                    <a16:creationId xmlns:a16="http://schemas.microsoft.com/office/drawing/2014/main" id="{D2C08C23-11BC-4229-A6D1-84DA9564D44E}"/>
                  </a:ext>
                </a:extLst>
              </p:cNvPr>
              <p:cNvSpPr/>
              <p:nvPr/>
            </p:nvSpPr>
            <p:spPr>
              <a:xfrm>
                <a:off x="1552193" y="6193510"/>
                <a:ext cx="28575" cy="57150"/>
              </a:xfrm>
              <a:custGeom>
                <a:avLst/>
                <a:gdLst>
                  <a:gd name="connsiteX0" fmla="*/ 27161 w 28575"/>
                  <a:gd name="connsiteY0" fmla="*/ 53912 h 57150"/>
                  <a:gd name="connsiteX1" fmla="*/ 30780 w 28575"/>
                  <a:gd name="connsiteY1" fmla="*/ 39529 h 57150"/>
                  <a:gd name="connsiteX2" fmla="*/ 28494 w 28575"/>
                  <a:gd name="connsiteY2" fmla="*/ 23336 h 57150"/>
                  <a:gd name="connsiteX3" fmla="*/ 24589 w 28575"/>
                  <a:gd name="connsiteY3" fmla="*/ 14478 h 57150"/>
                  <a:gd name="connsiteX4" fmla="*/ 15064 w 28575"/>
                  <a:gd name="connsiteY4" fmla="*/ 7144 h 57150"/>
                  <a:gd name="connsiteX5" fmla="*/ 8968 w 28575"/>
                  <a:gd name="connsiteY5" fmla="*/ 11430 h 57150"/>
                  <a:gd name="connsiteX6" fmla="*/ 7539 w 28575"/>
                  <a:gd name="connsiteY6" fmla="*/ 16859 h 57150"/>
                  <a:gd name="connsiteX7" fmla="*/ 7539 w 28575"/>
                  <a:gd name="connsiteY7" fmla="*/ 26861 h 57150"/>
                  <a:gd name="connsiteX8" fmla="*/ 14111 w 28575"/>
                  <a:gd name="connsiteY8" fmla="*/ 42005 h 57150"/>
                  <a:gd name="connsiteX9" fmla="*/ 26208 w 28575"/>
                  <a:gd name="connsiteY9" fmla="*/ 50673 h 57150"/>
                  <a:gd name="connsiteX10" fmla="*/ 16683 w 28575"/>
                  <a:gd name="connsiteY10" fmla="*/ 40005 h 57150"/>
                  <a:gd name="connsiteX11" fmla="*/ 11730 w 28575"/>
                  <a:gd name="connsiteY11" fmla="*/ 26098 h 57150"/>
                  <a:gd name="connsiteX12" fmla="*/ 11730 w 28575"/>
                  <a:gd name="connsiteY12" fmla="*/ 17621 h 57150"/>
                  <a:gd name="connsiteX13" fmla="*/ 14492 w 28575"/>
                  <a:gd name="connsiteY13" fmla="*/ 12192 h 57150"/>
                  <a:gd name="connsiteX14" fmla="*/ 19731 w 28575"/>
                  <a:gd name="connsiteY14" fmla="*/ 16954 h 57150"/>
                  <a:gd name="connsiteX15" fmla="*/ 23541 w 28575"/>
                  <a:gd name="connsiteY15" fmla="*/ 24860 h 57150"/>
                  <a:gd name="connsiteX16" fmla="*/ 26684 w 28575"/>
                  <a:gd name="connsiteY16" fmla="*/ 39624 h 57150"/>
                  <a:gd name="connsiteX17" fmla="*/ 27161 w 28575"/>
                  <a:gd name="connsiteY17" fmla="*/ 53912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8575" h="57150">
                    <a:moveTo>
                      <a:pt x="27161" y="53912"/>
                    </a:moveTo>
                    <a:cubicBezTo>
                      <a:pt x="29932" y="49653"/>
                      <a:pt x="31206" y="44592"/>
                      <a:pt x="30780" y="39529"/>
                    </a:cubicBezTo>
                    <a:cubicBezTo>
                      <a:pt x="30971" y="34039"/>
                      <a:pt x="30197" y="28558"/>
                      <a:pt x="28494" y="23336"/>
                    </a:cubicBezTo>
                    <a:cubicBezTo>
                      <a:pt x="27474" y="20267"/>
                      <a:pt x="26167" y="17301"/>
                      <a:pt x="24589" y="14478"/>
                    </a:cubicBezTo>
                    <a:cubicBezTo>
                      <a:pt x="22908" y="10541"/>
                      <a:pt x="19300" y="7762"/>
                      <a:pt x="15064" y="7144"/>
                    </a:cubicBezTo>
                    <a:cubicBezTo>
                      <a:pt x="12357" y="7223"/>
                      <a:pt x="9958" y="8910"/>
                      <a:pt x="8968" y="11430"/>
                    </a:cubicBezTo>
                    <a:cubicBezTo>
                      <a:pt x="8217" y="13156"/>
                      <a:pt x="7735" y="14987"/>
                      <a:pt x="7539" y="16859"/>
                    </a:cubicBezTo>
                    <a:cubicBezTo>
                      <a:pt x="7012" y="20172"/>
                      <a:pt x="7012" y="23548"/>
                      <a:pt x="7539" y="26861"/>
                    </a:cubicBezTo>
                    <a:cubicBezTo>
                      <a:pt x="8479" y="32364"/>
                      <a:pt x="10733" y="37560"/>
                      <a:pt x="14111" y="42005"/>
                    </a:cubicBezTo>
                    <a:cubicBezTo>
                      <a:pt x="20017" y="49530"/>
                      <a:pt x="26113" y="51530"/>
                      <a:pt x="26208" y="50673"/>
                    </a:cubicBezTo>
                    <a:cubicBezTo>
                      <a:pt x="26303" y="49816"/>
                      <a:pt x="21636" y="47244"/>
                      <a:pt x="16683" y="40005"/>
                    </a:cubicBezTo>
                    <a:cubicBezTo>
                      <a:pt x="14028" y="35791"/>
                      <a:pt x="12337" y="31042"/>
                      <a:pt x="11730" y="26098"/>
                    </a:cubicBezTo>
                    <a:cubicBezTo>
                      <a:pt x="11309" y="23288"/>
                      <a:pt x="11309" y="20431"/>
                      <a:pt x="11730" y="17621"/>
                    </a:cubicBezTo>
                    <a:cubicBezTo>
                      <a:pt x="11730" y="14383"/>
                      <a:pt x="13254" y="11906"/>
                      <a:pt x="14492" y="12192"/>
                    </a:cubicBezTo>
                    <a:cubicBezTo>
                      <a:pt x="15731" y="12478"/>
                      <a:pt x="18493" y="14478"/>
                      <a:pt x="19731" y="16954"/>
                    </a:cubicBezTo>
                    <a:cubicBezTo>
                      <a:pt x="21249" y="19463"/>
                      <a:pt x="22524" y="22110"/>
                      <a:pt x="23541" y="24860"/>
                    </a:cubicBezTo>
                    <a:cubicBezTo>
                      <a:pt x="25255" y="29616"/>
                      <a:pt x="26312" y="34583"/>
                      <a:pt x="26684" y="39624"/>
                    </a:cubicBezTo>
                    <a:cubicBezTo>
                      <a:pt x="27827" y="48292"/>
                      <a:pt x="26399" y="53721"/>
                      <a:pt x="27161" y="5391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7" name="Полилиния: фигура 746">
                <a:extLst>
                  <a:ext uri="{FF2B5EF4-FFF2-40B4-BE49-F238E27FC236}">
                    <a16:creationId xmlns:a16="http://schemas.microsoft.com/office/drawing/2014/main" id="{41640F2E-E456-4D28-A5BA-D4335B64E6FD}"/>
                  </a:ext>
                </a:extLst>
              </p:cNvPr>
              <p:cNvSpPr/>
              <p:nvPr/>
            </p:nvSpPr>
            <p:spPr>
              <a:xfrm>
                <a:off x="1635837" y="6157982"/>
                <a:ext cx="304800" cy="247650"/>
              </a:xfrm>
              <a:custGeom>
                <a:avLst/>
                <a:gdLst>
                  <a:gd name="connsiteX0" fmla="*/ 305086 w 304800"/>
                  <a:gd name="connsiteY0" fmla="*/ 7144 h 247650"/>
                  <a:gd name="connsiteX1" fmla="*/ 302895 w 304800"/>
                  <a:gd name="connsiteY1" fmla="*/ 245269 h 247650"/>
                  <a:gd name="connsiteX2" fmla="*/ 7144 w 304800"/>
                  <a:gd name="connsiteY2" fmla="*/ 244030 h 247650"/>
                  <a:gd name="connsiteX3" fmla="*/ 162211 w 304800"/>
                  <a:gd name="connsiteY3" fmla="*/ 159734 h 247650"/>
                  <a:gd name="connsiteX4" fmla="*/ 157448 w 304800"/>
                  <a:gd name="connsiteY4" fmla="*/ 7334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4800" h="247650">
                    <a:moveTo>
                      <a:pt x="305086" y="7144"/>
                    </a:moveTo>
                    <a:lnTo>
                      <a:pt x="302895" y="245269"/>
                    </a:lnTo>
                    <a:lnTo>
                      <a:pt x="7144" y="244030"/>
                    </a:lnTo>
                    <a:cubicBezTo>
                      <a:pt x="9049" y="215455"/>
                      <a:pt x="162211" y="159734"/>
                      <a:pt x="162211" y="159734"/>
                    </a:cubicBezTo>
                    <a:lnTo>
                      <a:pt x="157448" y="7334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8" name="Полилиния: фигура 747">
                <a:extLst>
                  <a:ext uri="{FF2B5EF4-FFF2-40B4-BE49-F238E27FC236}">
                    <a16:creationId xmlns:a16="http://schemas.microsoft.com/office/drawing/2014/main" id="{2B80FA19-688E-4FDA-BE77-C5E1FEECDD29}"/>
                  </a:ext>
                </a:extLst>
              </p:cNvPr>
              <p:cNvSpPr/>
              <p:nvPr/>
            </p:nvSpPr>
            <p:spPr>
              <a:xfrm>
                <a:off x="1868189" y="6297372"/>
                <a:ext cx="28575" cy="28575"/>
              </a:xfrm>
              <a:custGeom>
                <a:avLst/>
                <a:gdLst>
                  <a:gd name="connsiteX0" fmla="*/ 21394 w 28575"/>
                  <a:gd name="connsiteY0" fmla="*/ 7390 h 28575"/>
                  <a:gd name="connsiteX1" fmla="*/ 29681 w 28575"/>
                  <a:gd name="connsiteY1" fmla="*/ 21296 h 28575"/>
                  <a:gd name="connsiteX2" fmla="*/ 16060 w 28575"/>
                  <a:gd name="connsiteY2" fmla="*/ 29583 h 28575"/>
                  <a:gd name="connsiteX3" fmla="*/ 7393 w 28575"/>
                  <a:gd name="connsiteY3" fmla="*/ 14914 h 28575"/>
                  <a:gd name="connsiteX4" fmla="*/ 22442 w 28575"/>
                  <a:gd name="connsiteY4" fmla="*/ 777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21394" y="7390"/>
                    </a:moveTo>
                    <a:cubicBezTo>
                      <a:pt x="27280" y="9258"/>
                      <a:pt x="30839" y="15231"/>
                      <a:pt x="29681" y="21296"/>
                    </a:cubicBezTo>
                    <a:cubicBezTo>
                      <a:pt x="28050" y="27229"/>
                      <a:pt x="22078" y="30862"/>
                      <a:pt x="16060" y="29583"/>
                    </a:cubicBezTo>
                    <a:cubicBezTo>
                      <a:pt x="9853" y="27620"/>
                      <a:pt x="6118" y="21299"/>
                      <a:pt x="7393" y="14914"/>
                    </a:cubicBezTo>
                    <a:cubicBezTo>
                      <a:pt x="9670" y="8872"/>
                      <a:pt x="16321" y="5716"/>
                      <a:pt x="22442" y="7771"/>
                    </a:cubicBezTo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9" name="Полилиния: фигура 748">
                <a:extLst>
                  <a:ext uri="{FF2B5EF4-FFF2-40B4-BE49-F238E27FC236}">
                    <a16:creationId xmlns:a16="http://schemas.microsoft.com/office/drawing/2014/main" id="{B5936DB4-4BD6-4587-AB53-9D3096747C6E}"/>
                  </a:ext>
                </a:extLst>
              </p:cNvPr>
              <p:cNvSpPr/>
              <p:nvPr/>
            </p:nvSpPr>
            <p:spPr>
              <a:xfrm>
                <a:off x="1635714" y="6370675"/>
                <a:ext cx="304800" cy="38100"/>
              </a:xfrm>
              <a:custGeom>
                <a:avLst/>
                <a:gdLst>
                  <a:gd name="connsiteX0" fmla="*/ 303304 w 304800"/>
                  <a:gd name="connsiteY0" fmla="*/ 31147 h 38100"/>
                  <a:gd name="connsiteX1" fmla="*/ 303304 w 304800"/>
                  <a:gd name="connsiteY1" fmla="*/ 7144 h 38100"/>
                  <a:gd name="connsiteX2" fmla="*/ 18887 w 304800"/>
                  <a:gd name="connsiteY2" fmla="*/ 16669 h 38100"/>
                  <a:gd name="connsiteX3" fmla="*/ 7267 w 304800"/>
                  <a:gd name="connsiteY3" fmla="*/ 3171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800" h="38100">
                    <a:moveTo>
                      <a:pt x="303304" y="31147"/>
                    </a:moveTo>
                    <a:lnTo>
                      <a:pt x="303304" y="7144"/>
                    </a:lnTo>
                    <a:lnTo>
                      <a:pt x="18887" y="16669"/>
                    </a:lnTo>
                    <a:cubicBezTo>
                      <a:pt x="18887" y="16669"/>
                      <a:pt x="5743" y="22479"/>
                      <a:pt x="7267" y="31718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0" name="Полилиния: фигура 749">
                <a:extLst>
                  <a:ext uri="{FF2B5EF4-FFF2-40B4-BE49-F238E27FC236}">
                    <a16:creationId xmlns:a16="http://schemas.microsoft.com/office/drawing/2014/main" id="{65FF3E66-1119-4342-8765-DA931FC99642}"/>
                  </a:ext>
                </a:extLst>
              </p:cNvPr>
              <p:cNvSpPr/>
              <p:nvPr/>
            </p:nvSpPr>
            <p:spPr>
              <a:xfrm>
                <a:off x="1786135" y="6307273"/>
                <a:ext cx="38100" cy="28575"/>
              </a:xfrm>
              <a:custGeom>
                <a:avLst/>
                <a:gdLst>
                  <a:gd name="connsiteX0" fmla="*/ 7151 w 38100"/>
                  <a:gd name="connsiteY0" fmla="*/ 8442 h 28575"/>
                  <a:gd name="connsiteX1" fmla="*/ 21534 w 38100"/>
                  <a:gd name="connsiteY1" fmla="*/ 15205 h 28575"/>
                  <a:gd name="connsiteX2" fmla="*/ 33630 w 38100"/>
                  <a:gd name="connsiteY2" fmla="*/ 25397 h 28575"/>
                  <a:gd name="connsiteX3" fmla="*/ 24105 w 38100"/>
                  <a:gd name="connsiteY3" fmla="*/ 11014 h 28575"/>
                  <a:gd name="connsiteX4" fmla="*/ 7151 w 38100"/>
                  <a:gd name="connsiteY4" fmla="*/ 844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7151" y="8442"/>
                    </a:moveTo>
                    <a:cubicBezTo>
                      <a:pt x="7151" y="9871"/>
                      <a:pt x="14390" y="10538"/>
                      <a:pt x="21534" y="15205"/>
                    </a:cubicBezTo>
                    <a:cubicBezTo>
                      <a:pt x="28677" y="19872"/>
                      <a:pt x="32392" y="25968"/>
                      <a:pt x="33630" y="25397"/>
                    </a:cubicBezTo>
                    <a:cubicBezTo>
                      <a:pt x="34869" y="24825"/>
                      <a:pt x="32868" y="16539"/>
                      <a:pt x="24105" y="11014"/>
                    </a:cubicBezTo>
                    <a:cubicBezTo>
                      <a:pt x="15342" y="5490"/>
                      <a:pt x="6865" y="7109"/>
                      <a:pt x="7151" y="844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1" name="Полилиния: фигура 750">
                <a:extLst>
                  <a:ext uri="{FF2B5EF4-FFF2-40B4-BE49-F238E27FC236}">
                    <a16:creationId xmlns:a16="http://schemas.microsoft.com/office/drawing/2014/main" id="{060D0D7D-6FAA-4515-A296-A843814F9D83}"/>
                  </a:ext>
                </a:extLst>
              </p:cNvPr>
              <p:cNvSpPr/>
              <p:nvPr/>
            </p:nvSpPr>
            <p:spPr>
              <a:xfrm>
                <a:off x="1755090" y="6320691"/>
                <a:ext cx="28575" cy="28575"/>
              </a:xfrm>
              <a:custGeom>
                <a:avLst/>
                <a:gdLst>
                  <a:gd name="connsiteX0" fmla="*/ 7144 w 28575"/>
                  <a:gd name="connsiteY0" fmla="*/ 7693 h 28575"/>
                  <a:gd name="connsiteX1" fmla="*/ 17907 w 28575"/>
                  <a:gd name="connsiteY1" fmla="*/ 17694 h 28575"/>
                  <a:gd name="connsiteX2" fmla="*/ 25622 w 28575"/>
                  <a:gd name="connsiteY2" fmla="*/ 30267 h 28575"/>
                  <a:gd name="connsiteX3" fmla="*/ 21812 w 28575"/>
                  <a:gd name="connsiteY3" fmla="*/ 14551 h 28575"/>
                  <a:gd name="connsiteX4" fmla="*/ 7144 w 28575"/>
                  <a:gd name="connsiteY4" fmla="*/ 7693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7144" y="7693"/>
                    </a:moveTo>
                    <a:cubicBezTo>
                      <a:pt x="7144" y="9122"/>
                      <a:pt x="13049" y="11598"/>
                      <a:pt x="17907" y="17694"/>
                    </a:cubicBezTo>
                    <a:cubicBezTo>
                      <a:pt x="22765" y="23790"/>
                      <a:pt x="24193" y="30362"/>
                      <a:pt x="25622" y="30267"/>
                    </a:cubicBezTo>
                    <a:cubicBezTo>
                      <a:pt x="27051" y="30172"/>
                      <a:pt x="28004" y="22076"/>
                      <a:pt x="21812" y="14551"/>
                    </a:cubicBezTo>
                    <a:cubicBezTo>
                      <a:pt x="15621" y="7026"/>
                      <a:pt x="7144" y="6360"/>
                      <a:pt x="7144" y="7693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2" name="Полилиния: фигура 751">
                <a:extLst>
                  <a:ext uri="{FF2B5EF4-FFF2-40B4-BE49-F238E27FC236}">
                    <a16:creationId xmlns:a16="http://schemas.microsoft.com/office/drawing/2014/main" id="{0AC4B4C2-7D82-4FBF-9F73-087E139053F8}"/>
                  </a:ext>
                </a:extLst>
              </p:cNvPr>
              <p:cNvSpPr/>
              <p:nvPr/>
            </p:nvSpPr>
            <p:spPr>
              <a:xfrm>
                <a:off x="1726159" y="6333598"/>
                <a:ext cx="19050" cy="38100"/>
              </a:xfrm>
              <a:custGeom>
                <a:avLst/>
                <a:gdLst>
                  <a:gd name="connsiteX0" fmla="*/ 18264 w 19050"/>
                  <a:gd name="connsiteY0" fmla="*/ 31838 h 38100"/>
                  <a:gd name="connsiteX1" fmla="*/ 18264 w 19050"/>
                  <a:gd name="connsiteY1" fmla="*/ 17075 h 38100"/>
                  <a:gd name="connsiteX2" fmla="*/ 7215 w 19050"/>
                  <a:gd name="connsiteY2" fmla="*/ 7550 h 38100"/>
                  <a:gd name="connsiteX3" fmla="*/ 13691 w 19050"/>
                  <a:gd name="connsiteY3" fmla="*/ 19551 h 38100"/>
                  <a:gd name="connsiteX4" fmla="*/ 18264 w 19050"/>
                  <a:gd name="connsiteY4" fmla="*/ 318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18264" y="31838"/>
                    </a:moveTo>
                    <a:cubicBezTo>
                      <a:pt x="19597" y="31838"/>
                      <a:pt x="21597" y="24980"/>
                      <a:pt x="18264" y="17075"/>
                    </a:cubicBezTo>
                    <a:cubicBezTo>
                      <a:pt x="14930" y="9169"/>
                      <a:pt x="7881" y="5930"/>
                      <a:pt x="7215" y="7550"/>
                    </a:cubicBezTo>
                    <a:cubicBezTo>
                      <a:pt x="6548" y="9169"/>
                      <a:pt x="10739" y="12979"/>
                      <a:pt x="13691" y="19551"/>
                    </a:cubicBezTo>
                    <a:cubicBezTo>
                      <a:pt x="16644" y="26123"/>
                      <a:pt x="16835" y="31743"/>
                      <a:pt x="18264" y="31838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3" name="Полилиния: фигура 752">
                <a:extLst>
                  <a:ext uri="{FF2B5EF4-FFF2-40B4-BE49-F238E27FC236}">
                    <a16:creationId xmlns:a16="http://schemas.microsoft.com/office/drawing/2014/main" id="{4FCF77C0-61AD-4FDB-ADF7-CC242857D919}"/>
                  </a:ext>
                </a:extLst>
              </p:cNvPr>
              <p:cNvSpPr/>
              <p:nvPr/>
            </p:nvSpPr>
            <p:spPr>
              <a:xfrm>
                <a:off x="1788941" y="6268612"/>
                <a:ext cx="38100" cy="19050"/>
              </a:xfrm>
              <a:custGeom>
                <a:avLst/>
                <a:gdLst>
                  <a:gd name="connsiteX0" fmla="*/ 7202 w 38100"/>
                  <a:gd name="connsiteY0" fmla="*/ 12242 h 19050"/>
                  <a:gd name="connsiteX1" fmla="*/ 22632 w 38100"/>
                  <a:gd name="connsiteY1" fmla="*/ 12242 h 19050"/>
                  <a:gd name="connsiteX2" fmla="*/ 37872 w 38100"/>
                  <a:gd name="connsiteY2" fmla="*/ 14147 h 19050"/>
                  <a:gd name="connsiteX3" fmla="*/ 22918 w 38100"/>
                  <a:gd name="connsiteY3" fmla="*/ 7194 h 19050"/>
                  <a:gd name="connsiteX4" fmla="*/ 7202 w 38100"/>
                  <a:gd name="connsiteY4" fmla="*/ 12242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7202" y="12242"/>
                    </a:moveTo>
                    <a:cubicBezTo>
                      <a:pt x="7773" y="13576"/>
                      <a:pt x="14440" y="11575"/>
                      <a:pt x="22632" y="12242"/>
                    </a:cubicBezTo>
                    <a:cubicBezTo>
                      <a:pt x="30823" y="12909"/>
                      <a:pt x="37110" y="15386"/>
                      <a:pt x="37872" y="14147"/>
                    </a:cubicBezTo>
                    <a:cubicBezTo>
                      <a:pt x="38634" y="12909"/>
                      <a:pt x="32538" y="7765"/>
                      <a:pt x="22918" y="7194"/>
                    </a:cubicBezTo>
                    <a:cubicBezTo>
                      <a:pt x="13298" y="6622"/>
                      <a:pt x="6440" y="11099"/>
                      <a:pt x="7202" y="1224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4" name="Полилиния: фигура 753">
                <a:extLst>
                  <a:ext uri="{FF2B5EF4-FFF2-40B4-BE49-F238E27FC236}">
                    <a16:creationId xmlns:a16="http://schemas.microsoft.com/office/drawing/2014/main" id="{D5A6DB9C-5EF7-477A-BD2D-2BB8269D9129}"/>
                  </a:ext>
                </a:extLst>
              </p:cNvPr>
              <p:cNvSpPr/>
              <p:nvPr/>
            </p:nvSpPr>
            <p:spPr>
              <a:xfrm>
                <a:off x="1796048" y="6215028"/>
                <a:ext cx="57150" cy="38100"/>
              </a:xfrm>
              <a:custGeom>
                <a:avLst/>
                <a:gdLst>
                  <a:gd name="connsiteX0" fmla="*/ 7144 w 57150"/>
                  <a:gd name="connsiteY0" fmla="*/ 30774 h 38100"/>
                  <a:gd name="connsiteX1" fmla="*/ 22003 w 57150"/>
                  <a:gd name="connsiteY1" fmla="*/ 30774 h 38100"/>
                  <a:gd name="connsiteX2" fmla="*/ 37529 w 57150"/>
                  <a:gd name="connsiteY2" fmla="*/ 26107 h 38100"/>
                  <a:gd name="connsiteX3" fmla="*/ 46006 w 57150"/>
                  <a:gd name="connsiteY3" fmla="*/ 21631 h 38100"/>
                  <a:gd name="connsiteX4" fmla="*/ 50483 w 57150"/>
                  <a:gd name="connsiteY4" fmla="*/ 18106 h 38100"/>
                  <a:gd name="connsiteX5" fmla="*/ 51245 w 57150"/>
                  <a:gd name="connsiteY5" fmla="*/ 10486 h 38100"/>
                  <a:gd name="connsiteX6" fmla="*/ 44863 w 57150"/>
                  <a:gd name="connsiteY6" fmla="*/ 7153 h 38100"/>
                  <a:gd name="connsiteX7" fmla="*/ 39338 w 57150"/>
                  <a:gd name="connsiteY7" fmla="*/ 7915 h 38100"/>
                  <a:gd name="connsiteX8" fmla="*/ 16479 w 57150"/>
                  <a:gd name="connsiteY8" fmla="*/ 19916 h 38100"/>
                  <a:gd name="connsiteX9" fmla="*/ 7715 w 57150"/>
                  <a:gd name="connsiteY9" fmla="*/ 31917 h 38100"/>
                  <a:gd name="connsiteX10" fmla="*/ 18669 w 57150"/>
                  <a:gd name="connsiteY10" fmla="*/ 22392 h 38100"/>
                  <a:gd name="connsiteX11" fmla="*/ 31909 w 57150"/>
                  <a:gd name="connsiteY11" fmla="*/ 14963 h 38100"/>
                  <a:gd name="connsiteX12" fmla="*/ 40481 w 57150"/>
                  <a:gd name="connsiteY12" fmla="*/ 12391 h 38100"/>
                  <a:gd name="connsiteX13" fmla="*/ 47054 w 57150"/>
                  <a:gd name="connsiteY13" fmla="*/ 12963 h 38100"/>
                  <a:gd name="connsiteX14" fmla="*/ 47054 w 57150"/>
                  <a:gd name="connsiteY14" fmla="*/ 14582 h 38100"/>
                  <a:gd name="connsiteX15" fmla="*/ 43815 w 57150"/>
                  <a:gd name="connsiteY15" fmla="*/ 17154 h 38100"/>
                  <a:gd name="connsiteX16" fmla="*/ 35909 w 57150"/>
                  <a:gd name="connsiteY16" fmla="*/ 21630 h 38100"/>
                  <a:gd name="connsiteX17" fmla="*/ 21622 w 57150"/>
                  <a:gd name="connsiteY17" fmla="*/ 27060 h 38100"/>
                  <a:gd name="connsiteX18" fmla="*/ 7144 w 57150"/>
                  <a:gd name="connsiteY18" fmla="*/ 3077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7150" h="38100">
                    <a:moveTo>
                      <a:pt x="7144" y="30774"/>
                    </a:moveTo>
                    <a:cubicBezTo>
                      <a:pt x="12010" y="32085"/>
                      <a:pt x="17137" y="32085"/>
                      <a:pt x="22003" y="30774"/>
                    </a:cubicBezTo>
                    <a:cubicBezTo>
                      <a:pt x="27352" y="29869"/>
                      <a:pt x="32567" y="28301"/>
                      <a:pt x="37529" y="26107"/>
                    </a:cubicBezTo>
                    <a:cubicBezTo>
                      <a:pt x="40440" y="24783"/>
                      <a:pt x="43271" y="23288"/>
                      <a:pt x="46006" y="21631"/>
                    </a:cubicBezTo>
                    <a:cubicBezTo>
                      <a:pt x="47696" y="20731"/>
                      <a:pt x="49212" y="19538"/>
                      <a:pt x="50483" y="18106"/>
                    </a:cubicBezTo>
                    <a:cubicBezTo>
                      <a:pt x="52466" y="16047"/>
                      <a:pt x="52780" y="12898"/>
                      <a:pt x="51245" y="10486"/>
                    </a:cubicBezTo>
                    <a:cubicBezTo>
                      <a:pt x="49787" y="8403"/>
                      <a:pt x="47406" y="7159"/>
                      <a:pt x="44863" y="7153"/>
                    </a:cubicBezTo>
                    <a:cubicBezTo>
                      <a:pt x="42992" y="7091"/>
                      <a:pt x="41123" y="7349"/>
                      <a:pt x="39338" y="7915"/>
                    </a:cubicBezTo>
                    <a:cubicBezTo>
                      <a:pt x="30795" y="9832"/>
                      <a:pt x="22909" y="13972"/>
                      <a:pt x="16479" y="19916"/>
                    </a:cubicBezTo>
                    <a:cubicBezTo>
                      <a:pt x="9525" y="26202"/>
                      <a:pt x="6953" y="31632"/>
                      <a:pt x="7715" y="31917"/>
                    </a:cubicBezTo>
                    <a:cubicBezTo>
                      <a:pt x="8477" y="32203"/>
                      <a:pt x="11716" y="27822"/>
                      <a:pt x="18669" y="22392"/>
                    </a:cubicBezTo>
                    <a:cubicBezTo>
                      <a:pt x="22732" y="19338"/>
                      <a:pt x="27185" y="16840"/>
                      <a:pt x="31909" y="14963"/>
                    </a:cubicBezTo>
                    <a:cubicBezTo>
                      <a:pt x="34694" y="13880"/>
                      <a:pt x="37560" y="13020"/>
                      <a:pt x="40481" y="12391"/>
                    </a:cubicBezTo>
                    <a:cubicBezTo>
                      <a:pt x="43625" y="11534"/>
                      <a:pt x="46196" y="11534"/>
                      <a:pt x="47054" y="12963"/>
                    </a:cubicBezTo>
                    <a:cubicBezTo>
                      <a:pt x="47911" y="14391"/>
                      <a:pt x="47054" y="13725"/>
                      <a:pt x="47054" y="14582"/>
                    </a:cubicBezTo>
                    <a:cubicBezTo>
                      <a:pt x="46110" y="15598"/>
                      <a:pt x="45018" y="16465"/>
                      <a:pt x="43815" y="17154"/>
                    </a:cubicBezTo>
                    <a:cubicBezTo>
                      <a:pt x="41263" y="18789"/>
                      <a:pt x="38624" y="20283"/>
                      <a:pt x="35909" y="21630"/>
                    </a:cubicBezTo>
                    <a:cubicBezTo>
                      <a:pt x="31300" y="23820"/>
                      <a:pt x="26522" y="25636"/>
                      <a:pt x="21622" y="27060"/>
                    </a:cubicBezTo>
                    <a:cubicBezTo>
                      <a:pt x="16716" y="27962"/>
                      <a:pt x="11878" y="29203"/>
                      <a:pt x="7144" y="3077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5" name="Полилиния: фигура 754">
                <a:extLst>
                  <a:ext uri="{FF2B5EF4-FFF2-40B4-BE49-F238E27FC236}">
                    <a16:creationId xmlns:a16="http://schemas.microsoft.com/office/drawing/2014/main" id="{3131995D-E05F-4608-B619-8F058D570D3B}"/>
                  </a:ext>
                </a:extLst>
              </p:cNvPr>
              <p:cNvSpPr/>
              <p:nvPr/>
            </p:nvSpPr>
            <p:spPr>
              <a:xfrm>
                <a:off x="1778576" y="6193700"/>
                <a:ext cx="28575" cy="57150"/>
              </a:xfrm>
              <a:custGeom>
                <a:avLst/>
                <a:gdLst>
                  <a:gd name="connsiteX0" fmla="*/ 26521 w 28575"/>
                  <a:gd name="connsiteY0" fmla="*/ 54198 h 57150"/>
                  <a:gd name="connsiteX1" fmla="*/ 30521 w 28575"/>
                  <a:gd name="connsiteY1" fmla="*/ 39910 h 57150"/>
                  <a:gd name="connsiteX2" fmla="*/ 28521 w 28575"/>
                  <a:gd name="connsiteY2" fmla="*/ 23717 h 57150"/>
                  <a:gd name="connsiteX3" fmla="*/ 24806 w 28575"/>
                  <a:gd name="connsiteY3" fmla="*/ 14669 h 57150"/>
                  <a:gd name="connsiteX4" fmla="*/ 15281 w 28575"/>
                  <a:gd name="connsiteY4" fmla="*/ 7144 h 57150"/>
                  <a:gd name="connsiteX5" fmla="*/ 9090 w 28575"/>
                  <a:gd name="connsiteY5" fmla="*/ 11239 h 57150"/>
                  <a:gd name="connsiteX6" fmla="*/ 7566 w 28575"/>
                  <a:gd name="connsiteY6" fmla="*/ 16669 h 57150"/>
                  <a:gd name="connsiteX7" fmla="*/ 13757 w 28575"/>
                  <a:gd name="connsiteY7" fmla="*/ 42005 h 57150"/>
                  <a:gd name="connsiteX8" fmla="*/ 25664 w 28575"/>
                  <a:gd name="connsiteY8" fmla="*/ 50959 h 57150"/>
                  <a:gd name="connsiteX9" fmla="*/ 16710 w 28575"/>
                  <a:gd name="connsiteY9" fmla="*/ 40005 h 57150"/>
                  <a:gd name="connsiteX10" fmla="*/ 12138 w 28575"/>
                  <a:gd name="connsiteY10" fmla="*/ 26099 h 57150"/>
                  <a:gd name="connsiteX11" fmla="*/ 12138 w 28575"/>
                  <a:gd name="connsiteY11" fmla="*/ 17527 h 57150"/>
                  <a:gd name="connsiteX12" fmla="*/ 14996 w 28575"/>
                  <a:gd name="connsiteY12" fmla="*/ 12192 h 57150"/>
                  <a:gd name="connsiteX13" fmla="*/ 20139 w 28575"/>
                  <a:gd name="connsiteY13" fmla="*/ 17050 h 57150"/>
                  <a:gd name="connsiteX14" fmla="*/ 23759 w 28575"/>
                  <a:gd name="connsiteY14" fmla="*/ 25051 h 57150"/>
                  <a:gd name="connsiteX15" fmla="*/ 27093 w 28575"/>
                  <a:gd name="connsiteY15" fmla="*/ 40196 h 57150"/>
                  <a:gd name="connsiteX16" fmla="*/ 26521 w 28575"/>
                  <a:gd name="connsiteY16" fmla="*/ 54198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575" h="57150">
                    <a:moveTo>
                      <a:pt x="26521" y="54198"/>
                    </a:moveTo>
                    <a:cubicBezTo>
                      <a:pt x="29336" y="49980"/>
                      <a:pt x="30737" y="44976"/>
                      <a:pt x="30521" y="39910"/>
                    </a:cubicBezTo>
                    <a:cubicBezTo>
                      <a:pt x="30821" y="34437"/>
                      <a:pt x="30143" y="28954"/>
                      <a:pt x="28521" y="23717"/>
                    </a:cubicBezTo>
                    <a:cubicBezTo>
                      <a:pt x="27630" y="20570"/>
                      <a:pt x="26384" y="17534"/>
                      <a:pt x="24806" y="14669"/>
                    </a:cubicBezTo>
                    <a:cubicBezTo>
                      <a:pt x="23194" y="10646"/>
                      <a:pt x="19568" y="7781"/>
                      <a:pt x="15281" y="7144"/>
                    </a:cubicBezTo>
                    <a:cubicBezTo>
                      <a:pt x="12615" y="7245"/>
                      <a:pt x="10227" y="8825"/>
                      <a:pt x="9090" y="11239"/>
                    </a:cubicBezTo>
                    <a:cubicBezTo>
                      <a:pt x="8355" y="12978"/>
                      <a:pt x="7843" y="14802"/>
                      <a:pt x="7566" y="16669"/>
                    </a:cubicBezTo>
                    <a:cubicBezTo>
                      <a:pt x="6137" y="25603"/>
                      <a:pt x="8369" y="34737"/>
                      <a:pt x="13757" y="42005"/>
                    </a:cubicBezTo>
                    <a:cubicBezTo>
                      <a:pt x="19472" y="49625"/>
                      <a:pt x="25568" y="51531"/>
                      <a:pt x="25664" y="50959"/>
                    </a:cubicBezTo>
                    <a:cubicBezTo>
                      <a:pt x="25759" y="50388"/>
                      <a:pt x="21092" y="47435"/>
                      <a:pt x="16710" y="40005"/>
                    </a:cubicBezTo>
                    <a:cubicBezTo>
                      <a:pt x="14145" y="35780"/>
                      <a:pt x="12581" y="31023"/>
                      <a:pt x="12138" y="26099"/>
                    </a:cubicBezTo>
                    <a:cubicBezTo>
                      <a:pt x="11707" y="23258"/>
                      <a:pt x="11707" y="20368"/>
                      <a:pt x="12138" y="17527"/>
                    </a:cubicBezTo>
                    <a:cubicBezTo>
                      <a:pt x="12614" y="14383"/>
                      <a:pt x="13757" y="11811"/>
                      <a:pt x="14996" y="12192"/>
                    </a:cubicBezTo>
                    <a:cubicBezTo>
                      <a:pt x="16234" y="12573"/>
                      <a:pt x="18901" y="14574"/>
                      <a:pt x="20139" y="17050"/>
                    </a:cubicBezTo>
                    <a:cubicBezTo>
                      <a:pt x="21581" y="19604"/>
                      <a:pt x="22792" y="22282"/>
                      <a:pt x="23759" y="25051"/>
                    </a:cubicBezTo>
                    <a:cubicBezTo>
                      <a:pt x="25588" y="29914"/>
                      <a:pt x="26710" y="35014"/>
                      <a:pt x="27093" y="40196"/>
                    </a:cubicBezTo>
                    <a:cubicBezTo>
                      <a:pt x="27092" y="48578"/>
                      <a:pt x="25759" y="54007"/>
                      <a:pt x="26521" y="54198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6" name="Полилиния: фигура 755">
                <a:extLst>
                  <a:ext uri="{FF2B5EF4-FFF2-40B4-BE49-F238E27FC236}">
                    <a16:creationId xmlns:a16="http://schemas.microsoft.com/office/drawing/2014/main" id="{26DDF0DA-8B0D-49B4-AFBA-BC4645FE95D7}"/>
                  </a:ext>
                </a:extLst>
              </p:cNvPr>
              <p:cNvSpPr/>
              <p:nvPr/>
            </p:nvSpPr>
            <p:spPr>
              <a:xfrm>
                <a:off x="1635837" y="6157982"/>
                <a:ext cx="304800" cy="247650"/>
              </a:xfrm>
              <a:custGeom>
                <a:avLst/>
                <a:gdLst>
                  <a:gd name="connsiteX0" fmla="*/ 305086 w 304800"/>
                  <a:gd name="connsiteY0" fmla="*/ 7144 h 247650"/>
                  <a:gd name="connsiteX1" fmla="*/ 302895 w 304800"/>
                  <a:gd name="connsiteY1" fmla="*/ 245269 h 247650"/>
                  <a:gd name="connsiteX2" fmla="*/ 7144 w 304800"/>
                  <a:gd name="connsiteY2" fmla="*/ 244030 h 247650"/>
                  <a:gd name="connsiteX3" fmla="*/ 162211 w 304800"/>
                  <a:gd name="connsiteY3" fmla="*/ 159734 h 247650"/>
                  <a:gd name="connsiteX4" fmla="*/ 157448 w 304800"/>
                  <a:gd name="connsiteY4" fmla="*/ 7334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4800" h="247650">
                    <a:moveTo>
                      <a:pt x="305086" y="7144"/>
                    </a:moveTo>
                    <a:lnTo>
                      <a:pt x="302895" y="245269"/>
                    </a:lnTo>
                    <a:lnTo>
                      <a:pt x="7144" y="244030"/>
                    </a:lnTo>
                    <a:cubicBezTo>
                      <a:pt x="9049" y="215455"/>
                      <a:pt x="162211" y="159734"/>
                      <a:pt x="162211" y="159734"/>
                    </a:cubicBezTo>
                    <a:lnTo>
                      <a:pt x="157448" y="7334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7" name="Полилиния: фигура 756">
                <a:extLst>
                  <a:ext uri="{FF2B5EF4-FFF2-40B4-BE49-F238E27FC236}">
                    <a16:creationId xmlns:a16="http://schemas.microsoft.com/office/drawing/2014/main" id="{4017CF80-4B81-47A4-8E4D-EC428DEC162D}"/>
                  </a:ext>
                </a:extLst>
              </p:cNvPr>
              <p:cNvSpPr/>
              <p:nvPr/>
            </p:nvSpPr>
            <p:spPr>
              <a:xfrm>
                <a:off x="1868189" y="6297372"/>
                <a:ext cx="28575" cy="28575"/>
              </a:xfrm>
              <a:custGeom>
                <a:avLst/>
                <a:gdLst>
                  <a:gd name="connsiteX0" fmla="*/ 21394 w 28575"/>
                  <a:gd name="connsiteY0" fmla="*/ 7390 h 28575"/>
                  <a:gd name="connsiteX1" fmla="*/ 29681 w 28575"/>
                  <a:gd name="connsiteY1" fmla="*/ 21296 h 28575"/>
                  <a:gd name="connsiteX2" fmla="*/ 16060 w 28575"/>
                  <a:gd name="connsiteY2" fmla="*/ 29583 h 28575"/>
                  <a:gd name="connsiteX3" fmla="*/ 7393 w 28575"/>
                  <a:gd name="connsiteY3" fmla="*/ 14914 h 28575"/>
                  <a:gd name="connsiteX4" fmla="*/ 22442 w 28575"/>
                  <a:gd name="connsiteY4" fmla="*/ 777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21394" y="7390"/>
                    </a:moveTo>
                    <a:cubicBezTo>
                      <a:pt x="27280" y="9258"/>
                      <a:pt x="30839" y="15231"/>
                      <a:pt x="29681" y="21296"/>
                    </a:cubicBezTo>
                    <a:cubicBezTo>
                      <a:pt x="28050" y="27229"/>
                      <a:pt x="22078" y="30862"/>
                      <a:pt x="16060" y="29583"/>
                    </a:cubicBezTo>
                    <a:cubicBezTo>
                      <a:pt x="9853" y="27620"/>
                      <a:pt x="6118" y="21299"/>
                      <a:pt x="7393" y="14914"/>
                    </a:cubicBezTo>
                    <a:cubicBezTo>
                      <a:pt x="9670" y="8872"/>
                      <a:pt x="16321" y="5716"/>
                      <a:pt x="22442" y="7771"/>
                    </a:cubicBez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8" name="Полилиния: фигура 757">
                <a:extLst>
                  <a:ext uri="{FF2B5EF4-FFF2-40B4-BE49-F238E27FC236}">
                    <a16:creationId xmlns:a16="http://schemas.microsoft.com/office/drawing/2014/main" id="{E6553EEB-7B2B-424A-AAA4-638A64E82067}"/>
                  </a:ext>
                </a:extLst>
              </p:cNvPr>
              <p:cNvSpPr/>
              <p:nvPr/>
            </p:nvSpPr>
            <p:spPr>
              <a:xfrm>
                <a:off x="1635714" y="6370675"/>
                <a:ext cx="304800" cy="38100"/>
              </a:xfrm>
              <a:custGeom>
                <a:avLst/>
                <a:gdLst>
                  <a:gd name="connsiteX0" fmla="*/ 303304 w 304800"/>
                  <a:gd name="connsiteY0" fmla="*/ 31147 h 38100"/>
                  <a:gd name="connsiteX1" fmla="*/ 303304 w 304800"/>
                  <a:gd name="connsiteY1" fmla="*/ 7144 h 38100"/>
                  <a:gd name="connsiteX2" fmla="*/ 18887 w 304800"/>
                  <a:gd name="connsiteY2" fmla="*/ 16669 h 38100"/>
                  <a:gd name="connsiteX3" fmla="*/ 7267 w 304800"/>
                  <a:gd name="connsiteY3" fmla="*/ 3171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800" h="38100">
                    <a:moveTo>
                      <a:pt x="303304" y="31147"/>
                    </a:moveTo>
                    <a:lnTo>
                      <a:pt x="303304" y="7144"/>
                    </a:lnTo>
                    <a:lnTo>
                      <a:pt x="18887" y="16669"/>
                    </a:lnTo>
                    <a:cubicBezTo>
                      <a:pt x="18887" y="16669"/>
                      <a:pt x="5743" y="22479"/>
                      <a:pt x="7267" y="31718"/>
                    </a:cubicBez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9" name="Полилиния: фигура 758">
                <a:extLst>
                  <a:ext uri="{FF2B5EF4-FFF2-40B4-BE49-F238E27FC236}">
                    <a16:creationId xmlns:a16="http://schemas.microsoft.com/office/drawing/2014/main" id="{A1BCA378-4908-4700-9CC7-70C179B274A3}"/>
                  </a:ext>
                </a:extLst>
              </p:cNvPr>
              <p:cNvSpPr/>
              <p:nvPr/>
            </p:nvSpPr>
            <p:spPr>
              <a:xfrm>
                <a:off x="1786135" y="6307273"/>
                <a:ext cx="38100" cy="28575"/>
              </a:xfrm>
              <a:custGeom>
                <a:avLst/>
                <a:gdLst>
                  <a:gd name="connsiteX0" fmla="*/ 7151 w 38100"/>
                  <a:gd name="connsiteY0" fmla="*/ 8442 h 28575"/>
                  <a:gd name="connsiteX1" fmla="*/ 21534 w 38100"/>
                  <a:gd name="connsiteY1" fmla="*/ 15205 h 28575"/>
                  <a:gd name="connsiteX2" fmla="*/ 33630 w 38100"/>
                  <a:gd name="connsiteY2" fmla="*/ 25397 h 28575"/>
                  <a:gd name="connsiteX3" fmla="*/ 24105 w 38100"/>
                  <a:gd name="connsiteY3" fmla="*/ 11014 h 28575"/>
                  <a:gd name="connsiteX4" fmla="*/ 7151 w 38100"/>
                  <a:gd name="connsiteY4" fmla="*/ 844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7151" y="8442"/>
                    </a:moveTo>
                    <a:cubicBezTo>
                      <a:pt x="7151" y="9871"/>
                      <a:pt x="14390" y="10538"/>
                      <a:pt x="21534" y="15205"/>
                    </a:cubicBezTo>
                    <a:cubicBezTo>
                      <a:pt x="28677" y="19872"/>
                      <a:pt x="32392" y="25968"/>
                      <a:pt x="33630" y="25397"/>
                    </a:cubicBezTo>
                    <a:cubicBezTo>
                      <a:pt x="34869" y="24825"/>
                      <a:pt x="32868" y="16539"/>
                      <a:pt x="24105" y="11014"/>
                    </a:cubicBezTo>
                    <a:cubicBezTo>
                      <a:pt x="15342" y="5490"/>
                      <a:pt x="6865" y="7109"/>
                      <a:pt x="7151" y="844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0" name="Полилиния: фигура 759">
                <a:extLst>
                  <a:ext uri="{FF2B5EF4-FFF2-40B4-BE49-F238E27FC236}">
                    <a16:creationId xmlns:a16="http://schemas.microsoft.com/office/drawing/2014/main" id="{6660DCB2-6A64-4587-A1EB-40C009E6CF28}"/>
                  </a:ext>
                </a:extLst>
              </p:cNvPr>
              <p:cNvSpPr/>
              <p:nvPr/>
            </p:nvSpPr>
            <p:spPr>
              <a:xfrm>
                <a:off x="1755090" y="6320691"/>
                <a:ext cx="28575" cy="28575"/>
              </a:xfrm>
              <a:custGeom>
                <a:avLst/>
                <a:gdLst>
                  <a:gd name="connsiteX0" fmla="*/ 7144 w 28575"/>
                  <a:gd name="connsiteY0" fmla="*/ 7693 h 28575"/>
                  <a:gd name="connsiteX1" fmla="*/ 17907 w 28575"/>
                  <a:gd name="connsiteY1" fmla="*/ 17694 h 28575"/>
                  <a:gd name="connsiteX2" fmla="*/ 25622 w 28575"/>
                  <a:gd name="connsiteY2" fmla="*/ 30267 h 28575"/>
                  <a:gd name="connsiteX3" fmla="*/ 21812 w 28575"/>
                  <a:gd name="connsiteY3" fmla="*/ 14551 h 28575"/>
                  <a:gd name="connsiteX4" fmla="*/ 7144 w 28575"/>
                  <a:gd name="connsiteY4" fmla="*/ 7693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7144" y="7693"/>
                    </a:moveTo>
                    <a:cubicBezTo>
                      <a:pt x="7144" y="9122"/>
                      <a:pt x="13049" y="11598"/>
                      <a:pt x="17907" y="17694"/>
                    </a:cubicBezTo>
                    <a:cubicBezTo>
                      <a:pt x="22765" y="23790"/>
                      <a:pt x="24193" y="30362"/>
                      <a:pt x="25622" y="30267"/>
                    </a:cubicBezTo>
                    <a:cubicBezTo>
                      <a:pt x="27051" y="30172"/>
                      <a:pt x="28004" y="22076"/>
                      <a:pt x="21812" y="14551"/>
                    </a:cubicBezTo>
                    <a:cubicBezTo>
                      <a:pt x="15621" y="7026"/>
                      <a:pt x="7144" y="6360"/>
                      <a:pt x="7144" y="769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1" name="Полилиния: фигура 760">
                <a:extLst>
                  <a:ext uri="{FF2B5EF4-FFF2-40B4-BE49-F238E27FC236}">
                    <a16:creationId xmlns:a16="http://schemas.microsoft.com/office/drawing/2014/main" id="{8F2D8D12-6489-4644-86FF-B84E7E3186AD}"/>
                  </a:ext>
                </a:extLst>
              </p:cNvPr>
              <p:cNvSpPr/>
              <p:nvPr/>
            </p:nvSpPr>
            <p:spPr>
              <a:xfrm>
                <a:off x="1726159" y="6333598"/>
                <a:ext cx="19050" cy="38100"/>
              </a:xfrm>
              <a:custGeom>
                <a:avLst/>
                <a:gdLst>
                  <a:gd name="connsiteX0" fmla="*/ 18264 w 19050"/>
                  <a:gd name="connsiteY0" fmla="*/ 31838 h 38100"/>
                  <a:gd name="connsiteX1" fmla="*/ 18264 w 19050"/>
                  <a:gd name="connsiteY1" fmla="*/ 17075 h 38100"/>
                  <a:gd name="connsiteX2" fmla="*/ 7215 w 19050"/>
                  <a:gd name="connsiteY2" fmla="*/ 7550 h 38100"/>
                  <a:gd name="connsiteX3" fmla="*/ 13691 w 19050"/>
                  <a:gd name="connsiteY3" fmla="*/ 19551 h 38100"/>
                  <a:gd name="connsiteX4" fmla="*/ 18264 w 19050"/>
                  <a:gd name="connsiteY4" fmla="*/ 318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18264" y="31838"/>
                    </a:moveTo>
                    <a:cubicBezTo>
                      <a:pt x="19597" y="31838"/>
                      <a:pt x="21597" y="24980"/>
                      <a:pt x="18264" y="17075"/>
                    </a:cubicBezTo>
                    <a:cubicBezTo>
                      <a:pt x="14930" y="9169"/>
                      <a:pt x="7881" y="5930"/>
                      <a:pt x="7215" y="7550"/>
                    </a:cubicBezTo>
                    <a:cubicBezTo>
                      <a:pt x="6548" y="9169"/>
                      <a:pt x="10739" y="12979"/>
                      <a:pt x="13691" y="19551"/>
                    </a:cubicBezTo>
                    <a:cubicBezTo>
                      <a:pt x="16644" y="26123"/>
                      <a:pt x="16835" y="31743"/>
                      <a:pt x="18264" y="31838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2" name="Полилиния: фигура 761">
                <a:extLst>
                  <a:ext uri="{FF2B5EF4-FFF2-40B4-BE49-F238E27FC236}">
                    <a16:creationId xmlns:a16="http://schemas.microsoft.com/office/drawing/2014/main" id="{47794F33-8BF4-4979-97B6-E84029CAAD77}"/>
                  </a:ext>
                </a:extLst>
              </p:cNvPr>
              <p:cNvSpPr/>
              <p:nvPr/>
            </p:nvSpPr>
            <p:spPr>
              <a:xfrm>
                <a:off x="1788941" y="6268612"/>
                <a:ext cx="38100" cy="19050"/>
              </a:xfrm>
              <a:custGeom>
                <a:avLst/>
                <a:gdLst>
                  <a:gd name="connsiteX0" fmla="*/ 7202 w 38100"/>
                  <a:gd name="connsiteY0" fmla="*/ 12242 h 19050"/>
                  <a:gd name="connsiteX1" fmla="*/ 22632 w 38100"/>
                  <a:gd name="connsiteY1" fmla="*/ 12242 h 19050"/>
                  <a:gd name="connsiteX2" fmla="*/ 37872 w 38100"/>
                  <a:gd name="connsiteY2" fmla="*/ 14147 h 19050"/>
                  <a:gd name="connsiteX3" fmla="*/ 22918 w 38100"/>
                  <a:gd name="connsiteY3" fmla="*/ 7194 h 19050"/>
                  <a:gd name="connsiteX4" fmla="*/ 7202 w 38100"/>
                  <a:gd name="connsiteY4" fmla="*/ 12242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7202" y="12242"/>
                    </a:moveTo>
                    <a:cubicBezTo>
                      <a:pt x="7773" y="13576"/>
                      <a:pt x="14440" y="11575"/>
                      <a:pt x="22632" y="12242"/>
                    </a:cubicBezTo>
                    <a:cubicBezTo>
                      <a:pt x="30823" y="12909"/>
                      <a:pt x="37110" y="15386"/>
                      <a:pt x="37872" y="14147"/>
                    </a:cubicBezTo>
                    <a:cubicBezTo>
                      <a:pt x="38634" y="12909"/>
                      <a:pt x="32538" y="7765"/>
                      <a:pt x="22918" y="7194"/>
                    </a:cubicBezTo>
                    <a:cubicBezTo>
                      <a:pt x="13298" y="6622"/>
                      <a:pt x="6440" y="11099"/>
                      <a:pt x="7202" y="1224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3" name="Полилиния: фигура 762">
                <a:extLst>
                  <a:ext uri="{FF2B5EF4-FFF2-40B4-BE49-F238E27FC236}">
                    <a16:creationId xmlns:a16="http://schemas.microsoft.com/office/drawing/2014/main" id="{37B82FF0-DAA2-42B1-89EA-E24EAA8D99C3}"/>
                  </a:ext>
                </a:extLst>
              </p:cNvPr>
              <p:cNvSpPr/>
              <p:nvPr/>
            </p:nvSpPr>
            <p:spPr>
              <a:xfrm>
                <a:off x="1796048" y="6215028"/>
                <a:ext cx="57150" cy="38100"/>
              </a:xfrm>
              <a:custGeom>
                <a:avLst/>
                <a:gdLst>
                  <a:gd name="connsiteX0" fmla="*/ 7144 w 57150"/>
                  <a:gd name="connsiteY0" fmla="*/ 30774 h 38100"/>
                  <a:gd name="connsiteX1" fmla="*/ 22003 w 57150"/>
                  <a:gd name="connsiteY1" fmla="*/ 30774 h 38100"/>
                  <a:gd name="connsiteX2" fmla="*/ 37529 w 57150"/>
                  <a:gd name="connsiteY2" fmla="*/ 26107 h 38100"/>
                  <a:gd name="connsiteX3" fmla="*/ 46006 w 57150"/>
                  <a:gd name="connsiteY3" fmla="*/ 21631 h 38100"/>
                  <a:gd name="connsiteX4" fmla="*/ 50483 w 57150"/>
                  <a:gd name="connsiteY4" fmla="*/ 18106 h 38100"/>
                  <a:gd name="connsiteX5" fmla="*/ 51245 w 57150"/>
                  <a:gd name="connsiteY5" fmla="*/ 10486 h 38100"/>
                  <a:gd name="connsiteX6" fmla="*/ 44863 w 57150"/>
                  <a:gd name="connsiteY6" fmla="*/ 7153 h 38100"/>
                  <a:gd name="connsiteX7" fmla="*/ 39338 w 57150"/>
                  <a:gd name="connsiteY7" fmla="*/ 7915 h 38100"/>
                  <a:gd name="connsiteX8" fmla="*/ 16479 w 57150"/>
                  <a:gd name="connsiteY8" fmla="*/ 19916 h 38100"/>
                  <a:gd name="connsiteX9" fmla="*/ 7715 w 57150"/>
                  <a:gd name="connsiteY9" fmla="*/ 31917 h 38100"/>
                  <a:gd name="connsiteX10" fmla="*/ 18669 w 57150"/>
                  <a:gd name="connsiteY10" fmla="*/ 22392 h 38100"/>
                  <a:gd name="connsiteX11" fmla="*/ 31909 w 57150"/>
                  <a:gd name="connsiteY11" fmla="*/ 14963 h 38100"/>
                  <a:gd name="connsiteX12" fmla="*/ 40481 w 57150"/>
                  <a:gd name="connsiteY12" fmla="*/ 12391 h 38100"/>
                  <a:gd name="connsiteX13" fmla="*/ 47054 w 57150"/>
                  <a:gd name="connsiteY13" fmla="*/ 12963 h 38100"/>
                  <a:gd name="connsiteX14" fmla="*/ 47054 w 57150"/>
                  <a:gd name="connsiteY14" fmla="*/ 14582 h 38100"/>
                  <a:gd name="connsiteX15" fmla="*/ 43815 w 57150"/>
                  <a:gd name="connsiteY15" fmla="*/ 17154 h 38100"/>
                  <a:gd name="connsiteX16" fmla="*/ 35909 w 57150"/>
                  <a:gd name="connsiteY16" fmla="*/ 21630 h 38100"/>
                  <a:gd name="connsiteX17" fmla="*/ 21622 w 57150"/>
                  <a:gd name="connsiteY17" fmla="*/ 27060 h 38100"/>
                  <a:gd name="connsiteX18" fmla="*/ 7144 w 57150"/>
                  <a:gd name="connsiteY18" fmla="*/ 3077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7150" h="38100">
                    <a:moveTo>
                      <a:pt x="7144" y="30774"/>
                    </a:moveTo>
                    <a:cubicBezTo>
                      <a:pt x="12010" y="32085"/>
                      <a:pt x="17137" y="32085"/>
                      <a:pt x="22003" y="30774"/>
                    </a:cubicBezTo>
                    <a:cubicBezTo>
                      <a:pt x="27352" y="29869"/>
                      <a:pt x="32567" y="28301"/>
                      <a:pt x="37529" y="26107"/>
                    </a:cubicBezTo>
                    <a:cubicBezTo>
                      <a:pt x="40440" y="24783"/>
                      <a:pt x="43271" y="23288"/>
                      <a:pt x="46006" y="21631"/>
                    </a:cubicBezTo>
                    <a:cubicBezTo>
                      <a:pt x="47696" y="20731"/>
                      <a:pt x="49212" y="19538"/>
                      <a:pt x="50483" y="18106"/>
                    </a:cubicBezTo>
                    <a:cubicBezTo>
                      <a:pt x="52466" y="16047"/>
                      <a:pt x="52780" y="12898"/>
                      <a:pt x="51245" y="10486"/>
                    </a:cubicBezTo>
                    <a:cubicBezTo>
                      <a:pt x="49787" y="8403"/>
                      <a:pt x="47406" y="7159"/>
                      <a:pt x="44863" y="7153"/>
                    </a:cubicBezTo>
                    <a:cubicBezTo>
                      <a:pt x="42992" y="7091"/>
                      <a:pt x="41123" y="7349"/>
                      <a:pt x="39338" y="7915"/>
                    </a:cubicBezTo>
                    <a:cubicBezTo>
                      <a:pt x="30795" y="9832"/>
                      <a:pt x="22909" y="13972"/>
                      <a:pt x="16479" y="19916"/>
                    </a:cubicBezTo>
                    <a:cubicBezTo>
                      <a:pt x="9525" y="26202"/>
                      <a:pt x="6953" y="31632"/>
                      <a:pt x="7715" y="31917"/>
                    </a:cubicBezTo>
                    <a:cubicBezTo>
                      <a:pt x="8477" y="32203"/>
                      <a:pt x="11716" y="27822"/>
                      <a:pt x="18669" y="22392"/>
                    </a:cubicBezTo>
                    <a:cubicBezTo>
                      <a:pt x="22732" y="19338"/>
                      <a:pt x="27185" y="16840"/>
                      <a:pt x="31909" y="14963"/>
                    </a:cubicBezTo>
                    <a:cubicBezTo>
                      <a:pt x="34694" y="13880"/>
                      <a:pt x="37560" y="13020"/>
                      <a:pt x="40481" y="12391"/>
                    </a:cubicBezTo>
                    <a:cubicBezTo>
                      <a:pt x="43625" y="11534"/>
                      <a:pt x="46196" y="11534"/>
                      <a:pt x="47054" y="12963"/>
                    </a:cubicBezTo>
                    <a:cubicBezTo>
                      <a:pt x="47911" y="14391"/>
                      <a:pt x="47054" y="13725"/>
                      <a:pt x="47054" y="14582"/>
                    </a:cubicBezTo>
                    <a:cubicBezTo>
                      <a:pt x="46110" y="15598"/>
                      <a:pt x="45018" y="16465"/>
                      <a:pt x="43815" y="17154"/>
                    </a:cubicBezTo>
                    <a:cubicBezTo>
                      <a:pt x="41263" y="18789"/>
                      <a:pt x="38624" y="20283"/>
                      <a:pt x="35909" y="21630"/>
                    </a:cubicBezTo>
                    <a:cubicBezTo>
                      <a:pt x="31300" y="23820"/>
                      <a:pt x="26522" y="25636"/>
                      <a:pt x="21622" y="27060"/>
                    </a:cubicBezTo>
                    <a:cubicBezTo>
                      <a:pt x="16716" y="27962"/>
                      <a:pt x="11878" y="29203"/>
                      <a:pt x="7144" y="3077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4" name="Полилиния: фигура 763">
                <a:extLst>
                  <a:ext uri="{FF2B5EF4-FFF2-40B4-BE49-F238E27FC236}">
                    <a16:creationId xmlns:a16="http://schemas.microsoft.com/office/drawing/2014/main" id="{6C0EC6EC-52E1-4CD8-94A6-236F9D0A40F1}"/>
                  </a:ext>
                </a:extLst>
              </p:cNvPr>
              <p:cNvSpPr/>
              <p:nvPr/>
            </p:nvSpPr>
            <p:spPr>
              <a:xfrm>
                <a:off x="1778576" y="6193700"/>
                <a:ext cx="28575" cy="57150"/>
              </a:xfrm>
              <a:custGeom>
                <a:avLst/>
                <a:gdLst>
                  <a:gd name="connsiteX0" fmla="*/ 26521 w 28575"/>
                  <a:gd name="connsiteY0" fmla="*/ 54198 h 57150"/>
                  <a:gd name="connsiteX1" fmla="*/ 30521 w 28575"/>
                  <a:gd name="connsiteY1" fmla="*/ 39910 h 57150"/>
                  <a:gd name="connsiteX2" fmla="*/ 28521 w 28575"/>
                  <a:gd name="connsiteY2" fmla="*/ 23717 h 57150"/>
                  <a:gd name="connsiteX3" fmla="*/ 24806 w 28575"/>
                  <a:gd name="connsiteY3" fmla="*/ 14669 h 57150"/>
                  <a:gd name="connsiteX4" fmla="*/ 15281 w 28575"/>
                  <a:gd name="connsiteY4" fmla="*/ 7144 h 57150"/>
                  <a:gd name="connsiteX5" fmla="*/ 9090 w 28575"/>
                  <a:gd name="connsiteY5" fmla="*/ 11239 h 57150"/>
                  <a:gd name="connsiteX6" fmla="*/ 7566 w 28575"/>
                  <a:gd name="connsiteY6" fmla="*/ 16669 h 57150"/>
                  <a:gd name="connsiteX7" fmla="*/ 13757 w 28575"/>
                  <a:gd name="connsiteY7" fmla="*/ 42005 h 57150"/>
                  <a:gd name="connsiteX8" fmla="*/ 25664 w 28575"/>
                  <a:gd name="connsiteY8" fmla="*/ 50959 h 57150"/>
                  <a:gd name="connsiteX9" fmla="*/ 16710 w 28575"/>
                  <a:gd name="connsiteY9" fmla="*/ 40005 h 57150"/>
                  <a:gd name="connsiteX10" fmla="*/ 12138 w 28575"/>
                  <a:gd name="connsiteY10" fmla="*/ 26099 h 57150"/>
                  <a:gd name="connsiteX11" fmla="*/ 12138 w 28575"/>
                  <a:gd name="connsiteY11" fmla="*/ 17527 h 57150"/>
                  <a:gd name="connsiteX12" fmla="*/ 14996 w 28575"/>
                  <a:gd name="connsiteY12" fmla="*/ 12192 h 57150"/>
                  <a:gd name="connsiteX13" fmla="*/ 20139 w 28575"/>
                  <a:gd name="connsiteY13" fmla="*/ 17050 h 57150"/>
                  <a:gd name="connsiteX14" fmla="*/ 23759 w 28575"/>
                  <a:gd name="connsiteY14" fmla="*/ 25051 h 57150"/>
                  <a:gd name="connsiteX15" fmla="*/ 27093 w 28575"/>
                  <a:gd name="connsiteY15" fmla="*/ 40196 h 57150"/>
                  <a:gd name="connsiteX16" fmla="*/ 26521 w 28575"/>
                  <a:gd name="connsiteY16" fmla="*/ 54198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575" h="57150">
                    <a:moveTo>
                      <a:pt x="26521" y="54198"/>
                    </a:moveTo>
                    <a:cubicBezTo>
                      <a:pt x="29336" y="49980"/>
                      <a:pt x="30737" y="44976"/>
                      <a:pt x="30521" y="39910"/>
                    </a:cubicBezTo>
                    <a:cubicBezTo>
                      <a:pt x="30821" y="34437"/>
                      <a:pt x="30143" y="28954"/>
                      <a:pt x="28521" y="23717"/>
                    </a:cubicBezTo>
                    <a:cubicBezTo>
                      <a:pt x="27630" y="20570"/>
                      <a:pt x="26384" y="17534"/>
                      <a:pt x="24806" y="14669"/>
                    </a:cubicBezTo>
                    <a:cubicBezTo>
                      <a:pt x="23194" y="10646"/>
                      <a:pt x="19568" y="7781"/>
                      <a:pt x="15281" y="7144"/>
                    </a:cubicBezTo>
                    <a:cubicBezTo>
                      <a:pt x="12615" y="7245"/>
                      <a:pt x="10227" y="8825"/>
                      <a:pt x="9090" y="11239"/>
                    </a:cubicBezTo>
                    <a:cubicBezTo>
                      <a:pt x="8355" y="12978"/>
                      <a:pt x="7843" y="14802"/>
                      <a:pt x="7566" y="16669"/>
                    </a:cubicBezTo>
                    <a:cubicBezTo>
                      <a:pt x="6137" y="25603"/>
                      <a:pt x="8369" y="34737"/>
                      <a:pt x="13757" y="42005"/>
                    </a:cubicBezTo>
                    <a:cubicBezTo>
                      <a:pt x="19472" y="49625"/>
                      <a:pt x="25568" y="51531"/>
                      <a:pt x="25664" y="50959"/>
                    </a:cubicBezTo>
                    <a:cubicBezTo>
                      <a:pt x="25759" y="50388"/>
                      <a:pt x="21092" y="47435"/>
                      <a:pt x="16710" y="40005"/>
                    </a:cubicBezTo>
                    <a:cubicBezTo>
                      <a:pt x="14145" y="35780"/>
                      <a:pt x="12581" y="31023"/>
                      <a:pt x="12138" y="26099"/>
                    </a:cubicBezTo>
                    <a:cubicBezTo>
                      <a:pt x="11707" y="23258"/>
                      <a:pt x="11707" y="20368"/>
                      <a:pt x="12138" y="17527"/>
                    </a:cubicBezTo>
                    <a:cubicBezTo>
                      <a:pt x="12614" y="14383"/>
                      <a:pt x="13757" y="11811"/>
                      <a:pt x="14996" y="12192"/>
                    </a:cubicBezTo>
                    <a:cubicBezTo>
                      <a:pt x="16234" y="12573"/>
                      <a:pt x="18901" y="14574"/>
                      <a:pt x="20139" y="17050"/>
                    </a:cubicBezTo>
                    <a:cubicBezTo>
                      <a:pt x="21581" y="19604"/>
                      <a:pt x="22792" y="22282"/>
                      <a:pt x="23759" y="25051"/>
                    </a:cubicBezTo>
                    <a:cubicBezTo>
                      <a:pt x="25588" y="29914"/>
                      <a:pt x="26710" y="35014"/>
                      <a:pt x="27093" y="40196"/>
                    </a:cubicBezTo>
                    <a:cubicBezTo>
                      <a:pt x="27092" y="48578"/>
                      <a:pt x="25759" y="54007"/>
                      <a:pt x="26521" y="54198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5" name="Полилиния: фигура 764">
                <a:extLst>
                  <a:ext uri="{FF2B5EF4-FFF2-40B4-BE49-F238E27FC236}">
                    <a16:creationId xmlns:a16="http://schemas.microsoft.com/office/drawing/2014/main" id="{CFB39019-BB62-4B7C-9479-5EF7009EBF74}"/>
                  </a:ext>
                </a:extLst>
              </p:cNvPr>
              <p:cNvSpPr/>
              <p:nvPr/>
            </p:nvSpPr>
            <p:spPr>
              <a:xfrm>
                <a:off x="1680700" y="4677320"/>
                <a:ext cx="390525" cy="1590675"/>
              </a:xfrm>
              <a:custGeom>
                <a:avLst/>
                <a:gdLst>
                  <a:gd name="connsiteX0" fmla="*/ 376523 w 390525"/>
                  <a:gd name="connsiteY0" fmla="*/ 274416 h 1590675"/>
                  <a:gd name="connsiteX1" fmla="*/ 340423 w 390525"/>
                  <a:gd name="connsiteY1" fmla="*/ 153258 h 1590675"/>
                  <a:gd name="connsiteX2" fmla="*/ 263557 w 390525"/>
                  <a:gd name="connsiteY2" fmla="*/ 7144 h 1590675"/>
                  <a:gd name="connsiteX3" fmla="*/ 7144 w 390525"/>
                  <a:gd name="connsiteY3" fmla="*/ 23051 h 1590675"/>
                  <a:gd name="connsiteX4" fmla="*/ 69723 w 390525"/>
                  <a:gd name="connsiteY4" fmla="*/ 682657 h 1590675"/>
                  <a:gd name="connsiteX5" fmla="*/ 91250 w 390525"/>
                  <a:gd name="connsiteY5" fmla="*/ 1581341 h 1590675"/>
                  <a:gd name="connsiteX6" fmla="*/ 271177 w 390525"/>
                  <a:gd name="connsiteY6" fmla="*/ 1587532 h 1590675"/>
                  <a:gd name="connsiteX7" fmla="*/ 280702 w 390525"/>
                  <a:gd name="connsiteY7" fmla="*/ 1545717 h 1590675"/>
                  <a:gd name="connsiteX8" fmla="*/ 318802 w 390525"/>
                  <a:gd name="connsiteY8" fmla="*/ 1034892 h 1590675"/>
                  <a:gd name="connsiteX9" fmla="*/ 385477 w 390525"/>
                  <a:gd name="connsiteY9" fmla="*/ 523685 h 1590675"/>
                  <a:gd name="connsiteX10" fmla="*/ 376523 w 390525"/>
                  <a:gd name="connsiteY10" fmla="*/ 274416 h 1590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90525" h="1590675">
                    <a:moveTo>
                      <a:pt x="376523" y="274416"/>
                    </a:moveTo>
                    <a:cubicBezTo>
                      <a:pt x="376523" y="274416"/>
                      <a:pt x="360712" y="195739"/>
                      <a:pt x="340423" y="153258"/>
                    </a:cubicBezTo>
                    <a:cubicBezTo>
                      <a:pt x="320135" y="110776"/>
                      <a:pt x="263557" y="7144"/>
                      <a:pt x="263557" y="7144"/>
                    </a:cubicBezTo>
                    <a:lnTo>
                      <a:pt x="7144" y="23051"/>
                    </a:lnTo>
                    <a:lnTo>
                      <a:pt x="69723" y="682657"/>
                    </a:lnTo>
                    <a:lnTo>
                      <a:pt x="91250" y="1581341"/>
                    </a:lnTo>
                    <a:lnTo>
                      <a:pt x="271177" y="1587532"/>
                    </a:lnTo>
                    <a:lnTo>
                      <a:pt x="280702" y="1545717"/>
                    </a:lnTo>
                    <a:cubicBezTo>
                      <a:pt x="321945" y="1468469"/>
                      <a:pt x="318802" y="1034892"/>
                      <a:pt x="318802" y="1034892"/>
                    </a:cubicBezTo>
                    <a:cubicBezTo>
                      <a:pt x="318802" y="1034892"/>
                      <a:pt x="377095" y="588836"/>
                      <a:pt x="385477" y="523685"/>
                    </a:cubicBezTo>
                    <a:cubicBezTo>
                      <a:pt x="393859" y="458534"/>
                      <a:pt x="376523" y="274416"/>
                      <a:pt x="376523" y="27441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6" name="Полилиния: фигура 765">
                <a:extLst>
                  <a:ext uri="{FF2B5EF4-FFF2-40B4-BE49-F238E27FC236}">
                    <a16:creationId xmlns:a16="http://schemas.microsoft.com/office/drawing/2014/main" id="{DB413872-69EE-4E6C-A587-91E687E0FF8A}"/>
                  </a:ext>
                </a:extLst>
              </p:cNvPr>
              <p:cNvSpPr/>
              <p:nvPr/>
            </p:nvSpPr>
            <p:spPr>
              <a:xfrm>
                <a:off x="1438897" y="4691322"/>
                <a:ext cx="342900" cy="1581150"/>
              </a:xfrm>
              <a:custGeom>
                <a:avLst/>
                <a:gdLst>
                  <a:gd name="connsiteX0" fmla="*/ 98356 w 342900"/>
                  <a:gd name="connsiteY0" fmla="*/ 203359 h 1581150"/>
                  <a:gd name="connsiteX1" fmla="*/ 7583 w 342900"/>
                  <a:gd name="connsiteY1" fmla="*/ 856774 h 1581150"/>
                  <a:gd name="connsiteX2" fmla="*/ 124074 w 342900"/>
                  <a:gd name="connsiteY2" fmla="*/ 1576769 h 1581150"/>
                  <a:gd name="connsiteX3" fmla="*/ 294095 w 342900"/>
                  <a:gd name="connsiteY3" fmla="*/ 1572673 h 1581150"/>
                  <a:gd name="connsiteX4" fmla="*/ 267901 w 342900"/>
                  <a:gd name="connsiteY4" fmla="*/ 873919 h 1581150"/>
                  <a:gd name="connsiteX5" fmla="*/ 342863 w 342900"/>
                  <a:gd name="connsiteY5" fmla="*/ 461582 h 1581150"/>
                  <a:gd name="connsiteX6" fmla="*/ 248947 w 342900"/>
                  <a:gd name="connsiteY6" fmla="*/ 9049 h 1581150"/>
                  <a:gd name="connsiteX7" fmla="*/ 117978 w 342900"/>
                  <a:gd name="connsiteY7" fmla="*/ 7144 h 1581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2900" h="1581150">
                    <a:moveTo>
                      <a:pt x="98356" y="203359"/>
                    </a:moveTo>
                    <a:cubicBezTo>
                      <a:pt x="98356" y="203359"/>
                      <a:pt x="16346" y="761524"/>
                      <a:pt x="7583" y="856774"/>
                    </a:cubicBezTo>
                    <a:cubicBezTo>
                      <a:pt x="-1180" y="952024"/>
                      <a:pt x="124074" y="1576769"/>
                      <a:pt x="124074" y="1576769"/>
                    </a:cubicBezTo>
                    <a:lnTo>
                      <a:pt x="294095" y="1572673"/>
                    </a:lnTo>
                    <a:lnTo>
                      <a:pt x="267901" y="873919"/>
                    </a:lnTo>
                    <a:lnTo>
                      <a:pt x="342863" y="461582"/>
                    </a:lnTo>
                    <a:lnTo>
                      <a:pt x="248947" y="9049"/>
                    </a:lnTo>
                    <a:lnTo>
                      <a:pt x="117978" y="7144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7" name="Полилиния: фигура 766">
                <a:extLst>
                  <a:ext uri="{FF2B5EF4-FFF2-40B4-BE49-F238E27FC236}">
                    <a16:creationId xmlns:a16="http://schemas.microsoft.com/office/drawing/2014/main" id="{3281F3FF-11E8-4660-9E0F-5527BAD956F8}"/>
                  </a:ext>
                </a:extLst>
              </p:cNvPr>
              <p:cNvSpPr/>
              <p:nvPr/>
            </p:nvSpPr>
            <p:spPr>
              <a:xfrm>
                <a:off x="1697034" y="4707229"/>
                <a:ext cx="57150" cy="676275"/>
              </a:xfrm>
              <a:custGeom>
                <a:avLst/>
                <a:gdLst>
                  <a:gd name="connsiteX0" fmla="*/ 7288 w 57150"/>
                  <a:gd name="connsiteY0" fmla="*/ 7144 h 676275"/>
                  <a:gd name="connsiteX1" fmla="*/ 32815 w 57150"/>
                  <a:gd name="connsiteY1" fmla="*/ 341947 h 676275"/>
                  <a:gd name="connsiteX2" fmla="*/ 53294 w 57150"/>
                  <a:gd name="connsiteY2" fmla="*/ 677132 h 676275"/>
                  <a:gd name="connsiteX3" fmla="*/ 27862 w 57150"/>
                  <a:gd name="connsiteY3" fmla="*/ 342329 h 676275"/>
                  <a:gd name="connsiteX4" fmla="*/ 7288 w 57150"/>
                  <a:gd name="connsiteY4" fmla="*/ 7144 h 676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676275">
                    <a:moveTo>
                      <a:pt x="7288" y="7144"/>
                    </a:moveTo>
                    <a:cubicBezTo>
                      <a:pt x="8622" y="7144"/>
                      <a:pt x="20052" y="156972"/>
                      <a:pt x="32815" y="341947"/>
                    </a:cubicBezTo>
                    <a:cubicBezTo>
                      <a:pt x="45579" y="526923"/>
                      <a:pt x="54723" y="677037"/>
                      <a:pt x="53294" y="677132"/>
                    </a:cubicBezTo>
                    <a:cubicBezTo>
                      <a:pt x="51865" y="677228"/>
                      <a:pt x="40531" y="527304"/>
                      <a:pt x="27862" y="342329"/>
                    </a:cubicBezTo>
                    <a:cubicBezTo>
                      <a:pt x="15194" y="157353"/>
                      <a:pt x="5860" y="7239"/>
                      <a:pt x="7288" y="714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8" name="Полилиния: фигура 767">
                <a:extLst>
                  <a:ext uri="{FF2B5EF4-FFF2-40B4-BE49-F238E27FC236}">
                    <a16:creationId xmlns:a16="http://schemas.microsoft.com/office/drawing/2014/main" id="{6C777A4A-95EE-49D0-B262-462DEC725B8E}"/>
                  </a:ext>
                </a:extLst>
              </p:cNvPr>
              <p:cNvSpPr/>
              <p:nvPr/>
            </p:nvSpPr>
            <p:spPr>
              <a:xfrm>
                <a:off x="1720104" y="4719134"/>
                <a:ext cx="38100" cy="38100"/>
              </a:xfrm>
              <a:custGeom>
                <a:avLst/>
                <a:gdLst>
                  <a:gd name="connsiteX0" fmla="*/ 16032 w 38100"/>
                  <a:gd name="connsiteY0" fmla="*/ 9812 h 38100"/>
                  <a:gd name="connsiteX1" fmla="*/ 10888 w 38100"/>
                  <a:gd name="connsiteY1" fmla="*/ 20099 h 38100"/>
                  <a:gd name="connsiteX2" fmla="*/ 14031 w 38100"/>
                  <a:gd name="connsiteY2" fmla="*/ 31053 h 38100"/>
                  <a:gd name="connsiteX3" fmla="*/ 32047 w 38100"/>
                  <a:gd name="connsiteY3" fmla="*/ 29938 h 38100"/>
                  <a:gd name="connsiteX4" fmla="*/ 35082 w 38100"/>
                  <a:gd name="connsiteY4" fmla="*/ 23528 h 38100"/>
                  <a:gd name="connsiteX5" fmla="*/ 30700 w 38100"/>
                  <a:gd name="connsiteY5" fmla="*/ 13050 h 38100"/>
                  <a:gd name="connsiteX6" fmla="*/ 20127 w 38100"/>
                  <a:gd name="connsiteY6" fmla="*/ 8288 h 38100"/>
                  <a:gd name="connsiteX7" fmla="*/ 23556 w 38100"/>
                  <a:gd name="connsiteY7" fmla="*/ 7145 h 38100"/>
                  <a:gd name="connsiteX8" fmla="*/ 33081 w 38100"/>
                  <a:gd name="connsiteY8" fmla="*/ 10383 h 38100"/>
                  <a:gd name="connsiteX9" fmla="*/ 39844 w 38100"/>
                  <a:gd name="connsiteY9" fmla="*/ 23718 h 38100"/>
                  <a:gd name="connsiteX10" fmla="*/ 21436 w 38100"/>
                  <a:gd name="connsiteY10" fmla="*/ 39082 h 38100"/>
                  <a:gd name="connsiteX11" fmla="*/ 10793 w 38100"/>
                  <a:gd name="connsiteY11" fmla="*/ 34005 h 38100"/>
                  <a:gd name="connsiteX12" fmla="*/ 7650 w 38100"/>
                  <a:gd name="connsiteY12" fmla="*/ 19432 h 38100"/>
                  <a:gd name="connsiteX13" fmla="*/ 12888 w 38100"/>
                  <a:gd name="connsiteY13" fmla="*/ 11050 h 38100"/>
                  <a:gd name="connsiteX14" fmla="*/ 16032 w 38100"/>
                  <a:gd name="connsiteY14" fmla="*/ 9812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8100" h="38100">
                    <a:moveTo>
                      <a:pt x="16032" y="9812"/>
                    </a:moveTo>
                    <a:cubicBezTo>
                      <a:pt x="13443" y="12730"/>
                      <a:pt x="11669" y="16278"/>
                      <a:pt x="10888" y="20099"/>
                    </a:cubicBezTo>
                    <a:cubicBezTo>
                      <a:pt x="10348" y="24030"/>
                      <a:pt x="11489" y="28007"/>
                      <a:pt x="14031" y="31053"/>
                    </a:cubicBezTo>
                    <a:cubicBezTo>
                      <a:pt x="19314" y="35720"/>
                      <a:pt x="27380" y="35221"/>
                      <a:pt x="32047" y="29938"/>
                    </a:cubicBezTo>
                    <a:cubicBezTo>
                      <a:pt x="33644" y="28131"/>
                      <a:pt x="34696" y="25908"/>
                      <a:pt x="35082" y="23528"/>
                    </a:cubicBezTo>
                    <a:cubicBezTo>
                      <a:pt x="35143" y="19578"/>
                      <a:pt x="33555" y="15781"/>
                      <a:pt x="30700" y="13050"/>
                    </a:cubicBezTo>
                    <a:cubicBezTo>
                      <a:pt x="25461" y="8098"/>
                      <a:pt x="20127" y="9145"/>
                      <a:pt x="20127" y="8288"/>
                    </a:cubicBezTo>
                    <a:cubicBezTo>
                      <a:pt x="20127" y="7431"/>
                      <a:pt x="21270" y="7335"/>
                      <a:pt x="23556" y="7145"/>
                    </a:cubicBezTo>
                    <a:cubicBezTo>
                      <a:pt x="27009" y="7100"/>
                      <a:pt x="30372" y="8243"/>
                      <a:pt x="33081" y="10383"/>
                    </a:cubicBezTo>
                    <a:cubicBezTo>
                      <a:pt x="37280" y="13541"/>
                      <a:pt x="39777" y="18466"/>
                      <a:pt x="39844" y="23718"/>
                    </a:cubicBezTo>
                    <a:cubicBezTo>
                      <a:pt x="39003" y="33044"/>
                      <a:pt x="30762" y="39923"/>
                      <a:pt x="21436" y="39082"/>
                    </a:cubicBezTo>
                    <a:cubicBezTo>
                      <a:pt x="17395" y="38718"/>
                      <a:pt x="13619" y="36916"/>
                      <a:pt x="10793" y="34005"/>
                    </a:cubicBezTo>
                    <a:cubicBezTo>
                      <a:pt x="7538" y="29900"/>
                      <a:pt x="6376" y="24514"/>
                      <a:pt x="7650" y="19432"/>
                    </a:cubicBezTo>
                    <a:cubicBezTo>
                      <a:pt x="8374" y="16116"/>
                      <a:pt x="10225" y="13154"/>
                      <a:pt x="12888" y="11050"/>
                    </a:cubicBezTo>
                    <a:cubicBezTo>
                      <a:pt x="14603" y="9812"/>
                      <a:pt x="15936" y="9812"/>
                      <a:pt x="16032" y="981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9" name="Полилиния: фигура 768">
                <a:extLst>
                  <a:ext uri="{FF2B5EF4-FFF2-40B4-BE49-F238E27FC236}">
                    <a16:creationId xmlns:a16="http://schemas.microsoft.com/office/drawing/2014/main" id="{4CD85528-8BCD-4064-A5EC-F0DBB600F5B7}"/>
                  </a:ext>
                </a:extLst>
              </p:cNvPr>
              <p:cNvSpPr/>
              <p:nvPr/>
            </p:nvSpPr>
            <p:spPr>
              <a:xfrm>
                <a:off x="1595642" y="4103820"/>
                <a:ext cx="381000" cy="600075"/>
              </a:xfrm>
              <a:custGeom>
                <a:avLst/>
                <a:gdLst>
                  <a:gd name="connsiteX0" fmla="*/ 7144 w 381000"/>
                  <a:gd name="connsiteY0" fmla="*/ 7144 h 600075"/>
                  <a:gd name="connsiteX1" fmla="*/ 374047 w 381000"/>
                  <a:gd name="connsiteY1" fmla="*/ 7144 h 600075"/>
                  <a:gd name="connsiteX2" fmla="*/ 374047 w 381000"/>
                  <a:gd name="connsiteY2" fmla="*/ 594741 h 600075"/>
                  <a:gd name="connsiteX3" fmla="*/ 7144 w 381000"/>
                  <a:gd name="connsiteY3" fmla="*/ 594741 h 600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00" h="600075">
                    <a:moveTo>
                      <a:pt x="7144" y="7144"/>
                    </a:moveTo>
                    <a:lnTo>
                      <a:pt x="374047" y="7144"/>
                    </a:lnTo>
                    <a:lnTo>
                      <a:pt x="374047" y="594741"/>
                    </a:lnTo>
                    <a:lnTo>
                      <a:pt x="7144" y="594741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0" name="Полилиния: фигура 769">
                <a:extLst>
                  <a:ext uri="{FF2B5EF4-FFF2-40B4-BE49-F238E27FC236}">
                    <a16:creationId xmlns:a16="http://schemas.microsoft.com/office/drawing/2014/main" id="{472D537D-76A4-4DE8-905F-F9F34B97DC8F}"/>
                  </a:ext>
                </a:extLst>
              </p:cNvPr>
              <p:cNvSpPr/>
              <p:nvPr/>
            </p:nvSpPr>
            <p:spPr>
              <a:xfrm>
                <a:off x="1455413" y="4044670"/>
                <a:ext cx="276225" cy="1009650"/>
              </a:xfrm>
              <a:custGeom>
                <a:avLst/>
                <a:gdLst>
                  <a:gd name="connsiteX0" fmla="*/ 275389 w 276225"/>
                  <a:gd name="connsiteY0" fmla="*/ 7144 h 1009650"/>
                  <a:gd name="connsiteX1" fmla="*/ 240527 w 276225"/>
                  <a:gd name="connsiteY1" fmla="*/ 33242 h 1009650"/>
                  <a:gd name="connsiteX2" fmla="*/ 73649 w 276225"/>
                  <a:gd name="connsiteY2" fmla="*/ 84677 h 1009650"/>
                  <a:gd name="connsiteX3" fmla="*/ 45074 w 276225"/>
                  <a:gd name="connsiteY3" fmla="*/ 139351 h 1009650"/>
                  <a:gd name="connsiteX4" fmla="*/ 21452 w 276225"/>
                  <a:gd name="connsiteY4" fmla="*/ 468630 h 1009650"/>
                  <a:gd name="connsiteX5" fmla="*/ 7260 w 276225"/>
                  <a:gd name="connsiteY5" fmla="*/ 491109 h 1009650"/>
                  <a:gd name="connsiteX6" fmla="*/ 7260 w 276225"/>
                  <a:gd name="connsiteY6" fmla="*/ 531781 h 1009650"/>
                  <a:gd name="connsiteX7" fmla="*/ 115940 w 276225"/>
                  <a:gd name="connsiteY7" fmla="*/ 484156 h 1009650"/>
                  <a:gd name="connsiteX8" fmla="*/ 123846 w 276225"/>
                  <a:gd name="connsiteY8" fmla="*/ 595693 h 1009650"/>
                  <a:gd name="connsiteX9" fmla="*/ 51456 w 276225"/>
                  <a:gd name="connsiteY9" fmla="*/ 742855 h 1009650"/>
                  <a:gd name="connsiteX10" fmla="*/ 73459 w 276225"/>
                  <a:gd name="connsiteY10" fmla="*/ 758857 h 1009650"/>
                  <a:gd name="connsiteX11" fmla="*/ 54409 w 276225"/>
                  <a:gd name="connsiteY11" fmla="*/ 953262 h 1009650"/>
                  <a:gd name="connsiteX12" fmla="*/ 78031 w 276225"/>
                  <a:gd name="connsiteY12" fmla="*/ 1011079 h 1009650"/>
                  <a:gd name="connsiteX13" fmla="*/ 138610 w 276225"/>
                  <a:gd name="connsiteY13" fmla="*/ 869728 h 1009650"/>
                  <a:gd name="connsiteX14" fmla="*/ 205285 w 276225"/>
                  <a:gd name="connsiteY14" fmla="*/ 638175 h 1009650"/>
                  <a:gd name="connsiteX15" fmla="*/ 220525 w 276225"/>
                  <a:gd name="connsiteY15" fmla="*/ 559499 h 1009650"/>
                  <a:gd name="connsiteX16" fmla="*/ 268150 w 276225"/>
                  <a:gd name="connsiteY16" fmla="*/ 130873 h 1009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76225" h="1009650">
                    <a:moveTo>
                      <a:pt x="275389" y="7144"/>
                    </a:moveTo>
                    <a:lnTo>
                      <a:pt x="240527" y="33242"/>
                    </a:lnTo>
                    <a:cubicBezTo>
                      <a:pt x="240527" y="33242"/>
                      <a:pt x="90985" y="75057"/>
                      <a:pt x="73649" y="84677"/>
                    </a:cubicBezTo>
                    <a:cubicBezTo>
                      <a:pt x="56314" y="94297"/>
                      <a:pt x="50027" y="120015"/>
                      <a:pt x="45074" y="139351"/>
                    </a:cubicBezTo>
                    <a:cubicBezTo>
                      <a:pt x="40121" y="158687"/>
                      <a:pt x="21452" y="468630"/>
                      <a:pt x="21452" y="468630"/>
                    </a:cubicBezTo>
                    <a:cubicBezTo>
                      <a:pt x="21452" y="468630"/>
                      <a:pt x="5641" y="483108"/>
                      <a:pt x="7260" y="491109"/>
                    </a:cubicBezTo>
                    <a:cubicBezTo>
                      <a:pt x="8097" y="504653"/>
                      <a:pt x="8097" y="518236"/>
                      <a:pt x="7260" y="531781"/>
                    </a:cubicBezTo>
                    <a:lnTo>
                      <a:pt x="115940" y="484156"/>
                    </a:lnTo>
                    <a:lnTo>
                      <a:pt x="123846" y="595693"/>
                    </a:lnTo>
                    <a:lnTo>
                      <a:pt x="51456" y="742855"/>
                    </a:lnTo>
                    <a:lnTo>
                      <a:pt x="73459" y="758857"/>
                    </a:lnTo>
                    <a:cubicBezTo>
                      <a:pt x="73459" y="758857"/>
                      <a:pt x="46694" y="900208"/>
                      <a:pt x="54409" y="953262"/>
                    </a:cubicBezTo>
                    <a:cubicBezTo>
                      <a:pt x="62124" y="1006316"/>
                      <a:pt x="78031" y="1011079"/>
                      <a:pt x="78031" y="1011079"/>
                    </a:cubicBezTo>
                    <a:cubicBezTo>
                      <a:pt x="78031" y="1011079"/>
                      <a:pt x="122798" y="915829"/>
                      <a:pt x="138610" y="869728"/>
                    </a:cubicBezTo>
                    <a:cubicBezTo>
                      <a:pt x="149849" y="837152"/>
                      <a:pt x="187092" y="704945"/>
                      <a:pt x="205285" y="638175"/>
                    </a:cubicBezTo>
                    <a:cubicBezTo>
                      <a:pt x="212511" y="612411"/>
                      <a:pt x="217608" y="586097"/>
                      <a:pt x="220525" y="559499"/>
                    </a:cubicBezTo>
                    <a:lnTo>
                      <a:pt x="268150" y="130873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1" name="Полилиния: фигура 770">
                <a:extLst>
                  <a:ext uri="{FF2B5EF4-FFF2-40B4-BE49-F238E27FC236}">
                    <a16:creationId xmlns:a16="http://schemas.microsoft.com/office/drawing/2014/main" id="{B7E8DC7F-C3B2-4B87-AFBA-D0E2FDA1F911}"/>
                  </a:ext>
                </a:extLst>
              </p:cNvPr>
              <p:cNvSpPr/>
              <p:nvPr/>
            </p:nvSpPr>
            <p:spPr>
              <a:xfrm>
                <a:off x="1541682" y="4242218"/>
                <a:ext cx="28575" cy="238125"/>
              </a:xfrm>
              <a:custGeom>
                <a:avLst/>
                <a:gdLst>
                  <a:gd name="connsiteX0" fmla="*/ 21384 w 28575"/>
                  <a:gd name="connsiteY0" fmla="*/ 232601 h 238125"/>
                  <a:gd name="connsiteX1" fmla="*/ 11859 w 28575"/>
                  <a:gd name="connsiteY1" fmla="*/ 120015 h 238125"/>
                  <a:gd name="connsiteX2" fmla="*/ 7668 w 28575"/>
                  <a:gd name="connsiteY2" fmla="*/ 7144 h 238125"/>
                  <a:gd name="connsiteX3" fmla="*/ 17193 w 28575"/>
                  <a:gd name="connsiteY3" fmla="*/ 119729 h 238125"/>
                  <a:gd name="connsiteX4" fmla="*/ 21384 w 28575"/>
                  <a:gd name="connsiteY4" fmla="*/ 232601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38125">
                    <a:moveTo>
                      <a:pt x="21384" y="232601"/>
                    </a:moveTo>
                    <a:cubicBezTo>
                      <a:pt x="20050" y="232601"/>
                      <a:pt x="15955" y="182213"/>
                      <a:pt x="11859" y="120015"/>
                    </a:cubicBezTo>
                    <a:cubicBezTo>
                      <a:pt x="7763" y="57817"/>
                      <a:pt x="6239" y="7144"/>
                      <a:pt x="7668" y="7144"/>
                    </a:cubicBezTo>
                    <a:cubicBezTo>
                      <a:pt x="9097" y="7144"/>
                      <a:pt x="13097" y="57436"/>
                      <a:pt x="17193" y="119729"/>
                    </a:cubicBezTo>
                    <a:cubicBezTo>
                      <a:pt x="21289" y="182023"/>
                      <a:pt x="22717" y="232505"/>
                      <a:pt x="21384" y="23260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2" name="Полилиния: фигура 771">
                <a:extLst>
                  <a:ext uri="{FF2B5EF4-FFF2-40B4-BE49-F238E27FC236}">
                    <a16:creationId xmlns:a16="http://schemas.microsoft.com/office/drawing/2014/main" id="{71B01BBB-EFA2-4AF5-B923-2D29C8A710E2}"/>
                  </a:ext>
                </a:extLst>
              </p:cNvPr>
              <p:cNvSpPr/>
              <p:nvPr/>
            </p:nvSpPr>
            <p:spPr>
              <a:xfrm>
                <a:off x="1532344" y="4271365"/>
                <a:ext cx="28575" cy="200025"/>
              </a:xfrm>
              <a:custGeom>
                <a:avLst/>
                <a:gdLst>
                  <a:gd name="connsiteX0" fmla="*/ 19102 w 28575"/>
                  <a:gd name="connsiteY0" fmla="*/ 7144 h 200025"/>
                  <a:gd name="connsiteX1" fmla="*/ 29198 w 28575"/>
                  <a:gd name="connsiteY1" fmla="*/ 198692 h 200025"/>
                  <a:gd name="connsiteX2" fmla="*/ 19102 w 28575"/>
                  <a:gd name="connsiteY2" fmla="*/ 7144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00025">
                    <a:moveTo>
                      <a:pt x="19102" y="7144"/>
                    </a:moveTo>
                    <a:cubicBezTo>
                      <a:pt x="218" y="70240"/>
                      <a:pt x="3786" y="137930"/>
                      <a:pt x="29198" y="198692"/>
                    </a:cubicBezTo>
                    <a:cubicBezTo>
                      <a:pt x="29293" y="134588"/>
                      <a:pt x="24055" y="71152"/>
                      <a:pt x="19102" y="7144"/>
                    </a:cubicBez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3" name="Полилиния: фигура 772">
                <a:extLst>
                  <a:ext uri="{FF2B5EF4-FFF2-40B4-BE49-F238E27FC236}">
                    <a16:creationId xmlns:a16="http://schemas.microsoft.com/office/drawing/2014/main" id="{EB93DC27-4ADC-4D2B-B0D3-D8DC50F5A004}"/>
                  </a:ext>
                </a:extLst>
              </p:cNvPr>
              <p:cNvSpPr/>
              <p:nvPr/>
            </p:nvSpPr>
            <p:spPr>
              <a:xfrm>
                <a:off x="1624580" y="4071340"/>
                <a:ext cx="76200" cy="685800"/>
              </a:xfrm>
              <a:custGeom>
                <a:avLst/>
                <a:gdLst>
                  <a:gd name="connsiteX0" fmla="*/ 17925 w 76200"/>
                  <a:gd name="connsiteY0" fmla="*/ 679609 h 685800"/>
                  <a:gd name="connsiteX1" fmla="*/ 17258 w 76200"/>
                  <a:gd name="connsiteY1" fmla="*/ 672560 h 685800"/>
                  <a:gd name="connsiteX2" fmla="*/ 16211 w 76200"/>
                  <a:gd name="connsiteY2" fmla="*/ 652367 h 685800"/>
                  <a:gd name="connsiteX3" fmla="*/ 13448 w 76200"/>
                  <a:gd name="connsiteY3" fmla="*/ 577882 h 685800"/>
                  <a:gd name="connsiteX4" fmla="*/ 9924 w 76200"/>
                  <a:gd name="connsiteY4" fmla="*/ 467392 h 685800"/>
                  <a:gd name="connsiteX5" fmla="*/ 8019 w 76200"/>
                  <a:gd name="connsiteY5" fmla="*/ 402146 h 685800"/>
                  <a:gd name="connsiteX6" fmla="*/ 9067 w 76200"/>
                  <a:gd name="connsiteY6" fmla="*/ 331756 h 685800"/>
                  <a:gd name="connsiteX7" fmla="*/ 20116 w 76200"/>
                  <a:gd name="connsiteY7" fmla="*/ 297180 h 685800"/>
                  <a:gd name="connsiteX8" fmla="*/ 36785 w 76200"/>
                  <a:gd name="connsiteY8" fmla="*/ 267462 h 685800"/>
                  <a:gd name="connsiteX9" fmla="*/ 38309 w 76200"/>
                  <a:gd name="connsiteY9" fmla="*/ 252317 h 685800"/>
                  <a:gd name="connsiteX10" fmla="*/ 30212 w 76200"/>
                  <a:gd name="connsiteY10" fmla="*/ 239744 h 685800"/>
                  <a:gd name="connsiteX11" fmla="*/ 18782 w 76200"/>
                  <a:gd name="connsiteY11" fmla="*/ 227647 h 685800"/>
                  <a:gd name="connsiteX12" fmla="*/ 14020 w 76200"/>
                  <a:gd name="connsiteY12" fmla="*/ 211550 h 685800"/>
                  <a:gd name="connsiteX13" fmla="*/ 19735 w 76200"/>
                  <a:gd name="connsiteY13" fmla="*/ 181070 h 685800"/>
                  <a:gd name="connsiteX14" fmla="*/ 27831 w 76200"/>
                  <a:gd name="connsiteY14" fmla="*/ 153543 h 685800"/>
                  <a:gd name="connsiteX15" fmla="*/ 42404 w 76200"/>
                  <a:gd name="connsiteY15" fmla="*/ 104204 h 685800"/>
                  <a:gd name="connsiteX16" fmla="*/ 63740 w 76200"/>
                  <a:gd name="connsiteY16" fmla="*/ 32766 h 685800"/>
                  <a:gd name="connsiteX17" fmla="*/ 69836 w 76200"/>
                  <a:gd name="connsiteY17" fmla="*/ 13716 h 685800"/>
                  <a:gd name="connsiteX18" fmla="*/ 72313 w 76200"/>
                  <a:gd name="connsiteY18" fmla="*/ 7144 h 685800"/>
                  <a:gd name="connsiteX19" fmla="*/ 70789 w 76200"/>
                  <a:gd name="connsiteY19" fmla="*/ 14002 h 685800"/>
                  <a:gd name="connsiteX20" fmla="*/ 65645 w 76200"/>
                  <a:gd name="connsiteY20" fmla="*/ 33623 h 685800"/>
                  <a:gd name="connsiteX21" fmla="*/ 45738 w 76200"/>
                  <a:gd name="connsiteY21" fmla="*/ 105156 h 685800"/>
                  <a:gd name="connsiteX22" fmla="*/ 31736 w 76200"/>
                  <a:gd name="connsiteY22" fmla="*/ 154686 h 685800"/>
                  <a:gd name="connsiteX23" fmla="*/ 23926 w 76200"/>
                  <a:gd name="connsiteY23" fmla="*/ 182309 h 685800"/>
                  <a:gd name="connsiteX24" fmla="*/ 18592 w 76200"/>
                  <a:gd name="connsiteY24" fmla="*/ 211360 h 685800"/>
                  <a:gd name="connsiteX25" fmla="*/ 22688 w 76200"/>
                  <a:gd name="connsiteY25" fmla="*/ 225076 h 685800"/>
                  <a:gd name="connsiteX26" fmla="*/ 33546 w 76200"/>
                  <a:gd name="connsiteY26" fmla="*/ 236315 h 685800"/>
                  <a:gd name="connsiteX27" fmla="*/ 43071 w 76200"/>
                  <a:gd name="connsiteY27" fmla="*/ 251174 h 685800"/>
                  <a:gd name="connsiteX28" fmla="*/ 41452 w 76200"/>
                  <a:gd name="connsiteY28" fmla="*/ 269081 h 685800"/>
                  <a:gd name="connsiteX29" fmla="*/ 24593 w 76200"/>
                  <a:gd name="connsiteY29" fmla="*/ 299657 h 685800"/>
                  <a:gd name="connsiteX30" fmla="*/ 14020 w 76200"/>
                  <a:gd name="connsiteY30" fmla="*/ 332423 h 685800"/>
                  <a:gd name="connsiteX31" fmla="*/ 12972 w 76200"/>
                  <a:gd name="connsiteY31" fmla="*/ 402050 h 685800"/>
                  <a:gd name="connsiteX32" fmla="*/ 14591 w 76200"/>
                  <a:gd name="connsiteY32" fmla="*/ 467297 h 685800"/>
                  <a:gd name="connsiteX33" fmla="*/ 17068 w 76200"/>
                  <a:gd name="connsiteY33" fmla="*/ 577787 h 685800"/>
                  <a:gd name="connsiteX34" fmla="*/ 18211 w 76200"/>
                  <a:gd name="connsiteY34" fmla="*/ 652272 h 685800"/>
                  <a:gd name="connsiteX35" fmla="*/ 18211 w 76200"/>
                  <a:gd name="connsiteY35" fmla="*/ 672560 h 685800"/>
                  <a:gd name="connsiteX36" fmla="*/ 17925 w 76200"/>
                  <a:gd name="connsiteY36" fmla="*/ 679609 h 68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76200" h="685800">
                    <a:moveTo>
                      <a:pt x="17925" y="679609"/>
                    </a:moveTo>
                    <a:cubicBezTo>
                      <a:pt x="17477" y="677286"/>
                      <a:pt x="17253" y="674926"/>
                      <a:pt x="17258" y="672560"/>
                    </a:cubicBezTo>
                    <a:cubicBezTo>
                      <a:pt x="17258" y="667512"/>
                      <a:pt x="16687" y="660749"/>
                      <a:pt x="16211" y="652367"/>
                    </a:cubicBezTo>
                    <a:cubicBezTo>
                      <a:pt x="15544" y="634175"/>
                      <a:pt x="14591" y="608838"/>
                      <a:pt x="13448" y="577882"/>
                    </a:cubicBezTo>
                    <a:cubicBezTo>
                      <a:pt x="12305" y="546926"/>
                      <a:pt x="11258" y="508826"/>
                      <a:pt x="9924" y="467392"/>
                    </a:cubicBezTo>
                    <a:cubicBezTo>
                      <a:pt x="9353" y="446532"/>
                      <a:pt x="8686" y="424720"/>
                      <a:pt x="8019" y="402146"/>
                    </a:cubicBezTo>
                    <a:cubicBezTo>
                      <a:pt x="6570" y="378690"/>
                      <a:pt x="6920" y="355158"/>
                      <a:pt x="9067" y="331756"/>
                    </a:cubicBezTo>
                    <a:cubicBezTo>
                      <a:pt x="10597" y="319650"/>
                      <a:pt x="14343" y="307930"/>
                      <a:pt x="20116" y="297180"/>
                    </a:cubicBezTo>
                    <a:cubicBezTo>
                      <a:pt x="26421" y="287713"/>
                      <a:pt x="31994" y="277778"/>
                      <a:pt x="36785" y="267462"/>
                    </a:cubicBezTo>
                    <a:cubicBezTo>
                      <a:pt x="38781" y="262676"/>
                      <a:pt x="39311" y="257405"/>
                      <a:pt x="38309" y="252317"/>
                    </a:cubicBezTo>
                    <a:cubicBezTo>
                      <a:pt x="36964" y="247395"/>
                      <a:pt x="34138" y="243005"/>
                      <a:pt x="30212" y="239744"/>
                    </a:cubicBezTo>
                    <a:cubicBezTo>
                      <a:pt x="25956" y="236159"/>
                      <a:pt x="22121" y="232100"/>
                      <a:pt x="18782" y="227647"/>
                    </a:cubicBezTo>
                    <a:cubicBezTo>
                      <a:pt x="15787" y="222803"/>
                      <a:pt x="14142" y="217245"/>
                      <a:pt x="14020" y="211550"/>
                    </a:cubicBezTo>
                    <a:cubicBezTo>
                      <a:pt x="14294" y="201151"/>
                      <a:pt x="16223" y="190862"/>
                      <a:pt x="19735" y="181070"/>
                    </a:cubicBezTo>
                    <a:cubicBezTo>
                      <a:pt x="22497" y="171545"/>
                      <a:pt x="25164" y="162020"/>
                      <a:pt x="27831" y="153543"/>
                    </a:cubicBezTo>
                    <a:cubicBezTo>
                      <a:pt x="32975" y="135827"/>
                      <a:pt x="37928" y="119348"/>
                      <a:pt x="42404" y="104204"/>
                    </a:cubicBezTo>
                    <a:cubicBezTo>
                      <a:pt x="51263" y="74390"/>
                      <a:pt x="58597" y="50197"/>
                      <a:pt x="63740" y="32766"/>
                    </a:cubicBezTo>
                    <a:cubicBezTo>
                      <a:pt x="66312" y="24765"/>
                      <a:pt x="68312" y="18383"/>
                      <a:pt x="69836" y="13716"/>
                    </a:cubicBezTo>
                    <a:cubicBezTo>
                      <a:pt x="70399" y="11435"/>
                      <a:pt x="71231" y="9229"/>
                      <a:pt x="72313" y="7144"/>
                    </a:cubicBezTo>
                    <a:cubicBezTo>
                      <a:pt x="71959" y="9461"/>
                      <a:pt x="71450" y="11752"/>
                      <a:pt x="70789" y="14002"/>
                    </a:cubicBezTo>
                    <a:cubicBezTo>
                      <a:pt x="69455" y="18955"/>
                      <a:pt x="67741" y="25527"/>
                      <a:pt x="65645" y="33623"/>
                    </a:cubicBezTo>
                    <a:lnTo>
                      <a:pt x="45738" y="105156"/>
                    </a:lnTo>
                    <a:cubicBezTo>
                      <a:pt x="41452" y="120396"/>
                      <a:pt x="36785" y="136970"/>
                      <a:pt x="31736" y="154686"/>
                    </a:cubicBezTo>
                    <a:cubicBezTo>
                      <a:pt x="29260" y="163640"/>
                      <a:pt x="26593" y="172784"/>
                      <a:pt x="23926" y="182309"/>
                    </a:cubicBezTo>
                    <a:cubicBezTo>
                      <a:pt x="20648" y="191656"/>
                      <a:pt x="18848" y="201458"/>
                      <a:pt x="18592" y="211360"/>
                    </a:cubicBezTo>
                    <a:cubicBezTo>
                      <a:pt x="18677" y="216221"/>
                      <a:pt x="20094" y="220965"/>
                      <a:pt x="22688" y="225076"/>
                    </a:cubicBezTo>
                    <a:cubicBezTo>
                      <a:pt x="25854" y="229235"/>
                      <a:pt x="29499" y="233008"/>
                      <a:pt x="33546" y="236315"/>
                    </a:cubicBezTo>
                    <a:cubicBezTo>
                      <a:pt x="38126" y="240213"/>
                      <a:pt x="41442" y="245386"/>
                      <a:pt x="43071" y="251174"/>
                    </a:cubicBezTo>
                    <a:cubicBezTo>
                      <a:pt x="44270" y="257175"/>
                      <a:pt x="43708" y="263394"/>
                      <a:pt x="41452" y="269081"/>
                    </a:cubicBezTo>
                    <a:cubicBezTo>
                      <a:pt x="36572" y="279664"/>
                      <a:pt x="30938" y="289882"/>
                      <a:pt x="24593" y="299657"/>
                    </a:cubicBezTo>
                    <a:cubicBezTo>
                      <a:pt x="19079" y="309834"/>
                      <a:pt x="15495" y="320942"/>
                      <a:pt x="14020" y="332423"/>
                    </a:cubicBezTo>
                    <a:cubicBezTo>
                      <a:pt x="11962" y="355575"/>
                      <a:pt x="11612" y="378847"/>
                      <a:pt x="12972" y="402050"/>
                    </a:cubicBezTo>
                    <a:cubicBezTo>
                      <a:pt x="13544" y="424625"/>
                      <a:pt x="14115" y="446437"/>
                      <a:pt x="14591" y="467297"/>
                    </a:cubicBezTo>
                    <a:cubicBezTo>
                      <a:pt x="15544" y="508730"/>
                      <a:pt x="16306" y="546164"/>
                      <a:pt x="17068" y="577787"/>
                    </a:cubicBezTo>
                    <a:cubicBezTo>
                      <a:pt x="17830" y="609410"/>
                      <a:pt x="17925" y="634175"/>
                      <a:pt x="18211" y="652272"/>
                    </a:cubicBezTo>
                    <a:cubicBezTo>
                      <a:pt x="18211" y="660749"/>
                      <a:pt x="18211" y="667417"/>
                      <a:pt x="18211" y="672560"/>
                    </a:cubicBezTo>
                    <a:cubicBezTo>
                      <a:pt x="18367" y="674913"/>
                      <a:pt x="18271" y="677276"/>
                      <a:pt x="17925" y="67960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4" name="Полилиния: фигура 773">
                <a:extLst>
                  <a:ext uri="{FF2B5EF4-FFF2-40B4-BE49-F238E27FC236}">
                    <a16:creationId xmlns:a16="http://schemas.microsoft.com/office/drawing/2014/main" id="{B14B6CEF-8E89-46B9-87AE-4A20AC9EFFE0}"/>
                  </a:ext>
                </a:extLst>
              </p:cNvPr>
              <p:cNvSpPr/>
              <p:nvPr/>
            </p:nvSpPr>
            <p:spPr>
              <a:xfrm>
                <a:off x="1798481" y="4037717"/>
                <a:ext cx="314325" cy="1066800"/>
              </a:xfrm>
              <a:custGeom>
                <a:avLst/>
                <a:gdLst>
                  <a:gd name="connsiteX0" fmla="*/ 95674 w 314325"/>
                  <a:gd name="connsiteY0" fmla="*/ 7144 h 1066800"/>
                  <a:gd name="connsiteX1" fmla="*/ 89483 w 314325"/>
                  <a:gd name="connsiteY1" fmla="*/ 91345 h 1066800"/>
                  <a:gd name="connsiteX2" fmla="*/ 7187 w 314325"/>
                  <a:gd name="connsiteY2" fmla="*/ 493586 h 1066800"/>
                  <a:gd name="connsiteX3" fmla="*/ 93769 w 314325"/>
                  <a:gd name="connsiteY3" fmla="*/ 918305 h 1066800"/>
                  <a:gd name="connsiteX4" fmla="*/ 214165 w 314325"/>
                  <a:gd name="connsiteY4" fmla="*/ 1058609 h 1066800"/>
                  <a:gd name="connsiteX5" fmla="*/ 307700 w 314325"/>
                  <a:gd name="connsiteY5" fmla="*/ 1019175 h 1066800"/>
                  <a:gd name="connsiteX6" fmla="*/ 269600 w 314325"/>
                  <a:gd name="connsiteY6" fmla="*/ 787337 h 1066800"/>
                  <a:gd name="connsiteX7" fmla="*/ 295223 w 314325"/>
                  <a:gd name="connsiteY7" fmla="*/ 774287 h 1066800"/>
                  <a:gd name="connsiteX8" fmla="*/ 249407 w 314325"/>
                  <a:gd name="connsiteY8" fmla="*/ 699421 h 1066800"/>
                  <a:gd name="connsiteX9" fmla="*/ 244169 w 314325"/>
                  <a:gd name="connsiteY9" fmla="*/ 632746 h 1066800"/>
                  <a:gd name="connsiteX10" fmla="*/ 225119 w 314325"/>
                  <a:gd name="connsiteY10" fmla="*/ 394621 h 1066800"/>
                  <a:gd name="connsiteX11" fmla="*/ 287507 w 314325"/>
                  <a:gd name="connsiteY11" fmla="*/ 100679 h 1066800"/>
                  <a:gd name="connsiteX12" fmla="*/ 152919 w 314325"/>
                  <a:gd name="connsiteY12" fmla="*/ 49340 h 1066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4325" h="1066800">
                    <a:moveTo>
                      <a:pt x="95674" y="7144"/>
                    </a:moveTo>
                    <a:cubicBezTo>
                      <a:pt x="95674" y="7144"/>
                      <a:pt x="98627" y="61436"/>
                      <a:pt x="89483" y="91345"/>
                    </a:cubicBezTo>
                    <a:cubicBezTo>
                      <a:pt x="80339" y="121253"/>
                      <a:pt x="5091" y="443579"/>
                      <a:pt x="7187" y="493586"/>
                    </a:cubicBezTo>
                    <a:cubicBezTo>
                      <a:pt x="9282" y="543592"/>
                      <a:pt x="79481" y="865918"/>
                      <a:pt x="93769" y="918305"/>
                    </a:cubicBezTo>
                    <a:cubicBezTo>
                      <a:pt x="108056" y="970693"/>
                      <a:pt x="150062" y="1043654"/>
                      <a:pt x="214165" y="1058609"/>
                    </a:cubicBezTo>
                    <a:cubicBezTo>
                      <a:pt x="250645" y="1067747"/>
                      <a:pt x="288773" y="1051672"/>
                      <a:pt x="307700" y="1019175"/>
                    </a:cubicBezTo>
                    <a:lnTo>
                      <a:pt x="269600" y="787337"/>
                    </a:lnTo>
                    <a:lnTo>
                      <a:pt x="295223" y="774287"/>
                    </a:lnTo>
                    <a:lnTo>
                      <a:pt x="249407" y="699421"/>
                    </a:lnTo>
                    <a:lnTo>
                      <a:pt x="244169" y="632746"/>
                    </a:lnTo>
                    <a:lnTo>
                      <a:pt x="225119" y="394621"/>
                    </a:lnTo>
                    <a:lnTo>
                      <a:pt x="287507" y="100679"/>
                    </a:lnTo>
                    <a:lnTo>
                      <a:pt x="152919" y="49340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5" name="Полилиния: фигура 774">
                <a:extLst>
                  <a:ext uri="{FF2B5EF4-FFF2-40B4-BE49-F238E27FC236}">
                    <a16:creationId xmlns:a16="http://schemas.microsoft.com/office/drawing/2014/main" id="{61489DC6-66AE-4822-9372-B0EAFDFACA02}"/>
                  </a:ext>
                </a:extLst>
              </p:cNvPr>
              <p:cNvSpPr/>
              <p:nvPr/>
            </p:nvSpPr>
            <p:spPr>
              <a:xfrm>
                <a:off x="1849578" y="4083723"/>
                <a:ext cx="104775" cy="638175"/>
              </a:xfrm>
              <a:custGeom>
                <a:avLst/>
                <a:gdLst>
                  <a:gd name="connsiteX0" fmla="*/ 7144 w 104775"/>
                  <a:gd name="connsiteY0" fmla="*/ 638365 h 638175"/>
                  <a:gd name="connsiteX1" fmla="*/ 8096 w 104775"/>
                  <a:gd name="connsiteY1" fmla="*/ 631793 h 638175"/>
                  <a:gd name="connsiteX2" fmla="*/ 11621 w 104775"/>
                  <a:gd name="connsiteY2" fmla="*/ 613220 h 638175"/>
                  <a:gd name="connsiteX3" fmla="*/ 25527 w 104775"/>
                  <a:gd name="connsiteY3" fmla="*/ 545020 h 638175"/>
                  <a:gd name="connsiteX4" fmla="*/ 73152 w 104775"/>
                  <a:gd name="connsiteY4" fmla="*/ 320421 h 638175"/>
                  <a:gd name="connsiteX5" fmla="*/ 76295 w 104775"/>
                  <a:gd name="connsiteY5" fmla="*/ 256508 h 638175"/>
                  <a:gd name="connsiteX6" fmla="*/ 71342 w 104775"/>
                  <a:gd name="connsiteY6" fmla="*/ 225076 h 638175"/>
                  <a:gd name="connsiteX7" fmla="*/ 80391 w 104775"/>
                  <a:gd name="connsiteY7" fmla="*/ 211550 h 638175"/>
                  <a:gd name="connsiteX8" fmla="*/ 90773 w 104775"/>
                  <a:gd name="connsiteY8" fmla="*/ 202025 h 638175"/>
                  <a:gd name="connsiteX9" fmla="*/ 98870 w 104775"/>
                  <a:gd name="connsiteY9" fmla="*/ 176593 h 638175"/>
                  <a:gd name="connsiteX10" fmla="*/ 98870 w 104775"/>
                  <a:gd name="connsiteY10" fmla="*/ 150019 h 638175"/>
                  <a:gd name="connsiteX11" fmla="*/ 97155 w 104775"/>
                  <a:gd name="connsiteY11" fmla="*/ 102394 h 638175"/>
                  <a:gd name="connsiteX12" fmla="*/ 95059 w 104775"/>
                  <a:gd name="connsiteY12" fmla="*/ 32861 h 638175"/>
                  <a:gd name="connsiteX13" fmla="*/ 95059 w 104775"/>
                  <a:gd name="connsiteY13" fmla="*/ 13811 h 638175"/>
                  <a:gd name="connsiteX14" fmla="*/ 95059 w 104775"/>
                  <a:gd name="connsiteY14" fmla="*/ 7144 h 638175"/>
                  <a:gd name="connsiteX15" fmla="*/ 95821 w 104775"/>
                  <a:gd name="connsiteY15" fmla="*/ 13716 h 638175"/>
                  <a:gd name="connsiteX16" fmla="*/ 97060 w 104775"/>
                  <a:gd name="connsiteY16" fmla="*/ 32766 h 638175"/>
                  <a:gd name="connsiteX17" fmla="*/ 100775 w 104775"/>
                  <a:gd name="connsiteY17" fmla="*/ 102203 h 638175"/>
                  <a:gd name="connsiteX18" fmla="*/ 103156 w 104775"/>
                  <a:gd name="connsiteY18" fmla="*/ 150304 h 638175"/>
                  <a:gd name="connsiteX19" fmla="*/ 103632 w 104775"/>
                  <a:gd name="connsiteY19" fmla="*/ 177260 h 638175"/>
                  <a:gd name="connsiteX20" fmla="*/ 94869 w 104775"/>
                  <a:gd name="connsiteY20" fmla="*/ 205168 h 638175"/>
                  <a:gd name="connsiteX21" fmla="*/ 76486 w 104775"/>
                  <a:gd name="connsiteY21" fmla="*/ 226790 h 638175"/>
                  <a:gd name="connsiteX22" fmla="*/ 81534 w 104775"/>
                  <a:gd name="connsiteY22" fmla="*/ 256127 h 638175"/>
                  <a:gd name="connsiteX23" fmla="*/ 78486 w 104775"/>
                  <a:gd name="connsiteY23" fmla="*/ 322040 h 638175"/>
                  <a:gd name="connsiteX24" fmla="*/ 29242 w 104775"/>
                  <a:gd name="connsiteY24" fmla="*/ 546449 h 638175"/>
                  <a:gd name="connsiteX25" fmla="*/ 13811 w 104775"/>
                  <a:gd name="connsiteY25" fmla="*/ 614267 h 638175"/>
                  <a:gd name="connsiteX26" fmla="*/ 9334 w 104775"/>
                  <a:gd name="connsiteY26" fmla="*/ 632746 h 638175"/>
                  <a:gd name="connsiteX27" fmla="*/ 7144 w 104775"/>
                  <a:gd name="connsiteY27" fmla="*/ 638365 h 638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04775" h="638175">
                    <a:moveTo>
                      <a:pt x="7144" y="638365"/>
                    </a:moveTo>
                    <a:cubicBezTo>
                      <a:pt x="7246" y="636149"/>
                      <a:pt x="7565" y="633948"/>
                      <a:pt x="8096" y="631793"/>
                    </a:cubicBezTo>
                    <a:cubicBezTo>
                      <a:pt x="8954" y="627126"/>
                      <a:pt x="10192" y="620935"/>
                      <a:pt x="11621" y="613220"/>
                    </a:cubicBezTo>
                    <a:cubicBezTo>
                      <a:pt x="15050" y="596551"/>
                      <a:pt x="19717" y="573405"/>
                      <a:pt x="25527" y="545020"/>
                    </a:cubicBezTo>
                    <a:cubicBezTo>
                      <a:pt x="37909" y="487013"/>
                      <a:pt x="54674" y="407860"/>
                      <a:pt x="73152" y="320421"/>
                    </a:cubicBezTo>
                    <a:cubicBezTo>
                      <a:pt x="78665" y="299572"/>
                      <a:pt x="79736" y="277797"/>
                      <a:pt x="76295" y="256508"/>
                    </a:cubicBezTo>
                    <a:cubicBezTo>
                      <a:pt x="74390" y="246983"/>
                      <a:pt x="69056" y="236506"/>
                      <a:pt x="71342" y="225076"/>
                    </a:cubicBezTo>
                    <a:cubicBezTo>
                      <a:pt x="72815" y="219707"/>
                      <a:pt x="75990" y="214960"/>
                      <a:pt x="80391" y="211550"/>
                    </a:cubicBezTo>
                    <a:cubicBezTo>
                      <a:pt x="84148" y="208714"/>
                      <a:pt x="87625" y="205524"/>
                      <a:pt x="90773" y="202025"/>
                    </a:cubicBezTo>
                    <a:cubicBezTo>
                      <a:pt x="95910" y="194527"/>
                      <a:pt x="98726" y="185682"/>
                      <a:pt x="98870" y="176593"/>
                    </a:cubicBezTo>
                    <a:cubicBezTo>
                      <a:pt x="99441" y="167640"/>
                      <a:pt x="98870" y="158686"/>
                      <a:pt x="98870" y="150019"/>
                    </a:cubicBezTo>
                    <a:cubicBezTo>
                      <a:pt x="98298" y="132874"/>
                      <a:pt x="97726" y="116776"/>
                      <a:pt x="97155" y="102394"/>
                    </a:cubicBezTo>
                    <a:cubicBezTo>
                      <a:pt x="96298" y="73819"/>
                      <a:pt x="95536" y="49816"/>
                      <a:pt x="95059" y="32861"/>
                    </a:cubicBezTo>
                    <a:lnTo>
                      <a:pt x="95059" y="13811"/>
                    </a:lnTo>
                    <a:cubicBezTo>
                      <a:pt x="94811" y="11596"/>
                      <a:pt x="94811" y="9359"/>
                      <a:pt x="95059" y="7144"/>
                    </a:cubicBezTo>
                    <a:cubicBezTo>
                      <a:pt x="95450" y="9317"/>
                      <a:pt x="95704" y="11512"/>
                      <a:pt x="95821" y="13716"/>
                    </a:cubicBezTo>
                    <a:cubicBezTo>
                      <a:pt x="95821" y="18574"/>
                      <a:pt x="96583" y="24860"/>
                      <a:pt x="97060" y="32766"/>
                    </a:cubicBezTo>
                    <a:cubicBezTo>
                      <a:pt x="98012" y="49720"/>
                      <a:pt x="99250" y="73342"/>
                      <a:pt x="100775" y="102203"/>
                    </a:cubicBezTo>
                    <a:cubicBezTo>
                      <a:pt x="101537" y="116967"/>
                      <a:pt x="102299" y="133064"/>
                      <a:pt x="103156" y="150304"/>
                    </a:cubicBezTo>
                    <a:cubicBezTo>
                      <a:pt x="103156" y="158877"/>
                      <a:pt x="104204" y="167830"/>
                      <a:pt x="103632" y="177260"/>
                    </a:cubicBezTo>
                    <a:cubicBezTo>
                      <a:pt x="103587" y="187233"/>
                      <a:pt x="100533" y="196960"/>
                      <a:pt x="94869" y="205168"/>
                    </a:cubicBezTo>
                    <a:cubicBezTo>
                      <a:pt x="88487" y="213550"/>
                      <a:pt x="78296" y="217741"/>
                      <a:pt x="76486" y="226790"/>
                    </a:cubicBezTo>
                    <a:cubicBezTo>
                      <a:pt x="74676" y="235839"/>
                      <a:pt x="79248" y="245840"/>
                      <a:pt x="81534" y="256127"/>
                    </a:cubicBezTo>
                    <a:cubicBezTo>
                      <a:pt x="85176" y="278067"/>
                      <a:pt x="84137" y="300530"/>
                      <a:pt x="78486" y="322040"/>
                    </a:cubicBezTo>
                    <a:cubicBezTo>
                      <a:pt x="59436" y="409384"/>
                      <a:pt x="41910" y="488537"/>
                      <a:pt x="29242" y="546449"/>
                    </a:cubicBezTo>
                    <a:cubicBezTo>
                      <a:pt x="22860" y="575024"/>
                      <a:pt x="17526" y="597694"/>
                      <a:pt x="13811" y="614267"/>
                    </a:cubicBezTo>
                    <a:cubicBezTo>
                      <a:pt x="11906" y="621887"/>
                      <a:pt x="10478" y="627983"/>
                      <a:pt x="9334" y="632746"/>
                    </a:cubicBezTo>
                    <a:cubicBezTo>
                      <a:pt x="8826" y="634698"/>
                      <a:pt x="8091" y="636584"/>
                      <a:pt x="7144" y="638365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6" name="Полилиния: фигура 775">
                <a:extLst>
                  <a:ext uri="{FF2B5EF4-FFF2-40B4-BE49-F238E27FC236}">
                    <a16:creationId xmlns:a16="http://schemas.microsoft.com/office/drawing/2014/main" id="{D13331F0-A096-4EE3-B716-A3F5648D3D6C}"/>
                  </a:ext>
                </a:extLst>
              </p:cNvPr>
              <p:cNvSpPr/>
              <p:nvPr/>
            </p:nvSpPr>
            <p:spPr>
              <a:xfrm>
                <a:off x="1962831" y="4803643"/>
                <a:ext cx="133350" cy="66675"/>
              </a:xfrm>
              <a:custGeom>
                <a:avLst/>
                <a:gdLst>
                  <a:gd name="connsiteX0" fmla="*/ 129921 w 133350"/>
                  <a:gd name="connsiteY0" fmla="*/ 7218 h 66675"/>
                  <a:gd name="connsiteX1" fmla="*/ 113252 w 133350"/>
                  <a:gd name="connsiteY1" fmla="*/ 18553 h 66675"/>
                  <a:gd name="connsiteX2" fmla="*/ 70485 w 133350"/>
                  <a:gd name="connsiteY2" fmla="*/ 41412 h 66675"/>
                  <a:gd name="connsiteX3" fmla="*/ 26194 w 133350"/>
                  <a:gd name="connsiteY3" fmla="*/ 61034 h 66675"/>
                  <a:gd name="connsiteX4" fmla="*/ 7144 w 133350"/>
                  <a:gd name="connsiteY4" fmla="*/ 67225 h 66675"/>
                  <a:gd name="connsiteX5" fmla="*/ 68485 w 133350"/>
                  <a:gd name="connsiteY5" fmla="*/ 37031 h 66675"/>
                  <a:gd name="connsiteX6" fmla="*/ 129921 w 133350"/>
                  <a:gd name="connsiteY6" fmla="*/ 7218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350" h="66675">
                    <a:moveTo>
                      <a:pt x="129921" y="7218"/>
                    </a:moveTo>
                    <a:cubicBezTo>
                      <a:pt x="124869" y="11689"/>
                      <a:pt x="119268" y="15498"/>
                      <a:pt x="113252" y="18553"/>
                    </a:cubicBezTo>
                    <a:cubicBezTo>
                      <a:pt x="102584" y="24934"/>
                      <a:pt x="87535" y="33126"/>
                      <a:pt x="70485" y="41412"/>
                    </a:cubicBezTo>
                    <a:cubicBezTo>
                      <a:pt x="53435" y="49699"/>
                      <a:pt x="37719" y="56557"/>
                      <a:pt x="26194" y="61034"/>
                    </a:cubicBezTo>
                    <a:cubicBezTo>
                      <a:pt x="20167" y="63983"/>
                      <a:pt x="13753" y="66068"/>
                      <a:pt x="7144" y="67225"/>
                    </a:cubicBezTo>
                    <a:cubicBezTo>
                      <a:pt x="7144" y="65892"/>
                      <a:pt x="34671" y="53604"/>
                      <a:pt x="68485" y="37031"/>
                    </a:cubicBezTo>
                    <a:cubicBezTo>
                      <a:pt x="102299" y="20457"/>
                      <a:pt x="129159" y="5979"/>
                      <a:pt x="129921" y="7218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7" name="Полилиния: фигура 776">
                <a:extLst>
                  <a:ext uri="{FF2B5EF4-FFF2-40B4-BE49-F238E27FC236}">
                    <a16:creationId xmlns:a16="http://schemas.microsoft.com/office/drawing/2014/main" id="{A15AC998-D619-46AB-A6D0-2AFE723AC6CC}"/>
                  </a:ext>
                </a:extLst>
              </p:cNvPr>
              <p:cNvSpPr/>
              <p:nvPr/>
            </p:nvSpPr>
            <p:spPr>
              <a:xfrm>
                <a:off x="1963973" y="4729708"/>
                <a:ext cx="85725" cy="47625"/>
              </a:xfrm>
              <a:custGeom>
                <a:avLst/>
                <a:gdLst>
                  <a:gd name="connsiteX0" fmla="*/ 84106 w 85725"/>
                  <a:gd name="connsiteY0" fmla="*/ 7144 h 47625"/>
                  <a:gd name="connsiteX1" fmla="*/ 7144 w 85725"/>
                  <a:gd name="connsiteY1" fmla="*/ 41243 h 47625"/>
                  <a:gd name="connsiteX2" fmla="*/ 45244 w 85725"/>
                  <a:gd name="connsiteY2" fmla="*/ 23717 h 47625"/>
                  <a:gd name="connsiteX3" fmla="*/ 84106 w 85725"/>
                  <a:gd name="connsiteY3" fmla="*/ 7144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47625">
                    <a:moveTo>
                      <a:pt x="84106" y="7144"/>
                    </a:moveTo>
                    <a:cubicBezTo>
                      <a:pt x="61186" y="23884"/>
                      <a:pt x="34941" y="35512"/>
                      <a:pt x="7144" y="41243"/>
                    </a:cubicBezTo>
                    <a:cubicBezTo>
                      <a:pt x="19417" y="34514"/>
                      <a:pt x="32148" y="28658"/>
                      <a:pt x="45244" y="23717"/>
                    </a:cubicBezTo>
                    <a:cubicBezTo>
                      <a:pt x="57792" y="17286"/>
                      <a:pt x="70778" y="11748"/>
                      <a:pt x="84106" y="71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8" name="Полилиния: фигура 777">
                <a:extLst>
                  <a:ext uri="{FF2B5EF4-FFF2-40B4-BE49-F238E27FC236}">
                    <a16:creationId xmlns:a16="http://schemas.microsoft.com/office/drawing/2014/main" id="{61E9133D-FFDE-44F5-9750-292CBBCE40D4}"/>
                  </a:ext>
                </a:extLst>
              </p:cNvPr>
              <p:cNvSpPr/>
              <p:nvPr/>
            </p:nvSpPr>
            <p:spPr>
              <a:xfrm>
                <a:off x="1865961" y="4139920"/>
                <a:ext cx="104775" cy="504825"/>
              </a:xfrm>
              <a:custGeom>
                <a:avLst/>
                <a:gdLst>
                  <a:gd name="connsiteX0" fmla="*/ 66199 w 104775"/>
                  <a:gd name="connsiteY0" fmla="*/ 268224 h 504825"/>
                  <a:gd name="connsiteX1" fmla="*/ 86392 w 104775"/>
                  <a:gd name="connsiteY1" fmla="*/ 199263 h 504825"/>
                  <a:gd name="connsiteX2" fmla="*/ 95440 w 104775"/>
                  <a:gd name="connsiteY2" fmla="*/ 147256 h 504825"/>
                  <a:gd name="connsiteX3" fmla="*/ 98774 w 104775"/>
                  <a:gd name="connsiteY3" fmla="*/ 77057 h 504825"/>
                  <a:gd name="connsiteX4" fmla="*/ 80772 w 104775"/>
                  <a:gd name="connsiteY4" fmla="*/ 7144 h 504825"/>
                  <a:gd name="connsiteX5" fmla="*/ 85058 w 104775"/>
                  <a:gd name="connsiteY5" fmla="*/ 79534 h 504825"/>
                  <a:gd name="connsiteX6" fmla="*/ 74771 w 104775"/>
                  <a:gd name="connsiteY6" fmla="*/ 148971 h 504825"/>
                  <a:gd name="connsiteX7" fmla="*/ 60293 w 104775"/>
                  <a:gd name="connsiteY7" fmla="*/ 193643 h 504825"/>
                  <a:gd name="connsiteX8" fmla="*/ 63817 w 104775"/>
                  <a:gd name="connsiteY8" fmla="*/ 236982 h 504825"/>
                  <a:gd name="connsiteX9" fmla="*/ 7144 w 104775"/>
                  <a:gd name="connsiteY9" fmla="*/ 506539 h 504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4775" h="504825">
                    <a:moveTo>
                      <a:pt x="66199" y="268224"/>
                    </a:moveTo>
                    <a:cubicBezTo>
                      <a:pt x="80547" y="248188"/>
                      <a:pt x="87667" y="223874"/>
                      <a:pt x="86392" y="199263"/>
                    </a:cubicBezTo>
                    <a:cubicBezTo>
                      <a:pt x="83321" y="181403"/>
                      <a:pt x="86518" y="163030"/>
                      <a:pt x="95440" y="147256"/>
                    </a:cubicBezTo>
                    <a:cubicBezTo>
                      <a:pt x="102544" y="124528"/>
                      <a:pt x="103691" y="100356"/>
                      <a:pt x="98774" y="77057"/>
                    </a:cubicBezTo>
                    <a:cubicBezTo>
                      <a:pt x="94742" y="53290"/>
                      <a:pt x="88720" y="29903"/>
                      <a:pt x="80772" y="7144"/>
                    </a:cubicBezTo>
                    <a:cubicBezTo>
                      <a:pt x="80772" y="7144"/>
                      <a:pt x="83439" y="44005"/>
                      <a:pt x="85058" y="79534"/>
                    </a:cubicBezTo>
                    <a:cubicBezTo>
                      <a:pt x="86392" y="109252"/>
                      <a:pt x="88297" y="137255"/>
                      <a:pt x="74771" y="148971"/>
                    </a:cubicBezTo>
                    <a:cubicBezTo>
                      <a:pt x="44958" y="174498"/>
                      <a:pt x="57245" y="185356"/>
                      <a:pt x="60293" y="193643"/>
                    </a:cubicBezTo>
                    <a:cubicBezTo>
                      <a:pt x="63341" y="201930"/>
                      <a:pt x="68485" y="208312"/>
                      <a:pt x="63817" y="236982"/>
                    </a:cubicBezTo>
                    <a:cubicBezTo>
                      <a:pt x="59150" y="265652"/>
                      <a:pt x="7144" y="506539"/>
                      <a:pt x="7144" y="506539"/>
                    </a:cubicBez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9" name="Полилиния: фигура 778">
                <a:extLst>
                  <a:ext uri="{FF2B5EF4-FFF2-40B4-BE49-F238E27FC236}">
                    <a16:creationId xmlns:a16="http://schemas.microsoft.com/office/drawing/2014/main" id="{2B96CBB8-924E-4558-A5CE-7E0BF76A90CB}"/>
                  </a:ext>
                </a:extLst>
              </p:cNvPr>
              <p:cNvSpPr/>
              <p:nvPr/>
            </p:nvSpPr>
            <p:spPr>
              <a:xfrm>
                <a:off x="1885773" y="4507339"/>
                <a:ext cx="161925" cy="180975"/>
              </a:xfrm>
              <a:custGeom>
                <a:avLst/>
                <a:gdLst>
                  <a:gd name="connsiteX0" fmla="*/ 161830 w 161925"/>
                  <a:gd name="connsiteY0" fmla="*/ 171697 h 180975"/>
                  <a:gd name="connsiteX1" fmla="*/ 95155 w 161925"/>
                  <a:gd name="connsiteY1" fmla="*/ 33870 h 180975"/>
                  <a:gd name="connsiteX2" fmla="*/ 62579 w 161925"/>
                  <a:gd name="connsiteY2" fmla="*/ 10248 h 180975"/>
                  <a:gd name="connsiteX3" fmla="*/ 14954 w 161925"/>
                  <a:gd name="connsiteY3" fmla="*/ 13201 h 180975"/>
                  <a:gd name="connsiteX4" fmla="*/ 7144 w 161925"/>
                  <a:gd name="connsiteY4" fmla="*/ 57587 h 180975"/>
                  <a:gd name="connsiteX5" fmla="*/ 32004 w 161925"/>
                  <a:gd name="connsiteY5" fmla="*/ 51205 h 180975"/>
                  <a:gd name="connsiteX6" fmla="*/ 42482 w 161925"/>
                  <a:gd name="connsiteY6" fmla="*/ 69112 h 180975"/>
                  <a:gd name="connsiteX7" fmla="*/ 55055 w 161925"/>
                  <a:gd name="connsiteY7" fmla="*/ 85210 h 180975"/>
                  <a:gd name="connsiteX8" fmla="*/ 83629 w 161925"/>
                  <a:gd name="connsiteY8" fmla="*/ 88829 h 180975"/>
                  <a:gd name="connsiteX9" fmla="*/ 100108 w 161925"/>
                  <a:gd name="connsiteY9" fmla="*/ 105403 h 180975"/>
                  <a:gd name="connsiteX10" fmla="*/ 107728 w 161925"/>
                  <a:gd name="connsiteY10" fmla="*/ 128072 h 180975"/>
                  <a:gd name="connsiteX11" fmla="*/ 151447 w 161925"/>
                  <a:gd name="connsiteY11" fmla="*/ 178078 h 180975"/>
                  <a:gd name="connsiteX12" fmla="*/ 160401 w 161925"/>
                  <a:gd name="connsiteY12" fmla="*/ 178555 h 180975"/>
                  <a:gd name="connsiteX13" fmla="*/ 161830 w 161925"/>
                  <a:gd name="connsiteY13" fmla="*/ 171697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1925" h="180975">
                    <a:moveTo>
                      <a:pt x="161830" y="171697"/>
                    </a:moveTo>
                    <a:cubicBezTo>
                      <a:pt x="156108" y="119456"/>
                      <a:pt x="132561" y="70782"/>
                      <a:pt x="95155" y="33870"/>
                    </a:cubicBezTo>
                    <a:cubicBezTo>
                      <a:pt x="86003" y="23876"/>
                      <a:pt x="74922" y="15840"/>
                      <a:pt x="62579" y="10248"/>
                    </a:cubicBezTo>
                    <a:cubicBezTo>
                      <a:pt x="46891" y="5259"/>
                      <a:pt x="29906" y="6312"/>
                      <a:pt x="14954" y="13201"/>
                    </a:cubicBezTo>
                    <a:lnTo>
                      <a:pt x="7144" y="57587"/>
                    </a:lnTo>
                    <a:cubicBezTo>
                      <a:pt x="11906" y="52444"/>
                      <a:pt x="26860" y="46538"/>
                      <a:pt x="32004" y="51205"/>
                    </a:cubicBezTo>
                    <a:cubicBezTo>
                      <a:pt x="36738" y="56355"/>
                      <a:pt x="40311" y="62462"/>
                      <a:pt x="42482" y="69112"/>
                    </a:cubicBezTo>
                    <a:cubicBezTo>
                      <a:pt x="44696" y="75764"/>
                      <a:pt x="49137" y="81449"/>
                      <a:pt x="55055" y="85210"/>
                    </a:cubicBezTo>
                    <a:cubicBezTo>
                      <a:pt x="63627" y="89496"/>
                      <a:pt x="74104" y="85876"/>
                      <a:pt x="83629" y="88829"/>
                    </a:cubicBezTo>
                    <a:cubicBezTo>
                      <a:pt x="91162" y="91862"/>
                      <a:pt x="97118" y="97853"/>
                      <a:pt x="100108" y="105403"/>
                    </a:cubicBezTo>
                    <a:cubicBezTo>
                      <a:pt x="103442" y="112641"/>
                      <a:pt x="105061" y="120547"/>
                      <a:pt x="107728" y="128072"/>
                    </a:cubicBezTo>
                    <a:cubicBezTo>
                      <a:pt x="115418" y="149690"/>
                      <a:pt x="131050" y="167570"/>
                      <a:pt x="151447" y="178078"/>
                    </a:cubicBezTo>
                    <a:cubicBezTo>
                      <a:pt x="154305" y="179507"/>
                      <a:pt x="158115" y="180745"/>
                      <a:pt x="160401" y="178555"/>
                    </a:cubicBezTo>
                    <a:cubicBezTo>
                      <a:pt x="161880" y="176598"/>
                      <a:pt x="162404" y="174081"/>
                      <a:pt x="161830" y="171697"/>
                    </a:cubicBez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0" name="Полилиния: фигура 779">
                <a:extLst>
                  <a:ext uri="{FF2B5EF4-FFF2-40B4-BE49-F238E27FC236}">
                    <a16:creationId xmlns:a16="http://schemas.microsoft.com/office/drawing/2014/main" id="{95B0C2FC-3A1F-49D4-BB80-443757E8C1E1}"/>
                  </a:ext>
                </a:extLst>
              </p:cNvPr>
              <p:cNvSpPr/>
              <p:nvPr/>
            </p:nvSpPr>
            <p:spPr>
              <a:xfrm>
                <a:off x="1962068" y="4820386"/>
                <a:ext cx="104775" cy="66675"/>
              </a:xfrm>
              <a:custGeom>
                <a:avLst/>
                <a:gdLst>
                  <a:gd name="connsiteX0" fmla="*/ 104775 w 104775"/>
                  <a:gd name="connsiteY0" fmla="*/ 7144 h 66675"/>
                  <a:gd name="connsiteX1" fmla="*/ 90678 w 104775"/>
                  <a:gd name="connsiteY1" fmla="*/ 43720 h 66675"/>
                  <a:gd name="connsiteX2" fmla="*/ 50578 w 104775"/>
                  <a:gd name="connsiteY2" fmla="*/ 61055 h 66675"/>
                  <a:gd name="connsiteX3" fmla="*/ 7144 w 104775"/>
                  <a:gd name="connsiteY3" fmla="*/ 52102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5" h="66675">
                    <a:moveTo>
                      <a:pt x="104775" y="7144"/>
                    </a:moveTo>
                    <a:cubicBezTo>
                      <a:pt x="108395" y="21622"/>
                      <a:pt x="100965" y="33052"/>
                      <a:pt x="90678" y="43720"/>
                    </a:cubicBezTo>
                    <a:cubicBezTo>
                      <a:pt x="79933" y="54284"/>
                      <a:pt x="65635" y="60465"/>
                      <a:pt x="50578" y="61055"/>
                    </a:cubicBezTo>
                    <a:cubicBezTo>
                      <a:pt x="35593" y="61581"/>
                      <a:pt x="20699" y="58511"/>
                      <a:pt x="7144" y="52102"/>
                    </a:cubicBez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1" name="Полилиния: фигура 780">
                <a:extLst>
                  <a:ext uri="{FF2B5EF4-FFF2-40B4-BE49-F238E27FC236}">
                    <a16:creationId xmlns:a16="http://schemas.microsoft.com/office/drawing/2014/main" id="{366FC281-4011-4F1C-B69A-A911EB9CDF25}"/>
                  </a:ext>
                </a:extLst>
              </p:cNvPr>
              <p:cNvSpPr/>
              <p:nvPr/>
            </p:nvSpPr>
            <p:spPr>
              <a:xfrm>
                <a:off x="1586685" y="4185450"/>
                <a:ext cx="85725" cy="476250"/>
              </a:xfrm>
              <a:custGeom>
                <a:avLst/>
                <a:gdLst>
                  <a:gd name="connsiteX0" fmla="*/ 78870 w 85725"/>
                  <a:gd name="connsiteY0" fmla="*/ 139351 h 476250"/>
                  <a:gd name="connsiteX1" fmla="*/ 57248 w 85725"/>
                  <a:gd name="connsiteY1" fmla="*/ 114681 h 476250"/>
                  <a:gd name="connsiteX2" fmla="*/ 60011 w 85725"/>
                  <a:gd name="connsiteY2" fmla="*/ 67056 h 476250"/>
                  <a:gd name="connsiteX3" fmla="*/ 78203 w 85725"/>
                  <a:gd name="connsiteY3" fmla="*/ 7144 h 476250"/>
                  <a:gd name="connsiteX4" fmla="*/ 41913 w 85725"/>
                  <a:gd name="connsiteY4" fmla="*/ 62008 h 476250"/>
                  <a:gd name="connsiteX5" fmla="*/ 30293 w 85725"/>
                  <a:gd name="connsiteY5" fmla="*/ 124492 h 476250"/>
                  <a:gd name="connsiteX6" fmla="*/ 39056 w 85725"/>
                  <a:gd name="connsiteY6" fmla="*/ 151066 h 476250"/>
                  <a:gd name="connsiteX7" fmla="*/ 23244 w 85725"/>
                  <a:gd name="connsiteY7" fmla="*/ 179642 h 476250"/>
                  <a:gd name="connsiteX8" fmla="*/ 7147 w 85725"/>
                  <a:gd name="connsiteY8" fmla="*/ 234029 h 476250"/>
                  <a:gd name="connsiteX9" fmla="*/ 13338 w 85725"/>
                  <a:gd name="connsiteY9" fmla="*/ 291179 h 476250"/>
                  <a:gd name="connsiteX10" fmla="*/ 51438 w 85725"/>
                  <a:gd name="connsiteY10" fmla="*/ 472154 h 476250"/>
                  <a:gd name="connsiteX11" fmla="*/ 48581 w 85725"/>
                  <a:gd name="connsiteY11" fmla="*/ 234029 h 476250"/>
                  <a:gd name="connsiteX12" fmla="*/ 56105 w 85725"/>
                  <a:gd name="connsiteY12" fmla="*/ 187833 h 476250"/>
                  <a:gd name="connsiteX13" fmla="*/ 78870 w 85725"/>
                  <a:gd name="connsiteY13" fmla="*/ 139351 h 47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5725" h="476250">
                    <a:moveTo>
                      <a:pt x="78870" y="139351"/>
                    </a:moveTo>
                    <a:cubicBezTo>
                      <a:pt x="78013" y="126206"/>
                      <a:pt x="63725" y="126111"/>
                      <a:pt x="57248" y="114681"/>
                    </a:cubicBezTo>
                    <a:cubicBezTo>
                      <a:pt x="47723" y="98203"/>
                      <a:pt x="53438" y="84392"/>
                      <a:pt x="60011" y="67056"/>
                    </a:cubicBezTo>
                    <a:cubicBezTo>
                      <a:pt x="67252" y="47462"/>
                      <a:pt x="73327" y="27456"/>
                      <a:pt x="78203" y="7144"/>
                    </a:cubicBezTo>
                    <a:cubicBezTo>
                      <a:pt x="68678" y="26860"/>
                      <a:pt x="53343" y="43243"/>
                      <a:pt x="41913" y="62008"/>
                    </a:cubicBezTo>
                    <a:cubicBezTo>
                      <a:pt x="30483" y="80772"/>
                      <a:pt x="22863" y="103918"/>
                      <a:pt x="30293" y="124492"/>
                    </a:cubicBezTo>
                    <a:cubicBezTo>
                      <a:pt x="34890" y="132706"/>
                      <a:pt x="37865" y="141728"/>
                      <a:pt x="39056" y="151066"/>
                    </a:cubicBezTo>
                    <a:cubicBezTo>
                      <a:pt x="38579" y="162211"/>
                      <a:pt x="29531" y="170783"/>
                      <a:pt x="23244" y="179642"/>
                    </a:cubicBezTo>
                    <a:cubicBezTo>
                      <a:pt x="12598" y="195771"/>
                      <a:pt x="6995" y="214704"/>
                      <a:pt x="7147" y="234029"/>
                    </a:cubicBezTo>
                    <a:cubicBezTo>
                      <a:pt x="7312" y="253237"/>
                      <a:pt x="9386" y="272382"/>
                      <a:pt x="13338" y="291179"/>
                    </a:cubicBezTo>
                    <a:cubicBezTo>
                      <a:pt x="24387" y="354806"/>
                      <a:pt x="40294" y="408527"/>
                      <a:pt x="51438" y="472154"/>
                    </a:cubicBezTo>
                    <a:lnTo>
                      <a:pt x="48581" y="234029"/>
                    </a:lnTo>
                    <a:cubicBezTo>
                      <a:pt x="47039" y="218238"/>
                      <a:pt x="49632" y="202318"/>
                      <a:pt x="56105" y="187833"/>
                    </a:cubicBezTo>
                    <a:cubicBezTo>
                      <a:pt x="63440" y="174403"/>
                      <a:pt x="79823" y="154400"/>
                      <a:pt x="78870" y="139351"/>
                    </a:cubicBezTo>
                    <a:close/>
                  </a:path>
                </a:pathLst>
              </a:custGeom>
              <a:solidFill>
                <a:srgbClr val="017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2" name="Полилиния: фигура 781">
                <a:extLst>
                  <a:ext uri="{FF2B5EF4-FFF2-40B4-BE49-F238E27FC236}">
                    <a16:creationId xmlns:a16="http://schemas.microsoft.com/office/drawing/2014/main" id="{78494765-5CC9-40E5-B23E-76DFC5377BD6}"/>
                  </a:ext>
                </a:extLst>
              </p:cNvPr>
              <p:cNvSpPr/>
              <p:nvPr/>
            </p:nvSpPr>
            <p:spPr>
              <a:xfrm>
                <a:off x="2016551" y="4131157"/>
                <a:ext cx="161925" cy="590550"/>
              </a:xfrm>
              <a:custGeom>
                <a:avLst/>
                <a:gdLst>
                  <a:gd name="connsiteX0" fmla="*/ 89630 w 161925"/>
                  <a:gd name="connsiteY0" fmla="*/ 587216 h 590550"/>
                  <a:gd name="connsiteX1" fmla="*/ 151638 w 161925"/>
                  <a:gd name="connsiteY1" fmla="*/ 547402 h 590550"/>
                  <a:gd name="connsiteX2" fmla="*/ 160115 w 161925"/>
                  <a:gd name="connsiteY2" fmla="*/ 473011 h 590550"/>
                  <a:gd name="connsiteX3" fmla="*/ 125349 w 161925"/>
                  <a:gd name="connsiteY3" fmla="*/ 235839 h 590550"/>
                  <a:gd name="connsiteX4" fmla="*/ 136303 w 161925"/>
                  <a:gd name="connsiteY4" fmla="*/ 175927 h 590550"/>
                  <a:gd name="connsiteX5" fmla="*/ 133445 w 161925"/>
                  <a:gd name="connsiteY5" fmla="*/ 133064 h 590550"/>
                  <a:gd name="connsiteX6" fmla="*/ 101346 w 161925"/>
                  <a:gd name="connsiteY6" fmla="*/ 63055 h 590550"/>
                  <a:gd name="connsiteX7" fmla="*/ 69437 w 161925"/>
                  <a:gd name="connsiteY7" fmla="*/ 7144 h 590550"/>
                  <a:gd name="connsiteX8" fmla="*/ 7144 w 161925"/>
                  <a:gd name="connsiteY8" fmla="*/ 300895 h 590550"/>
                  <a:gd name="connsiteX9" fmla="*/ 60770 w 161925"/>
                  <a:gd name="connsiteY9" fmla="*/ 547307 h 590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1925" h="590550">
                    <a:moveTo>
                      <a:pt x="89630" y="587216"/>
                    </a:moveTo>
                    <a:cubicBezTo>
                      <a:pt x="127730" y="577215"/>
                      <a:pt x="150304" y="560546"/>
                      <a:pt x="151638" y="547402"/>
                    </a:cubicBezTo>
                    <a:cubicBezTo>
                      <a:pt x="152971" y="534257"/>
                      <a:pt x="164306" y="488632"/>
                      <a:pt x="160115" y="473011"/>
                    </a:cubicBezTo>
                    <a:cubicBezTo>
                      <a:pt x="155924" y="457390"/>
                      <a:pt x="125349" y="235839"/>
                      <a:pt x="125349" y="235839"/>
                    </a:cubicBezTo>
                    <a:cubicBezTo>
                      <a:pt x="125349" y="235839"/>
                      <a:pt x="141922" y="202978"/>
                      <a:pt x="136303" y="175927"/>
                    </a:cubicBezTo>
                    <a:cubicBezTo>
                      <a:pt x="136303" y="175927"/>
                      <a:pt x="151638" y="163068"/>
                      <a:pt x="133445" y="133064"/>
                    </a:cubicBezTo>
                    <a:cubicBezTo>
                      <a:pt x="120696" y="110723"/>
                      <a:pt x="109954" y="87295"/>
                      <a:pt x="101346" y="63055"/>
                    </a:cubicBezTo>
                    <a:cubicBezTo>
                      <a:pt x="101346" y="63055"/>
                      <a:pt x="86868" y="10858"/>
                      <a:pt x="69437" y="7144"/>
                    </a:cubicBezTo>
                    <a:lnTo>
                      <a:pt x="7144" y="300895"/>
                    </a:lnTo>
                    <a:lnTo>
                      <a:pt x="60770" y="547307"/>
                    </a:lnTo>
                    <a:close/>
                  </a:path>
                </a:pathLst>
              </a:custGeom>
              <a:solidFill>
                <a:srgbClr val="00A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3" name="Полилиния: фигура 782">
                <a:extLst>
                  <a:ext uri="{FF2B5EF4-FFF2-40B4-BE49-F238E27FC236}">
                    <a16:creationId xmlns:a16="http://schemas.microsoft.com/office/drawing/2014/main" id="{7FBCAD68-8D41-429C-86AC-75095A8C4B49}"/>
                  </a:ext>
                </a:extLst>
              </p:cNvPr>
              <p:cNvSpPr/>
              <p:nvPr/>
            </p:nvSpPr>
            <p:spPr>
              <a:xfrm>
                <a:off x="2011636" y="4145825"/>
                <a:ext cx="66675" cy="295275"/>
              </a:xfrm>
              <a:custGeom>
                <a:avLst/>
                <a:gdLst>
                  <a:gd name="connsiteX0" fmla="*/ 60732 w 66675"/>
                  <a:gd name="connsiteY0" fmla="*/ 7144 h 295275"/>
                  <a:gd name="connsiteX1" fmla="*/ 44349 w 66675"/>
                  <a:gd name="connsiteY1" fmla="*/ 47244 h 295275"/>
                  <a:gd name="connsiteX2" fmla="*/ 17298 w 66675"/>
                  <a:gd name="connsiteY2" fmla="*/ 147638 h 295275"/>
                  <a:gd name="connsiteX3" fmla="*/ 12155 w 66675"/>
                  <a:gd name="connsiteY3" fmla="*/ 251555 h 295275"/>
                  <a:gd name="connsiteX4" fmla="*/ 15488 w 66675"/>
                  <a:gd name="connsiteY4" fmla="*/ 294704 h 295275"/>
                  <a:gd name="connsiteX5" fmla="*/ 12821 w 66675"/>
                  <a:gd name="connsiteY5" fmla="*/ 283369 h 295275"/>
                  <a:gd name="connsiteX6" fmla="*/ 8726 w 66675"/>
                  <a:gd name="connsiteY6" fmla="*/ 251746 h 295275"/>
                  <a:gd name="connsiteX7" fmla="*/ 41111 w 66675"/>
                  <a:gd name="connsiteY7" fmla="*/ 45911 h 295275"/>
                  <a:gd name="connsiteX8" fmla="*/ 54731 w 66675"/>
                  <a:gd name="connsiteY8" fmla="*/ 17336 h 295275"/>
                  <a:gd name="connsiteX9" fmla="*/ 60732 w 66675"/>
                  <a:gd name="connsiteY9" fmla="*/ 7144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6675" h="295275">
                    <a:moveTo>
                      <a:pt x="60732" y="7144"/>
                    </a:moveTo>
                    <a:cubicBezTo>
                      <a:pt x="61494" y="7144"/>
                      <a:pt x="53969" y="22289"/>
                      <a:pt x="44349" y="47244"/>
                    </a:cubicBezTo>
                    <a:cubicBezTo>
                      <a:pt x="31842" y="79669"/>
                      <a:pt x="22775" y="113318"/>
                      <a:pt x="17298" y="147638"/>
                    </a:cubicBezTo>
                    <a:cubicBezTo>
                      <a:pt x="12040" y="182010"/>
                      <a:pt x="10316" y="216831"/>
                      <a:pt x="12155" y="251555"/>
                    </a:cubicBezTo>
                    <a:cubicBezTo>
                      <a:pt x="13679" y="278225"/>
                      <a:pt x="16346" y="294513"/>
                      <a:pt x="15488" y="294704"/>
                    </a:cubicBezTo>
                    <a:cubicBezTo>
                      <a:pt x="14228" y="291023"/>
                      <a:pt x="13335" y="287226"/>
                      <a:pt x="12821" y="283369"/>
                    </a:cubicBezTo>
                    <a:cubicBezTo>
                      <a:pt x="10924" y="272904"/>
                      <a:pt x="9557" y="262349"/>
                      <a:pt x="8726" y="251746"/>
                    </a:cubicBezTo>
                    <a:cubicBezTo>
                      <a:pt x="2728" y="181525"/>
                      <a:pt x="13840" y="110897"/>
                      <a:pt x="41111" y="45911"/>
                    </a:cubicBezTo>
                    <a:cubicBezTo>
                      <a:pt x="45143" y="36152"/>
                      <a:pt x="49689" y="26613"/>
                      <a:pt x="54731" y="17336"/>
                    </a:cubicBezTo>
                    <a:cubicBezTo>
                      <a:pt x="56321" y="13713"/>
                      <a:pt x="58335" y="10291"/>
                      <a:pt x="60732" y="71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4" name="Полилиния: фигура 783">
                <a:extLst>
                  <a:ext uri="{FF2B5EF4-FFF2-40B4-BE49-F238E27FC236}">
                    <a16:creationId xmlns:a16="http://schemas.microsoft.com/office/drawing/2014/main" id="{1384BEB3-93CC-4047-83E5-4E8F400D016B}"/>
                  </a:ext>
                </a:extLst>
              </p:cNvPr>
              <p:cNvSpPr/>
              <p:nvPr/>
            </p:nvSpPr>
            <p:spPr>
              <a:xfrm>
                <a:off x="2057509" y="4369324"/>
                <a:ext cx="76200" cy="38100"/>
              </a:xfrm>
              <a:custGeom>
                <a:avLst/>
                <a:gdLst>
                  <a:gd name="connsiteX0" fmla="*/ 69628 w 76200"/>
                  <a:gd name="connsiteY0" fmla="*/ 7197 h 38100"/>
                  <a:gd name="connsiteX1" fmla="*/ 37433 w 76200"/>
                  <a:gd name="connsiteY1" fmla="*/ 18056 h 38100"/>
                  <a:gd name="connsiteX2" fmla="*/ 7144 w 76200"/>
                  <a:gd name="connsiteY2" fmla="*/ 33296 h 38100"/>
                  <a:gd name="connsiteX3" fmla="*/ 69628 w 76200"/>
                  <a:gd name="connsiteY3" fmla="*/ 7197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38100">
                    <a:moveTo>
                      <a:pt x="69628" y="7197"/>
                    </a:moveTo>
                    <a:cubicBezTo>
                      <a:pt x="69628" y="8626"/>
                      <a:pt x="54578" y="10721"/>
                      <a:pt x="37433" y="18056"/>
                    </a:cubicBezTo>
                    <a:cubicBezTo>
                      <a:pt x="20288" y="25390"/>
                      <a:pt x="8096" y="34439"/>
                      <a:pt x="7144" y="33296"/>
                    </a:cubicBezTo>
                    <a:cubicBezTo>
                      <a:pt x="23151" y="15875"/>
                      <a:pt x="45985" y="6338"/>
                      <a:pt x="69628" y="719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5" name="Полилиния: фигура 784">
                <a:extLst>
                  <a:ext uri="{FF2B5EF4-FFF2-40B4-BE49-F238E27FC236}">
                    <a16:creationId xmlns:a16="http://schemas.microsoft.com/office/drawing/2014/main" id="{B1FBC416-13F2-4BA4-99C8-E85E41140772}"/>
                  </a:ext>
                </a:extLst>
              </p:cNvPr>
              <p:cNvSpPr/>
              <p:nvPr/>
            </p:nvSpPr>
            <p:spPr>
              <a:xfrm>
                <a:off x="2067320" y="4534902"/>
                <a:ext cx="104775" cy="57150"/>
              </a:xfrm>
              <a:custGeom>
                <a:avLst/>
                <a:gdLst>
                  <a:gd name="connsiteX0" fmla="*/ 102013 w 104775"/>
                  <a:gd name="connsiteY0" fmla="*/ 54789 h 57150"/>
                  <a:gd name="connsiteX1" fmla="*/ 58960 w 104775"/>
                  <a:gd name="connsiteY1" fmla="*/ 22594 h 57150"/>
                  <a:gd name="connsiteX2" fmla="*/ 7144 w 104775"/>
                  <a:gd name="connsiteY2" fmla="*/ 8497 h 57150"/>
                  <a:gd name="connsiteX3" fmla="*/ 23336 w 104775"/>
                  <a:gd name="connsiteY3" fmla="*/ 7640 h 57150"/>
                  <a:gd name="connsiteX4" fmla="*/ 61436 w 104775"/>
                  <a:gd name="connsiteY4" fmla="*/ 18213 h 57150"/>
                  <a:gd name="connsiteX5" fmla="*/ 92678 w 104775"/>
                  <a:gd name="connsiteY5" fmla="*/ 41644 h 57150"/>
                  <a:gd name="connsiteX6" fmla="*/ 102013 w 104775"/>
                  <a:gd name="connsiteY6" fmla="*/ 54789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775" h="57150">
                    <a:moveTo>
                      <a:pt x="102013" y="54789"/>
                    </a:moveTo>
                    <a:cubicBezTo>
                      <a:pt x="89225" y="42111"/>
                      <a:pt x="74735" y="31276"/>
                      <a:pt x="58960" y="22594"/>
                    </a:cubicBezTo>
                    <a:cubicBezTo>
                      <a:pt x="42453" y="15435"/>
                      <a:pt x="25002" y="10687"/>
                      <a:pt x="7144" y="8497"/>
                    </a:cubicBezTo>
                    <a:cubicBezTo>
                      <a:pt x="12417" y="7053"/>
                      <a:pt x="17940" y="6760"/>
                      <a:pt x="23336" y="7640"/>
                    </a:cubicBezTo>
                    <a:cubicBezTo>
                      <a:pt x="36585" y="8753"/>
                      <a:pt x="49508" y="12339"/>
                      <a:pt x="61436" y="18213"/>
                    </a:cubicBezTo>
                    <a:cubicBezTo>
                      <a:pt x="73220" y="24008"/>
                      <a:pt x="83816" y="31955"/>
                      <a:pt x="92678" y="41644"/>
                    </a:cubicBezTo>
                    <a:cubicBezTo>
                      <a:pt x="96679" y="45321"/>
                      <a:pt x="99859" y="49800"/>
                      <a:pt x="102013" y="5478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6" name="Полилиния: фигура 785">
                <a:extLst>
                  <a:ext uri="{FF2B5EF4-FFF2-40B4-BE49-F238E27FC236}">
                    <a16:creationId xmlns:a16="http://schemas.microsoft.com/office/drawing/2014/main" id="{65588B49-980A-4DAB-A976-AC2C253475F6}"/>
                  </a:ext>
                </a:extLst>
              </p:cNvPr>
              <p:cNvSpPr/>
              <p:nvPr/>
            </p:nvSpPr>
            <p:spPr>
              <a:xfrm>
                <a:off x="1750899" y="4398333"/>
                <a:ext cx="190500" cy="142875"/>
              </a:xfrm>
              <a:custGeom>
                <a:avLst/>
                <a:gdLst>
                  <a:gd name="connsiteX0" fmla="*/ 186976 w 190500"/>
                  <a:gd name="connsiteY0" fmla="*/ 7144 h 142875"/>
                  <a:gd name="connsiteX1" fmla="*/ 7144 w 190500"/>
                  <a:gd name="connsiteY1" fmla="*/ 7144 h 142875"/>
                  <a:gd name="connsiteX2" fmla="*/ 39910 w 190500"/>
                  <a:gd name="connsiteY2" fmla="*/ 141161 h 142875"/>
                  <a:gd name="connsiteX3" fmla="*/ 161068 w 190500"/>
                  <a:gd name="connsiteY3" fmla="*/ 141161 h 142875"/>
                  <a:gd name="connsiteX4" fmla="*/ 186976 w 190500"/>
                  <a:gd name="connsiteY4" fmla="*/ 7144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0" h="142875">
                    <a:moveTo>
                      <a:pt x="186976" y="7144"/>
                    </a:moveTo>
                    <a:lnTo>
                      <a:pt x="7144" y="7144"/>
                    </a:lnTo>
                    <a:lnTo>
                      <a:pt x="39910" y="141161"/>
                    </a:lnTo>
                    <a:lnTo>
                      <a:pt x="161068" y="141161"/>
                    </a:lnTo>
                    <a:lnTo>
                      <a:pt x="186976" y="7144"/>
                    </a:ln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7" name="Полилиния: фигура 786">
                <a:extLst>
                  <a:ext uri="{FF2B5EF4-FFF2-40B4-BE49-F238E27FC236}">
                    <a16:creationId xmlns:a16="http://schemas.microsoft.com/office/drawing/2014/main" id="{50D275E0-7549-47DA-AC36-9DC62B229556}"/>
                  </a:ext>
                </a:extLst>
              </p:cNvPr>
              <p:cNvSpPr/>
              <p:nvPr/>
            </p:nvSpPr>
            <p:spPr>
              <a:xfrm>
                <a:off x="1752328" y="4398391"/>
                <a:ext cx="190500" cy="28575"/>
              </a:xfrm>
              <a:custGeom>
                <a:avLst/>
                <a:gdLst>
                  <a:gd name="connsiteX0" fmla="*/ 183642 w 190500"/>
                  <a:gd name="connsiteY0" fmla="*/ 7276 h 28575"/>
                  <a:gd name="connsiteX1" fmla="*/ 159163 w 190500"/>
                  <a:gd name="connsiteY1" fmla="*/ 18039 h 28575"/>
                  <a:gd name="connsiteX2" fmla="*/ 31718 w 190500"/>
                  <a:gd name="connsiteY2" fmla="*/ 19278 h 28575"/>
                  <a:gd name="connsiteX3" fmla="*/ 7144 w 190500"/>
                  <a:gd name="connsiteY3" fmla="*/ 8991 h 28575"/>
                  <a:gd name="connsiteX4" fmla="*/ 95536 w 190500"/>
                  <a:gd name="connsiteY4" fmla="*/ 23564 h 28575"/>
                  <a:gd name="connsiteX5" fmla="*/ 183642 w 190500"/>
                  <a:gd name="connsiteY5" fmla="*/ 727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0500" h="28575">
                    <a:moveTo>
                      <a:pt x="183642" y="7276"/>
                    </a:moveTo>
                    <a:cubicBezTo>
                      <a:pt x="176023" y="11985"/>
                      <a:pt x="167784" y="15608"/>
                      <a:pt x="159163" y="18039"/>
                    </a:cubicBezTo>
                    <a:cubicBezTo>
                      <a:pt x="117847" y="31712"/>
                      <a:pt x="73292" y="32145"/>
                      <a:pt x="31718" y="19278"/>
                    </a:cubicBezTo>
                    <a:cubicBezTo>
                      <a:pt x="23076" y="17045"/>
                      <a:pt x="14800" y="13581"/>
                      <a:pt x="7144" y="8991"/>
                    </a:cubicBezTo>
                    <a:cubicBezTo>
                      <a:pt x="7144" y="7181"/>
                      <a:pt x="45244" y="24326"/>
                      <a:pt x="95536" y="23564"/>
                    </a:cubicBezTo>
                    <a:cubicBezTo>
                      <a:pt x="145828" y="22802"/>
                      <a:pt x="183166" y="5466"/>
                      <a:pt x="183642" y="727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8" name="Полилиния: фигура 787">
                <a:extLst>
                  <a:ext uri="{FF2B5EF4-FFF2-40B4-BE49-F238E27FC236}">
                    <a16:creationId xmlns:a16="http://schemas.microsoft.com/office/drawing/2014/main" id="{60C3B264-6534-4C9D-83F8-9BEABE475CC0}"/>
                  </a:ext>
                </a:extLst>
              </p:cNvPr>
              <p:cNvSpPr/>
              <p:nvPr/>
            </p:nvSpPr>
            <p:spPr>
              <a:xfrm>
                <a:off x="1901966" y="4402334"/>
                <a:ext cx="66675" cy="114300"/>
              </a:xfrm>
              <a:custGeom>
                <a:avLst/>
                <a:gdLst>
                  <a:gd name="connsiteX0" fmla="*/ 29337 w 66675"/>
                  <a:gd name="connsiteY0" fmla="*/ 13335 h 114300"/>
                  <a:gd name="connsiteX1" fmla="*/ 54864 w 66675"/>
                  <a:gd name="connsiteY1" fmla="*/ 18955 h 114300"/>
                  <a:gd name="connsiteX2" fmla="*/ 66961 w 66675"/>
                  <a:gd name="connsiteY2" fmla="*/ 43624 h 114300"/>
                  <a:gd name="connsiteX3" fmla="*/ 53340 w 66675"/>
                  <a:gd name="connsiteY3" fmla="*/ 93726 h 114300"/>
                  <a:gd name="connsiteX4" fmla="*/ 7144 w 66675"/>
                  <a:gd name="connsiteY4" fmla="*/ 115729 h 114300"/>
                  <a:gd name="connsiteX5" fmla="*/ 13716 w 66675"/>
                  <a:gd name="connsiteY5" fmla="*/ 90678 h 114300"/>
                  <a:gd name="connsiteX6" fmla="*/ 42291 w 66675"/>
                  <a:gd name="connsiteY6" fmla="*/ 73819 h 114300"/>
                  <a:gd name="connsiteX7" fmla="*/ 50387 w 66675"/>
                  <a:gd name="connsiteY7" fmla="*/ 42386 h 114300"/>
                  <a:gd name="connsiteX8" fmla="*/ 23908 w 66675"/>
                  <a:gd name="connsiteY8" fmla="*/ 28289 h 114300"/>
                  <a:gd name="connsiteX9" fmla="*/ 26194 w 66675"/>
                  <a:gd name="connsiteY9" fmla="*/ 7144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6675" h="114300">
                    <a:moveTo>
                      <a:pt x="29337" y="13335"/>
                    </a:moveTo>
                    <a:cubicBezTo>
                      <a:pt x="38222" y="10200"/>
                      <a:pt x="48117" y="12378"/>
                      <a:pt x="54864" y="18955"/>
                    </a:cubicBezTo>
                    <a:cubicBezTo>
                      <a:pt x="61535" y="25598"/>
                      <a:pt x="65794" y="34282"/>
                      <a:pt x="66961" y="43624"/>
                    </a:cubicBezTo>
                    <a:cubicBezTo>
                      <a:pt x="69690" y="61498"/>
                      <a:pt x="64743" y="79694"/>
                      <a:pt x="53340" y="93726"/>
                    </a:cubicBezTo>
                    <a:cubicBezTo>
                      <a:pt x="41898" y="107460"/>
                      <a:pt x="25018" y="115499"/>
                      <a:pt x="7144" y="115729"/>
                    </a:cubicBezTo>
                    <a:lnTo>
                      <a:pt x="13716" y="90678"/>
                    </a:lnTo>
                    <a:cubicBezTo>
                      <a:pt x="24538" y="87622"/>
                      <a:pt x="34383" y="81814"/>
                      <a:pt x="42291" y="73819"/>
                    </a:cubicBezTo>
                    <a:cubicBezTo>
                      <a:pt x="50269" y="65460"/>
                      <a:pt x="53335" y="53559"/>
                      <a:pt x="50387" y="42386"/>
                    </a:cubicBezTo>
                    <a:cubicBezTo>
                      <a:pt x="46911" y="31228"/>
                      <a:pt x="35106" y="24943"/>
                      <a:pt x="23908" y="28289"/>
                    </a:cubicBezTo>
                    <a:lnTo>
                      <a:pt x="26194" y="7144"/>
                    </a:lnTo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9" name="Полилиния: фигура 788">
                <a:extLst>
                  <a:ext uri="{FF2B5EF4-FFF2-40B4-BE49-F238E27FC236}">
                    <a16:creationId xmlns:a16="http://schemas.microsoft.com/office/drawing/2014/main" id="{BB3C350F-8467-44B1-BE96-DD9AB6CD96B0}"/>
                  </a:ext>
                </a:extLst>
              </p:cNvPr>
              <p:cNvSpPr/>
              <p:nvPr/>
            </p:nvSpPr>
            <p:spPr>
              <a:xfrm>
                <a:off x="1930005" y="4385899"/>
                <a:ext cx="76200" cy="66675"/>
              </a:xfrm>
              <a:custGeom>
                <a:avLst/>
                <a:gdLst>
                  <a:gd name="connsiteX0" fmla="*/ 7870 w 76200"/>
                  <a:gd name="connsiteY0" fmla="*/ 19197 h 66675"/>
                  <a:gd name="connsiteX1" fmla="*/ 15203 w 76200"/>
                  <a:gd name="connsiteY1" fmla="*/ 34802 h 66675"/>
                  <a:gd name="connsiteX2" fmla="*/ 16538 w 76200"/>
                  <a:gd name="connsiteY2" fmla="*/ 35199 h 66675"/>
                  <a:gd name="connsiteX3" fmla="*/ 38731 w 76200"/>
                  <a:gd name="connsiteY3" fmla="*/ 35199 h 66675"/>
                  <a:gd name="connsiteX4" fmla="*/ 44827 w 76200"/>
                  <a:gd name="connsiteY4" fmla="*/ 63774 h 66675"/>
                  <a:gd name="connsiteX5" fmla="*/ 78165 w 76200"/>
                  <a:gd name="connsiteY5" fmla="*/ 61297 h 66675"/>
                  <a:gd name="connsiteX6" fmla="*/ 52828 w 76200"/>
                  <a:gd name="connsiteY6" fmla="*/ 10815 h 66675"/>
                  <a:gd name="connsiteX7" fmla="*/ 39779 w 76200"/>
                  <a:gd name="connsiteY7" fmla="*/ 719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200" h="66675">
                    <a:moveTo>
                      <a:pt x="7870" y="19197"/>
                    </a:moveTo>
                    <a:cubicBezTo>
                      <a:pt x="5586" y="25531"/>
                      <a:pt x="8869" y="32518"/>
                      <a:pt x="15203" y="34802"/>
                    </a:cubicBezTo>
                    <a:cubicBezTo>
                      <a:pt x="15640" y="34959"/>
                      <a:pt x="16086" y="35092"/>
                      <a:pt x="16538" y="35199"/>
                    </a:cubicBezTo>
                    <a:cubicBezTo>
                      <a:pt x="23812" y="37112"/>
                      <a:pt x="31457" y="37112"/>
                      <a:pt x="38731" y="35199"/>
                    </a:cubicBezTo>
                    <a:lnTo>
                      <a:pt x="44827" y="63774"/>
                    </a:lnTo>
                    <a:lnTo>
                      <a:pt x="78165" y="61297"/>
                    </a:lnTo>
                    <a:cubicBezTo>
                      <a:pt x="70737" y="43977"/>
                      <a:pt x="62277" y="27120"/>
                      <a:pt x="52828" y="10815"/>
                    </a:cubicBezTo>
                    <a:cubicBezTo>
                      <a:pt x="49025" y="8142"/>
                      <a:pt x="44415" y="6864"/>
                      <a:pt x="39779" y="7195"/>
                    </a:cubicBezTo>
                    <a:close/>
                  </a:path>
                </a:pathLst>
              </a:custGeom>
              <a:solidFill>
                <a:srgbClr val="B7887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0" name="Полилиния: фигура 789">
                <a:extLst>
                  <a:ext uri="{FF2B5EF4-FFF2-40B4-BE49-F238E27FC236}">
                    <a16:creationId xmlns:a16="http://schemas.microsoft.com/office/drawing/2014/main" id="{BFC5CEDC-940B-4A6D-8888-2D0D0A64A8EF}"/>
                  </a:ext>
                </a:extLst>
              </p:cNvPr>
              <p:cNvSpPr/>
              <p:nvPr/>
            </p:nvSpPr>
            <p:spPr>
              <a:xfrm>
                <a:off x="1914716" y="4440370"/>
                <a:ext cx="247650" cy="276225"/>
              </a:xfrm>
              <a:custGeom>
                <a:avLst/>
                <a:gdLst>
                  <a:gd name="connsiteX0" fmla="*/ 108979 w 247650"/>
                  <a:gd name="connsiteY0" fmla="*/ 27019 h 276225"/>
                  <a:gd name="connsiteX1" fmla="*/ 93453 w 247650"/>
                  <a:gd name="connsiteY1" fmla="*/ 7398 h 276225"/>
                  <a:gd name="connsiteX2" fmla="*/ 32398 w 247650"/>
                  <a:gd name="connsiteY2" fmla="*/ 7398 h 276225"/>
                  <a:gd name="connsiteX3" fmla="*/ 18491 w 247650"/>
                  <a:gd name="connsiteY3" fmla="*/ 20447 h 276225"/>
                  <a:gd name="connsiteX4" fmla="*/ 22587 w 247650"/>
                  <a:gd name="connsiteY4" fmla="*/ 40735 h 276225"/>
                  <a:gd name="connsiteX5" fmla="*/ 49448 w 247650"/>
                  <a:gd name="connsiteY5" fmla="*/ 40735 h 276225"/>
                  <a:gd name="connsiteX6" fmla="*/ 48209 w 247650"/>
                  <a:gd name="connsiteY6" fmla="*/ 49403 h 276225"/>
                  <a:gd name="connsiteX7" fmla="*/ 20111 w 247650"/>
                  <a:gd name="connsiteY7" fmla="*/ 53118 h 276225"/>
                  <a:gd name="connsiteX8" fmla="*/ 8300 w 247650"/>
                  <a:gd name="connsiteY8" fmla="*/ 75597 h 276225"/>
                  <a:gd name="connsiteX9" fmla="*/ 26683 w 247650"/>
                  <a:gd name="connsiteY9" fmla="*/ 85122 h 276225"/>
                  <a:gd name="connsiteX10" fmla="*/ 22587 w 247650"/>
                  <a:gd name="connsiteY10" fmla="*/ 89218 h 276225"/>
                  <a:gd name="connsiteX11" fmla="*/ 26207 w 247650"/>
                  <a:gd name="connsiteY11" fmla="*/ 102172 h 276225"/>
                  <a:gd name="connsiteX12" fmla="*/ 41065 w 247650"/>
                  <a:gd name="connsiteY12" fmla="*/ 122555 h 276225"/>
                  <a:gd name="connsiteX13" fmla="*/ 73927 w 247650"/>
                  <a:gd name="connsiteY13" fmla="*/ 137509 h 276225"/>
                  <a:gd name="connsiteX14" fmla="*/ 94691 w 247650"/>
                  <a:gd name="connsiteY14" fmla="*/ 168656 h 276225"/>
                  <a:gd name="connsiteX15" fmla="*/ 151841 w 247650"/>
                  <a:gd name="connsiteY15" fmla="*/ 265144 h 276225"/>
                  <a:gd name="connsiteX16" fmla="*/ 163271 w 247650"/>
                  <a:gd name="connsiteY16" fmla="*/ 271431 h 276225"/>
                  <a:gd name="connsiteX17" fmla="*/ 232164 w 247650"/>
                  <a:gd name="connsiteY17" fmla="*/ 251218 h 276225"/>
                  <a:gd name="connsiteX18" fmla="*/ 236899 w 247650"/>
                  <a:gd name="connsiteY18" fmla="*/ 239046 h 276225"/>
                  <a:gd name="connsiteX19" fmla="*/ 236900 w 247650"/>
                  <a:gd name="connsiteY19" fmla="*/ 238474 h 276225"/>
                  <a:gd name="connsiteX20" fmla="*/ 244710 w 247650"/>
                  <a:gd name="connsiteY20" fmla="*/ 176562 h 276225"/>
                  <a:gd name="connsiteX21" fmla="*/ 192894 w 247650"/>
                  <a:gd name="connsiteY21" fmla="*/ 144177 h 276225"/>
                  <a:gd name="connsiteX22" fmla="*/ 122028 w 247650"/>
                  <a:gd name="connsiteY22" fmla="*/ 74740 h 276225"/>
                  <a:gd name="connsiteX23" fmla="*/ 108979 w 247650"/>
                  <a:gd name="connsiteY23" fmla="*/ 27019 h 27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47650" h="276225">
                    <a:moveTo>
                      <a:pt x="108979" y="27019"/>
                    </a:moveTo>
                    <a:cubicBezTo>
                      <a:pt x="107740" y="25971"/>
                      <a:pt x="99930" y="7969"/>
                      <a:pt x="93453" y="7398"/>
                    </a:cubicBezTo>
                    <a:cubicBezTo>
                      <a:pt x="86976" y="6826"/>
                      <a:pt x="32398" y="7398"/>
                      <a:pt x="32398" y="7398"/>
                    </a:cubicBezTo>
                    <a:cubicBezTo>
                      <a:pt x="32398" y="7398"/>
                      <a:pt x="20111" y="13303"/>
                      <a:pt x="18491" y="20447"/>
                    </a:cubicBezTo>
                    <a:cubicBezTo>
                      <a:pt x="16872" y="27591"/>
                      <a:pt x="16872" y="41212"/>
                      <a:pt x="22587" y="40735"/>
                    </a:cubicBezTo>
                    <a:cubicBezTo>
                      <a:pt x="28302" y="40259"/>
                      <a:pt x="49448" y="40735"/>
                      <a:pt x="49448" y="40735"/>
                    </a:cubicBezTo>
                    <a:lnTo>
                      <a:pt x="48209" y="49403"/>
                    </a:lnTo>
                    <a:cubicBezTo>
                      <a:pt x="48209" y="49403"/>
                      <a:pt x="25064" y="49403"/>
                      <a:pt x="20111" y="53118"/>
                    </a:cubicBezTo>
                    <a:cubicBezTo>
                      <a:pt x="15157" y="56833"/>
                      <a:pt x="3442" y="70168"/>
                      <a:pt x="8300" y="75597"/>
                    </a:cubicBezTo>
                    <a:cubicBezTo>
                      <a:pt x="13789" y="79875"/>
                      <a:pt x="20021" y="83105"/>
                      <a:pt x="26683" y="85122"/>
                    </a:cubicBezTo>
                    <a:cubicBezTo>
                      <a:pt x="26683" y="85122"/>
                      <a:pt x="22587" y="83407"/>
                      <a:pt x="22587" y="89218"/>
                    </a:cubicBezTo>
                    <a:cubicBezTo>
                      <a:pt x="22932" y="93731"/>
                      <a:pt x="24161" y="98133"/>
                      <a:pt x="26207" y="102172"/>
                    </a:cubicBezTo>
                    <a:cubicBezTo>
                      <a:pt x="26207" y="102171"/>
                      <a:pt x="31064" y="122079"/>
                      <a:pt x="41065" y="122555"/>
                    </a:cubicBezTo>
                    <a:cubicBezTo>
                      <a:pt x="51067" y="123031"/>
                      <a:pt x="73927" y="137509"/>
                      <a:pt x="73927" y="137509"/>
                    </a:cubicBezTo>
                    <a:cubicBezTo>
                      <a:pt x="81767" y="147249"/>
                      <a:pt x="88716" y="157673"/>
                      <a:pt x="94691" y="168656"/>
                    </a:cubicBezTo>
                    <a:cubicBezTo>
                      <a:pt x="98787" y="178657"/>
                      <a:pt x="106883" y="239331"/>
                      <a:pt x="151841" y="265144"/>
                    </a:cubicBezTo>
                    <a:lnTo>
                      <a:pt x="163271" y="271431"/>
                    </a:lnTo>
                    <a:cubicBezTo>
                      <a:pt x="187877" y="284873"/>
                      <a:pt x="218722" y="275824"/>
                      <a:pt x="232164" y="251218"/>
                    </a:cubicBezTo>
                    <a:cubicBezTo>
                      <a:pt x="234260" y="247381"/>
                      <a:pt x="235852" y="243290"/>
                      <a:pt x="236899" y="239046"/>
                    </a:cubicBezTo>
                    <a:lnTo>
                      <a:pt x="236900" y="238474"/>
                    </a:lnTo>
                    <a:cubicBezTo>
                      <a:pt x="240614" y="221044"/>
                      <a:pt x="254426" y="190849"/>
                      <a:pt x="244710" y="176562"/>
                    </a:cubicBezTo>
                    <a:cubicBezTo>
                      <a:pt x="234994" y="162274"/>
                      <a:pt x="219850" y="154083"/>
                      <a:pt x="192894" y="144177"/>
                    </a:cubicBezTo>
                    <a:cubicBezTo>
                      <a:pt x="165938" y="134271"/>
                      <a:pt x="122028" y="74740"/>
                      <a:pt x="122028" y="74740"/>
                    </a:cubicBezTo>
                    <a:cubicBezTo>
                      <a:pt x="122028" y="74740"/>
                      <a:pt x="115456" y="32829"/>
                      <a:pt x="108979" y="27019"/>
                    </a:cubicBezTo>
                    <a:close/>
                  </a:path>
                </a:pathLst>
              </a:custGeom>
              <a:solidFill>
                <a:srgbClr val="B7887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1" name="Полилиния: фигура 790">
                <a:extLst>
                  <a:ext uri="{FF2B5EF4-FFF2-40B4-BE49-F238E27FC236}">
                    <a16:creationId xmlns:a16="http://schemas.microsoft.com/office/drawing/2014/main" id="{3D13B693-7F68-4975-A24D-7AF625DEB773}"/>
                  </a:ext>
                </a:extLst>
              </p:cNvPr>
              <p:cNvSpPr/>
              <p:nvPr/>
            </p:nvSpPr>
            <p:spPr>
              <a:xfrm>
                <a:off x="1928636" y="4471851"/>
                <a:ext cx="76200" cy="19050"/>
              </a:xfrm>
              <a:custGeom>
                <a:avLst/>
                <a:gdLst>
                  <a:gd name="connsiteX0" fmla="*/ 77057 w 76200"/>
                  <a:gd name="connsiteY0" fmla="*/ 12683 h 19050"/>
                  <a:gd name="connsiteX1" fmla="*/ 42005 w 76200"/>
                  <a:gd name="connsiteY1" fmla="*/ 12683 h 19050"/>
                  <a:gd name="connsiteX2" fmla="*/ 7144 w 76200"/>
                  <a:gd name="connsiteY2" fmla="*/ 8968 h 19050"/>
                  <a:gd name="connsiteX3" fmla="*/ 42196 w 76200"/>
                  <a:gd name="connsiteY3" fmla="*/ 7730 h 19050"/>
                  <a:gd name="connsiteX4" fmla="*/ 77057 w 76200"/>
                  <a:gd name="connsiteY4" fmla="*/ 12683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00" h="19050">
                    <a:moveTo>
                      <a:pt x="77057" y="12683"/>
                    </a:moveTo>
                    <a:cubicBezTo>
                      <a:pt x="65392" y="13628"/>
                      <a:pt x="53670" y="13628"/>
                      <a:pt x="42005" y="12683"/>
                    </a:cubicBezTo>
                    <a:cubicBezTo>
                      <a:pt x="30263" y="13245"/>
                      <a:pt x="18504" y="11992"/>
                      <a:pt x="7144" y="8968"/>
                    </a:cubicBezTo>
                    <a:cubicBezTo>
                      <a:pt x="18727" y="7065"/>
                      <a:pt x="30507" y="6648"/>
                      <a:pt x="42196" y="7730"/>
                    </a:cubicBezTo>
                    <a:cubicBezTo>
                      <a:pt x="61722" y="8302"/>
                      <a:pt x="77533" y="11064"/>
                      <a:pt x="77057" y="12683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2" name="Полилиния: фигура 791">
                <a:extLst>
                  <a:ext uri="{FF2B5EF4-FFF2-40B4-BE49-F238E27FC236}">
                    <a16:creationId xmlns:a16="http://schemas.microsoft.com/office/drawing/2014/main" id="{87CC8B6B-3F8E-411D-BD5D-F0C0FCE5C599}"/>
                  </a:ext>
                </a:extLst>
              </p:cNvPr>
              <p:cNvSpPr/>
              <p:nvPr/>
            </p:nvSpPr>
            <p:spPr>
              <a:xfrm>
                <a:off x="1930160" y="4476716"/>
                <a:ext cx="76200" cy="19050"/>
              </a:xfrm>
              <a:custGeom>
                <a:avLst/>
                <a:gdLst>
                  <a:gd name="connsiteX0" fmla="*/ 73724 w 76200"/>
                  <a:gd name="connsiteY0" fmla="*/ 8295 h 19050"/>
                  <a:gd name="connsiteX1" fmla="*/ 40672 w 76200"/>
                  <a:gd name="connsiteY1" fmla="*/ 13819 h 19050"/>
                  <a:gd name="connsiteX2" fmla="*/ 7144 w 76200"/>
                  <a:gd name="connsiteY2" fmla="*/ 15724 h 19050"/>
                  <a:gd name="connsiteX3" fmla="*/ 40100 w 76200"/>
                  <a:gd name="connsiteY3" fmla="*/ 8866 h 19050"/>
                  <a:gd name="connsiteX4" fmla="*/ 73724 w 76200"/>
                  <a:gd name="connsiteY4" fmla="*/ 8295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00" h="19050">
                    <a:moveTo>
                      <a:pt x="73724" y="8295"/>
                    </a:moveTo>
                    <a:cubicBezTo>
                      <a:pt x="62924" y="11259"/>
                      <a:pt x="51849" y="13110"/>
                      <a:pt x="40672" y="13819"/>
                    </a:cubicBezTo>
                    <a:cubicBezTo>
                      <a:pt x="29630" y="15943"/>
                      <a:pt x="18355" y="16583"/>
                      <a:pt x="7144" y="15724"/>
                    </a:cubicBezTo>
                    <a:cubicBezTo>
                      <a:pt x="17682" y="11656"/>
                      <a:pt x="28814" y="9339"/>
                      <a:pt x="40100" y="8866"/>
                    </a:cubicBezTo>
                    <a:cubicBezTo>
                      <a:pt x="58484" y="6676"/>
                      <a:pt x="73724" y="6676"/>
                      <a:pt x="73724" y="8295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3" name="Полилиния: фигура 792">
                <a:extLst>
                  <a:ext uri="{FF2B5EF4-FFF2-40B4-BE49-F238E27FC236}">
                    <a16:creationId xmlns:a16="http://schemas.microsoft.com/office/drawing/2014/main" id="{DEE260F1-E2AB-4C45-8A4F-40F6FB6C896A}"/>
                  </a:ext>
                </a:extLst>
              </p:cNvPr>
              <p:cNvSpPr/>
              <p:nvPr/>
            </p:nvSpPr>
            <p:spPr>
              <a:xfrm>
                <a:off x="1929112" y="4510338"/>
                <a:ext cx="66675" cy="19050"/>
              </a:xfrm>
              <a:custGeom>
                <a:avLst/>
                <a:gdLst>
                  <a:gd name="connsiteX0" fmla="*/ 68199 w 66675"/>
                  <a:gd name="connsiteY0" fmla="*/ 7249 h 19050"/>
                  <a:gd name="connsiteX1" fmla="*/ 38100 w 66675"/>
                  <a:gd name="connsiteY1" fmla="*/ 14297 h 19050"/>
                  <a:gd name="connsiteX2" fmla="*/ 7144 w 66675"/>
                  <a:gd name="connsiteY2" fmla="*/ 13059 h 19050"/>
                  <a:gd name="connsiteX3" fmla="*/ 37624 w 66675"/>
                  <a:gd name="connsiteY3" fmla="*/ 9344 h 19050"/>
                  <a:gd name="connsiteX4" fmla="*/ 68199 w 66675"/>
                  <a:gd name="connsiteY4" fmla="*/ 7249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19050">
                    <a:moveTo>
                      <a:pt x="68199" y="7249"/>
                    </a:moveTo>
                    <a:cubicBezTo>
                      <a:pt x="58785" y="11721"/>
                      <a:pt x="48521" y="14125"/>
                      <a:pt x="38100" y="14297"/>
                    </a:cubicBezTo>
                    <a:cubicBezTo>
                      <a:pt x="27809" y="16064"/>
                      <a:pt x="17261" y="15642"/>
                      <a:pt x="7144" y="13059"/>
                    </a:cubicBezTo>
                    <a:cubicBezTo>
                      <a:pt x="17143" y="10740"/>
                      <a:pt x="27361" y="9495"/>
                      <a:pt x="37624" y="9344"/>
                    </a:cubicBezTo>
                    <a:cubicBezTo>
                      <a:pt x="47712" y="7560"/>
                      <a:pt x="57962" y="6858"/>
                      <a:pt x="68199" y="7249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4" name="Полилиния: фигура 793">
                <a:extLst>
                  <a:ext uri="{FF2B5EF4-FFF2-40B4-BE49-F238E27FC236}">
                    <a16:creationId xmlns:a16="http://schemas.microsoft.com/office/drawing/2014/main" id="{0E42EDA0-FE5F-4553-A5BC-3A635D322F27}"/>
                  </a:ext>
                </a:extLst>
              </p:cNvPr>
              <p:cNvSpPr/>
              <p:nvPr/>
            </p:nvSpPr>
            <p:spPr>
              <a:xfrm>
                <a:off x="1937113" y="4539177"/>
                <a:ext cx="66675" cy="19050"/>
              </a:xfrm>
              <a:custGeom>
                <a:avLst/>
                <a:gdLst>
                  <a:gd name="connsiteX0" fmla="*/ 60770 w 66675"/>
                  <a:gd name="connsiteY0" fmla="*/ 9461 h 19050"/>
                  <a:gd name="connsiteX1" fmla="*/ 7144 w 66675"/>
                  <a:gd name="connsiteY1" fmla="*/ 8318 h 19050"/>
                  <a:gd name="connsiteX2" fmla="*/ 34004 w 66675"/>
                  <a:gd name="connsiteY2" fmla="*/ 7746 h 19050"/>
                  <a:gd name="connsiteX3" fmla="*/ 60770 w 66675"/>
                  <a:gd name="connsiteY3" fmla="*/ 946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75" h="19050">
                    <a:moveTo>
                      <a:pt x="60770" y="9461"/>
                    </a:moveTo>
                    <a:cubicBezTo>
                      <a:pt x="43147" y="14166"/>
                      <a:pt x="24550" y="13770"/>
                      <a:pt x="7144" y="8318"/>
                    </a:cubicBezTo>
                    <a:cubicBezTo>
                      <a:pt x="16036" y="6975"/>
                      <a:pt x="25063" y="6783"/>
                      <a:pt x="34004" y="7746"/>
                    </a:cubicBezTo>
                    <a:cubicBezTo>
                      <a:pt x="42963" y="7143"/>
                      <a:pt x="51961" y="7719"/>
                      <a:pt x="60770" y="9461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5" name="Полилиния: фигура 794">
                <a:extLst>
                  <a:ext uri="{FF2B5EF4-FFF2-40B4-BE49-F238E27FC236}">
                    <a16:creationId xmlns:a16="http://schemas.microsoft.com/office/drawing/2014/main" id="{329B3E78-CA00-4B75-B9A9-5609C0A3AAA6}"/>
                  </a:ext>
                </a:extLst>
              </p:cNvPr>
              <p:cNvSpPr/>
              <p:nvPr/>
            </p:nvSpPr>
            <p:spPr>
              <a:xfrm>
                <a:off x="1995118" y="4549062"/>
                <a:ext cx="19050" cy="28575"/>
              </a:xfrm>
              <a:custGeom>
                <a:avLst/>
                <a:gdLst>
                  <a:gd name="connsiteX0" fmla="*/ 17433 w 19050"/>
                  <a:gd name="connsiteY0" fmla="*/ 7195 h 28575"/>
                  <a:gd name="connsiteX1" fmla="*/ 17433 w 19050"/>
                  <a:gd name="connsiteY1" fmla="*/ 18340 h 28575"/>
                  <a:gd name="connsiteX2" fmla="*/ 10765 w 19050"/>
                  <a:gd name="connsiteY2" fmla="*/ 23388 h 28575"/>
                  <a:gd name="connsiteX3" fmla="*/ 7146 w 19050"/>
                  <a:gd name="connsiteY3" fmla="*/ 22721 h 28575"/>
                  <a:gd name="connsiteX4" fmla="*/ 13337 w 19050"/>
                  <a:gd name="connsiteY4" fmla="*/ 15673 h 28575"/>
                  <a:gd name="connsiteX5" fmla="*/ 17433 w 19050"/>
                  <a:gd name="connsiteY5" fmla="*/ 719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050" h="28575">
                    <a:moveTo>
                      <a:pt x="17433" y="7195"/>
                    </a:moveTo>
                    <a:cubicBezTo>
                      <a:pt x="18671" y="6529"/>
                      <a:pt x="21433" y="12434"/>
                      <a:pt x="17433" y="18340"/>
                    </a:cubicBezTo>
                    <a:cubicBezTo>
                      <a:pt x="15942" y="20817"/>
                      <a:pt x="13554" y="22625"/>
                      <a:pt x="10765" y="23388"/>
                    </a:cubicBezTo>
                    <a:cubicBezTo>
                      <a:pt x="8670" y="23864"/>
                      <a:pt x="7241" y="23388"/>
                      <a:pt x="7146" y="22721"/>
                    </a:cubicBezTo>
                    <a:cubicBezTo>
                      <a:pt x="7050" y="22054"/>
                      <a:pt x="10860" y="19768"/>
                      <a:pt x="13337" y="15673"/>
                    </a:cubicBezTo>
                    <a:cubicBezTo>
                      <a:pt x="15813" y="11577"/>
                      <a:pt x="16099" y="7576"/>
                      <a:pt x="17433" y="7195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6" name="Полилиния: фигура 795">
                <a:extLst>
                  <a:ext uri="{FF2B5EF4-FFF2-40B4-BE49-F238E27FC236}">
                    <a16:creationId xmlns:a16="http://schemas.microsoft.com/office/drawing/2014/main" id="{1EBDCAE8-FBAA-4798-81D5-C816F7A190F4}"/>
                  </a:ext>
                </a:extLst>
              </p:cNvPr>
              <p:cNvSpPr/>
              <p:nvPr/>
            </p:nvSpPr>
            <p:spPr>
              <a:xfrm>
                <a:off x="2013948" y="4516634"/>
                <a:ext cx="19050" cy="38100"/>
              </a:xfrm>
              <a:custGeom>
                <a:avLst/>
                <a:gdLst>
                  <a:gd name="connsiteX0" fmla="*/ 8223 w 19050"/>
                  <a:gd name="connsiteY0" fmla="*/ 7144 h 38100"/>
                  <a:gd name="connsiteX1" fmla="*/ 12129 w 19050"/>
                  <a:gd name="connsiteY1" fmla="*/ 10096 h 38100"/>
                  <a:gd name="connsiteX2" fmla="*/ 15082 w 19050"/>
                  <a:gd name="connsiteY2" fmla="*/ 21050 h 38100"/>
                  <a:gd name="connsiteX3" fmla="*/ 11272 w 19050"/>
                  <a:gd name="connsiteY3" fmla="*/ 31813 h 38100"/>
                  <a:gd name="connsiteX4" fmla="*/ 7176 w 19050"/>
                  <a:gd name="connsiteY4" fmla="*/ 34385 h 38100"/>
                  <a:gd name="connsiteX5" fmla="*/ 10128 w 19050"/>
                  <a:gd name="connsiteY5" fmla="*/ 20860 h 38100"/>
                  <a:gd name="connsiteX6" fmla="*/ 8223 w 19050"/>
                  <a:gd name="connsiteY6" fmla="*/ 714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50" h="38100">
                    <a:moveTo>
                      <a:pt x="8223" y="7144"/>
                    </a:moveTo>
                    <a:cubicBezTo>
                      <a:pt x="8700" y="7144"/>
                      <a:pt x="10414" y="7144"/>
                      <a:pt x="12129" y="10096"/>
                    </a:cubicBezTo>
                    <a:cubicBezTo>
                      <a:pt x="14249" y="13342"/>
                      <a:pt x="15283" y="17178"/>
                      <a:pt x="15082" y="21050"/>
                    </a:cubicBezTo>
                    <a:cubicBezTo>
                      <a:pt x="14980" y="24950"/>
                      <a:pt x="13646" y="28718"/>
                      <a:pt x="11272" y="31813"/>
                    </a:cubicBezTo>
                    <a:cubicBezTo>
                      <a:pt x="9367" y="34099"/>
                      <a:pt x="7557" y="34861"/>
                      <a:pt x="7176" y="34385"/>
                    </a:cubicBezTo>
                    <a:cubicBezTo>
                      <a:pt x="6795" y="33909"/>
                      <a:pt x="9938" y="28289"/>
                      <a:pt x="10128" y="20860"/>
                    </a:cubicBezTo>
                    <a:cubicBezTo>
                      <a:pt x="10319" y="13430"/>
                      <a:pt x="7176" y="8096"/>
                      <a:pt x="8223" y="7144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7" name="Полилиния: фигура 796">
                <a:extLst>
                  <a:ext uri="{FF2B5EF4-FFF2-40B4-BE49-F238E27FC236}">
                    <a16:creationId xmlns:a16="http://schemas.microsoft.com/office/drawing/2014/main" id="{7BFB9A9A-76D2-4234-9FA0-4AA5132672BB}"/>
                  </a:ext>
                </a:extLst>
              </p:cNvPr>
              <p:cNvSpPr/>
              <p:nvPr/>
            </p:nvSpPr>
            <p:spPr>
              <a:xfrm>
                <a:off x="2015762" y="4482618"/>
                <a:ext cx="19050" cy="38100"/>
              </a:xfrm>
              <a:custGeom>
                <a:avLst/>
                <a:gdLst>
                  <a:gd name="connsiteX0" fmla="*/ 8028 w 19050"/>
                  <a:gd name="connsiteY0" fmla="*/ 7250 h 38100"/>
                  <a:gd name="connsiteX1" fmla="*/ 13934 w 19050"/>
                  <a:gd name="connsiteY1" fmla="*/ 20490 h 38100"/>
                  <a:gd name="connsiteX2" fmla="*/ 7361 w 19050"/>
                  <a:gd name="connsiteY2" fmla="*/ 33539 h 38100"/>
                  <a:gd name="connsiteX3" fmla="*/ 8981 w 19050"/>
                  <a:gd name="connsiteY3" fmla="*/ 20395 h 38100"/>
                  <a:gd name="connsiteX4" fmla="*/ 8028 w 19050"/>
                  <a:gd name="connsiteY4" fmla="*/ 725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8028" y="7250"/>
                    </a:moveTo>
                    <a:cubicBezTo>
                      <a:pt x="8981" y="6298"/>
                      <a:pt x="14124" y="11822"/>
                      <a:pt x="13934" y="20490"/>
                    </a:cubicBezTo>
                    <a:cubicBezTo>
                      <a:pt x="13743" y="29158"/>
                      <a:pt x="8314" y="34587"/>
                      <a:pt x="7361" y="33539"/>
                    </a:cubicBezTo>
                    <a:cubicBezTo>
                      <a:pt x="6409" y="32491"/>
                      <a:pt x="8885" y="27443"/>
                      <a:pt x="8981" y="20395"/>
                    </a:cubicBezTo>
                    <a:cubicBezTo>
                      <a:pt x="9076" y="13346"/>
                      <a:pt x="6790" y="8203"/>
                      <a:pt x="8028" y="7250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8" name="Полилиния: фигура 797">
                <a:extLst>
                  <a:ext uri="{FF2B5EF4-FFF2-40B4-BE49-F238E27FC236}">
                    <a16:creationId xmlns:a16="http://schemas.microsoft.com/office/drawing/2014/main" id="{81423B2E-01FD-4764-AE12-5A0DC4414B14}"/>
                  </a:ext>
                </a:extLst>
              </p:cNvPr>
              <p:cNvSpPr/>
              <p:nvPr/>
            </p:nvSpPr>
            <p:spPr>
              <a:xfrm>
                <a:off x="1937494" y="4436707"/>
                <a:ext cx="76200" cy="19050"/>
              </a:xfrm>
              <a:custGeom>
                <a:avLst/>
                <a:gdLst>
                  <a:gd name="connsiteX0" fmla="*/ 71723 w 76200"/>
                  <a:gd name="connsiteY0" fmla="*/ 11633 h 19050"/>
                  <a:gd name="connsiteX1" fmla="*/ 39433 w 76200"/>
                  <a:gd name="connsiteY1" fmla="*/ 12395 h 19050"/>
                  <a:gd name="connsiteX2" fmla="*/ 7144 w 76200"/>
                  <a:gd name="connsiteY2" fmla="*/ 10871 h 19050"/>
                  <a:gd name="connsiteX3" fmla="*/ 39433 w 76200"/>
                  <a:gd name="connsiteY3" fmla="*/ 7442 h 19050"/>
                  <a:gd name="connsiteX4" fmla="*/ 71723 w 76200"/>
                  <a:gd name="connsiteY4" fmla="*/ 11633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00" h="19050">
                    <a:moveTo>
                      <a:pt x="71723" y="11633"/>
                    </a:moveTo>
                    <a:cubicBezTo>
                      <a:pt x="61028" y="13158"/>
                      <a:pt x="50189" y="13414"/>
                      <a:pt x="39433" y="12395"/>
                    </a:cubicBezTo>
                    <a:cubicBezTo>
                      <a:pt x="28647" y="13126"/>
                      <a:pt x="17813" y="12614"/>
                      <a:pt x="7144" y="10871"/>
                    </a:cubicBezTo>
                    <a:cubicBezTo>
                      <a:pt x="17594" y="7700"/>
                      <a:pt x="28550" y="6536"/>
                      <a:pt x="39433" y="7442"/>
                    </a:cubicBezTo>
                    <a:cubicBezTo>
                      <a:pt x="50364" y="6821"/>
                      <a:pt x="61314" y="8242"/>
                      <a:pt x="71723" y="11633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9" name="Полилиния: фигура 798">
                <a:extLst>
                  <a:ext uri="{FF2B5EF4-FFF2-40B4-BE49-F238E27FC236}">
                    <a16:creationId xmlns:a16="http://schemas.microsoft.com/office/drawing/2014/main" id="{EB17BDC1-4C68-4EBF-8895-EA466719A2A4}"/>
                  </a:ext>
                </a:extLst>
              </p:cNvPr>
              <p:cNvSpPr/>
              <p:nvPr/>
            </p:nvSpPr>
            <p:spPr>
              <a:xfrm>
                <a:off x="1453897" y="4462768"/>
                <a:ext cx="171450" cy="228600"/>
              </a:xfrm>
              <a:custGeom>
                <a:avLst/>
                <a:gdLst>
                  <a:gd name="connsiteX0" fmla="*/ 8871 w 171450"/>
                  <a:gd name="connsiteY0" fmla="*/ 113778 h 228600"/>
                  <a:gd name="connsiteX1" fmla="*/ 9824 w 171450"/>
                  <a:gd name="connsiteY1" fmla="*/ 165404 h 228600"/>
                  <a:gd name="connsiteX2" fmla="*/ 58115 w 171450"/>
                  <a:gd name="connsiteY2" fmla="*/ 228554 h 228600"/>
                  <a:gd name="connsiteX3" fmla="*/ 65450 w 171450"/>
                  <a:gd name="connsiteY3" fmla="*/ 228554 h 228600"/>
                  <a:gd name="connsiteX4" fmla="*/ 116885 w 171450"/>
                  <a:gd name="connsiteY4" fmla="*/ 174928 h 228600"/>
                  <a:gd name="connsiteX5" fmla="*/ 119171 w 171450"/>
                  <a:gd name="connsiteY5" fmla="*/ 148259 h 228600"/>
                  <a:gd name="connsiteX6" fmla="*/ 145745 w 171450"/>
                  <a:gd name="connsiteY6" fmla="*/ 131590 h 228600"/>
                  <a:gd name="connsiteX7" fmla="*/ 145745 w 171450"/>
                  <a:gd name="connsiteY7" fmla="*/ 110921 h 228600"/>
                  <a:gd name="connsiteX8" fmla="*/ 156413 w 171450"/>
                  <a:gd name="connsiteY8" fmla="*/ 77774 h 228600"/>
                  <a:gd name="connsiteX9" fmla="*/ 170987 w 171450"/>
                  <a:gd name="connsiteY9" fmla="*/ 47294 h 228600"/>
                  <a:gd name="connsiteX10" fmla="*/ 154413 w 171450"/>
                  <a:gd name="connsiteY10" fmla="*/ 47294 h 228600"/>
                  <a:gd name="connsiteX11" fmla="*/ 141854 w 171450"/>
                  <a:gd name="connsiteY11" fmla="*/ 34898 h 228600"/>
                  <a:gd name="connsiteX12" fmla="*/ 141364 w 171450"/>
                  <a:gd name="connsiteY12" fmla="*/ 34911 h 228600"/>
                  <a:gd name="connsiteX13" fmla="*/ 122314 w 171450"/>
                  <a:gd name="connsiteY13" fmla="*/ 7289 h 228600"/>
                  <a:gd name="connsiteX14" fmla="*/ 102311 w 171450"/>
                  <a:gd name="connsiteY14" fmla="*/ 38531 h 228600"/>
                  <a:gd name="connsiteX15" fmla="*/ 75546 w 171450"/>
                  <a:gd name="connsiteY15" fmla="*/ 42436 h 228600"/>
                  <a:gd name="connsiteX16" fmla="*/ 52115 w 171450"/>
                  <a:gd name="connsiteY16" fmla="*/ 83870 h 228600"/>
                  <a:gd name="connsiteX17" fmla="*/ 52591 w 171450"/>
                  <a:gd name="connsiteY17" fmla="*/ 94252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1450" h="228600">
                    <a:moveTo>
                      <a:pt x="8871" y="113778"/>
                    </a:moveTo>
                    <a:cubicBezTo>
                      <a:pt x="6283" y="130918"/>
                      <a:pt x="6605" y="148371"/>
                      <a:pt x="9824" y="165404"/>
                    </a:cubicBezTo>
                    <a:cubicBezTo>
                      <a:pt x="15634" y="184454"/>
                      <a:pt x="40875" y="225316"/>
                      <a:pt x="58115" y="228554"/>
                    </a:cubicBezTo>
                    <a:cubicBezTo>
                      <a:pt x="60548" y="228894"/>
                      <a:pt x="63017" y="228894"/>
                      <a:pt x="65450" y="228554"/>
                    </a:cubicBezTo>
                    <a:cubicBezTo>
                      <a:pt x="93332" y="225521"/>
                      <a:pt x="115016" y="202913"/>
                      <a:pt x="116885" y="174928"/>
                    </a:cubicBezTo>
                    <a:lnTo>
                      <a:pt x="119171" y="148259"/>
                    </a:lnTo>
                    <a:cubicBezTo>
                      <a:pt x="119171" y="148259"/>
                      <a:pt x="142412" y="144829"/>
                      <a:pt x="145745" y="131590"/>
                    </a:cubicBezTo>
                    <a:cubicBezTo>
                      <a:pt x="147890" y="124867"/>
                      <a:pt x="147890" y="117643"/>
                      <a:pt x="145745" y="110921"/>
                    </a:cubicBezTo>
                    <a:cubicBezTo>
                      <a:pt x="145745" y="110921"/>
                      <a:pt x="161081" y="92633"/>
                      <a:pt x="156413" y="77774"/>
                    </a:cubicBezTo>
                    <a:cubicBezTo>
                      <a:pt x="156413" y="77774"/>
                      <a:pt x="180321" y="58057"/>
                      <a:pt x="170987" y="47294"/>
                    </a:cubicBezTo>
                    <a:cubicBezTo>
                      <a:pt x="170987" y="47294"/>
                      <a:pt x="159080" y="43198"/>
                      <a:pt x="154413" y="47294"/>
                    </a:cubicBezTo>
                    <a:cubicBezTo>
                      <a:pt x="154368" y="40402"/>
                      <a:pt x="148745" y="34853"/>
                      <a:pt x="141854" y="34898"/>
                    </a:cubicBezTo>
                    <a:cubicBezTo>
                      <a:pt x="141690" y="34899"/>
                      <a:pt x="141527" y="34904"/>
                      <a:pt x="141364" y="34911"/>
                    </a:cubicBezTo>
                    <a:cubicBezTo>
                      <a:pt x="141364" y="34911"/>
                      <a:pt x="139554" y="4812"/>
                      <a:pt x="122314" y="7289"/>
                    </a:cubicBezTo>
                    <a:cubicBezTo>
                      <a:pt x="105074" y="9765"/>
                      <a:pt x="102311" y="38531"/>
                      <a:pt x="102311" y="38531"/>
                    </a:cubicBezTo>
                    <a:cubicBezTo>
                      <a:pt x="93266" y="38760"/>
                      <a:pt x="84280" y="40071"/>
                      <a:pt x="75546" y="42436"/>
                    </a:cubicBezTo>
                    <a:cubicBezTo>
                      <a:pt x="69831" y="45293"/>
                      <a:pt x="52115" y="83870"/>
                      <a:pt x="52115" y="83870"/>
                    </a:cubicBezTo>
                    <a:lnTo>
                      <a:pt x="52591" y="94252"/>
                    </a:lnTo>
                    <a:close/>
                  </a:path>
                </a:pathLst>
              </a:custGeom>
              <a:solidFill>
                <a:srgbClr val="B7887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0" name="Полилиния: фигура 799">
                <a:extLst>
                  <a:ext uri="{FF2B5EF4-FFF2-40B4-BE49-F238E27FC236}">
                    <a16:creationId xmlns:a16="http://schemas.microsoft.com/office/drawing/2014/main" id="{B6BF6F20-FD44-4A49-95EC-885C9F6F2CB2}"/>
                  </a:ext>
                </a:extLst>
              </p:cNvPr>
              <p:cNvSpPr/>
              <p:nvPr/>
            </p:nvSpPr>
            <p:spPr>
              <a:xfrm>
                <a:off x="1530300" y="4488915"/>
                <a:ext cx="85725" cy="57150"/>
              </a:xfrm>
              <a:custGeom>
                <a:avLst/>
                <a:gdLst>
                  <a:gd name="connsiteX0" fmla="*/ 7144 w 85725"/>
                  <a:gd name="connsiteY0" fmla="*/ 53912 h 57150"/>
                  <a:gd name="connsiteX1" fmla="*/ 29146 w 85725"/>
                  <a:gd name="connsiteY1" fmla="*/ 48674 h 57150"/>
                  <a:gd name="connsiteX2" fmla="*/ 51721 w 85725"/>
                  <a:gd name="connsiteY2" fmla="*/ 40196 h 57150"/>
                  <a:gd name="connsiteX3" fmla="*/ 63627 w 85725"/>
                  <a:gd name="connsiteY3" fmla="*/ 32767 h 57150"/>
                  <a:gd name="connsiteX4" fmla="*/ 73152 w 85725"/>
                  <a:gd name="connsiteY4" fmla="*/ 22385 h 57150"/>
                  <a:gd name="connsiteX5" fmla="*/ 71555 w 85725"/>
                  <a:gd name="connsiteY5" fmla="*/ 13639 h 57150"/>
                  <a:gd name="connsiteX6" fmla="*/ 70009 w 85725"/>
                  <a:gd name="connsiteY6" fmla="*/ 12860 h 57150"/>
                  <a:gd name="connsiteX7" fmla="*/ 56864 w 85725"/>
                  <a:gd name="connsiteY7" fmla="*/ 12383 h 57150"/>
                  <a:gd name="connsiteX8" fmla="*/ 32290 w 85725"/>
                  <a:gd name="connsiteY8" fmla="*/ 14384 h 57150"/>
                  <a:gd name="connsiteX9" fmla="*/ 9525 w 85725"/>
                  <a:gd name="connsiteY9" fmla="*/ 14955 h 57150"/>
                  <a:gd name="connsiteX10" fmla="*/ 31909 w 85725"/>
                  <a:gd name="connsiteY10" fmla="*/ 10955 h 57150"/>
                  <a:gd name="connsiteX11" fmla="*/ 56388 w 85725"/>
                  <a:gd name="connsiteY11" fmla="*/ 7907 h 57150"/>
                  <a:gd name="connsiteX12" fmla="*/ 71914 w 85725"/>
                  <a:gd name="connsiteY12" fmla="*/ 8383 h 57150"/>
                  <a:gd name="connsiteX13" fmla="*/ 78581 w 85725"/>
                  <a:gd name="connsiteY13" fmla="*/ 15050 h 57150"/>
                  <a:gd name="connsiteX14" fmla="*/ 77533 w 85725"/>
                  <a:gd name="connsiteY14" fmla="*/ 24575 h 57150"/>
                  <a:gd name="connsiteX15" fmla="*/ 66008 w 85725"/>
                  <a:gd name="connsiteY15" fmla="*/ 36482 h 57150"/>
                  <a:gd name="connsiteX16" fmla="*/ 53245 w 85725"/>
                  <a:gd name="connsiteY16" fmla="*/ 44197 h 57150"/>
                  <a:gd name="connsiteX17" fmla="*/ 29432 w 85725"/>
                  <a:gd name="connsiteY17" fmla="*/ 52008 h 57150"/>
                  <a:gd name="connsiteX18" fmla="*/ 7144 w 85725"/>
                  <a:gd name="connsiteY18" fmla="*/ 53912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5725" h="57150">
                    <a:moveTo>
                      <a:pt x="7144" y="53912"/>
                    </a:moveTo>
                    <a:cubicBezTo>
                      <a:pt x="7144" y="53055"/>
                      <a:pt x="15716" y="52198"/>
                      <a:pt x="29146" y="48674"/>
                    </a:cubicBezTo>
                    <a:cubicBezTo>
                      <a:pt x="36954" y="46668"/>
                      <a:pt x="44523" y="43826"/>
                      <a:pt x="51721" y="40196"/>
                    </a:cubicBezTo>
                    <a:cubicBezTo>
                      <a:pt x="55910" y="38091"/>
                      <a:pt x="59895" y="35604"/>
                      <a:pt x="63627" y="32767"/>
                    </a:cubicBezTo>
                    <a:cubicBezTo>
                      <a:pt x="67420" y="29928"/>
                      <a:pt x="70650" y="26407"/>
                      <a:pt x="73152" y="22385"/>
                    </a:cubicBezTo>
                    <a:cubicBezTo>
                      <a:pt x="75126" y="19529"/>
                      <a:pt x="74411" y="15613"/>
                      <a:pt x="71555" y="13639"/>
                    </a:cubicBezTo>
                    <a:cubicBezTo>
                      <a:pt x="71078" y="13309"/>
                      <a:pt x="70558" y="13047"/>
                      <a:pt x="70009" y="12860"/>
                    </a:cubicBezTo>
                    <a:cubicBezTo>
                      <a:pt x="65724" y="11681"/>
                      <a:pt x="61223" y="11518"/>
                      <a:pt x="56864" y="12383"/>
                    </a:cubicBezTo>
                    <a:lnTo>
                      <a:pt x="32290" y="14384"/>
                    </a:lnTo>
                    <a:cubicBezTo>
                      <a:pt x="24753" y="15498"/>
                      <a:pt x="17108" y="15690"/>
                      <a:pt x="9525" y="14955"/>
                    </a:cubicBezTo>
                    <a:cubicBezTo>
                      <a:pt x="16819" y="12814"/>
                      <a:pt x="24325" y="11472"/>
                      <a:pt x="31909" y="10955"/>
                    </a:cubicBezTo>
                    <a:lnTo>
                      <a:pt x="56388" y="7907"/>
                    </a:lnTo>
                    <a:cubicBezTo>
                      <a:pt x="61520" y="6748"/>
                      <a:pt x="66862" y="6911"/>
                      <a:pt x="71914" y="8383"/>
                    </a:cubicBezTo>
                    <a:cubicBezTo>
                      <a:pt x="74972" y="9574"/>
                      <a:pt x="77391" y="11992"/>
                      <a:pt x="78581" y="15050"/>
                    </a:cubicBezTo>
                    <a:cubicBezTo>
                      <a:pt x="79570" y="18233"/>
                      <a:pt x="79190" y="21684"/>
                      <a:pt x="77533" y="24575"/>
                    </a:cubicBezTo>
                    <a:cubicBezTo>
                      <a:pt x="74578" y="29316"/>
                      <a:pt x="70650" y="33374"/>
                      <a:pt x="66008" y="36482"/>
                    </a:cubicBezTo>
                    <a:cubicBezTo>
                      <a:pt x="62022" y="39473"/>
                      <a:pt x="57746" y="42058"/>
                      <a:pt x="53245" y="44197"/>
                    </a:cubicBezTo>
                    <a:cubicBezTo>
                      <a:pt x="45671" y="47802"/>
                      <a:pt x="37669" y="50426"/>
                      <a:pt x="29432" y="52008"/>
                    </a:cubicBezTo>
                    <a:cubicBezTo>
                      <a:pt x="22169" y="53930"/>
                      <a:pt x="14627" y="54575"/>
                      <a:pt x="7144" y="53912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1" name="Полилиния: фигура 800">
                <a:extLst>
                  <a:ext uri="{FF2B5EF4-FFF2-40B4-BE49-F238E27FC236}">
                    <a16:creationId xmlns:a16="http://schemas.microsoft.com/office/drawing/2014/main" id="{8CCF156B-5F3D-4F7E-B009-3CF6F3E0EA24}"/>
                  </a:ext>
                </a:extLst>
              </p:cNvPr>
              <p:cNvSpPr/>
              <p:nvPr/>
            </p:nvSpPr>
            <p:spPr>
              <a:xfrm>
                <a:off x="1525534" y="4506380"/>
                <a:ext cx="19050" cy="28575"/>
              </a:xfrm>
              <a:custGeom>
                <a:avLst/>
                <a:gdLst>
                  <a:gd name="connsiteX0" fmla="*/ 15625 w 19050"/>
                  <a:gd name="connsiteY0" fmla="*/ 30256 h 28575"/>
                  <a:gd name="connsiteX1" fmla="*/ 11529 w 19050"/>
                  <a:gd name="connsiteY1" fmla="*/ 28542 h 28575"/>
                  <a:gd name="connsiteX2" fmla="*/ 7148 w 19050"/>
                  <a:gd name="connsiteY2" fmla="*/ 19017 h 28575"/>
                  <a:gd name="connsiteX3" fmla="*/ 10291 w 19050"/>
                  <a:gd name="connsiteY3" fmla="*/ 9492 h 28575"/>
                  <a:gd name="connsiteX4" fmla="*/ 14101 w 19050"/>
                  <a:gd name="connsiteY4" fmla="*/ 7301 h 28575"/>
                  <a:gd name="connsiteX5" fmla="*/ 12101 w 19050"/>
                  <a:gd name="connsiteY5" fmla="*/ 19207 h 28575"/>
                  <a:gd name="connsiteX6" fmla="*/ 15625 w 19050"/>
                  <a:gd name="connsiteY6" fmla="*/ 3025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50" h="28575">
                    <a:moveTo>
                      <a:pt x="15625" y="30256"/>
                    </a:moveTo>
                    <a:cubicBezTo>
                      <a:pt x="15625" y="30828"/>
                      <a:pt x="13530" y="30256"/>
                      <a:pt x="11529" y="28542"/>
                    </a:cubicBezTo>
                    <a:cubicBezTo>
                      <a:pt x="8930" y="26026"/>
                      <a:pt x="7367" y="22628"/>
                      <a:pt x="7148" y="19017"/>
                    </a:cubicBezTo>
                    <a:cubicBezTo>
                      <a:pt x="7068" y="15574"/>
                      <a:pt x="8178" y="12210"/>
                      <a:pt x="10291" y="9492"/>
                    </a:cubicBezTo>
                    <a:cubicBezTo>
                      <a:pt x="12006" y="7396"/>
                      <a:pt x="13720" y="6825"/>
                      <a:pt x="14101" y="7301"/>
                    </a:cubicBezTo>
                    <a:cubicBezTo>
                      <a:pt x="14482" y="7777"/>
                      <a:pt x="11720" y="12921"/>
                      <a:pt x="12101" y="19207"/>
                    </a:cubicBezTo>
                    <a:cubicBezTo>
                      <a:pt x="12482" y="25494"/>
                      <a:pt x="16482" y="29208"/>
                      <a:pt x="15625" y="30256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2" name="Полилиния: фигура 801">
                <a:extLst>
                  <a:ext uri="{FF2B5EF4-FFF2-40B4-BE49-F238E27FC236}">
                    <a16:creationId xmlns:a16="http://schemas.microsoft.com/office/drawing/2014/main" id="{ABC5EC84-2487-4DAF-BA39-71F5A291DE88}"/>
                  </a:ext>
                </a:extLst>
              </p:cNvPr>
              <p:cNvSpPr/>
              <p:nvPr/>
            </p:nvSpPr>
            <p:spPr>
              <a:xfrm>
                <a:off x="1563352" y="4531134"/>
                <a:ext cx="57150" cy="28575"/>
              </a:xfrm>
              <a:custGeom>
                <a:avLst/>
                <a:gdLst>
                  <a:gd name="connsiteX0" fmla="*/ 50959 w 57150"/>
                  <a:gd name="connsiteY0" fmla="*/ 7312 h 28575"/>
                  <a:gd name="connsiteX1" fmla="*/ 31909 w 57150"/>
                  <a:gd name="connsiteY1" fmla="*/ 24171 h 28575"/>
                  <a:gd name="connsiteX2" fmla="*/ 7144 w 57150"/>
                  <a:gd name="connsiteY2" fmla="*/ 28362 h 28575"/>
                  <a:gd name="connsiteX3" fmla="*/ 29718 w 57150"/>
                  <a:gd name="connsiteY3" fmla="*/ 19694 h 28575"/>
                  <a:gd name="connsiteX4" fmla="*/ 50959 w 57150"/>
                  <a:gd name="connsiteY4" fmla="*/ 731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28575">
                    <a:moveTo>
                      <a:pt x="50959" y="7312"/>
                    </a:moveTo>
                    <a:cubicBezTo>
                      <a:pt x="52007" y="8074"/>
                      <a:pt x="45244" y="17884"/>
                      <a:pt x="31909" y="24171"/>
                    </a:cubicBezTo>
                    <a:cubicBezTo>
                      <a:pt x="24478" y="28641"/>
                      <a:pt x="15632" y="30138"/>
                      <a:pt x="7144" y="28362"/>
                    </a:cubicBezTo>
                    <a:cubicBezTo>
                      <a:pt x="7144" y="26933"/>
                      <a:pt x="17907" y="25504"/>
                      <a:pt x="29718" y="19694"/>
                    </a:cubicBezTo>
                    <a:cubicBezTo>
                      <a:pt x="41529" y="13884"/>
                      <a:pt x="49816" y="5883"/>
                      <a:pt x="50959" y="7312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3" name="Полилиния: фигура 802">
                <a:extLst>
                  <a:ext uri="{FF2B5EF4-FFF2-40B4-BE49-F238E27FC236}">
                    <a16:creationId xmlns:a16="http://schemas.microsoft.com/office/drawing/2014/main" id="{D6561CA6-26D3-4BBD-A79E-DF00236FA941}"/>
                  </a:ext>
                </a:extLst>
              </p:cNvPr>
              <p:cNvSpPr/>
              <p:nvPr/>
            </p:nvSpPr>
            <p:spPr>
              <a:xfrm>
                <a:off x="1551827" y="4563687"/>
                <a:ext cx="57150" cy="28575"/>
              </a:xfrm>
              <a:custGeom>
                <a:avLst/>
                <a:gdLst>
                  <a:gd name="connsiteX0" fmla="*/ 50483 w 57150"/>
                  <a:gd name="connsiteY0" fmla="*/ 7144 h 28575"/>
                  <a:gd name="connsiteX1" fmla="*/ 31433 w 57150"/>
                  <a:gd name="connsiteY1" fmla="*/ 22479 h 28575"/>
                  <a:gd name="connsiteX2" fmla="*/ 7144 w 57150"/>
                  <a:gd name="connsiteY2" fmla="*/ 20860 h 28575"/>
                  <a:gd name="connsiteX3" fmla="*/ 29908 w 57150"/>
                  <a:gd name="connsiteY3" fmla="*/ 17717 h 28575"/>
                  <a:gd name="connsiteX4" fmla="*/ 50483 w 57150"/>
                  <a:gd name="connsiteY4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28575">
                    <a:moveTo>
                      <a:pt x="50483" y="7144"/>
                    </a:moveTo>
                    <a:cubicBezTo>
                      <a:pt x="51721" y="7715"/>
                      <a:pt x="45244" y="18193"/>
                      <a:pt x="31433" y="22479"/>
                    </a:cubicBezTo>
                    <a:cubicBezTo>
                      <a:pt x="23548" y="25881"/>
                      <a:pt x="14507" y="25278"/>
                      <a:pt x="7144" y="20860"/>
                    </a:cubicBezTo>
                    <a:cubicBezTo>
                      <a:pt x="14798" y="20366"/>
                      <a:pt x="22406" y="19315"/>
                      <a:pt x="29908" y="17717"/>
                    </a:cubicBezTo>
                    <a:cubicBezTo>
                      <a:pt x="37008" y="14683"/>
                      <a:pt x="43883" y="11150"/>
                      <a:pt x="50483" y="7144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4" name="Полилиния: фигура 803">
                <a:extLst>
                  <a:ext uri="{FF2B5EF4-FFF2-40B4-BE49-F238E27FC236}">
                    <a16:creationId xmlns:a16="http://schemas.microsoft.com/office/drawing/2014/main" id="{FDA66C65-3A9F-44E4-922E-755289E91F5C}"/>
                  </a:ext>
                </a:extLst>
              </p:cNvPr>
              <p:cNvSpPr/>
              <p:nvPr/>
            </p:nvSpPr>
            <p:spPr>
              <a:xfrm>
                <a:off x="1513534" y="4561459"/>
                <a:ext cx="28575" cy="28575"/>
              </a:xfrm>
              <a:custGeom>
                <a:avLst/>
                <a:gdLst>
                  <a:gd name="connsiteX0" fmla="*/ 25434 w 28575"/>
                  <a:gd name="connsiteY0" fmla="*/ 29470 h 28575"/>
                  <a:gd name="connsiteX1" fmla="*/ 20290 w 28575"/>
                  <a:gd name="connsiteY1" fmla="*/ 29470 h 28575"/>
                  <a:gd name="connsiteX2" fmla="*/ 9432 w 28575"/>
                  <a:gd name="connsiteY2" fmla="*/ 22612 h 28575"/>
                  <a:gd name="connsiteX3" fmla="*/ 9432 w 28575"/>
                  <a:gd name="connsiteY3" fmla="*/ 9277 h 28575"/>
                  <a:gd name="connsiteX4" fmla="*/ 14766 w 28575"/>
                  <a:gd name="connsiteY4" fmla="*/ 7658 h 28575"/>
                  <a:gd name="connsiteX5" fmla="*/ 12289 w 28575"/>
                  <a:gd name="connsiteY5" fmla="*/ 11372 h 28575"/>
                  <a:gd name="connsiteX6" fmla="*/ 13146 w 28575"/>
                  <a:gd name="connsiteY6" fmla="*/ 19850 h 28575"/>
                  <a:gd name="connsiteX7" fmla="*/ 25434 w 28575"/>
                  <a:gd name="connsiteY7" fmla="*/ 2947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75" h="28575">
                    <a:moveTo>
                      <a:pt x="25434" y="29470"/>
                    </a:moveTo>
                    <a:cubicBezTo>
                      <a:pt x="25434" y="30137"/>
                      <a:pt x="23338" y="30327"/>
                      <a:pt x="20290" y="29470"/>
                    </a:cubicBezTo>
                    <a:cubicBezTo>
                      <a:pt x="15908" y="28706"/>
                      <a:pt x="12005" y="26241"/>
                      <a:pt x="9432" y="22612"/>
                    </a:cubicBezTo>
                    <a:cubicBezTo>
                      <a:pt x="6381" y="18690"/>
                      <a:pt x="6381" y="13198"/>
                      <a:pt x="9432" y="9277"/>
                    </a:cubicBezTo>
                    <a:cubicBezTo>
                      <a:pt x="12099" y="6515"/>
                      <a:pt x="14766" y="6991"/>
                      <a:pt x="14766" y="7658"/>
                    </a:cubicBezTo>
                    <a:cubicBezTo>
                      <a:pt x="14766" y="8324"/>
                      <a:pt x="13242" y="9182"/>
                      <a:pt x="12289" y="11372"/>
                    </a:cubicBezTo>
                    <a:cubicBezTo>
                      <a:pt x="11031" y="14147"/>
                      <a:pt x="11358" y="17383"/>
                      <a:pt x="13146" y="19850"/>
                    </a:cubicBezTo>
                    <a:cubicBezTo>
                      <a:pt x="17528" y="26136"/>
                      <a:pt x="25434" y="27851"/>
                      <a:pt x="25434" y="29470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5" name="Полилиния: фигура 804">
                <a:extLst>
                  <a:ext uri="{FF2B5EF4-FFF2-40B4-BE49-F238E27FC236}">
                    <a16:creationId xmlns:a16="http://schemas.microsoft.com/office/drawing/2014/main" id="{0C9C95F6-CC37-41F3-BD59-0889540EF95B}"/>
                  </a:ext>
                </a:extLst>
              </p:cNvPr>
              <p:cNvSpPr/>
              <p:nvPr/>
            </p:nvSpPr>
            <p:spPr>
              <a:xfrm>
                <a:off x="1531488" y="4588460"/>
                <a:ext cx="28575" cy="28575"/>
              </a:xfrm>
              <a:custGeom>
                <a:avLst/>
                <a:gdLst>
                  <a:gd name="connsiteX0" fmla="*/ 27959 w 28575"/>
                  <a:gd name="connsiteY0" fmla="*/ 21995 h 28575"/>
                  <a:gd name="connsiteX1" fmla="*/ 23958 w 28575"/>
                  <a:gd name="connsiteY1" fmla="*/ 25424 h 28575"/>
                  <a:gd name="connsiteX2" fmla="*/ 11290 w 28575"/>
                  <a:gd name="connsiteY2" fmla="*/ 23234 h 28575"/>
                  <a:gd name="connsiteX3" fmla="*/ 7861 w 28575"/>
                  <a:gd name="connsiteY3" fmla="*/ 10756 h 28575"/>
                  <a:gd name="connsiteX4" fmla="*/ 11957 w 28575"/>
                  <a:gd name="connsiteY4" fmla="*/ 7327 h 28575"/>
                  <a:gd name="connsiteX5" fmla="*/ 11290 w 28575"/>
                  <a:gd name="connsiteY5" fmla="*/ 11708 h 28575"/>
                  <a:gd name="connsiteX6" fmla="*/ 14528 w 28575"/>
                  <a:gd name="connsiteY6" fmla="*/ 19423 h 28575"/>
                  <a:gd name="connsiteX7" fmla="*/ 27959 w 28575"/>
                  <a:gd name="connsiteY7" fmla="*/ 2199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75" h="28575">
                    <a:moveTo>
                      <a:pt x="27959" y="21995"/>
                    </a:moveTo>
                    <a:cubicBezTo>
                      <a:pt x="27959" y="22567"/>
                      <a:pt x="27006" y="24186"/>
                      <a:pt x="23958" y="25424"/>
                    </a:cubicBezTo>
                    <a:cubicBezTo>
                      <a:pt x="19644" y="26969"/>
                      <a:pt x="14835" y="26138"/>
                      <a:pt x="11290" y="23234"/>
                    </a:cubicBezTo>
                    <a:cubicBezTo>
                      <a:pt x="7550" y="20266"/>
                      <a:pt x="6163" y="15218"/>
                      <a:pt x="7861" y="10756"/>
                    </a:cubicBezTo>
                    <a:cubicBezTo>
                      <a:pt x="9385" y="7422"/>
                      <a:pt x="11671" y="6755"/>
                      <a:pt x="11957" y="7327"/>
                    </a:cubicBezTo>
                    <a:cubicBezTo>
                      <a:pt x="12243" y="7898"/>
                      <a:pt x="11481" y="9327"/>
                      <a:pt x="11290" y="11708"/>
                    </a:cubicBezTo>
                    <a:cubicBezTo>
                      <a:pt x="10956" y="14668"/>
                      <a:pt x="12182" y="17589"/>
                      <a:pt x="14528" y="19423"/>
                    </a:cubicBezTo>
                    <a:cubicBezTo>
                      <a:pt x="20148" y="24091"/>
                      <a:pt x="27483" y="20662"/>
                      <a:pt x="27959" y="21995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6" name="Полилиния: фигура 805">
                <a:extLst>
                  <a:ext uri="{FF2B5EF4-FFF2-40B4-BE49-F238E27FC236}">
                    <a16:creationId xmlns:a16="http://schemas.microsoft.com/office/drawing/2014/main" id="{8CE75B44-4439-4C86-9DD3-F79808B07E99}"/>
                  </a:ext>
                </a:extLst>
              </p:cNvPr>
              <p:cNvSpPr/>
              <p:nvPr/>
            </p:nvSpPr>
            <p:spPr>
              <a:xfrm>
                <a:off x="1501206" y="4530533"/>
                <a:ext cx="28575" cy="38100"/>
              </a:xfrm>
              <a:custGeom>
                <a:avLst/>
                <a:gdLst>
                  <a:gd name="connsiteX0" fmla="*/ 26998 w 28575"/>
                  <a:gd name="connsiteY0" fmla="*/ 32964 h 38100"/>
                  <a:gd name="connsiteX1" fmla="*/ 21093 w 28575"/>
                  <a:gd name="connsiteY1" fmla="*/ 34488 h 38100"/>
                  <a:gd name="connsiteX2" fmla="*/ 8901 w 28575"/>
                  <a:gd name="connsiteY2" fmla="*/ 26201 h 38100"/>
                  <a:gd name="connsiteX3" fmla="*/ 8901 w 28575"/>
                  <a:gd name="connsiteY3" fmla="*/ 11437 h 38100"/>
                  <a:gd name="connsiteX4" fmla="*/ 13282 w 28575"/>
                  <a:gd name="connsiteY4" fmla="*/ 7246 h 38100"/>
                  <a:gd name="connsiteX5" fmla="*/ 12139 w 28575"/>
                  <a:gd name="connsiteY5" fmla="*/ 12581 h 38100"/>
                  <a:gd name="connsiteX6" fmla="*/ 13568 w 28575"/>
                  <a:gd name="connsiteY6" fmla="*/ 23820 h 38100"/>
                  <a:gd name="connsiteX7" fmla="*/ 22141 w 28575"/>
                  <a:gd name="connsiteY7" fmla="*/ 31059 h 38100"/>
                  <a:gd name="connsiteX8" fmla="*/ 26998 w 28575"/>
                  <a:gd name="connsiteY8" fmla="*/ 3296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" h="38100">
                    <a:moveTo>
                      <a:pt x="26998" y="32964"/>
                    </a:moveTo>
                    <a:cubicBezTo>
                      <a:pt x="26998" y="33536"/>
                      <a:pt x="24998" y="34869"/>
                      <a:pt x="21093" y="34488"/>
                    </a:cubicBezTo>
                    <a:cubicBezTo>
                      <a:pt x="15917" y="33889"/>
                      <a:pt x="11362" y="30794"/>
                      <a:pt x="8901" y="26201"/>
                    </a:cubicBezTo>
                    <a:cubicBezTo>
                      <a:pt x="6558" y="21559"/>
                      <a:pt x="6558" y="16080"/>
                      <a:pt x="8901" y="11437"/>
                    </a:cubicBezTo>
                    <a:cubicBezTo>
                      <a:pt x="10615" y="7913"/>
                      <a:pt x="12806" y="6770"/>
                      <a:pt x="13282" y="7246"/>
                    </a:cubicBezTo>
                    <a:cubicBezTo>
                      <a:pt x="13759" y="7723"/>
                      <a:pt x="12806" y="9533"/>
                      <a:pt x="12139" y="12581"/>
                    </a:cubicBezTo>
                    <a:cubicBezTo>
                      <a:pt x="11343" y="16381"/>
                      <a:pt x="11847" y="20339"/>
                      <a:pt x="13568" y="23820"/>
                    </a:cubicBezTo>
                    <a:cubicBezTo>
                      <a:pt x="15438" y="27206"/>
                      <a:pt x="18490" y="29783"/>
                      <a:pt x="22141" y="31059"/>
                    </a:cubicBezTo>
                    <a:cubicBezTo>
                      <a:pt x="24713" y="32107"/>
                      <a:pt x="26903" y="32202"/>
                      <a:pt x="26998" y="32964"/>
                    </a:cubicBezTo>
                    <a:close/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7" name="Полилиния: фигура 806">
                <a:extLst>
                  <a:ext uri="{FF2B5EF4-FFF2-40B4-BE49-F238E27FC236}">
                    <a16:creationId xmlns:a16="http://schemas.microsoft.com/office/drawing/2014/main" id="{66833998-F3BF-451A-8774-65CB320487E5}"/>
                  </a:ext>
                </a:extLst>
              </p:cNvPr>
              <p:cNvSpPr/>
              <p:nvPr/>
            </p:nvSpPr>
            <p:spPr>
              <a:xfrm>
                <a:off x="815163" y="4210881"/>
                <a:ext cx="304800" cy="304800"/>
              </a:xfrm>
              <a:custGeom>
                <a:avLst/>
                <a:gdLst>
                  <a:gd name="connsiteX0" fmla="*/ 7144 w 304800"/>
                  <a:gd name="connsiteY0" fmla="*/ 12001 h 304800"/>
                  <a:gd name="connsiteX1" fmla="*/ 43815 w 304800"/>
                  <a:gd name="connsiteY1" fmla="*/ 7144 h 304800"/>
                  <a:gd name="connsiteX2" fmla="*/ 262699 w 304800"/>
                  <a:gd name="connsiteY2" fmla="*/ 8192 h 304800"/>
                  <a:gd name="connsiteX3" fmla="*/ 306991 w 304800"/>
                  <a:gd name="connsiteY3" fmla="*/ 260509 h 304800"/>
                  <a:gd name="connsiteX4" fmla="*/ 227743 w 304800"/>
                  <a:gd name="connsiteY4" fmla="*/ 304419 h 304800"/>
                  <a:gd name="connsiteX5" fmla="*/ 43815 w 304800"/>
                  <a:gd name="connsiteY5" fmla="*/ 170497 h 304800"/>
                  <a:gd name="connsiteX6" fmla="*/ 7144 w 304800"/>
                  <a:gd name="connsiteY6" fmla="*/ 12001 h 304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4800" h="304800">
                    <a:moveTo>
                      <a:pt x="7144" y="12001"/>
                    </a:moveTo>
                    <a:lnTo>
                      <a:pt x="43815" y="7144"/>
                    </a:lnTo>
                    <a:lnTo>
                      <a:pt x="262699" y="8192"/>
                    </a:lnTo>
                    <a:lnTo>
                      <a:pt x="306991" y="260509"/>
                    </a:lnTo>
                    <a:lnTo>
                      <a:pt x="227743" y="304419"/>
                    </a:lnTo>
                    <a:lnTo>
                      <a:pt x="43815" y="170497"/>
                    </a:lnTo>
                    <a:lnTo>
                      <a:pt x="7144" y="12001"/>
                    </a:lnTo>
                    <a:close/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8" name="Полилиния: фигура 807">
                <a:extLst>
                  <a:ext uri="{FF2B5EF4-FFF2-40B4-BE49-F238E27FC236}">
                    <a16:creationId xmlns:a16="http://schemas.microsoft.com/office/drawing/2014/main" id="{0524F216-9201-4042-A704-6427560DFB02}"/>
                  </a:ext>
                </a:extLst>
              </p:cNvPr>
              <p:cNvSpPr/>
              <p:nvPr/>
            </p:nvSpPr>
            <p:spPr>
              <a:xfrm>
                <a:off x="609956" y="4210928"/>
                <a:ext cx="695325" cy="533400"/>
              </a:xfrm>
              <a:custGeom>
                <a:avLst/>
                <a:gdLst>
                  <a:gd name="connsiteX0" fmla="*/ 212351 w 695325"/>
                  <a:gd name="connsiteY0" fmla="*/ 11955 h 533400"/>
                  <a:gd name="connsiteX1" fmla="*/ 98051 w 695325"/>
                  <a:gd name="connsiteY1" fmla="*/ 56722 h 533400"/>
                  <a:gd name="connsiteX2" fmla="*/ 9373 w 695325"/>
                  <a:gd name="connsiteY2" fmla="*/ 458963 h 533400"/>
                  <a:gd name="connsiteX3" fmla="*/ 133198 w 695325"/>
                  <a:gd name="connsiteY3" fmla="*/ 481918 h 533400"/>
                  <a:gd name="connsiteX4" fmla="*/ 190348 w 695325"/>
                  <a:gd name="connsiteY4" fmla="*/ 535354 h 533400"/>
                  <a:gd name="connsiteX5" fmla="*/ 560966 w 695325"/>
                  <a:gd name="connsiteY5" fmla="*/ 502873 h 533400"/>
                  <a:gd name="connsiteX6" fmla="*/ 593351 w 695325"/>
                  <a:gd name="connsiteY6" fmla="*/ 401623 h 533400"/>
                  <a:gd name="connsiteX7" fmla="*/ 692697 w 695325"/>
                  <a:gd name="connsiteY7" fmla="*/ 351997 h 533400"/>
                  <a:gd name="connsiteX8" fmla="*/ 593732 w 695325"/>
                  <a:gd name="connsiteY8" fmla="*/ 50055 h 533400"/>
                  <a:gd name="connsiteX9" fmla="*/ 467335 w 695325"/>
                  <a:gd name="connsiteY9" fmla="*/ 8145 h 533400"/>
                  <a:gd name="connsiteX10" fmla="*/ 446190 w 695325"/>
                  <a:gd name="connsiteY10" fmla="*/ 220171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95325" h="533400">
                    <a:moveTo>
                      <a:pt x="212351" y="11955"/>
                    </a:moveTo>
                    <a:cubicBezTo>
                      <a:pt x="212351" y="11955"/>
                      <a:pt x="117101" y="35672"/>
                      <a:pt x="98051" y="56722"/>
                    </a:cubicBezTo>
                    <a:cubicBezTo>
                      <a:pt x="79001" y="77773"/>
                      <a:pt x="-7772" y="422768"/>
                      <a:pt x="9373" y="458963"/>
                    </a:cubicBezTo>
                    <a:cubicBezTo>
                      <a:pt x="26518" y="495158"/>
                      <a:pt x="133198" y="481918"/>
                      <a:pt x="133198" y="481918"/>
                    </a:cubicBezTo>
                    <a:lnTo>
                      <a:pt x="190348" y="535354"/>
                    </a:lnTo>
                    <a:lnTo>
                      <a:pt x="560966" y="502873"/>
                    </a:lnTo>
                    <a:lnTo>
                      <a:pt x="593351" y="401623"/>
                    </a:lnTo>
                    <a:lnTo>
                      <a:pt x="692697" y="351997"/>
                    </a:lnTo>
                    <a:cubicBezTo>
                      <a:pt x="692697" y="351997"/>
                      <a:pt x="649072" y="103585"/>
                      <a:pt x="593732" y="50055"/>
                    </a:cubicBezTo>
                    <a:cubicBezTo>
                      <a:pt x="559769" y="18250"/>
                      <a:pt x="513572" y="2932"/>
                      <a:pt x="467335" y="8145"/>
                    </a:cubicBezTo>
                    <a:lnTo>
                      <a:pt x="446190" y="220171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9" name="Полилиния: фигура 808">
                <a:extLst>
                  <a:ext uri="{FF2B5EF4-FFF2-40B4-BE49-F238E27FC236}">
                    <a16:creationId xmlns:a16="http://schemas.microsoft.com/office/drawing/2014/main" id="{96F1FD66-28AB-4A8E-B511-EE566693DE0F}"/>
                  </a:ext>
                </a:extLst>
              </p:cNvPr>
              <p:cNvSpPr/>
              <p:nvPr/>
            </p:nvSpPr>
            <p:spPr>
              <a:xfrm>
                <a:off x="1155274" y="4364329"/>
                <a:ext cx="95250" cy="257175"/>
              </a:xfrm>
              <a:custGeom>
                <a:avLst/>
                <a:gdLst>
                  <a:gd name="connsiteX0" fmla="*/ 77561 w 95250"/>
                  <a:gd name="connsiteY0" fmla="*/ 258509 h 257175"/>
                  <a:gd name="connsiteX1" fmla="*/ 83752 w 95250"/>
                  <a:gd name="connsiteY1" fmla="*/ 218884 h 257175"/>
                  <a:gd name="connsiteX2" fmla="*/ 84419 w 95250"/>
                  <a:gd name="connsiteY2" fmla="*/ 175736 h 257175"/>
                  <a:gd name="connsiteX3" fmla="*/ 55844 w 95250"/>
                  <a:gd name="connsiteY3" fmla="*/ 74390 h 257175"/>
                  <a:gd name="connsiteX4" fmla="*/ 32984 w 95250"/>
                  <a:gd name="connsiteY4" fmla="*/ 37814 h 257175"/>
                  <a:gd name="connsiteX5" fmla="*/ 7171 w 95250"/>
                  <a:gd name="connsiteY5" fmla="*/ 7144 h 257175"/>
                  <a:gd name="connsiteX6" fmla="*/ 15553 w 95250"/>
                  <a:gd name="connsiteY6" fmla="*/ 14002 h 257175"/>
                  <a:gd name="connsiteX7" fmla="*/ 25078 w 95250"/>
                  <a:gd name="connsiteY7" fmla="*/ 22955 h 257175"/>
                  <a:gd name="connsiteX8" fmla="*/ 36222 w 95250"/>
                  <a:gd name="connsiteY8" fmla="*/ 35624 h 257175"/>
                  <a:gd name="connsiteX9" fmla="*/ 60416 w 95250"/>
                  <a:gd name="connsiteY9" fmla="*/ 72295 h 257175"/>
                  <a:gd name="connsiteX10" fmla="*/ 88991 w 95250"/>
                  <a:gd name="connsiteY10" fmla="*/ 175451 h 257175"/>
                  <a:gd name="connsiteX11" fmla="*/ 87276 w 95250"/>
                  <a:gd name="connsiteY11" fmla="*/ 219361 h 257175"/>
                  <a:gd name="connsiteX12" fmla="*/ 84324 w 95250"/>
                  <a:gd name="connsiteY12" fmla="*/ 235934 h 257175"/>
                  <a:gd name="connsiteX13" fmla="*/ 81180 w 95250"/>
                  <a:gd name="connsiteY13" fmla="*/ 248317 h 257175"/>
                  <a:gd name="connsiteX14" fmla="*/ 77561 w 95250"/>
                  <a:gd name="connsiteY14" fmla="*/ 258509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5250" h="257175">
                    <a:moveTo>
                      <a:pt x="77561" y="258509"/>
                    </a:moveTo>
                    <a:cubicBezTo>
                      <a:pt x="76608" y="258509"/>
                      <a:pt x="81276" y="243459"/>
                      <a:pt x="83752" y="218884"/>
                    </a:cubicBezTo>
                    <a:cubicBezTo>
                      <a:pt x="85201" y="204547"/>
                      <a:pt x="85424" y="190112"/>
                      <a:pt x="84419" y="175736"/>
                    </a:cubicBezTo>
                    <a:cubicBezTo>
                      <a:pt x="81986" y="140345"/>
                      <a:pt x="72257" y="105840"/>
                      <a:pt x="55844" y="74390"/>
                    </a:cubicBezTo>
                    <a:cubicBezTo>
                      <a:pt x="49257" y="61582"/>
                      <a:pt x="41610" y="49348"/>
                      <a:pt x="32984" y="37814"/>
                    </a:cubicBezTo>
                    <a:cubicBezTo>
                      <a:pt x="18125" y="18097"/>
                      <a:pt x="6504" y="7906"/>
                      <a:pt x="7171" y="7144"/>
                    </a:cubicBezTo>
                    <a:cubicBezTo>
                      <a:pt x="10262" y="9040"/>
                      <a:pt x="13082" y="11347"/>
                      <a:pt x="15553" y="14002"/>
                    </a:cubicBezTo>
                    <a:cubicBezTo>
                      <a:pt x="18947" y="16745"/>
                      <a:pt x="22131" y="19737"/>
                      <a:pt x="25078" y="22955"/>
                    </a:cubicBezTo>
                    <a:cubicBezTo>
                      <a:pt x="29037" y="26956"/>
                      <a:pt x="32758" y="31186"/>
                      <a:pt x="36222" y="35624"/>
                    </a:cubicBezTo>
                    <a:cubicBezTo>
                      <a:pt x="45357" y="47106"/>
                      <a:pt x="53454" y="59378"/>
                      <a:pt x="60416" y="72295"/>
                    </a:cubicBezTo>
                    <a:cubicBezTo>
                      <a:pt x="77379" y="104173"/>
                      <a:pt x="87133" y="139388"/>
                      <a:pt x="88991" y="175451"/>
                    </a:cubicBezTo>
                    <a:cubicBezTo>
                      <a:pt x="89793" y="190109"/>
                      <a:pt x="89219" y="204810"/>
                      <a:pt x="87276" y="219361"/>
                    </a:cubicBezTo>
                    <a:cubicBezTo>
                      <a:pt x="86593" y="224935"/>
                      <a:pt x="85608" y="230467"/>
                      <a:pt x="84324" y="235934"/>
                    </a:cubicBezTo>
                    <a:cubicBezTo>
                      <a:pt x="83596" y="240137"/>
                      <a:pt x="82545" y="244276"/>
                      <a:pt x="81180" y="248317"/>
                    </a:cubicBezTo>
                    <a:cubicBezTo>
                      <a:pt x="80430" y="251859"/>
                      <a:pt x="79213" y="255286"/>
                      <a:pt x="77561" y="258509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0" name="Полилиния: фигура 809">
                <a:extLst>
                  <a:ext uri="{FF2B5EF4-FFF2-40B4-BE49-F238E27FC236}">
                    <a16:creationId xmlns:a16="http://schemas.microsoft.com/office/drawing/2014/main" id="{355B05B6-1E8E-48C6-809B-3D750B39214A}"/>
                  </a:ext>
                </a:extLst>
              </p:cNvPr>
              <p:cNvSpPr/>
              <p:nvPr/>
            </p:nvSpPr>
            <p:spPr>
              <a:xfrm>
                <a:off x="1156158" y="4555782"/>
                <a:ext cx="171450" cy="247650"/>
              </a:xfrm>
              <a:custGeom>
                <a:avLst/>
                <a:gdLst>
                  <a:gd name="connsiteX0" fmla="*/ 147066 w 171450"/>
                  <a:gd name="connsiteY0" fmla="*/ 7144 h 247650"/>
                  <a:gd name="connsiteX1" fmla="*/ 170593 w 171450"/>
                  <a:gd name="connsiteY1" fmla="*/ 171450 h 247650"/>
                  <a:gd name="connsiteX2" fmla="*/ 90297 w 171450"/>
                  <a:gd name="connsiteY2" fmla="*/ 232791 h 247650"/>
                  <a:gd name="connsiteX3" fmla="*/ 7144 w 171450"/>
                  <a:gd name="connsiteY3" fmla="*/ 145351 h 247650"/>
                  <a:gd name="connsiteX4" fmla="*/ 47720 w 171450"/>
                  <a:gd name="connsiteY4" fmla="*/ 56769 h 247650"/>
                  <a:gd name="connsiteX5" fmla="*/ 142018 w 171450"/>
                  <a:gd name="connsiteY5" fmla="*/ 9715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1450" h="247650">
                    <a:moveTo>
                      <a:pt x="147066" y="7144"/>
                    </a:moveTo>
                    <a:cubicBezTo>
                      <a:pt x="147066" y="7144"/>
                      <a:pt x="183261" y="122777"/>
                      <a:pt x="170593" y="171450"/>
                    </a:cubicBezTo>
                    <a:cubicBezTo>
                      <a:pt x="157925" y="220123"/>
                      <a:pt x="124301" y="258128"/>
                      <a:pt x="90297" y="232791"/>
                    </a:cubicBezTo>
                    <a:cubicBezTo>
                      <a:pt x="66580" y="215265"/>
                      <a:pt x="7144" y="145351"/>
                      <a:pt x="7144" y="145351"/>
                    </a:cubicBezTo>
                    <a:lnTo>
                      <a:pt x="47720" y="56769"/>
                    </a:lnTo>
                    <a:lnTo>
                      <a:pt x="142018" y="9715"/>
                    </a:lnTo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1" name="Полилиния: фигура 810">
                <a:extLst>
                  <a:ext uri="{FF2B5EF4-FFF2-40B4-BE49-F238E27FC236}">
                    <a16:creationId xmlns:a16="http://schemas.microsoft.com/office/drawing/2014/main" id="{CC0EE111-CE99-49AD-872A-03FF3375083B}"/>
                  </a:ext>
                </a:extLst>
              </p:cNvPr>
              <p:cNvSpPr/>
              <p:nvPr/>
            </p:nvSpPr>
            <p:spPr>
              <a:xfrm>
                <a:off x="703149" y="6020155"/>
                <a:ext cx="285750" cy="390525"/>
              </a:xfrm>
              <a:custGeom>
                <a:avLst/>
                <a:gdLst>
                  <a:gd name="connsiteX0" fmla="*/ 200692 w 285750"/>
                  <a:gd name="connsiteY0" fmla="*/ 7144 h 390525"/>
                  <a:gd name="connsiteX1" fmla="*/ 7144 w 285750"/>
                  <a:gd name="connsiteY1" fmla="*/ 145732 h 390525"/>
                  <a:gd name="connsiteX2" fmla="*/ 178594 w 285750"/>
                  <a:gd name="connsiteY2" fmla="*/ 386905 h 390525"/>
                  <a:gd name="connsiteX3" fmla="*/ 158306 w 285750"/>
                  <a:gd name="connsiteY3" fmla="*/ 211550 h 390525"/>
                  <a:gd name="connsiteX4" fmla="*/ 285845 w 285750"/>
                  <a:gd name="connsiteY4" fmla="*/ 128016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0" h="390525">
                    <a:moveTo>
                      <a:pt x="200692" y="7144"/>
                    </a:moveTo>
                    <a:lnTo>
                      <a:pt x="7144" y="145732"/>
                    </a:lnTo>
                    <a:lnTo>
                      <a:pt x="178594" y="386905"/>
                    </a:lnTo>
                    <a:cubicBezTo>
                      <a:pt x="200596" y="369094"/>
                      <a:pt x="158306" y="211550"/>
                      <a:pt x="158306" y="211550"/>
                    </a:cubicBezTo>
                    <a:lnTo>
                      <a:pt x="285845" y="128016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2" name="Полилиния: фигура 811">
                <a:extLst>
                  <a:ext uri="{FF2B5EF4-FFF2-40B4-BE49-F238E27FC236}">
                    <a16:creationId xmlns:a16="http://schemas.microsoft.com/office/drawing/2014/main" id="{A82E7CDA-CA9F-42B6-A278-044ECDDFFF8F}"/>
                  </a:ext>
                </a:extLst>
              </p:cNvPr>
              <p:cNvSpPr/>
              <p:nvPr/>
            </p:nvSpPr>
            <p:spPr>
              <a:xfrm>
                <a:off x="793219" y="6140048"/>
                <a:ext cx="28575" cy="28575"/>
              </a:xfrm>
              <a:custGeom>
                <a:avLst/>
                <a:gdLst>
                  <a:gd name="connsiteX0" fmla="*/ 25945 w 28575"/>
                  <a:gd name="connsiteY0" fmla="*/ 9647 h 28575"/>
                  <a:gd name="connsiteX1" fmla="*/ 9847 w 28575"/>
                  <a:gd name="connsiteY1" fmla="*/ 10790 h 28575"/>
                  <a:gd name="connsiteX2" fmla="*/ 10895 w 28575"/>
                  <a:gd name="connsiteY2" fmla="*/ 26792 h 28575"/>
                  <a:gd name="connsiteX3" fmla="*/ 27850 w 28575"/>
                  <a:gd name="connsiteY3" fmla="*/ 25459 h 28575"/>
                  <a:gd name="connsiteX4" fmla="*/ 24992 w 28575"/>
                  <a:gd name="connsiteY4" fmla="*/ 898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25945" y="9647"/>
                    </a:moveTo>
                    <a:cubicBezTo>
                      <a:pt x="21058" y="5915"/>
                      <a:pt x="14157" y="6405"/>
                      <a:pt x="9847" y="10790"/>
                    </a:cubicBezTo>
                    <a:cubicBezTo>
                      <a:pt x="5871" y="15549"/>
                      <a:pt x="6332" y="22593"/>
                      <a:pt x="10895" y="26792"/>
                    </a:cubicBezTo>
                    <a:cubicBezTo>
                      <a:pt x="16050" y="30771"/>
                      <a:pt x="23381" y="30194"/>
                      <a:pt x="27850" y="25459"/>
                    </a:cubicBezTo>
                    <a:cubicBezTo>
                      <a:pt x="31511" y="20097"/>
                      <a:pt x="30245" y="12796"/>
                      <a:pt x="24992" y="8980"/>
                    </a:cubicBezTo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3" name="Полилиния: фигура 812">
                <a:extLst>
                  <a:ext uri="{FF2B5EF4-FFF2-40B4-BE49-F238E27FC236}">
                    <a16:creationId xmlns:a16="http://schemas.microsoft.com/office/drawing/2014/main" id="{12682787-065B-4DA1-B3CE-6BB87B889D58}"/>
                  </a:ext>
                </a:extLst>
              </p:cNvPr>
              <p:cNvSpPr/>
              <p:nvPr/>
            </p:nvSpPr>
            <p:spPr>
              <a:xfrm>
                <a:off x="704292" y="6144075"/>
                <a:ext cx="180975" cy="266700"/>
              </a:xfrm>
              <a:custGeom>
                <a:avLst/>
                <a:gdLst>
                  <a:gd name="connsiteX0" fmla="*/ 7144 w 180975"/>
                  <a:gd name="connsiteY0" fmla="*/ 21241 h 266700"/>
                  <a:gd name="connsiteX1" fmla="*/ 26194 w 180975"/>
                  <a:gd name="connsiteY1" fmla="*/ 7144 h 266700"/>
                  <a:gd name="connsiteX2" fmla="*/ 181927 w 180975"/>
                  <a:gd name="connsiteY2" fmla="*/ 245269 h 266700"/>
                  <a:gd name="connsiteX3" fmla="*/ 176308 w 180975"/>
                  <a:gd name="connsiteY3" fmla="*/ 263462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975" h="266700">
                    <a:moveTo>
                      <a:pt x="7144" y="21241"/>
                    </a:moveTo>
                    <a:lnTo>
                      <a:pt x="26194" y="7144"/>
                    </a:lnTo>
                    <a:lnTo>
                      <a:pt x="181927" y="245269"/>
                    </a:lnTo>
                    <a:cubicBezTo>
                      <a:pt x="181927" y="245269"/>
                      <a:pt x="184785" y="259366"/>
                      <a:pt x="176308" y="26346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4" name="Полилиния: фигура 813">
                <a:extLst>
                  <a:ext uri="{FF2B5EF4-FFF2-40B4-BE49-F238E27FC236}">
                    <a16:creationId xmlns:a16="http://schemas.microsoft.com/office/drawing/2014/main" id="{9153E350-976E-4D4D-B2B8-1E70429E172C}"/>
                  </a:ext>
                </a:extLst>
              </p:cNvPr>
              <p:cNvSpPr/>
              <p:nvPr/>
            </p:nvSpPr>
            <p:spPr>
              <a:xfrm>
                <a:off x="829247" y="6213199"/>
                <a:ext cx="38100" cy="28575"/>
              </a:xfrm>
              <a:custGeom>
                <a:avLst/>
                <a:gdLst>
                  <a:gd name="connsiteX0" fmla="*/ 36303 w 38100"/>
                  <a:gd name="connsiteY0" fmla="*/ 21554 h 28575"/>
                  <a:gd name="connsiteX1" fmla="*/ 22492 w 38100"/>
                  <a:gd name="connsiteY1" fmla="*/ 13744 h 28575"/>
                  <a:gd name="connsiteX2" fmla="*/ 7157 w 38100"/>
                  <a:gd name="connsiteY2" fmla="*/ 9648 h 28575"/>
                  <a:gd name="connsiteX3" fmla="*/ 24397 w 38100"/>
                  <a:gd name="connsiteY3" fmla="*/ 9077 h 28575"/>
                  <a:gd name="connsiteX4" fmla="*/ 36303 w 38100"/>
                  <a:gd name="connsiteY4" fmla="*/ 2155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36303" y="21554"/>
                    </a:moveTo>
                    <a:cubicBezTo>
                      <a:pt x="35160" y="22316"/>
                      <a:pt x="30398" y="16792"/>
                      <a:pt x="22492" y="13744"/>
                    </a:cubicBezTo>
                    <a:cubicBezTo>
                      <a:pt x="14586" y="10696"/>
                      <a:pt x="7538" y="10982"/>
                      <a:pt x="7157" y="9648"/>
                    </a:cubicBezTo>
                    <a:cubicBezTo>
                      <a:pt x="6776" y="8315"/>
                      <a:pt x="14967" y="5076"/>
                      <a:pt x="24397" y="9077"/>
                    </a:cubicBezTo>
                    <a:cubicBezTo>
                      <a:pt x="33827" y="13077"/>
                      <a:pt x="37637" y="20697"/>
                      <a:pt x="36303" y="2155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5" name="Полилиния: фигура 814">
                <a:extLst>
                  <a:ext uri="{FF2B5EF4-FFF2-40B4-BE49-F238E27FC236}">
                    <a16:creationId xmlns:a16="http://schemas.microsoft.com/office/drawing/2014/main" id="{C4366E67-E0EA-4256-BD7C-4849FBB9BA23}"/>
                  </a:ext>
                </a:extLst>
              </p:cNvPr>
              <p:cNvSpPr/>
              <p:nvPr/>
            </p:nvSpPr>
            <p:spPr>
              <a:xfrm>
                <a:off x="836816" y="6252113"/>
                <a:ext cx="38100" cy="19050"/>
              </a:xfrm>
              <a:custGeom>
                <a:avLst/>
                <a:gdLst>
                  <a:gd name="connsiteX0" fmla="*/ 36259 w 38100"/>
                  <a:gd name="connsiteY0" fmla="*/ 15311 h 19050"/>
                  <a:gd name="connsiteX1" fmla="*/ 21876 w 38100"/>
                  <a:gd name="connsiteY1" fmla="*/ 12263 h 19050"/>
                  <a:gd name="connsiteX2" fmla="*/ 7208 w 38100"/>
                  <a:gd name="connsiteY2" fmla="*/ 13215 h 19050"/>
                  <a:gd name="connsiteX3" fmla="*/ 22257 w 38100"/>
                  <a:gd name="connsiteY3" fmla="*/ 7215 h 19050"/>
                  <a:gd name="connsiteX4" fmla="*/ 36259 w 38100"/>
                  <a:gd name="connsiteY4" fmla="*/ 1531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36259" y="15311"/>
                    </a:moveTo>
                    <a:cubicBezTo>
                      <a:pt x="35307" y="16358"/>
                      <a:pt x="29687" y="12739"/>
                      <a:pt x="21876" y="12263"/>
                    </a:cubicBezTo>
                    <a:cubicBezTo>
                      <a:pt x="14066" y="11786"/>
                      <a:pt x="7970" y="14358"/>
                      <a:pt x="7208" y="13215"/>
                    </a:cubicBezTo>
                    <a:cubicBezTo>
                      <a:pt x="6446" y="12072"/>
                      <a:pt x="12542" y="6452"/>
                      <a:pt x="22257" y="7215"/>
                    </a:cubicBezTo>
                    <a:cubicBezTo>
                      <a:pt x="31973" y="7976"/>
                      <a:pt x="37402" y="14549"/>
                      <a:pt x="36259" y="15311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6" name="Полилиния: фигура 815">
                <a:extLst>
                  <a:ext uri="{FF2B5EF4-FFF2-40B4-BE49-F238E27FC236}">
                    <a16:creationId xmlns:a16="http://schemas.microsoft.com/office/drawing/2014/main" id="{FF747638-2B2B-4695-ABC6-DC9BD1AD06EF}"/>
                  </a:ext>
                </a:extLst>
              </p:cNvPr>
              <p:cNvSpPr/>
              <p:nvPr/>
            </p:nvSpPr>
            <p:spPr>
              <a:xfrm>
                <a:off x="845902" y="6287535"/>
                <a:ext cx="38100" cy="19050"/>
              </a:xfrm>
              <a:custGeom>
                <a:avLst/>
                <a:gdLst>
                  <a:gd name="connsiteX0" fmla="*/ 7266 w 38100"/>
                  <a:gd name="connsiteY0" fmla="*/ 15799 h 19050"/>
                  <a:gd name="connsiteX1" fmla="*/ 19553 w 38100"/>
                  <a:gd name="connsiteY1" fmla="*/ 7512 h 19050"/>
                  <a:gd name="connsiteX2" fmla="*/ 34031 w 38100"/>
                  <a:gd name="connsiteY2" fmla="*/ 10846 h 19050"/>
                  <a:gd name="connsiteX3" fmla="*/ 20506 w 38100"/>
                  <a:gd name="connsiteY3" fmla="*/ 12465 h 19050"/>
                  <a:gd name="connsiteX4" fmla="*/ 7266 w 38100"/>
                  <a:gd name="connsiteY4" fmla="*/ 15799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7266" y="15799"/>
                    </a:moveTo>
                    <a:cubicBezTo>
                      <a:pt x="6313" y="14846"/>
                      <a:pt x="10981" y="9036"/>
                      <a:pt x="19553" y="7512"/>
                    </a:cubicBezTo>
                    <a:cubicBezTo>
                      <a:pt x="28126" y="5988"/>
                      <a:pt x="34698" y="9608"/>
                      <a:pt x="34031" y="10846"/>
                    </a:cubicBezTo>
                    <a:cubicBezTo>
                      <a:pt x="33364" y="12084"/>
                      <a:pt x="27554" y="10846"/>
                      <a:pt x="20506" y="12465"/>
                    </a:cubicBezTo>
                    <a:cubicBezTo>
                      <a:pt x="13457" y="14084"/>
                      <a:pt x="8028" y="16846"/>
                      <a:pt x="7266" y="15799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7" name="Полилиния: фигура 816">
                <a:extLst>
                  <a:ext uri="{FF2B5EF4-FFF2-40B4-BE49-F238E27FC236}">
                    <a16:creationId xmlns:a16="http://schemas.microsoft.com/office/drawing/2014/main" id="{F0391E63-1CC5-492C-9CD5-7FD70A3C82A6}"/>
                  </a:ext>
                </a:extLst>
              </p:cNvPr>
              <p:cNvSpPr/>
              <p:nvPr/>
            </p:nvSpPr>
            <p:spPr>
              <a:xfrm>
                <a:off x="866178" y="6180934"/>
                <a:ext cx="28575" cy="38100"/>
              </a:xfrm>
              <a:custGeom>
                <a:avLst/>
                <a:gdLst>
                  <a:gd name="connsiteX0" fmla="*/ 26328 w 28575"/>
                  <a:gd name="connsiteY0" fmla="*/ 31531 h 38100"/>
                  <a:gd name="connsiteX1" fmla="*/ 17565 w 28575"/>
                  <a:gd name="connsiteY1" fmla="*/ 18863 h 38100"/>
                  <a:gd name="connsiteX2" fmla="*/ 7183 w 28575"/>
                  <a:gd name="connsiteY2" fmla="*/ 7528 h 38100"/>
                  <a:gd name="connsiteX3" fmla="*/ 21470 w 28575"/>
                  <a:gd name="connsiteY3" fmla="*/ 15719 h 38100"/>
                  <a:gd name="connsiteX4" fmla="*/ 26328 w 28575"/>
                  <a:gd name="connsiteY4" fmla="*/ 3153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38100">
                    <a:moveTo>
                      <a:pt x="26328" y="31531"/>
                    </a:moveTo>
                    <a:cubicBezTo>
                      <a:pt x="24899" y="31531"/>
                      <a:pt x="22709" y="25244"/>
                      <a:pt x="17565" y="18863"/>
                    </a:cubicBezTo>
                    <a:cubicBezTo>
                      <a:pt x="12422" y="12481"/>
                      <a:pt x="6611" y="8861"/>
                      <a:pt x="7183" y="7528"/>
                    </a:cubicBezTo>
                    <a:cubicBezTo>
                      <a:pt x="7754" y="6194"/>
                      <a:pt x="15470" y="8194"/>
                      <a:pt x="21470" y="15719"/>
                    </a:cubicBezTo>
                    <a:cubicBezTo>
                      <a:pt x="27471" y="23244"/>
                      <a:pt x="27661" y="31435"/>
                      <a:pt x="26328" y="31531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8" name="Полилиния: фигура 817">
                <a:extLst>
                  <a:ext uri="{FF2B5EF4-FFF2-40B4-BE49-F238E27FC236}">
                    <a16:creationId xmlns:a16="http://schemas.microsoft.com/office/drawing/2014/main" id="{E76282F0-B0A0-454F-9FDA-05568769F3D3}"/>
                  </a:ext>
                </a:extLst>
              </p:cNvPr>
              <p:cNvSpPr/>
              <p:nvPr/>
            </p:nvSpPr>
            <p:spPr>
              <a:xfrm>
                <a:off x="894838" y="6131407"/>
                <a:ext cx="28575" cy="57150"/>
              </a:xfrm>
              <a:custGeom>
                <a:avLst/>
                <a:gdLst>
                  <a:gd name="connsiteX0" fmla="*/ 22243 w 28575"/>
                  <a:gd name="connsiteY0" fmla="*/ 54864 h 57150"/>
                  <a:gd name="connsiteX1" fmla="*/ 13670 w 28575"/>
                  <a:gd name="connsiteY1" fmla="*/ 42767 h 57150"/>
                  <a:gd name="connsiteX2" fmla="*/ 8622 w 28575"/>
                  <a:gd name="connsiteY2" fmla="*/ 27337 h 57150"/>
                  <a:gd name="connsiteX3" fmla="*/ 7384 w 28575"/>
                  <a:gd name="connsiteY3" fmla="*/ 17812 h 57150"/>
                  <a:gd name="connsiteX4" fmla="*/ 7384 w 28575"/>
                  <a:gd name="connsiteY4" fmla="*/ 12192 h 57150"/>
                  <a:gd name="connsiteX5" fmla="*/ 13194 w 28575"/>
                  <a:gd name="connsiteY5" fmla="*/ 7144 h 57150"/>
                  <a:gd name="connsiteX6" fmla="*/ 19576 w 28575"/>
                  <a:gd name="connsiteY6" fmla="*/ 10382 h 57150"/>
                  <a:gd name="connsiteX7" fmla="*/ 22147 w 28575"/>
                  <a:gd name="connsiteY7" fmla="*/ 15431 h 57150"/>
                  <a:gd name="connsiteX8" fmla="*/ 24910 w 28575"/>
                  <a:gd name="connsiteY8" fmla="*/ 24956 h 57150"/>
                  <a:gd name="connsiteX9" fmla="*/ 25481 w 28575"/>
                  <a:gd name="connsiteY9" fmla="*/ 41243 h 57150"/>
                  <a:gd name="connsiteX10" fmla="*/ 20719 w 28575"/>
                  <a:gd name="connsiteY10" fmla="*/ 55340 h 57150"/>
                  <a:gd name="connsiteX11" fmla="*/ 21957 w 28575"/>
                  <a:gd name="connsiteY11" fmla="*/ 40958 h 57150"/>
                  <a:gd name="connsiteX12" fmla="*/ 17575 w 28575"/>
                  <a:gd name="connsiteY12" fmla="*/ 17431 h 57150"/>
                  <a:gd name="connsiteX13" fmla="*/ 13384 w 28575"/>
                  <a:gd name="connsiteY13" fmla="*/ 12383 h 57150"/>
                  <a:gd name="connsiteX14" fmla="*/ 12146 w 28575"/>
                  <a:gd name="connsiteY14" fmla="*/ 13621 h 57150"/>
                  <a:gd name="connsiteX15" fmla="*/ 12146 w 28575"/>
                  <a:gd name="connsiteY15" fmla="*/ 17717 h 57150"/>
                  <a:gd name="connsiteX16" fmla="*/ 13003 w 28575"/>
                  <a:gd name="connsiteY16" fmla="*/ 27242 h 57150"/>
                  <a:gd name="connsiteX17" fmla="*/ 16813 w 28575"/>
                  <a:gd name="connsiteY17" fmla="*/ 42100 h 57150"/>
                  <a:gd name="connsiteX18" fmla="*/ 22243 w 28575"/>
                  <a:gd name="connsiteY18" fmla="*/ 54864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575" h="57150">
                    <a:moveTo>
                      <a:pt x="22243" y="54864"/>
                    </a:moveTo>
                    <a:cubicBezTo>
                      <a:pt x="22243" y="54864"/>
                      <a:pt x="17671" y="51054"/>
                      <a:pt x="13670" y="42767"/>
                    </a:cubicBezTo>
                    <a:cubicBezTo>
                      <a:pt x="11379" y="37843"/>
                      <a:pt x="9684" y="32663"/>
                      <a:pt x="8622" y="27337"/>
                    </a:cubicBezTo>
                    <a:cubicBezTo>
                      <a:pt x="7998" y="24193"/>
                      <a:pt x="7584" y="21011"/>
                      <a:pt x="7384" y="17812"/>
                    </a:cubicBezTo>
                    <a:cubicBezTo>
                      <a:pt x="7064" y="15952"/>
                      <a:pt x="7064" y="14052"/>
                      <a:pt x="7384" y="12192"/>
                    </a:cubicBezTo>
                    <a:cubicBezTo>
                      <a:pt x="7944" y="9382"/>
                      <a:pt x="10333" y="7306"/>
                      <a:pt x="13194" y="7144"/>
                    </a:cubicBezTo>
                    <a:cubicBezTo>
                      <a:pt x="15720" y="7128"/>
                      <a:pt x="18097" y="8335"/>
                      <a:pt x="19576" y="10382"/>
                    </a:cubicBezTo>
                    <a:cubicBezTo>
                      <a:pt x="20693" y="11920"/>
                      <a:pt x="21560" y="13623"/>
                      <a:pt x="22147" y="15431"/>
                    </a:cubicBezTo>
                    <a:cubicBezTo>
                      <a:pt x="23371" y="18510"/>
                      <a:pt x="24296" y="21699"/>
                      <a:pt x="24910" y="24956"/>
                    </a:cubicBezTo>
                    <a:cubicBezTo>
                      <a:pt x="25933" y="30324"/>
                      <a:pt x="26126" y="35817"/>
                      <a:pt x="25481" y="41243"/>
                    </a:cubicBezTo>
                    <a:cubicBezTo>
                      <a:pt x="25414" y="46326"/>
                      <a:pt x="23748" y="51258"/>
                      <a:pt x="20719" y="55340"/>
                    </a:cubicBezTo>
                    <a:cubicBezTo>
                      <a:pt x="19957" y="55340"/>
                      <a:pt x="21766" y="49720"/>
                      <a:pt x="21957" y="40958"/>
                    </a:cubicBezTo>
                    <a:cubicBezTo>
                      <a:pt x="22281" y="32886"/>
                      <a:pt x="20783" y="24845"/>
                      <a:pt x="17575" y="17431"/>
                    </a:cubicBezTo>
                    <a:cubicBezTo>
                      <a:pt x="16432" y="14383"/>
                      <a:pt x="14908" y="12192"/>
                      <a:pt x="13384" y="12383"/>
                    </a:cubicBezTo>
                    <a:cubicBezTo>
                      <a:pt x="11860" y="12573"/>
                      <a:pt x="12527" y="12383"/>
                      <a:pt x="12146" y="13621"/>
                    </a:cubicBezTo>
                    <a:cubicBezTo>
                      <a:pt x="11949" y="14979"/>
                      <a:pt x="11949" y="16358"/>
                      <a:pt x="12146" y="17717"/>
                    </a:cubicBezTo>
                    <a:cubicBezTo>
                      <a:pt x="12207" y="20908"/>
                      <a:pt x="12494" y="24091"/>
                      <a:pt x="13003" y="27242"/>
                    </a:cubicBezTo>
                    <a:cubicBezTo>
                      <a:pt x="13784" y="32307"/>
                      <a:pt x="15060" y="37284"/>
                      <a:pt x="16813" y="42100"/>
                    </a:cubicBezTo>
                    <a:cubicBezTo>
                      <a:pt x="18858" y="46251"/>
                      <a:pt x="20671" y="50512"/>
                      <a:pt x="22243" y="5486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9" name="Полилиния: фигура 818">
                <a:extLst>
                  <a:ext uri="{FF2B5EF4-FFF2-40B4-BE49-F238E27FC236}">
                    <a16:creationId xmlns:a16="http://schemas.microsoft.com/office/drawing/2014/main" id="{EA71685B-40E0-42D1-8198-0A13F6F7C62A}"/>
                  </a:ext>
                </a:extLst>
              </p:cNvPr>
              <p:cNvSpPr/>
              <p:nvPr/>
            </p:nvSpPr>
            <p:spPr>
              <a:xfrm>
                <a:off x="907080" y="6157739"/>
                <a:ext cx="57150" cy="38100"/>
              </a:xfrm>
              <a:custGeom>
                <a:avLst/>
                <a:gdLst>
                  <a:gd name="connsiteX0" fmla="*/ 7144 w 57150"/>
                  <a:gd name="connsiteY0" fmla="*/ 28532 h 38100"/>
                  <a:gd name="connsiteX1" fmla="*/ 16669 w 57150"/>
                  <a:gd name="connsiteY1" fmla="*/ 17007 h 38100"/>
                  <a:gd name="connsiteX2" fmla="*/ 40577 w 57150"/>
                  <a:gd name="connsiteY2" fmla="*/ 7482 h 38100"/>
                  <a:gd name="connsiteX3" fmla="*/ 52197 w 57150"/>
                  <a:gd name="connsiteY3" fmla="*/ 10815 h 38100"/>
                  <a:gd name="connsiteX4" fmla="*/ 52197 w 57150"/>
                  <a:gd name="connsiteY4" fmla="*/ 18245 h 38100"/>
                  <a:gd name="connsiteX5" fmla="*/ 48673 w 57150"/>
                  <a:gd name="connsiteY5" fmla="*/ 22626 h 38100"/>
                  <a:gd name="connsiteX6" fmla="*/ 40481 w 57150"/>
                  <a:gd name="connsiteY6" fmla="*/ 28436 h 38100"/>
                  <a:gd name="connsiteX7" fmla="*/ 24384 w 57150"/>
                  <a:gd name="connsiteY7" fmla="*/ 32151 h 38100"/>
                  <a:gd name="connsiteX8" fmla="*/ 10192 w 57150"/>
                  <a:gd name="connsiteY8" fmla="*/ 27579 h 38100"/>
                  <a:gd name="connsiteX9" fmla="*/ 24289 w 57150"/>
                  <a:gd name="connsiteY9" fmla="*/ 28532 h 38100"/>
                  <a:gd name="connsiteX10" fmla="*/ 38290 w 57150"/>
                  <a:gd name="connsiteY10" fmla="*/ 24341 h 38100"/>
                  <a:gd name="connsiteX11" fmla="*/ 45148 w 57150"/>
                  <a:gd name="connsiteY11" fmla="*/ 19197 h 38100"/>
                  <a:gd name="connsiteX12" fmla="*/ 47911 w 57150"/>
                  <a:gd name="connsiteY12" fmla="*/ 13768 h 38100"/>
                  <a:gd name="connsiteX13" fmla="*/ 40957 w 57150"/>
                  <a:gd name="connsiteY13" fmla="*/ 12339 h 38100"/>
                  <a:gd name="connsiteX14" fmla="*/ 32290 w 57150"/>
                  <a:gd name="connsiteY14" fmla="*/ 13959 h 38100"/>
                  <a:gd name="connsiteX15" fmla="*/ 18574 w 57150"/>
                  <a:gd name="connsiteY15" fmla="*/ 20245 h 38100"/>
                  <a:gd name="connsiteX16" fmla="*/ 7144 w 57150"/>
                  <a:gd name="connsiteY16" fmla="*/ 28532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7150" h="38100">
                    <a:moveTo>
                      <a:pt x="7144" y="28532"/>
                    </a:moveTo>
                    <a:cubicBezTo>
                      <a:pt x="7144" y="28532"/>
                      <a:pt x="9239" y="22912"/>
                      <a:pt x="16669" y="17007"/>
                    </a:cubicBezTo>
                    <a:cubicBezTo>
                      <a:pt x="23613" y="11698"/>
                      <a:pt x="31884" y="8402"/>
                      <a:pt x="40577" y="7482"/>
                    </a:cubicBezTo>
                    <a:cubicBezTo>
                      <a:pt x="44767" y="6479"/>
                      <a:pt x="49176" y="7743"/>
                      <a:pt x="52197" y="10815"/>
                    </a:cubicBezTo>
                    <a:cubicBezTo>
                      <a:pt x="53631" y="13084"/>
                      <a:pt x="53631" y="15976"/>
                      <a:pt x="52197" y="18245"/>
                    </a:cubicBezTo>
                    <a:cubicBezTo>
                      <a:pt x="51245" y="19871"/>
                      <a:pt x="50058" y="21348"/>
                      <a:pt x="48673" y="22626"/>
                    </a:cubicBezTo>
                    <a:cubicBezTo>
                      <a:pt x="46253" y="24968"/>
                      <a:pt x="43491" y="26927"/>
                      <a:pt x="40481" y="28436"/>
                    </a:cubicBezTo>
                    <a:cubicBezTo>
                      <a:pt x="35496" y="30961"/>
                      <a:pt x="29972" y="32236"/>
                      <a:pt x="24384" y="32151"/>
                    </a:cubicBezTo>
                    <a:cubicBezTo>
                      <a:pt x="19229" y="32619"/>
                      <a:pt x="14105" y="30968"/>
                      <a:pt x="10192" y="27579"/>
                    </a:cubicBezTo>
                    <a:cubicBezTo>
                      <a:pt x="10192" y="26722"/>
                      <a:pt x="15716" y="29199"/>
                      <a:pt x="24289" y="28532"/>
                    </a:cubicBezTo>
                    <a:cubicBezTo>
                      <a:pt x="29205" y="28169"/>
                      <a:pt x="33983" y="26739"/>
                      <a:pt x="38290" y="24341"/>
                    </a:cubicBezTo>
                    <a:cubicBezTo>
                      <a:pt x="40816" y="22971"/>
                      <a:pt x="43127" y="21238"/>
                      <a:pt x="45148" y="19197"/>
                    </a:cubicBezTo>
                    <a:cubicBezTo>
                      <a:pt x="47434" y="17007"/>
                      <a:pt x="48863" y="14530"/>
                      <a:pt x="47911" y="13768"/>
                    </a:cubicBezTo>
                    <a:cubicBezTo>
                      <a:pt x="45919" y="12286"/>
                      <a:pt x="43372" y="11762"/>
                      <a:pt x="40957" y="12339"/>
                    </a:cubicBezTo>
                    <a:cubicBezTo>
                      <a:pt x="38025" y="12613"/>
                      <a:pt x="35123" y="13155"/>
                      <a:pt x="32290" y="13959"/>
                    </a:cubicBezTo>
                    <a:cubicBezTo>
                      <a:pt x="27439" y="15383"/>
                      <a:pt x="22819" y="17500"/>
                      <a:pt x="18574" y="20245"/>
                    </a:cubicBezTo>
                    <a:cubicBezTo>
                      <a:pt x="11335" y="24436"/>
                      <a:pt x="7810" y="28532"/>
                      <a:pt x="7144" y="2853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0" name="Полилиния: фигура 819">
                <a:extLst>
                  <a:ext uri="{FF2B5EF4-FFF2-40B4-BE49-F238E27FC236}">
                    <a16:creationId xmlns:a16="http://schemas.microsoft.com/office/drawing/2014/main" id="{5B34D86D-4C38-4225-8FA2-EABC3C59AC34}"/>
                  </a:ext>
                </a:extLst>
              </p:cNvPr>
              <p:cNvSpPr/>
              <p:nvPr/>
            </p:nvSpPr>
            <p:spPr>
              <a:xfrm>
                <a:off x="808401" y="6160268"/>
                <a:ext cx="304800" cy="247650"/>
              </a:xfrm>
              <a:custGeom>
                <a:avLst/>
                <a:gdLst>
                  <a:gd name="connsiteX0" fmla="*/ 7144 w 304800"/>
                  <a:gd name="connsiteY0" fmla="*/ 7525 h 247650"/>
                  <a:gd name="connsiteX1" fmla="*/ 9334 w 304800"/>
                  <a:gd name="connsiteY1" fmla="*/ 245078 h 247650"/>
                  <a:gd name="connsiteX2" fmla="*/ 305086 w 304800"/>
                  <a:gd name="connsiteY2" fmla="*/ 243840 h 247650"/>
                  <a:gd name="connsiteX3" fmla="*/ 150019 w 304800"/>
                  <a:gd name="connsiteY3" fmla="*/ 159544 h 247650"/>
                  <a:gd name="connsiteX4" fmla="*/ 154876 w 304800"/>
                  <a:gd name="connsiteY4" fmla="*/ 7144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4800" h="247650">
                    <a:moveTo>
                      <a:pt x="7144" y="7525"/>
                    </a:moveTo>
                    <a:lnTo>
                      <a:pt x="9334" y="245078"/>
                    </a:lnTo>
                    <a:lnTo>
                      <a:pt x="305086" y="243840"/>
                    </a:lnTo>
                    <a:cubicBezTo>
                      <a:pt x="303276" y="215265"/>
                      <a:pt x="150019" y="159544"/>
                      <a:pt x="150019" y="159544"/>
                    </a:cubicBezTo>
                    <a:lnTo>
                      <a:pt x="154876" y="7144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1" name="Полилиния: фигура 820">
                <a:extLst>
                  <a:ext uri="{FF2B5EF4-FFF2-40B4-BE49-F238E27FC236}">
                    <a16:creationId xmlns:a16="http://schemas.microsoft.com/office/drawing/2014/main" id="{25F879F9-CEAE-48E9-BF09-C8CCFCFDF3A2}"/>
                  </a:ext>
                </a:extLst>
              </p:cNvPr>
              <p:cNvSpPr/>
              <p:nvPr/>
            </p:nvSpPr>
            <p:spPr>
              <a:xfrm>
                <a:off x="851239" y="6300035"/>
                <a:ext cx="28575" cy="28575"/>
              </a:xfrm>
              <a:custGeom>
                <a:avLst/>
                <a:gdLst>
                  <a:gd name="connsiteX0" fmla="*/ 15645 w 28575"/>
                  <a:gd name="connsiteY0" fmla="*/ 7394 h 28575"/>
                  <a:gd name="connsiteX1" fmla="*/ 7359 w 28575"/>
                  <a:gd name="connsiteY1" fmla="*/ 21205 h 28575"/>
                  <a:gd name="connsiteX2" fmla="*/ 20979 w 28575"/>
                  <a:gd name="connsiteY2" fmla="*/ 29587 h 28575"/>
                  <a:gd name="connsiteX3" fmla="*/ 29742 w 28575"/>
                  <a:gd name="connsiteY3" fmla="*/ 14918 h 28575"/>
                  <a:gd name="connsiteX4" fmla="*/ 14598 w 28575"/>
                  <a:gd name="connsiteY4" fmla="*/ 77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15645" y="7394"/>
                    </a:moveTo>
                    <a:cubicBezTo>
                      <a:pt x="9774" y="9222"/>
                      <a:pt x="6209" y="15164"/>
                      <a:pt x="7359" y="21205"/>
                    </a:cubicBezTo>
                    <a:cubicBezTo>
                      <a:pt x="8948" y="27176"/>
                      <a:pt x="14933" y="30858"/>
                      <a:pt x="20979" y="29587"/>
                    </a:cubicBezTo>
                    <a:cubicBezTo>
                      <a:pt x="27254" y="27700"/>
                      <a:pt x="31055" y="21338"/>
                      <a:pt x="29742" y="14918"/>
                    </a:cubicBezTo>
                    <a:cubicBezTo>
                      <a:pt x="27424" y="8863"/>
                      <a:pt x="20745" y="5713"/>
                      <a:pt x="14598" y="7775"/>
                    </a:cubicBezTo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2" name="Полилиния: фигура 821">
                <a:extLst>
                  <a:ext uri="{FF2B5EF4-FFF2-40B4-BE49-F238E27FC236}">
                    <a16:creationId xmlns:a16="http://schemas.microsoft.com/office/drawing/2014/main" id="{FFDFD0F0-29A1-4A9D-9D69-47B48FF3A4D8}"/>
                  </a:ext>
                </a:extLst>
              </p:cNvPr>
              <p:cNvSpPr/>
              <p:nvPr/>
            </p:nvSpPr>
            <p:spPr>
              <a:xfrm>
                <a:off x="810591" y="6373342"/>
                <a:ext cx="304800" cy="38100"/>
              </a:xfrm>
              <a:custGeom>
                <a:avLst/>
                <a:gdLst>
                  <a:gd name="connsiteX0" fmla="*/ 7144 w 304800"/>
                  <a:gd name="connsiteY0" fmla="*/ 31147 h 38100"/>
                  <a:gd name="connsiteX1" fmla="*/ 7144 w 304800"/>
                  <a:gd name="connsiteY1" fmla="*/ 7144 h 38100"/>
                  <a:gd name="connsiteX2" fmla="*/ 291465 w 304800"/>
                  <a:gd name="connsiteY2" fmla="*/ 16669 h 38100"/>
                  <a:gd name="connsiteX3" fmla="*/ 303181 w 304800"/>
                  <a:gd name="connsiteY3" fmla="*/ 3171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800" h="38100">
                    <a:moveTo>
                      <a:pt x="7144" y="31147"/>
                    </a:moveTo>
                    <a:lnTo>
                      <a:pt x="7144" y="7144"/>
                    </a:lnTo>
                    <a:lnTo>
                      <a:pt x="291465" y="16669"/>
                    </a:lnTo>
                    <a:cubicBezTo>
                      <a:pt x="291465" y="16669"/>
                      <a:pt x="304705" y="22479"/>
                      <a:pt x="303181" y="31718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3" name="Полилиния: фигура 822">
                <a:extLst>
                  <a:ext uri="{FF2B5EF4-FFF2-40B4-BE49-F238E27FC236}">
                    <a16:creationId xmlns:a16="http://schemas.microsoft.com/office/drawing/2014/main" id="{236E3BAF-312F-48DC-9039-7E47A7400D14}"/>
                  </a:ext>
                </a:extLst>
              </p:cNvPr>
              <p:cNvSpPr/>
              <p:nvPr/>
            </p:nvSpPr>
            <p:spPr>
              <a:xfrm>
                <a:off x="929191" y="6309940"/>
                <a:ext cx="38100" cy="28575"/>
              </a:xfrm>
              <a:custGeom>
                <a:avLst/>
                <a:gdLst>
                  <a:gd name="connsiteX0" fmla="*/ 33991 w 38100"/>
                  <a:gd name="connsiteY0" fmla="*/ 8442 h 28575"/>
                  <a:gd name="connsiteX1" fmla="*/ 19704 w 38100"/>
                  <a:gd name="connsiteY1" fmla="*/ 15205 h 28575"/>
                  <a:gd name="connsiteX2" fmla="*/ 7512 w 38100"/>
                  <a:gd name="connsiteY2" fmla="*/ 25397 h 28575"/>
                  <a:gd name="connsiteX3" fmla="*/ 17037 w 38100"/>
                  <a:gd name="connsiteY3" fmla="*/ 11014 h 28575"/>
                  <a:gd name="connsiteX4" fmla="*/ 33991 w 38100"/>
                  <a:gd name="connsiteY4" fmla="*/ 844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33991" y="8442"/>
                    </a:moveTo>
                    <a:cubicBezTo>
                      <a:pt x="33991" y="9871"/>
                      <a:pt x="26752" y="10538"/>
                      <a:pt x="19704" y="15205"/>
                    </a:cubicBezTo>
                    <a:cubicBezTo>
                      <a:pt x="12655" y="19872"/>
                      <a:pt x="8845" y="25968"/>
                      <a:pt x="7512" y="25397"/>
                    </a:cubicBezTo>
                    <a:cubicBezTo>
                      <a:pt x="6178" y="24825"/>
                      <a:pt x="8274" y="16539"/>
                      <a:pt x="17037" y="11014"/>
                    </a:cubicBezTo>
                    <a:cubicBezTo>
                      <a:pt x="25800" y="5490"/>
                      <a:pt x="34277" y="7109"/>
                      <a:pt x="33991" y="844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4" name="Полилиния: фигура 823">
                <a:extLst>
                  <a:ext uri="{FF2B5EF4-FFF2-40B4-BE49-F238E27FC236}">
                    <a16:creationId xmlns:a16="http://schemas.microsoft.com/office/drawing/2014/main" id="{FA40A361-8BA0-4A2B-8300-535AECAB9628}"/>
                  </a:ext>
                </a:extLst>
              </p:cNvPr>
              <p:cNvSpPr/>
              <p:nvPr/>
            </p:nvSpPr>
            <p:spPr>
              <a:xfrm>
                <a:off x="967552" y="6323372"/>
                <a:ext cx="28575" cy="28575"/>
              </a:xfrm>
              <a:custGeom>
                <a:avLst/>
                <a:gdLst>
                  <a:gd name="connsiteX0" fmla="*/ 26681 w 28575"/>
                  <a:gd name="connsiteY0" fmla="*/ 7680 h 28575"/>
                  <a:gd name="connsiteX1" fmla="*/ 15918 w 28575"/>
                  <a:gd name="connsiteY1" fmla="*/ 17681 h 28575"/>
                  <a:gd name="connsiteX2" fmla="*/ 8203 w 28575"/>
                  <a:gd name="connsiteY2" fmla="*/ 30254 h 28575"/>
                  <a:gd name="connsiteX3" fmla="*/ 12013 w 28575"/>
                  <a:gd name="connsiteY3" fmla="*/ 14538 h 28575"/>
                  <a:gd name="connsiteX4" fmla="*/ 26681 w 28575"/>
                  <a:gd name="connsiteY4" fmla="*/ 768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26681" y="7680"/>
                    </a:moveTo>
                    <a:cubicBezTo>
                      <a:pt x="26681" y="9108"/>
                      <a:pt x="20776" y="11585"/>
                      <a:pt x="15918" y="17681"/>
                    </a:cubicBezTo>
                    <a:cubicBezTo>
                      <a:pt x="11060" y="23777"/>
                      <a:pt x="9632" y="30254"/>
                      <a:pt x="8203" y="30254"/>
                    </a:cubicBezTo>
                    <a:cubicBezTo>
                      <a:pt x="6774" y="30254"/>
                      <a:pt x="5822" y="21967"/>
                      <a:pt x="12013" y="14538"/>
                    </a:cubicBezTo>
                    <a:cubicBezTo>
                      <a:pt x="18204" y="7108"/>
                      <a:pt x="26681" y="6346"/>
                      <a:pt x="26681" y="7680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5" name="Полилиния: фигура 824">
                <a:extLst>
                  <a:ext uri="{FF2B5EF4-FFF2-40B4-BE49-F238E27FC236}">
                    <a16:creationId xmlns:a16="http://schemas.microsoft.com/office/drawing/2014/main" id="{E0FF911B-6523-4EFD-9104-10EEEB0F1C43}"/>
                  </a:ext>
                </a:extLst>
              </p:cNvPr>
              <p:cNvSpPr/>
              <p:nvPr/>
            </p:nvSpPr>
            <p:spPr>
              <a:xfrm>
                <a:off x="1003077" y="6336196"/>
                <a:ext cx="19050" cy="38100"/>
              </a:xfrm>
              <a:custGeom>
                <a:avLst/>
                <a:gdLst>
                  <a:gd name="connsiteX0" fmla="*/ 8968 w 19050"/>
                  <a:gd name="connsiteY0" fmla="*/ 31907 h 38100"/>
                  <a:gd name="connsiteX1" fmla="*/ 8968 w 19050"/>
                  <a:gd name="connsiteY1" fmla="*/ 17048 h 38100"/>
                  <a:gd name="connsiteX2" fmla="*/ 20017 w 19050"/>
                  <a:gd name="connsiteY2" fmla="*/ 7523 h 38100"/>
                  <a:gd name="connsiteX3" fmla="*/ 13540 w 19050"/>
                  <a:gd name="connsiteY3" fmla="*/ 19429 h 38100"/>
                  <a:gd name="connsiteX4" fmla="*/ 8968 w 19050"/>
                  <a:gd name="connsiteY4" fmla="*/ 31907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8968" y="31907"/>
                    </a:moveTo>
                    <a:cubicBezTo>
                      <a:pt x="7635" y="31907"/>
                      <a:pt x="5634" y="25049"/>
                      <a:pt x="8968" y="17048"/>
                    </a:cubicBezTo>
                    <a:cubicBezTo>
                      <a:pt x="12302" y="9047"/>
                      <a:pt x="19446" y="5999"/>
                      <a:pt x="20017" y="7523"/>
                    </a:cubicBezTo>
                    <a:cubicBezTo>
                      <a:pt x="20589" y="9047"/>
                      <a:pt x="16493" y="12952"/>
                      <a:pt x="13540" y="19429"/>
                    </a:cubicBezTo>
                    <a:cubicBezTo>
                      <a:pt x="10587" y="25906"/>
                      <a:pt x="10397" y="31717"/>
                      <a:pt x="8968" y="31907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6" name="Полилиния: фигура 825">
                <a:extLst>
                  <a:ext uri="{FF2B5EF4-FFF2-40B4-BE49-F238E27FC236}">
                    <a16:creationId xmlns:a16="http://schemas.microsoft.com/office/drawing/2014/main" id="{971BF85E-5A8D-4764-B160-9628A1E4B7EA}"/>
                  </a:ext>
                </a:extLst>
              </p:cNvPr>
              <p:cNvSpPr/>
              <p:nvPr/>
            </p:nvSpPr>
            <p:spPr>
              <a:xfrm>
                <a:off x="922541" y="6271373"/>
                <a:ext cx="38100" cy="19050"/>
              </a:xfrm>
              <a:custGeom>
                <a:avLst/>
                <a:gdLst>
                  <a:gd name="connsiteX0" fmla="*/ 37878 w 38100"/>
                  <a:gd name="connsiteY0" fmla="*/ 12148 h 19050"/>
                  <a:gd name="connsiteX1" fmla="*/ 22543 w 38100"/>
                  <a:gd name="connsiteY1" fmla="*/ 12148 h 19050"/>
                  <a:gd name="connsiteX2" fmla="*/ 7208 w 38100"/>
                  <a:gd name="connsiteY2" fmla="*/ 14148 h 19050"/>
                  <a:gd name="connsiteX3" fmla="*/ 22162 w 38100"/>
                  <a:gd name="connsiteY3" fmla="*/ 7195 h 19050"/>
                  <a:gd name="connsiteX4" fmla="*/ 37878 w 38100"/>
                  <a:gd name="connsiteY4" fmla="*/ 12148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37878" y="12148"/>
                    </a:moveTo>
                    <a:cubicBezTo>
                      <a:pt x="37307" y="13481"/>
                      <a:pt x="30639" y="11481"/>
                      <a:pt x="22543" y="12148"/>
                    </a:cubicBezTo>
                    <a:cubicBezTo>
                      <a:pt x="14447" y="12815"/>
                      <a:pt x="7970" y="15386"/>
                      <a:pt x="7208" y="14148"/>
                    </a:cubicBezTo>
                    <a:cubicBezTo>
                      <a:pt x="6446" y="12910"/>
                      <a:pt x="12542" y="7766"/>
                      <a:pt x="22162" y="7195"/>
                    </a:cubicBezTo>
                    <a:cubicBezTo>
                      <a:pt x="31782" y="6623"/>
                      <a:pt x="38640" y="11005"/>
                      <a:pt x="37878" y="12148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7" name="Полилиния: фигура 826">
                <a:extLst>
                  <a:ext uri="{FF2B5EF4-FFF2-40B4-BE49-F238E27FC236}">
                    <a16:creationId xmlns:a16="http://schemas.microsoft.com/office/drawing/2014/main" id="{106BC5B2-9AE4-4057-9EF6-BAB2492DBCEF}"/>
                  </a:ext>
                </a:extLst>
              </p:cNvPr>
              <p:cNvSpPr/>
              <p:nvPr/>
            </p:nvSpPr>
            <p:spPr>
              <a:xfrm>
                <a:off x="901093" y="6217697"/>
                <a:ext cx="57150" cy="38100"/>
              </a:xfrm>
              <a:custGeom>
                <a:avLst/>
                <a:gdLst>
                  <a:gd name="connsiteX0" fmla="*/ 52183 w 57150"/>
                  <a:gd name="connsiteY0" fmla="*/ 30772 h 38100"/>
                  <a:gd name="connsiteX1" fmla="*/ 37324 w 57150"/>
                  <a:gd name="connsiteY1" fmla="*/ 30772 h 38100"/>
                  <a:gd name="connsiteX2" fmla="*/ 21798 w 57150"/>
                  <a:gd name="connsiteY2" fmla="*/ 26105 h 38100"/>
                  <a:gd name="connsiteX3" fmla="*/ 13321 w 57150"/>
                  <a:gd name="connsiteY3" fmla="*/ 21628 h 38100"/>
                  <a:gd name="connsiteX4" fmla="*/ 8844 w 57150"/>
                  <a:gd name="connsiteY4" fmla="*/ 18104 h 38100"/>
                  <a:gd name="connsiteX5" fmla="*/ 8178 w 57150"/>
                  <a:gd name="connsiteY5" fmla="*/ 10484 h 38100"/>
                  <a:gd name="connsiteX6" fmla="*/ 14464 w 57150"/>
                  <a:gd name="connsiteY6" fmla="*/ 7150 h 38100"/>
                  <a:gd name="connsiteX7" fmla="*/ 19989 w 57150"/>
                  <a:gd name="connsiteY7" fmla="*/ 7817 h 38100"/>
                  <a:gd name="connsiteX8" fmla="*/ 29514 w 57150"/>
                  <a:gd name="connsiteY8" fmla="*/ 10960 h 38100"/>
                  <a:gd name="connsiteX9" fmla="*/ 43230 w 57150"/>
                  <a:gd name="connsiteY9" fmla="*/ 19914 h 38100"/>
                  <a:gd name="connsiteX10" fmla="*/ 51992 w 57150"/>
                  <a:gd name="connsiteY10" fmla="*/ 31915 h 38100"/>
                  <a:gd name="connsiteX11" fmla="*/ 40943 w 57150"/>
                  <a:gd name="connsiteY11" fmla="*/ 22390 h 38100"/>
                  <a:gd name="connsiteX12" fmla="*/ 27704 w 57150"/>
                  <a:gd name="connsiteY12" fmla="*/ 14961 h 38100"/>
                  <a:gd name="connsiteX13" fmla="*/ 19226 w 57150"/>
                  <a:gd name="connsiteY13" fmla="*/ 12389 h 38100"/>
                  <a:gd name="connsiteX14" fmla="*/ 12559 w 57150"/>
                  <a:gd name="connsiteY14" fmla="*/ 12961 h 38100"/>
                  <a:gd name="connsiteX15" fmla="*/ 12559 w 57150"/>
                  <a:gd name="connsiteY15" fmla="*/ 14580 h 38100"/>
                  <a:gd name="connsiteX16" fmla="*/ 15893 w 57150"/>
                  <a:gd name="connsiteY16" fmla="*/ 17151 h 38100"/>
                  <a:gd name="connsiteX17" fmla="*/ 23703 w 57150"/>
                  <a:gd name="connsiteY17" fmla="*/ 21533 h 38100"/>
                  <a:gd name="connsiteX18" fmla="*/ 37991 w 57150"/>
                  <a:gd name="connsiteY18" fmla="*/ 26962 h 38100"/>
                  <a:gd name="connsiteX19" fmla="*/ 52183 w 57150"/>
                  <a:gd name="connsiteY19" fmla="*/ 30772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7150" h="38100">
                    <a:moveTo>
                      <a:pt x="52183" y="30772"/>
                    </a:moveTo>
                    <a:cubicBezTo>
                      <a:pt x="47317" y="32083"/>
                      <a:pt x="42190" y="32083"/>
                      <a:pt x="37324" y="30772"/>
                    </a:cubicBezTo>
                    <a:cubicBezTo>
                      <a:pt x="31989" y="29810"/>
                      <a:pt x="26780" y="28244"/>
                      <a:pt x="21798" y="26105"/>
                    </a:cubicBezTo>
                    <a:cubicBezTo>
                      <a:pt x="18887" y="24781"/>
                      <a:pt x="16056" y="23286"/>
                      <a:pt x="13321" y="21628"/>
                    </a:cubicBezTo>
                    <a:cubicBezTo>
                      <a:pt x="11685" y="20648"/>
                      <a:pt x="10181" y="19464"/>
                      <a:pt x="8844" y="18104"/>
                    </a:cubicBezTo>
                    <a:cubicBezTo>
                      <a:pt x="6858" y="16037"/>
                      <a:pt x="6580" y="12865"/>
                      <a:pt x="8178" y="10484"/>
                    </a:cubicBezTo>
                    <a:cubicBezTo>
                      <a:pt x="9582" y="8390"/>
                      <a:pt x="11942" y="7138"/>
                      <a:pt x="14464" y="7150"/>
                    </a:cubicBezTo>
                    <a:cubicBezTo>
                      <a:pt x="16328" y="7101"/>
                      <a:pt x="18190" y="7326"/>
                      <a:pt x="19989" y="7817"/>
                    </a:cubicBezTo>
                    <a:cubicBezTo>
                      <a:pt x="23243" y="8605"/>
                      <a:pt x="26429" y="9656"/>
                      <a:pt x="29514" y="10960"/>
                    </a:cubicBezTo>
                    <a:cubicBezTo>
                      <a:pt x="34519" y="13222"/>
                      <a:pt x="39145" y="16242"/>
                      <a:pt x="43230" y="19914"/>
                    </a:cubicBezTo>
                    <a:cubicBezTo>
                      <a:pt x="50087" y="26200"/>
                      <a:pt x="52754" y="31629"/>
                      <a:pt x="51992" y="31915"/>
                    </a:cubicBezTo>
                    <a:cubicBezTo>
                      <a:pt x="51230" y="32201"/>
                      <a:pt x="47992" y="27820"/>
                      <a:pt x="40943" y="22390"/>
                    </a:cubicBezTo>
                    <a:cubicBezTo>
                      <a:pt x="36891" y="19319"/>
                      <a:pt x="32436" y="16819"/>
                      <a:pt x="27704" y="14961"/>
                    </a:cubicBezTo>
                    <a:cubicBezTo>
                      <a:pt x="24947" y="13890"/>
                      <a:pt x="22113" y="13031"/>
                      <a:pt x="19226" y="12389"/>
                    </a:cubicBezTo>
                    <a:cubicBezTo>
                      <a:pt x="16083" y="11532"/>
                      <a:pt x="13416" y="11532"/>
                      <a:pt x="12559" y="12961"/>
                    </a:cubicBezTo>
                    <a:cubicBezTo>
                      <a:pt x="11702" y="14389"/>
                      <a:pt x="12559" y="13722"/>
                      <a:pt x="12559" y="14580"/>
                    </a:cubicBezTo>
                    <a:cubicBezTo>
                      <a:pt x="13519" y="15617"/>
                      <a:pt x="14646" y="16486"/>
                      <a:pt x="15893" y="17151"/>
                    </a:cubicBezTo>
                    <a:cubicBezTo>
                      <a:pt x="18391" y="18791"/>
                      <a:pt x="21001" y="20255"/>
                      <a:pt x="23703" y="21533"/>
                    </a:cubicBezTo>
                    <a:cubicBezTo>
                      <a:pt x="28276" y="23806"/>
                      <a:pt x="33062" y="25625"/>
                      <a:pt x="37991" y="26962"/>
                    </a:cubicBezTo>
                    <a:cubicBezTo>
                      <a:pt x="42801" y="27916"/>
                      <a:pt x="47542" y="29189"/>
                      <a:pt x="52183" y="3077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8" name="Полилиния: фигура 827">
                <a:extLst>
                  <a:ext uri="{FF2B5EF4-FFF2-40B4-BE49-F238E27FC236}">
                    <a16:creationId xmlns:a16="http://schemas.microsoft.com/office/drawing/2014/main" id="{022FDA60-65EB-4C45-AE03-A583705A6A15}"/>
                  </a:ext>
                </a:extLst>
              </p:cNvPr>
              <p:cNvSpPr/>
              <p:nvPr/>
            </p:nvSpPr>
            <p:spPr>
              <a:xfrm>
                <a:off x="940257" y="6196367"/>
                <a:ext cx="28575" cy="57150"/>
              </a:xfrm>
              <a:custGeom>
                <a:avLst/>
                <a:gdLst>
                  <a:gd name="connsiteX0" fmla="*/ 11114 w 28575"/>
                  <a:gd name="connsiteY0" fmla="*/ 54197 h 57150"/>
                  <a:gd name="connsiteX1" fmla="*/ 7209 w 28575"/>
                  <a:gd name="connsiteY1" fmla="*/ 39910 h 57150"/>
                  <a:gd name="connsiteX2" fmla="*/ 9114 w 28575"/>
                  <a:gd name="connsiteY2" fmla="*/ 23622 h 57150"/>
                  <a:gd name="connsiteX3" fmla="*/ 12829 w 28575"/>
                  <a:gd name="connsiteY3" fmla="*/ 14669 h 57150"/>
                  <a:gd name="connsiteX4" fmla="*/ 22354 w 28575"/>
                  <a:gd name="connsiteY4" fmla="*/ 7144 h 57150"/>
                  <a:gd name="connsiteX5" fmla="*/ 28545 w 28575"/>
                  <a:gd name="connsiteY5" fmla="*/ 11239 h 57150"/>
                  <a:gd name="connsiteX6" fmla="*/ 30069 w 28575"/>
                  <a:gd name="connsiteY6" fmla="*/ 16669 h 57150"/>
                  <a:gd name="connsiteX7" fmla="*/ 30069 w 28575"/>
                  <a:gd name="connsiteY7" fmla="*/ 26670 h 57150"/>
                  <a:gd name="connsiteX8" fmla="*/ 23782 w 28575"/>
                  <a:gd name="connsiteY8" fmla="*/ 42005 h 57150"/>
                  <a:gd name="connsiteX9" fmla="*/ 11876 w 28575"/>
                  <a:gd name="connsiteY9" fmla="*/ 50959 h 57150"/>
                  <a:gd name="connsiteX10" fmla="*/ 20830 w 28575"/>
                  <a:gd name="connsiteY10" fmla="*/ 40005 h 57150"/>
                  <a:gd name="connsiteX11" fmla="*/ 25497 w 28575"/>
                  <a:gd name="connsiteY11" fmla="*/ 26099 h 57150"/>
                  <a:gd name="connsiteX12" fmla="*/ 25497 w 28575"/>
                  <a:gd name="connsiteY12" fmla="*/ 17526 h 57150"/>
                  <a:gd name="connsiteX13" fmla="*/ 22735 w 28575"/>
                  <a:gd name="connsiteY13" fmla="*/ 12192 h 57150"/>
                  <a:gd name="connsiteX14" fmla="*/ 17496 w 28575"/>
                  <a:gd name="connsiteY14" fmla="*/ 17050 h 57150"/>
                  <a:gd name="connsiteX15" fmla="*/ 13876 w 28575"/>
                  <a:gd name="connsiteY15" fmla="*/ 25051 h 57150"/>
                  <a:gd name="connsiteX16" fmla="*/ 11114 w 28575"/>
                  <a:gd name="connsiteY16" fmla="*/ 39910 h 57150"/>
                  <a:gd name="connsiteX17" fmla="*/ 11114 w 28575"/>
                  <a:gd name="connsiteY17" fmla="*/ 54197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8575" h="57150">
                    <a:moveTo>
                      <a:pt x="11114" y="54197"/>
                    </a:moveTo>
                    <a:cubicBezTo>
                      <a:pt x="8362" y="49955"/>
                      <a:pt x="6998" y="44962"/>
                      <a:pt x="7209" y="39910"/>
                    </a:cubicBezTo>
                    <a:cubicBezTo>
                      <a:pt x="6925" y="34412"/>
                      <a:pt x="7569" y="28906"/>
                      <a:pt x="9114" y="23622"/>
                    </a:cubicBezTo>
                    <a:cubicBezTo>
                      <a:pt x="10023" y="20512"/>
                      <a:pt x="11269" y="17509"/>
                      <a:pt x="12829" y="14669"/>
                    </a:cubicBezTo>
                    <a:cubicBezTo>
                      <a:pt x="14440" y="10646"/>
                      <a:pt x="18067" y="7781"/>
                      <a:pt x="22354" y="7144"/>
                    </a:cubicBezTo>
                    <a:cubicBezTo>
                      <a:pt x="25027" y="7224"/>
                      <a:pt x="27425" y="8810"/>
                      <a:pt x="28545" y="11239"/>
                    </a:cubicBezTo>
                    <a:cubicBezTo>
                      <a:pt x="29366" y="12946"/>
                      <a:pt x="29882" y="14784"/>
                      <a:pt x="30069" y="16669"/>
                    </a:cubicBezTo>
                    <a:cubicBezTo>
                      <a:pt x="30591" y="19982"/>
                      <a:pt x="30591" y="23357"/>
                      <a:pt x="30069" y="26670"/>
                    </a:cubicBezTo>
                    <a:cubicBezTo>
                      <a:pt x="29263" y="32220"/>
                      <a:pt x="27104" y="37486"/>
                      <a:pt x="23782" y="42005"/>
                    </a:cubicBezTo>
                    <a:cubicBezTo>
                      <a:pt x="18067" y="49625"/>
                      <a:pt x="12067" y="51530"/>
                      <a:pt x="11876" y="50959"/>
                    </a:cubicBezTo>
                    <a:cubicBezTo>
                      <a:pt x="11686" y="50387"/>
                      <a:pt x="16448" y="47339"/>
                      <a:pt x="20830" y="40005"/>
                    </a:cubicBezTo>
                    <a:cubicBezTo>
                      <a:pt x="23370" y="35761"/>
                      <a:pt x="24962" y="31016"/>
                      <a:pt x="25497" y="26099"/>
                    </a:cubicBezTo>
                    <a:cubicBezTo>
                      <a:pt x="25928" y="23258"/>
                      <a:pt x="25928" y="20367"/>
                      <a:pt x="25497" y="17526"/>
                    </a:cubicBezTo>
                    <a:cubicBezTo>
                      <a:pt x="25497" y="14383"/>
                      <a:pt x="23878" y="11811"/>
                      <a:pt x="22735" y="12192"/>
                    </a:cubicBezTo>
                    <a:cubicBezTo>
                      <a:pt x="21592" y="12573"/>
                      <a:pt x="18734" y="14478"/>
                      <a:pt x="17496" y="17050"/>
                    </a:cubicBezTo>
                    <a:cubicBezTo>
                      <a:pt x="16093" y="19624"/>
                      <a:pt x="14884" y="22298"/>
                      <a:pt x="13876" y="25051"/>
                    </a:cubicBezTo>
                    <a:cubicBezTo>
                      <a:pt x="12269" y="29851"/>
                      <a:pt x="11339" y="34853"/>
                      <a:pt x="11114" y="39910"/>
                    </a:cubicBezTo>
                    <a:cubicBezTo>
                      <a:pt x="10352" y="48578"/>
                      <a:pt x="11876" y="53912"/>
                      <a:pt x="11114" y="54197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9" name="Полилиния: фигура 828">
                <a:extLst>
                  <a:ext uri="{FF2B5EF4-FFF2-40B4-BE49-F238E27FC236}">
                    <a16:creationId xmlns:a16="http://schemas.microsoft.com/office/drawing/2014/main" id="{1F47F467-D0D6-4007-B3E6-31F09CB883EE}"/>
                  </a:ext>
                </a:extLst>
              </p:cNvPr>
              <p:cNvSpPr/>
              <p:nvPr/>
            </p:nvSpPr>
            <p:spPr>
              <a:xfrm>
                <a:off x="808401" y="6160268"/>
                <a:ext cx="304800" cy="247650"/>
              </a:xfrm>
              <a:custGeom>
                <a:avLst/>
                <a:gdLst>
                  <a:gd name="connsiteX0" fmla="*/ 7144 w 304800"/>
                  <a:gd name="connsiteY0" fmla="*/ 7525 h 247650"/>
                  <a:gd name="connsiteX1" fmla="*/ 9334 w 304800"/>
                  <a:gd name="connsiteY1" fmla="*/ 245078 h 247650"/>
                  <a:gd name="connsiteX2" fmla="*/ 305086 w 304800"/>
                  <a:gd name="connsiteY2" fmla="*/ 243840 h 247650"/>
                  <a:gd name="connsiteX3" fmla="*/ 150019 w 304800"/>
                  <a:gd name="connsiteY3" fmla="*/ 159544 h 247650"/>
                  <a:gd name="connsiteX4" fmla="*/ 154876 w 304800"/>
                  <a:gd name="connsiteY4" fmla="*/ 7144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4800" h="247650">
                    <a:moveTo>
                      <a:pt x="7144" y="7525"/>
                    </a:moveTo>
                    <a:lnTo>
                      <a:pt x="9334" y="245078"/>
                    </a:lnTo>
                    <a:lnTo>
                      <a:pt x="305086" y="243840"/>
                    </a:lnTo>
                    <a:cubicBezTo>
                      <a:pt x="303276" y="215265"/>
                      <a:pt x="150019" y="159544"/>
                      <a:pt x="150019" y="159544"/>
                    </a:cubicBezTo>
                    <a:lnTo>
                      <a:pt x="154876" y="7144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0" name="Полилиния: фигура 829">
                <a:extLst>
                  <a:ext uri="{FF2B5EF4-FFF2-40B4-BE49-F238E27FC236}">
                    <a16:creationId xmlns:a16="http://schemas.microsoft.com/office/drawing/2014/main" id="{18410D0A-0562-4863-AF48-D04FFD8DCFD6}"/>
                  </a:ext>
                </a:extLst>
              </p:cNvPr>
              <p:cNvSpPr/>
              <p:nvPr/>
            </p:nvSpPr>
            <p:spPr>
              <a:xfrm>
                <a:off x="851239" y="6300035"/>
                <a:ext cx="28575" cy="28575"/>
              </a:xfrm>
              <a:custGeom>
                <a:avLst/>
                <a:gdLst>
                  <a:gd name="connsiteX0" fmla="*/ 15645 w 28575"/>
                  <a:gd name="connsiteY0" fmla="*/ 7394 h 28575"/>
                  <a:gd name="connsiteX1" fmla="*/ 7359 w 28575"/>
                  <a:gd name="connsiteY1" fmla="*/ 21205 h 28575"/>
                  <a:gd name="connsiteX2" fmla="*/ 20979 w 28575"/>
                  <a:gd name="connsiteY2" fmla="*/ 29587 h 28575"/>
                  <a:gd name="connsiteX3" fmla="*/ 29742 w 28575"/>
                  <a:gd name="connsiteY3" fmla="*/ 14918 h 28575"/>
                  <a:gd name="connsiteX4" fmla="*/ 14598 w 28575"/>
                  <a:gd name="connsiteY4" fmla="*/ 77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15645" y="7394"/>
                    </a:moveTo>
                    <a:cubicBezTo>
                      <a:pt x="9774" y="9222"/>
                      <a:pt x="6209" y="15164"/>
                      <a:pt x="7359" y="21205"/>
                    </a:cubicBezTo>
                    <a:cubicBezTo>
                      <a:pt x="8948" y="27176"/>
                      <a:pt x="14933" y="30858"/>
                      <a:pt x="20979" y="29587"/>
                    </a:cubicBezTo>
                    <a:cubicBezTo>
                      <a:pt x="27254" y="27700"/>
                      <a:pt x="31055" y="21338"/>
                      <a:pt x="29742" y="14918"/>
                    </a:cubicBezTo>
                    <a:cubicBezTo>
                      <a:pt x="27424" y="8863"/>
                      <a:pt x="20745" y="5713"/>
                      <a:pt x="14598" y="7775"/>
                    </a:cubicBezTo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1" name="Полилиния: фигура 830">
                <a:extLst>
                  <a:ext uri="{FF2B5EF4-FFF2-40B4-BE49-F238E27FC236}">
                    <a16:creationId xmlns:a16="http://schemas.microsoft.com/office/drawing/2014/main" id="{8E6A7A7C-1B5E-4871-B52B-9CEB98717B68}"/>
                  </a:ext>
                </a:extLst>
              </p:cNvPr>
              <p:cNvSpPr/>
              <p:nvPr/>
            </p:nvSpPr>
            <p:spPr>
              <a:xfrm>
                <a:off x="810591" y="6373342"/>
                <a:ext cx="304800" cy="38100"/>
              </a:xfrm>
              <a:custGeom>
                <a:avLst/>
                <a:gdLst>
                  <a:gd name="connsiteX0" fmla="*/ 7144 w 304800"/>
                  <a:gd name="connsiteY0" fmla="*/ 31147 h 38100"/>
                  <a:gd name="connsiteX1" fmla="*/ 7144 w 304800"/>
                  <a:gd name="connsiteY1" fmla="*/ 7144 h 38100"/>
                  <a:gd name="connsiteX2" fmla="*/ 291465 w 304800"/>
                  <a:gd name="connsiteY2" fmla="*/ 16669 h 38100"/>
                  <a:gd name="connsiteX3" fmla="*/ 303181 w 304800"/>
                  <a:gd name="connsiteY3" fmla="*/ 3171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800" h="38100">
                    <a:moveTo>
                      <a:pt x="7144" y="31147"/>
                    </a:moveTo>
                    <a:lnTo>
                      <a:pt x="7144" y="7144"/>
                    </a:lnTo>
                    <a:lnTo>
                      <a:pt x="291465" y="16669"/>
                    </a:lnTo>
                    <a:cubicBezTo>
                      <a:pt x="291465" y="16669"/>
                      <a:pt x="304705" y="22479"/>
                      <a:pt x="303181" y="31718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2" name="Полилиния: фигура 831">
                <a:extLst>
                  <a:ext uri="{FF2B5EF4-FFF2-40B4-BE49-F238E27FC236}">
                    <a16:creationId xmlns:a16="http://schemas.microsoft.com/office/drawing/2014/main" id="{3D582402-7C57-44AB-A539-8A9E0C6A249C}"/>
                  </a:ext>
                </a:extLst>
              </p:cNvPr>
              <p:cNvSpPr/>
              <p:nvPr/>
            </p:nvSpPr>
            <p:spPr>
              <a:xfrm>
                <a:off x="929191" y="6309940"/>
                <a:ext cx="38100" cy="28575"/>
              </a:xfrm>
              <a:custGeom>
                <a:avLst/>
                <a:gdLst>
                  <a:gd name="connsiteX0" fmla="*/ 33991 w 38100"/>
                  <a:gd name="connsiteY0" fmla="*/ 8442 h 28575"/>
                  <a:gd name="connsiteX1" fmla="*/ 19704 w 38100"/>
                  <a:gd name="connsiteY1" fmla="*/ 15205 h 28575"/>
                  <a:gd name="connsiteX2" fmla="*/ 7512 w 38100"/>
                  <a:gd name="connsiteY2" fmla="*/ 25397 h 28575"/>
                  <a:gd name="connsiteX3" fmla="*/ 17037 w 38100"/>
                  <a:gd name="connsiteY3" fmla="*/ 11014 h 28575"/>
                  <a:gd name="connsiteX4" fmla="*/ 33991 w 38100"/>
                  <a:gd name="connsiteY4" fmla="*/ 844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33991" y="8442"/>
                    </a:moveTo>
                    <a:cubicBezTo>
                      <a:pt x="33991" y="9871"/>
                      <a:pt x="26752" y="10538"/>
                      <a:pt x="19704" y="15205"/>
                    </a:cubicBezTo>
                    <a:cubicBezTo>
                      <a:pt x="12655" y="19872"/>
                      <a:pt x="8845" y="25968"/>
                      <a:pt x="7512" y="25397"/>
                    </a:cubicBezTo>
                    <a:cubicBezTo>
                      <a:pt x="6178" y="24825"/>
                      <a:pt x="8274" y="16539"/>
                      <a:pt x="17037" y="11014"/>
                    </a:cubicBezTo>
                    <a:cubicBezTo>
                      <a:pt x="25800" y="5490"/>
                      <a:pt x="34277" y="7109"/>
                      <a:pt x="33991" y="844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3" name="Полилиния: фигура 832">
                <a:extLst>
                  <a:ext uri="{FF2B5EF4-FFF2-40B4-BE49-F238E27FC236}">
                    <a16:creationId xmlns:a16="http://schemas.microsoft.com/office/drawing/2014/main" id="{D28C5CDD-0267-4DDC-AFB8-9BB633987A82}"/>
                  </a:ext>
                </a:extLst>
              </p:cNvPr>
              <p:cNvSpPr/>
              <p:nvPr/>
            </p:nvSpPr>
            <p:spPr>
              <a:xfrm>
                <a:off x="967552" y="6323372"/>
                <a:ext cx="28575" cy="28575"/>
              </a:xfrm>
              <a:custGeom>
                <a:avLst/>
                <a:gdLst>
                  <a:gd name="connsiteX0" fmla="*/ 26681 w 28575"/>
                  <a:gd name="connsiteY0" fmla="*/ 7680 h 28575"/>
                  <a:gd name="connsiteX1" fmla="*/ 15918 w 28575"/>
                  <a:gd name="connsiteY1" fmla="*/ 17681 h 28575"/>
                  <a:gd name="connsiteX2" fmla="*/ 8203 w 28575"/>
                  <a:gd name="connsiteY2" fmla="*/ 30254 h 28575"/>
                  <a:gd name="connsiteX3" fmla="*/ 12013 w 28575"/>
                  <a:gd name="connsiteY3" fmla="*/ 14538 h 28575"/>
                  <a:gd name="connsiteX4" fmla="*/ 26681 w 28575"/>
                  <a:gd name="connsiteY4" fmla="*/ 768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26681" y="7680"/>
                    </a:moveTo>
                    <a:cubicBezTo>
                      <a:pt x="26681" y="9108"/>
                      <a:pt x="20776" y="11585"/>
                      <a:pt x="15918" y="17681"/>
                    </a:cubicBezTo>
                    <a:cubicBezTo>
                      <a:pt x="11060" y="23777"/>
                      <a:pt x="9632" y="30254"/>
                      <a:pt x="8203" y="30254"/>
                    </a:cubicBezTo>
                    <a:cubicBezTo>
                      <a:pt x="6774" y="30254"/>
                      <a:pt x="5822" y="21967"/>
                      <a:pt x="12013" y="14538"/>
                    </a:cubicBezTo>
                    <a:cubicBezTo>
                      <a:pt x="18204" y="7108"/>
                      <a:pt x="26681" y="6346"/>
                      <a:pt x="26681" y="7680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4" name="Полилиния: фигура 833">
                <a:extLst>
                  <a:ext uri="{FF2B5EF4-FFF2-40B4-BE49-F238E27FC236}">
                    <a16:creationId xmlns:a16="http://schemas.microsoft.com/office/drawing/2014/main" id="{3058CB5A-1EAF-4CF8-9B41-EE334E3D3046}"/>
                  </a:ext>
                </a:extLst>
              </p:cNvPr>
              <p:cNvSpPr/>
              <p:nvPr/>
            </p:nvSpPr>
            <p:spPr>
              <a:xfrm>
                <a:off x="1003077" y="6336196"/>
                <a:ext cx="19050" cy="38100"/>
              </a:xfrm>
              <a:custGeom>
                <a:avLst/>
                <a:gdLst>
                  <a:gd name="connsiteX0" fmla="*/ 8968 w 19050"/>
                  <a:gd name="connsiteY0" fmla="*/ 31907 h 38100"/>
                  <a:gd name="connsiteX1" fmla="*/ 8968 w 19050"/>
                  <a:gd name="connsiteY1" fmla="*/ 17048 h 38100"/>
                  <a:gd name="connsiteX2" fmla="*/ 20017 w 19050"/>
                  <a:gd name="connsiteY2" fmla="*/ 7523 h 38100"/>
                  <a:gd name="connsiteX3" fmla="*/ 13540 w 19050"/>
                  <a:gd name="connsiteY3" fmla="*/ 19429 h 38100"/>
                  <a:gd name="connsiteX4" fmla="*/ 8968 w 19050"/>
                  <a:gd name="connsiteY4" fmla="*/ 31907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38100">
                    <a:moveTo>
                      <a:pt x="8968" y="31907"/>
                    </a:moveTo>
                    <a:cubicBezTo>
                      <a:pt x="7635" y="31907"/>
                      <a:pt x="5634" y="25049"/>
                      <a:pt x="8968" y="17048"/>
                    </a:cubicBezTo>
                    <a:cubicBezTo>
                      <a:pt x="12302" y="9047"/>
                      <a:pt x="19446" y="5999"/>
                      <a:pt x="20017" y="7523"/>
                    </a:cubicBezTo>
                    <a:cubicBezTo>
                      <a:pt x="20589" y="9047"/>
                      <a:pt x="16493" y="12952"/>
                      <a:pt x="13540" y="19429"/>
                    </a:cubicBezTo>
                    <a:cubicBezTo>
                      <a:pt x="10587" y="25906"/>
                      <a:pt x="10397" y="31717"/>
                      <a:pt x="8968" y="31907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5" name="Полилиния: фигура 834">
                <a:extLst>
                  <a:ext uri="{FF2B5EF4-FFF2-40B4-BE49-F238E27FC236}">
                    <a16:creationId xmlns:a16="http://schemas.microsoft.com/office/drawing/2014/main" id="{B6884F4B-073B-479B-934B-68CD524E55A6}"/>
                  </a:ext>
                </a:extLst>
              </p:cNvPr>
              <p:cNvSpPr/>
              <p:nvPr/>
            </p:nvSpPr>
            <p:spPr>
              <a:xfrm>
                <a:off x="922541" y="6271373"/>
                <a:ext cx="38100" cy="19050"/>
              </a:xfrm>
              <a:custGeom>
                <a:avLst/>
                <a:gdLst>
                  <a:gd name="connsiteX0" fmla="*/ 37878 w 38100"/>
                  <a:gd name="connsiteY0" fmla="*/ 12148 h 19050"/>
                  <a:gd name="connsiteX1" fmla="*/ 22543 w 38100"/>
                  <a:gd name="connsiteY1" fmla="*/ 12148 h 19050"/>
                  <a:gd name="connsiteX2" fmla="*/ 7208 w 38100"/>
                  <a:gd name="connsiteY2" fmla="*/ 14148 h 19050"/>
                  <a:gd name="connsiteX3" fmla="*/ 22162 w 38100"/>
                  <a:gd name="connsiteY3" fmla="*/ 7195 h 19050"/>
                  <a:gd name="connsiteX4" fmla="*/ 37878 w 38100"/>
                  <a:gd name="connsiteY4" fmla="*/ 12148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37878" y="12148"/>
                    </a:moveTo>
                    <a:cubicBezTo>
                      <a:pt x="37307" y="13481"/>
                      <a:pt x="30639" y="11481"/>
                      <a:pt x="22543" y="12148"/>
                    </a:cubicBezTo>
                    <a:cubicBezTo>
                      <a:pt x="14447" y="12815"/>
                      <a:pt x="7970" y="15386"/>
                      <a:pt x="7208" y="14148"/>
                    </a:cubicBezTo>
                    <a:cubicBezTo>
                      <a:pt x="6446" y="12910"/>
                      <a:pt x="12542" y="7766"/>
                      <a:pt x="22162" y="7195"/>
                    </a:cubicBezTo>
                    <a:cubicBezTo>
                      <a:pt x="31782" y="6623"/>
                      <a:pt x="38640" y="11005"/>
                      <a:pt x="37878" y="12148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6" name="Полилиния: фигура 835">
                <a:extLst>
                  <a:ext uri="{FF2B5EF4-FFF2-40B4-BE49-F238E27FC236}">
                    <a16:creationId xmlns:a16="http://schemas.microsoft.com/office/drawing/2014/main" id="{AF04D25A-8452-4C6E-B415-ADB44B3BA441}"/>
                  </a:ext>
                </a:extLst>
              </p:cNvPr>
              <p:cNvSpPr/>
              <p:nvPr/>
            </p:nvSpPr>
            <p:spPr>
              <a:xfrm>
                <a:off x="901093" y="6217697"/>
                <a:ext cx="57150" cy="38100"/>
              </a:xfrm>
              <a:custGeom>
                <a:avLst/>
                <a:gdLst>
                  <a:gd name="connsiteX0" fmla="*/ 52183 w 57150"/>
                  <a:gd name="connsiteY0" fmla="*/ 30772 h 38100"/>
                  <a:gd name="connsiteX1" fmla="*/ 37324 w 57150"/>
                  <a:gd name="connsiteY1" fmla="*/ 30772 h 38100"/>
                  <a:gd name="connsiteX2" fmla="*/ 21798 w 57150"/>
                  <a:gd name="connsiteY2" fmla="*/ 26105 h 38100"/>
                  <a:gd name="connsiteX3" fmla="*/ 13321 w 57150"/>
                  <a:gd name="connsiteY3" fmla="*/ 21628 h 38100"/>
                  <a:gd name="connsiteX4" fmla="*/ 8844 w 57150"/>
                  <a:gd name="connsiteY4" fmla="*/ 18104 h 38100"/>
                  <a:gd name="connsiteX5" fmla="*/ 8178 w 57150"/>
                  <a:gd name="connsiteY5" fmla="*/ 10484 h 38100"/>
                  <a:gd name="connsiteX6" fmla="*/ 14464 w 57150"/>
                  <a:gd name="connsiteY6" fmla="*/ 7150 h 38100"/>
                  <a:gd name="connsiteX7" fmla="*/ 19989 w 57150"/>
                  <a:gd name="connsiteY7" fmla="*/ 7817 h 38100"/>
                  <a:gd name="connsiteX8" fmla="*/ 29514 w 57150"/>
                  <a:gd name="connsiteY8" fmla="*/ 10960 h 38100"/>
                  <a:gd name="connsiteX9" fmla="*/ 43230 w 57150"/>
                  <a:gd name="connsiteY9" fmla="*/ 19914 h 38100"/>
                  <a:gd name="connsiteX10" fmla="*/ 51992 w 57150"/>
                  <a:gd name="connsiteY10" fmla="*/ 31915 h 38100"/>
                  <a:gd name="connsiteX11" fmla="*/ 40943 w 57150"/>
                  <a:gd name="connsiteY11" fmla="*/ 22390 h 38100"/>
                  <a:gd name="connsiteX12" fmla="*/ 27704 w 57150"/>
                  <a:gd name="connsiteY12" fmla="*/ 14961 h 38100"/>
                  <a:gd name="connsiteX13" fmla="*/ 19226 w 57150"/>
                  <a:gd name="connsiteY13" fmla="*/ 12389 h 38100"/>
                  <a:gd name="connsiteX14" fmla="*/ 12559 w 57150"/>
                  <a:gd name="connsiteY14" fmla="*/ 12961 h 38100"/>
                  <a:gd name="connsiteX15" fmla="*/ 12559 w 57150"/>
                  <a:gd name="connsiteY15" fmla="*/ 14580 h 38100"/>
                  <a:gd name="connsiteX16" fmla="*/ 15893 w 57150"/>
                  <a:gd name="connsiteY16" fmla="*/ 17151 h 38100"/>
                  <a:gd name="connsiteX17" fmla="*/ 23703 w 57150"/>
                  <a:gd name="connsiteY17" fmla="*/ 21533 h 38100"/>
                  <a:gd name="connsiteX18" fmla="*/ 37991 w 57150"/>
                  <a:gd name="connsiteY18" fmla="*/ 26962 h 38100"/>
                  <a:gd name="connsiteX19" fmla="*/ 52183 w 57150"/>
                  <a:gd name="connsiteY19" fmla="*/ 30772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7150" h="38100">
                    <a:moveTo>
                      <a:pt x="52183" y="30772"/>
                    </a:moveTo>
                    <a:cubicBezTo>
                      <a:pt x="47317" y="32083"/>
                      <a:pt x="42190" y="32083"/>
                      <a:pt x="37324" y="30772"/>
                    </a:cubicBezTo>
                    <a:cubicBezTo>
                      <a:pt x="31989" y="29810"/>
                      <a:pt x="26780" y="28244"/>
                      <a:pt x="21798" y="26105"/>
                    </a:cubicBezTo>
                    <a:cubicBezTo>
                      <a:pt x="18887" y="24781"/>
                      <a:pt x="16056" y="23286"/>
                      <a:pt x="13321" y="21628"/>
                    </a:cubicBezTo>
                    <a:cubicBezTo>
                      <a:pt x="11685" y="20648"/>
                      <a:pt x="10181" y="19464"/>
                      <a:pt x="8844" y="18104"/>
                    </a:cubicBezTo>
                    <a:cubicBezTo>
                      <a:pt x="6858" y="16037"/>
                      <a:pt x="6580" y="12865"/>
                      <a:pt x="8178" y="10484"/>
                    </a:cubicBezTo>
                    <a:cubicBezTo>
                      <a:pt x="9582" y="8390"/>
                      <a:pt x="11942" y="7138"/>
                      <a:pt x="14464" y="7150"/>
                    </a:cubicBezTo>
                    <a:cubicBezTo>
                      <a:pt x="16328" y="7101"/>
                      <a:pt x="18190" y="7326"/>
                      <a:pt x="19989" y="7817"/>
                    </a:cubicBezTo>
                    <a:cubicBezTo>
                      <a:pt x="23243" y="8605"/>
                      <a:pt x="26429" y="9656"/>
                      <a:pt x="29514" y="10960"/>
                    </a:cubicBezTo>
                    <a:cubicBezTo>
                      <a:pt x="34519" y="13222"/>
                      <a:pt x="39145" y="16242"/>
                      <a:pt x="43230" y="19914"/>
                    </a:cubicBezTo>
                    <a:cubicBezTo>
                      <a:pt x="50087" y="26200"/>
                      <a:pt x="52754" y="31629"/>
                      <a:pt x="51992" y="31915"/>
                    </a:cubicBezTo>
                    <a:cubicBezTo>
                      <a:pt x="51230" y="32201"/>
                      <a:pt x="47992" y="27820"/>
                      <a:pt x="40943" y="22390"/>
                    </a:cubicBezTo>
                    <a:cubicBezTo>
                      <a:pt x="36891" y="19319"/>
                      <a:pt x="32436" y="16819"/>
                      <a:pt x="27704" y="14961"/>
                    </a:cubicBezTo>
                    <a:cubicBezTo>
                      <a:pt x="24947" y="13890"/>
                      <a:pt x="22113" y="13031"/>
                      <a:pt x="19226" y="12389"/>
                    </a:cubicBezTo>
                    <a:cubicBezTo>
                      <a:pt x="16083" y="11532"/>
                      <a:pt x="13416" y="11532"/>
                      <a:pt x="12559" y="12961"/>
                    </a:cubicBezTo>
                    <a:cubicBezTo>
                      <a:pt x="11702" y="14389"/>
                      <a:pt x="12559" y="13722"/>
                      <a:pt x="12559" y="14580"/>
                    </a:cubicBezTo>
                    <a:cubicBezTo>
                      <a:pt x="13519" y="15617"/>
                      <a:pt x="14646" y="16486"/>
                      <a:pt x="15893" y="17151"/>
                    </a:cubicBezTo>
                    <a:cubicBezTo>
                      <a:pt x="18391" y="18791"/>
                      <a:pt x="21001" y="20255"/>
                      <a:pt x="23703" y="21533"/>
                    </a:cubicBezTo>
                    <a:cubicBezTo>
                      <a:pt x="28276" y="23806"/>
                      <a:pt x="33062" y="25625"/>
                      <a:pt x="37991" y="26962"/>
                    </a:cubicBezTo>
                    <a:cubicBezTo>
                      <a:pt x="42801" y="27916"/>
                      <a:pt x="47542" y="29189"/>
                      <a:pt x="52183" y="3077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7" name="Полилиния: фигура 836">
                <a:extLst>
                  <a:ext uri="{FF2B5EF4-FFF2-40B4-BE49-F238E27FC236}">
                    <a16:creationId xmlns:a16="http://schemas.microsoft.com/office/drawing/2014/main" id="{A9982AC4-D012-4C2E-B841-D92C1711D5EC}"/>
                  </a:ext>
                </a:extLst>
              </p:cNvPr>
              <p:cNvSpPr/>
              <p:nvPr/>
            </p:nvSpPr>
            <p:spPr>
              <a:xfrm>
                <a:off x="940257" y="6196367"/>
                <a:ext cx="28575" cy="57150"/>
              </a:xfrm>
              <a:custGeom>
                <a:avLst/>
                <a:gdLst>
                  <a:gd name="connsiteX0" fmla="*/ 11114 w 28575"/>
                  <a:gd name="connsiteY0" fmla="*/ 54197 h 57150"/>
                  <a:gd name="connsiteX1" fmla="*/ 7209 w 28575"/>
                  <a:gd name="connsiteY1" fmla="*/ 39910 h 57150"/>
                  <a:gd name="connsiteX2" fmla="*/ 9114 w 28575"/>
                  <a:gd name="connsiteY2" fmla="*/ 23622 h 57150"/>
                  <a:gd name="connsiteX3" fmla="*/ 12829 w 28575"/>
                  <a:gd name="connsiteY3" fmla="*/ 14669 h 57150"/>
                  <a:gd name="connsiteX4" fmla="*/ 22354 w 28575"/>
                  <a:gd name="connsiteY4" fmla="*/ 7144 h 57150"/>
                  <a:gd name="connsiteX5" fmla="*/ 28545 w 28575"/>
                  <a:gd name="connsiteY5" fmla="*/ 11239 h 57150"/>
                  <a:gd name="connsiteX6" fmla="*/ 30069 w 28575"/>
                  <a:gd name="connsiteY6" fmla="*/ 16669 h 57150"/>
                  <a:gd name="connsiteX7" fmla="*/ 30069 w 28575"/>
                  <a:gd name="connsiteY7" fmla="*/ 26670 h 57150"/>
                  <a:gd name="connsiteX8" fmla="*/ 23782 w 28575"/>
                  <a:gd name="connsiteY8" fmla="*/ 42005 h 57150"/>
                  <a:gd name="connsiteX9" fmla="*/ 11876 w 28575"/>
                  <a:gd name="connsiteY9" fmla="*/ 50959 h 57150"/>
                  <a:gd name="connsiteX10" fmla="*/ 20830 w 28575"/>
                  <a:gd name="connsiteY10" fmla="*/ 40005 h 57150"/>
                  <a:gd name="connsiteX11" fmla="*/ 25497 w 28575"/>
                  <a:gd name="connsiteY11" fmla="*/ 26099 h 57150"/>
                  <a:gd name="connsiteX12" fmla="*/ 25497 w 28575"/>
                  <a:gd name="connsiteY12" fmla="*/ 17526 h 57150"/>
                  <a:gd name="connsiteX13" fmla="*/ 22735 w 28575"/>
                  <a:gd name="connsiteY13" fmla="*/ 12192 h 57150"/>
                  <a:gd name="connsiteX14" fmla="*/ 17496 w 28575"/>
                  <a:gd name="connsiteY14" fmla="*/ 17050 h 57150"/>
                  <a:gd name="connsiteX15" fmla="*/ 13876 w 28575"/>
                  <a:gd name="connsiteY15" fmla="*/ 25051 h 57150"/>
                  <a:gd name="connsiteX16" fmla="*/ 11114 w 28575"/>
                  <a:gd name="connsiteY16" fmla="*/ 39910 h 57150"/>
                  <a:gd name="connsiteX17" fmla="*/ 11114 w 28575"/>
                  <a:gd name="connsiteY17" fmla="*/ 54197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8575" h="57150">
                    <a:moveTo>
                      <a:pt x="11114" y="54197"/>
                    </a:moveTo>
                    <a:cubicBezTo>
                      <a:pt x="8362" y="49955"/>
                      <a:pt x="6998" y="44962"/>
                      <a:pt x="7209" y="39910"/>
                    </a:cubicBezTo>
                    <a:cubicBezTo>
                      <a:pt x="6925" y="34412"/>
                      <a:pt x="7569" y="28906"/>
                      <a:pt x="9114" y="23622"/>
                    </a:cubicBezTo>
                    <a:cubicBezTo>
                      <a:pt x="10023" y="20512"/>
                      <a:pt x="11269" y="17509"/>
                      <a:pt x="12829" y="14669"/>
                    </a:cubicBezTo>
                    <a:cubicBezTo>
                      <a:pt x="14440" y="10646"/>
                      <a:pt x="18067" y="7781"/>
                      <a:pt x="22354" y="7144"/>
                    </a:cubicBezTo>
                    <a:cubicBezTo>
                      <a:pt x="25027" y="7224"/>
                      <a:pt x="27425" y="8810"/>
                      <a:pt x="28545" y="11239"/>
                    </a:cubicBezTo>
                    <a:cubicBezTo>
                      <a:pt x="29366" y="12946"/>
                      <a:pt x="29882" y="14784"/>
                      <a:pt x="30069" y="16669"/>
                    </a:cubicBezTo>
                    <a:cubicBezTo>
                      <a:pt x="30591" y="19982"/>
                      <a:pt x="30591" y="23357"/>
                      <a:pt x="30069" y="26670"/>
                    </a:cubicBezTo>
                    <a:cubicBezTo>
                      <a:pt x="29263" y="32220"/>
                      <a:pt x="27104" y="37486"/>
                      <a:pt x="23782" y="42005"/>
                    </a:cubicBezTo>
                    <a:cubicBezTo>
                      <a:pt x="18067" y="49625"/>
                      <a:pt x="12067" y="51530"/>
                      <a:pt x="11876" y="50959"/>
                    </a:cubicBezTo>
                    <a:cubicBezTo>
                      <a:pt x="11686" y="50387"/>
                      <a:pt x="16448" y="47339"/>
                      <a:pt x="20830" y="40005"/>
                    </a:cubicBezTo>
                    <a:cubicBezTo>
                      <a:pt x="23370" y="35761"/>
                      <a:pt x="24962" y="31016"/>
                      <a:pt x="25497" y="26099"/>
                    </a:cubicBezTo>
                    <a:cubicBezTo>
                      <a:pt x="25928" y="23258"/>
                      <a:pt x="25928" y="20367"/>
                      <a:pt x="25497" y="17526"/>
                    </a:cubicBezTo>
                    <a:cubicBezTo>
                      <a:pt x="25497" y="14383"/>
                      <a:pt x="23878" y="11811"/>
                      <a:pt x="22735" y="12192"/>
                    </a:cubicBezTo>
                    <a:cubicBezTo>
                      <a:pt x="21592" y="12573"/>
                      <a:pt x="18734" y="14478"/>
                      <a:pt x="17496" y="17050"/>
                    </a:cubicBezTo>
                    <a:cubicBezTo>
                      <a:pt x="16093" y="19624"/>
                      <a:pt x="14884" y="22298"/>
                      <a:pt x="13876" y="25051"/>
                    </a:cubicBezTo>
                    <a:cubicBezTo>
                      <a:pt x="12269" y="29851"/>
                      <a:pt x="11339" y="34853"/>
                      <a:pt x="11114" y="39910"/>
                    </a:cubicBezTo>
                    <a:cubicBezTo>
                      <a:pt x="10352" y="48578"/>
                      <a:pt x="11876" y="53912"/>
                      <a:pt x="11114" y="54197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8" name="Полилиния: фигура 837">
                <a:extLst>
                  <a:ext uri="{FF2B5EF4-FFF2-40B4-BE49-F238E27FC236}">
                    <a16:creationId xmlns:a16="http://schemas.microsoft.com/office/drawing/2014/main" id="{EB41D371-39DB-4628-9A7A-C7537B3EDFC2}"/>
                  </a:ext>
                </a:extLst>
              </p:cNvPr>
              <p:cNvSpPr/>
              <p:nvPr/>
            </p:nvSpPr>
            <p:spPr>
              <a:xfrm>
                <a:off x="682271" y="4773142"/>
                <a:ext cx="428625" cy="1495425"/>
              </a:xfrm>
              <a:custGeom>
                <a:avLst/>
                <a:gdLst>
                  <a:gd name="connsiteX0" fmla="*/ 151848 w 428625"/>
                  <a:gd name="connsiteY0" fmla="*/ 7144 h 1495425"/>
                  <a:gd name="connsiteX1" fmla="*/ 90030 w 428625"/>
                  <a:gd name="connsiteY1" fmla="*/ 94012 h 1495425"/>
                  <a:gd name="connsiteX2" fmla="*/ 56597 w 428625"/>
                  <a:gd name="connsiteY2" fmla="*/ 238030 h 1495425"/>
                  <a:gd name="connsiteX3" fmla="*/ 8020 w 428625"/>
                  <a:gd name="connsiteY3" fmla="*/ 430720 h 1495425"/>
                  <a:gd name="connsiteX4" fmla="*/ 74695 w 428625"/>
                  <a:gd name="connsiteY4" fmla="*/ 941927 h 1495425"/>
                  <a:gd name="connsiteX5" fmla="*/ 112795 w 428625"/>
                  <a:gd name="connsiteY5" fmla="*/ 1452753 h 1495425"/>
                  <a:gd name="connsiteX6" fmla="*/ 122320 w 428625"/>
                  <a:gd name="connsiteY6" fmla="*/ 1494473 h 1495425"/>
                  <a:gd name="connsiteX7" fmla="*/ 289008 w 428625"/>
                  <a:gd name="connsiteY7" fmla="*/ 1464945 h 1495425"/>
                  <a:gd name="connsiteX8" fmla="*/ 289008 w 428625"/>
                  <a:gd name="connsiteY8" fmla="*/ 1464945 h 1495425"/>
                  <a:gd name="connsiteX9" fmla="*/ 298533 w 428625"/>
                  <a:gd name="connsiteY9" fmla="*/ 1441990 h 1495425"/>
                  <a:gd name="connsiteX10" fmla="*/ 323869 w 428625"/>
                  <a:gd name="connsiteY10" fmla="*/ 589693 h 1495425"/>
                  <a:gd name="connsiteX11" fmla="*/ 428073 w 428625"/>
                  <a:gd name="connsiteY11" fmla="*/ 10954 h 1495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28625" h="1495425">
                    <a:moveTo>
                      <a:pt x="151848" y="7144"/>
                    </a:moveTo>
                    <a:cubicBezTo>
                      <a:pt x="127667" y="33382"/>
                      <a:pt x="106897" y="62569"/>
                      <a:pt x="90030" y="94012"/>
                    </a:cubicBezTo>
                    <a:cubicBezTo>
                      <a:pt x="69266" y="136779"/>
                      <a:pt x="56597" y="238030"/>
                      <a:pt x="56597" y="238030"/>
                    </a:cubicBezTo>
                    <a:cubicBezTo>
                      <a:pt x="56597" y="238030"/>
                      <a:pt x="-553" y="365474"/>
                      <a:pt x="8020" y="430720"/>
                    </a:cubicBezTo>
                    <a:cubicBezTo>
                      <a:pt x="16593" y="495967"/>
                      <a:pt x="74695" y="941927"/>
                      <a:pt x="74695" y="941927"/>
                    </a:cubicBezTo>
                    <a:cubicBezTo>
                      <a:pt x="74695" y="941927"/>
                      <a:pt x="71837" y="1375505"/>
                      <a:pt x="112795" y="1452753"/>
                    </a:cubicBezTo>
                    <a:lnTo>
                      <a:pt x="122320" y="1494473"/>
                    </a:lnTo>
                    <a:lnTo>
                      <a:pt x="289008" y="1464945"/>
                    </a:lnTo>
                    <a:lnTo>
                      <a:pt x="289008" y="1464945"/>
                    </a:lnTo>
                    <a:lnTo>
                      <a:pt x="298533" y="1441990"/>
                    </a:lnTo>
                    <a:lnTo>
                      <a:pt x="323869" y="589693"/>
                    </a:lnTo>
                    <a:lnTo>
                      <a:pt x="428073" y="10954"/>
                    </a:ln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9" name="Полилиния: фигура 838">
                <a:extLst>
                  <a:ext uri="{FF2B5EF4-FFF2-40B4-BE49-F238E27FC236}">
                    <a16:creationId xmlns:a16="http://schemas.microsoft.com/office/drawing/2014/main" id="{9D0D7994-EC5C-42E8-81B9-899AF1CF12E8}"/>
                  </a:ext>
                </a:extLst>
              </p:cNvPr>
              <p:cNvSpPr/>
              <p:nvPr/>
            </p:nvSpPr>
            <p:spPr>
              <a:xfrm>
                <a:off x="899555" y="4773999"/>
                <a:ext cx="28575" cy="180975"/>
              </a:xfrm>
              <a:custGeom>
                <a:avLst/>
                <a:gdLst>
                  <a:gd name="connsiteX0" fmla="*/ 9144 w 28575"/>
                  <a:gd name="connsiteY0" fmla="*/ 180404 h 180975"/>
                  <a:gd name="connsiteX1" fmla="*/ 8001 w 28575"/>
                  <a:gd name="connsiteY1" fmla="*/ 173641 h 180975"/>
                  <a:gd name="connsiteX2" fmla="*/ 7144 w 28575"/>
                  <a:gd name="connsiteY2" fmla="*/ 154591 h 180975"/>
                  <a:gd name="connsiteX3" fmla="*/ 10858 w 28575"/>
                  <a:gd name="connsiteY3" fmla="*/ 93250 h 180975"/>
                  <a:gd name="connsiteX4" fmla="*/ 17907 w 28575"/>
                  <a:gd name="connsiteY4" fmla="*/ 32290 h 180975"/>
                  <a:gd name="connsiteX5" fmla="*/ 21145 w 28575"/>
                  <a:gd name="connsiteY5" fmla="*/ 7144 h 180975"/>
                  <a:gd name="connsiteX6" fmla="*/ 21145 w 28575"/>
                  <a:gd name="connsiteY6" fmla="*/ 32576 h 180975"/>
                  <a:gd name="connsiteX7" fmla="*/ 15240 w 28575"/>
                  <a:gd name="connsiteY7" fmla="*/ 93631 h 180975"/>
                  <a:gd name="connsiteX8" fmla="*/ 10382 w 28575"/>
                  <a:gd name="connsiteY8" fmla="*/ 154686 h 180975"/>
                  <a:gd name="connsiteX9" fmla="*/ 9144 w 28575"/>
                  <a:gd name="connsiteY9" fmla="*/ 180404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575" h="180975">
                    <a:moveTo>
                      <a:pt x="9144" y="180404"/>
                    </a:moveTo>
                    <a:cubicBezTo>
                      <a:pt x="8419" y="178221"/>
                      <a:pt x="8034" y="175940"/>
                      <a:pt x="8001" y="173641"/>
                    </a:cubicBezTo>
                    <a:cubicBezTo>
                      <a:pt x="8001" y="169259"/>
                      <a:pt x="7239" y="162878"/>
                      <a:pt x="7144" y="154591"/>
                    </a:cubicBezTo>
                    <a:cubicBezTo>
                      <a:pt x="7238" y="134091"/>
                      <a:pt x="8478" y="113612"/>
                      <a:pt x="10858" y="93250"/>
                    </a:cubicBezTo>
                    <a:cubicBezTo>
                      <a:pt x="13525" y="70009"/>
                      <a:pt x="16002" y="49054"/>
                      <a:pt x="17907" y="32290"/>
                    </a:cubicBezTo>
                    <a:cubicBezTo>
                      <a:pt x="18501" y="23853"/>
                      <a:pt x="19583" y="15457"/>
                      <a:pt x="21145" y="7144"/>
                    </a:cubicBezTo>
                    <a:cubicBezTo>
                      <a:pt x="22026" y="15598"/>
                      <a:pt x="22026" y="24121"/>
                      <a:pt x="21145" y="32576"/>
                    </a:cubicBezTo>
                    <a:cubicBezTo>
                      <a:pt x="20098" y="48292"/>
                      <a:pt x="17812" y="69914"/>
                      <a:pt x="15240" y="93631"/>
                    </a:cubicBezTo>
                    <a:cubicBezTo>
                      <a:pt x="12668" y="117348"/>
                      <a:pt x="10858" y="138970"/>
                      <a:pt x="10382" y="154686"/>
                    </a:cubicBezTo>
                    <a:cubicBezTo>
                      <a:pt x="9906" y="170402"/>
                      <a:pt x="9811" y="180404"/>
                      <a:pt x="9144" y="18040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0" name="Полилиния: фигура 839">
                <a:extLst>
                  <a:ext uri="{FF2B5EF4-FFF2-40B4-BE49-F238E27FC236}">
                    <a16:creationId xmlns:a16="http://schemas.microsoft.com/office/drawing/2014/main" id="{8DD47EC1-C377-4070-BE7F-E0FD9E6D686E}"/>
                  </a:ext>
                </a:extLst>
              </p:cNvPr>
              <p:cNvSpPr/>
              <p:nvPr/>
            </p:nvSpPr>
            <p:spPr>
              <a:xfrm>
                <a:off x="922173" y="4774761"/>
                <a:ext cx="19050" cy="76200"/>
              </a:xfrm>
              <a:custGeom>
                <a:avLst/>
                <a:gdLst>
                  <a:gd name="connsiteX0" fmla="*/ 17387 w 19050"/>
                  <a:gd name="connsiteY0" fmla="*/ 77057 h 76200"/>
                  <a:gd name="connsiteX1" fmla="*/ 9100 w 19050"/>
                  <a:gd name="connsiteY1" fmla="*/ 42577 h 76200"/>
                  <a:gd name="connsiteX2" fmla="*/ 8147 w 19050"/>
                  <a:gd name="connsiteY2" fmla="*/ 7144 h 76200"/>
                  <a:gd name="connsiteX3" fmla="*/ 13100 w 19050"/>
                  <a:gd name="connsiteY3" fmla="*/ 42101 h 76200"/>
                  <a:gd name="connsiteX4" fmla="*/ 17387 w 19050"/>
                  <a:gd name="connsiteY4" fmla="*/ 77058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76200">
                    <a:moveTo>
                      <a:pt x="17387" y="77057"/>
                    </a:moveTo>
                    <a:cubicBezTo>
                      <a:pt x="12847" y="66065"/>
                      <a:pt x="10051" y="54431"/>
                      <a:pt x="9100" y="42577"/>
                    </a:cubicBezTo>
                    <a:cubicBezTo>
                      <a:pt x="6864" y="30895"/>
                      <a:pt x="6542" y="18928"/>
                      <a:pt x="8147" y="7144"/>
                    </a:cubicBezTo>
                    <a:cubicBezTo>
                      <a:pt x="10560" y="18675"/>
                      <a:pt x="12215" y="30353"/>
                      <a:pt x="13100" y="42101"/>
                    </a:cubicBezTo>
                    <a:cubicBezTo>
                      <a:pt x="15289" y="53647"/>
                      <a:pt x="16721" y="65324"/>
                      <a:pt x="17387" y="77058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1" name="Полилиния: фигура 840">
                <a:extLst>
                  <a:ext uri="{FF2B5EF4-FFF2-40B4-BE49-F238E27FC236}">
                    <a16:creationId xmlns:a16="http://schemas.microsoft.com/office/drawing/2014/main" id="{3A0C6693-CAF8-4CF6-B4F4-C532E80EAF4C}"/>
                  </a:ext>
                </a:extLst>
              </p:cNvPr>
              <p:cNvSpPr/>
              <p:nvPr/>
            </p:nvSpPr>
            <p:spPr>
              <a:xfrm>
                <a:off x="1009471" y="4795584"/>
                <a:ext cx="38100" cy="38100"/>
              </a:xfrm>
              <a:custGeom>
                <a:avLst/>
                <a:gdLst>
                  <a:gd name="connsiteX0" fmla="*/ 37150 w 38100"/>
                  <a:gd name="connsiteY0" fmla="*/ 21944 h 38100"/>
                  <a:gd name="connsiteX1" fmla="*/ 30768 w 38100"/>
                  <a:gd name="connsiteY1" fmla="*/ 12419 h 38100"/>
                  <a:gd name="connsiteX2" fmla="*/ 19338 w 38100"/>
                  <a:gd name="connsiteY2" fmla="*/ 11276 h 38100"/>
                  <a:gd name="connsiteX3" fmla="*/ 12463 w 38100"/>
                  <a:gd name="connsiteY3" fmla="*/ 26499 h 38100"/>
                  <a:gd name="connsiteX4" fmla="*/ 19338 w 38100"/>
                  <a:gd name="connsiteY4" fmla="*/ 33375 h 38100"/>
                  <a:gd name="connsiteX5" fmla="*/ 30673 w 38100"/>
                  <a:gd name="connsiteY5" fmla="*/ 31755 h 38100"/>
                  <a:gd name="connsiteX6" fmla="*/ 36769 w 38100"/>
                  <a:gd name="connsiteY6" fmla="*/ 22230 h 38100"/>
                  <a:gd name="connsiteX7" fmla="*/ 36769 w 38100"/>
                  <a:gd name="connsiteY7" fmla="*/ 25755 h 38100"/>
                  <a:gd name="connsiteX8" fmla="*/ 32102 w 38100"/>
                  <a:gd name="connsiteY8" fmla="*/ 34327 h 38100"/>
                  <a:gd name="connsiteX9" fmla="*/ 17719 w 38100"/>
                  <a:gd name="connsiteY9" fmla="*/ 37184 h 38100"/>
                  <a:gd name="connsiteX10" fmla="*/ 7146 w 38100"/>
                  <a:gd name="connsiteY10" fmla="*/ 22802 h 38100"/>
                  <a:gd name="connsiteX11" fmla="*/ 17243 w 38100"/>
                  <a:gd name="connsiteY11" fmla="*/ 8038 h 38100"/>
                  <a:gd name="connsiteX12" fmla="*/ 31626 w 38100"/>
                  <a:gd name="connsiteY12" fmla="*/ 10419 h 38100"/>
                  <a:gd name="connsiteX13" fmla="*/ 36674 w 38100"/>
                  <a:gd name="connsiteY13" fmla="*/ 18706 h 38100"/>
                  <a:gd name="connsiteX14" fmla="*/ 37150 w 38100"/>
                  <a:gd name="connsiteY14" fmla="*/ 2194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8100" h="38100">
                    <a:moveTo>
                      <a:pt x="37150" y="21944"/>
                    </a:moveTo>
                    <a:cubicBezTo>
                      <a:pt x="36483" y="21944"/>
                      <a:pt x="37150" y="16515"/>
                      <a:pt x="30768" y="12419"/>
                    </a:cubicBezTo>
                    <a:cubicBezTo>
                      <a:pt x="27388" y="10155"/>
                      <a:pt x="23100" y="9726"/>
                      <a:pt x="19338" y="11276"/>
                    </a:cubicBezTo>
                    <a:cubicBezTo>
                      <a:pt x="13236" y="13582"/>
                      <a:pt x="10158" y="20397"/>
                      <a:pt x="12463" y="26499"/>
                    </a:cubicBezTo>
                    <a:cubicBezTo>
                      <a:pt x="13661" y="29672"/>
                      <a:pt x="16166" y="32176"/>
                      <a:pt x="19338" y="33375"/>
                    </a:cubicBezTo>
                    <a:cubicBezTo>
                      <a:pt x="23151" y="34753"/>
                      <a:pt x="27399" y="34146"/>
                      <a:pt x="30673" y="31755"/>
                    </a:cubicBezTo>
                    <a:cubicBezTo>
                      <a:pt x="33622" y="29270"/>
                      <a:pt x="35748" y="25949"/>
                      <a:pt x="36769" y="22230"/>
                    </a:cubicBezTo>
                    <a:cubicBezTo>
                      <a:pt x="36769" y="22230"/>
                      <a:pt x="37436" y="23468"/>
                      <a:pt x="36769" y="25755"/>
                    </a:cubicBezTo>
                    <a:cubicBezTo>
                      <a:pt x="36344" y="29096"/>
                      <a:pt x="34678" y="32156"/>
                      <a:pt x="32102" y="34327"/>
                    </a:cubicBezTo>
                    <a:cubicBezTo>
                      <a:pt x="28127" y="37709"/>
                      <a:pt x="22685" y="38790"/>
                      <a:pt x="17719" y="37184"/>
                    </a:cubicBezTo>
                    <a:cubicBezTo>
                      <a:pt x="11516" y="35098"/>
                      <a:pt x="7287" y="29345"/>
                      <a:pt x="7146" y="22802"/>
                    </a:cubicBezTo>
                    <a:cubicBezTo>
                      <a:pt x="7026" y="16233"/>
                      <a:pt x="11078" y="10308"/>
                      <a:pt x="17243" y="8038"/>
                    </a:cubicBezTo>
                    <a:cubicBezTo>
                      <a:pt x="22124" y="6264"/>
                      <a:pt x="27577" y="7167"/>
                      <a:pt x="31626" y="10419"/>
                    </a:cubicBezTo>
                    <a:cubicBezTo>
                      <a:pt x="34282" y="12456"/>
                      <a:pt x="36083" y="15411"/>
                      <a:pt x="36674" y="18706"/>
                    </a:cubicBezTo>
                    <a:cubicBezTo>
                      <a:pt x="37722" y="20706"/>
                      <a:pt x="37436" y="22040"/>
                      <a:pt x="37150" y="2194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2" name="Полилиния: фигура 841">
                <a:extLst>
                  <a:ext uri="{FF2B5EF4-FFF2-40B4-BE49-F238E27FC236}">
                    <a16:creationId xmlns:a16="http://schemas.microsoft.com/office/drawing/2014/main" id="{207262AE-A09E-49B2-83DF-D0C0BCA42780}"/>
                  </a:ext>
                </a:extLst>
              </p:cNvPr>
              <p:cNvSpPr/>
              <p:nvPr/>
            </p:nvSpPr>
            <p:spPr>
              <a:xfrm>
                <a:off x="973890" y="5750502"/>
                <a:ext cx="28575" cy="466725"/>
              </a:xfrm>
              <a:custGeom>
                <a:avLst/>
                <a:gdLst>
                  <a:gd name="connsiteX0" fmla="*/ 20438 w 28575"/>
                  <a:gd name="connsiteY0" fmla="*/ 7144 h 466725"/>
                  <a:gd name="connsiteX1" fmla="*/ 20438 w 28575"/>
                  <a:gd name="connsiteY1" fmla="*/ 11811 h 466725"/>
                  <a:gd name="connsiteX2" fmla="*/ 20438 w 28575"/>
                  <a:gd name="connsiteY2" fmla="*/ 25146 h 466725"/>
                  <a:gd name="connsiteX3" fmla="*/ 19676 w 28575"/>
                  <a:gd name="connsiteY3" fmla="*/ 74200 h 466725"/>
                  <a:gd name="connsiteX4" fmla="*/ 13676 w 28575"/>
                  <a:gd name="connsiteY4" fmla="*/ 236125 h 466725"/>
                  <a:gd name="connsiteX5" fmla="*/ 8246 w 28575"/>
                  <a:gd name="connsiteY5" fmla="*/ 398050 h 466725"/>
                  <a:gd name="connsiteX6" fmla="*/ 7294 w 28575"/>
                  <a:gd name="connsiteY6" fmla="*/ 447008 h 466725"/>
                  <a:gd name="connsiteX7" fmla="*/ 7294 w 28575"/>
                  <a:gd name="connsiteY7" fmla="*/ 460343 h 466725"/>
                  <a:gd name="connsiteX8" fmla="*/ 7294 w 28575"/>
                  <a:gd name="connsiteY8" fmla="*/ 465010 h 466725"/>
                  <a:gd name="connsiteX9" fmla="*/ 7294 w 28575"/>
                  <a:gd name="connsiteY9" fmla="*/ 460343 h 466725"/>
                  <a:gd name="connsiteX10" fmla="*/ 7294 w 28575"/>
                  <a:gd name="connsiteY10" fmla="*/ 447008 h 466725"/>
                  <a:gd name="connsiteX11" fmla="*/ 7294 w 28575"/>
                  <a:gd name="connsiteY11" fmla="*/ 398050 h 466725"/>
                  <a:gd name="connsiteX12" fmla="*/ 11580 w 28575"/>
                  <a:gd name="connsiteY12" fmla="*/ 236125 h 466725"/>
                  <a:gd name="connsiteX13" fmla="*/ 18724 w 28575"/>
                  <a:gd name="connsiteY13" fmla="*/ 74676 h 466725"/>
                  <a:gd name="connsiteX14" fmla="*/ 20819 w 28575"/>
                  <a:gd name="connsiteY14" fmla="*/ 25718 h 466725"/>
                  <a:gd name="connsiteX15" fmla="*/ 21486 w 28575"/>
                  <a:gd name="connsiteY15" fmla="*/ 12382 h 466725"/>
                  <a:gd name="connsiteX16" fmla="*/ 20438 w 28575"/>
                  <a:gd name="connsiteY16" fmla="*/ 7144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575" h="466725">
                    <a:moveTo>
                      <a:pt x="20438" y="7144"/>
                    </a:moveTo>
                    <a:cubicBezTo>
                      <a:pt x="20560" y="8697"/>
                      <a:pt x="20560" y="10258"/>
                      <a:pt x="20438" y="11811"/>
                    </a:cubicBezTo>
                    <a:lnTo>
                      <a:pt x="20438" y="25146"/>
                    </a:lnTo>
                    <a:cubicBezTo>
                      <a:pt x="20438" y="36766"/>
                      <a:pt x="20438" y="53721"/>
                      <a:pt x="19676" y="74200"/>
                    </a:cubicBezTo>
                    <a:cubicBezTo>
                      <a:pt x="18724" y="115538"/>
                      <a:pt x="16438" y="172688"/>
                      <a:pt x="13676" y="236125"/>
                    </a:cubicBezTo>
                    <a:cubicBezTo>
                      <a:pt x="10913" y="299561"/>
                      <a:pt x="9104" y="356330"/>
                      <a:pt x="8246" y="398050"/>
                    </a:cubicBezTo>
                    <a:cubicBezTo>
                      <a:pt x="8246" y="418338"/>
                      <a:pt x="7484" y="434912"/>
                      <a:pt x="7294" y="447008"/>
                    </a:cubicBezTo>
                    <a:cubicBezTo>
                      <a:pt x="7294" y="452438"/>
                      <a:pt x="7294" y="456533"/>
                      <a:pt x="7294" y="460343"/>
                    </a:cubicBezTo>
                    <a:cubicBezTo>
                      <a:pt x="7394" y="461897"/>
                      <a:pt x="7394" y="463456"/>
                      <a:pt x="7294" y="465010"/>
                    </a:cubicBezTo>
                    <a:cubicBezTo>
                      <a:pt x="7094" y="463461"/>
                      <a:pt x="7094" y="461892"/>
                      <a:pt x="7294" y="460343"/>
                    </a:cubicBezTo>
                    <a:cubicBezTo>
                      <a:pt x="7294" y="456914"/>
                      <a:pt x="7294" y="452438"/>
                      <a:pt x="7294" y="447008"/>
                    </a:cubicBezTo>
                    <a:cubicBezTo>
                      <a:pt x="7294" y="435483"/>
                      <a:pt x="7294" y="418433"/>
                      <a:pt x="7294" y="398050"/>
                    </a:cubicBezTo>
                    <a:cubicBezTo>
                      <a:pt x="7294" y="356616"/>
                      <a:pt x="8913" y="299466"/>
                      <a:pt x="11580" y="236125"/>
                    </a:cubicBezTo>
                    <a:cubicBezTo>
                      <a:pt x="14247" y="172784"/>
                      <a:pt x="16914" y="116491"/>
                      <a:pt x="18724" y="74676"/>
                    </a:cubicBezTo>
                    <a:cubicBezTo>
                      <a:pt x="19581" y="54388"/>
                      <a:pt x="20248" y="37814"/>
                      <a:pt x="20819" y="25718"/>
                    </a:cubicBezTo>
                    <a:cubicBezTo>
                      <a:pt x="20819" y="20288"/>
                      <a:pt x="20819" y="16193"/>
                      <a:pt x="21486" y="12382"/>
                    </a:cubicBezTo>
                    <a:cubicBezTo>
                      <a:pt x="20833" y="10711"/>
                      <a:pt x="20479" y="8938"/>
                      <a:pt x="20438" y="714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3" name="Полилиния: фигура 842">
                <a:extLst>
                  <a:ext uri="{FF2B5EF4-FFF2-40B4-BE49-F238E27FC236}">
                    <a16:creationId xmlns:a16="http://schemas.microsoft.com/office/drawing/2014/main" id="{06B8CD1C-AF40-4FD5-891A-D6537D560C47}"/>
                  </a:ext>
                </a:extLst>
              </p:cNvPr>
              <p:cNvSpPr/>
              <p:nvPr/>
            </p:nvSpPr>
            <p:spPr>
              <a:xfrm>
                <a:off x="820021" y="4777905"/>
                <a:ext cx="495300" cy="1371600"/>
              </a:xfrm>
              <a:custGeom>
                <a:avLst/>
                <a:gdLst>
                  <a:gd name="connsiteX0" fmla="*/ 399193 w 495300"/>
                  <a:gd name="connsiteY0" fmla="*/ 119443 h 1371600"/>
                  <a:gd name="connsiteX1" fmla="*/ 490061 w 495300"/>
                  <a:gd name="connsiteY1" fmla="*/ 772763 h 1371600"/>
                  <a:gd name="connsiteX2" fmla="*/ 159544 w 495300"/>
                  <a:gd name="connsiteY2" fmla="*/ 1370266 h 1371600"/>
                  <a:gd name="connsiteX3" fmla="*/ 7144 w 495300"/>
                  <a:gd name="connsiteY3" fmla="*/ 1203865 h 1371600"/>
                  <a:gd name="connsiteX4" fmla="*/ 229743 w 495300"/>
                  <a:gd name="connsiteY4" fmla="*/ 789908 h 1371600"/>
                  <a:gd name="connsiteX5" fmla="*/ 154781 w 495300"/>
                  <a:gd name="connsiteY5" fmla="*/ 377666 h 1371600"/>
                  <a:gd name="connsiteX6" fmla="*/ 255461 w 495300"/>
                  <a:gd name="connsiteY6" fmla="*/ 9144 h 1371600"/>
                  <a:gd name="connsiteX7" fmla="*/ 386429 w 495300"/>
                  <a:gd name="connsiteY7" fmla="*/ 7144 h 137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5300" h="1371600">
                    <a:moveTo>
                      <a:pt x="399193" y="119443"/>
                    </a:moveTo>
                    <a:cubicBezTo>
                      <a:pt x="399193" y="119443"/>
                      <a:pt x="481298" y="677513"/>
                      <a:pt x="490061" y="772763"/>
                    </a:cubicBezTo>
                    <a:cubicBezTo>
                      <a:pt x="498824" y="868013"/>
                      <a:pt x="159544" y="1370266"/>
                      <a:pt x="159544" y="1370266"/>
                    </a:cubicBezTo>
                    <a:lnTo>
                      <a:pt x="7144" y="1203865"/>
                    </a:lnTo>
                    <a:lnTo>
                      <a:pt x="229743" y="789908"/>
                    </a:lnTo>
                    <a:lnTo>
                      <a:pt x="154781" y="377666"/>
                    </a:lnTo>
                    <a:lnTo>
                      <a:pt x="255461" y="9144"/>
                    </a:lnTo>
                    <a:lnTo>
                      <a:pt x="386429" y="7144"/>
                    </a:ln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4" name="Полилиния: фигура 843">
                <a:extLst>
                  <a:ext uri="{FF2B5EF4-FFF2-40B4-BE49-F238E27FC236}">
                    <a16:creationId xmlns:a16="http://schemas.microsoft.com/office/drawing/2014/main" id="{B48E48EC-BA80-48DC-AF57-AD21F489BC42}"/>
                  </a:ext>
                </a:extLst>
              </p:cNvPr>
              <p:cNvSpPr/>
              <p:nvPr/>
            </p:nvSpPr>
            <p:spPr>
              <a:xfrm>
                <a:off x="762649" y="5089562"/>
                <a:ext cx="285750" cy="1181100"/>
              </a:xfrm>
              <a:custGeom>
                <a:avLst/>
                <a:gdLst>
                  <a:gd name="connsiteX0" fmla="*/ 7271 w 285750"/>
                  <a:gd name="connsiteY0" fmla="*/ 1002792 h 1181100"/>
                  <a:gd name="connsiteX1" fmla="*/ 8414 w 285750"/>
                  <a:gd name="connsiteY1" fmla="*/ 1014889 h 1181100"/>
                  <a:gd name="connsiteX2" fmla="*/ 14129 w 285750"/>
                  <a:gd name="connsiteY2" fmla="*/ 1049655 h 1181100"/>
                  <a:gd name="connsiteX3" fmla="*/ 40799 w 285750"/>
                  <a:gd name="connsiteY3" fmla="*/ 1178338 h 1181100"/>
                  <a:gd name="connsiteX4" fmla="*/ 40799 w 285750"/>
                  <a:gd name="connsiteY4" fmla="*/ 1179481 h 1181100"/>
                  <a:gd name="connsiteX5" fmla="*/ 41942 w 285750"/>
                  <a:gd name="connsiteY5" fmla="*/ 1179481 h 1181100"/>
                  <a:gd name="connsiteX6" fmla="*/ 208725 w 285750"/>
                  <a:gd name="connsiteY6" fmla="*/ 1150239 h 1181100"/>
                  <a:gd name="connsiteX7" fmla="*/ 209963 w 285750"/>
                  <a:gd name="connsiteY7" fmla="*/ 1150239 h 1181100"/>
                  <a:gd name="connsiteX8" fmla="*/ 209963 w 285750"/>
                  <a:gd name="connsiteY8" fmla="*/ 1148906 h 1181100"/>
                  <a:gd name="connsiteX9" fmla="*/ 226060 w 285750"/>
                  <a:gd name="connsiteY9" fmla="*/ 751142 h 1181100"/>
                  <a:gd name="connsiteX10" fmla="*/ 242633 w 285750"/>
                  <a:gd name="connsiteY10" fmla="*/ 326898 h 1181100"/>
                  <a:gd name="connsiteX11" fmla="*/ 242633 w 285750"/>
                  <a:gd name="connsiteY11" fmla="*/ 326898 h 1181100"/>
                  <a:gd name="connsiteX12" fmla="*/ 272637 w 285750"/>
                  <a:gd name="connsiteY12" fmla="*/ 94869 h 1181100"/>
                  <a:gd name="connsiteX13" fmla="*/ 281019 w 285750"/>
                  <a:gd name="connsiteY13" fmla="*/ 29909 h 1181100"/>
                  <a:gd name="connsiteX14" fmla="*/ 283019 w 285750"/>
                  <a:gd name="connsiteY14" fmla="*/ 12954 h 1181100"/>
                  <a:gd name="connsiteX15" fmla="*/ 283019 w 285750"/>
                  <a:gd name="connsiteY15" fmla="*/ 7144 h 1181100"/>
                  <a:gd name="connsiteX16" fmla="*/ 282067 w 285750"/>
                  <a:gd name="connsiteY16" fmla="*/ 12954 h 1181100"/>
                  <a:gd name="connsiteX17" fmla="*/ 279590 w 285750"/>
                  <a:gd name="connsiteY17" fmla="*/ 29813 h 1181100"/>
                  <a:gd name="connsiteX18" fmla="*/ 270637 w 285750"/>
                  <a:gd name="connsiteY18" fmla="*/ 94202 h 1181100"/>
                  <a:gd name="connsiteX19" fmla="*/ 239300 w 285750"/>
                  <a:gd name="connsiteY19" fmla="*/ 326041 h 1181100"/>
                  <a:gd name="connsiteX20" fmla="*/ 239300 w 285750"/>
                  <a:gd name="connsiteY20" fmla="*/ 326041 h 1181100"/>
                  <a:gd name="connsiteX21" fmla="*/ 222155 w 285750"/>
                  <a:gd name="connsiteY21" fmla="*/ 750189 h 1181100"/>
                  <a:gd name="connsiteX22" fmla="*/ 206629 w 285750"/>
                  <a:gd name="connsiteY22" fmla="*/ 1148049 h 1181100"/>
                  <a:gd name="connsiteX23" fmla="*/ 207867 w 285750"/>
                  <a:gd name="connsiteY23" fmla="*/ 1146525 h 1181100"/>
                  <a:gd name="connsiteX24" fmla="*/ 41275 w 285750"/>
                  <a:gd name="connsiteY24" fmla="*/ 1176528 h 1181100"/>
                  <a:gd name="connsiteX25" fmla="*/ 42704 w 285750"/>
                  <a:gd name="connsiteY25" fmla="*/ 1177481 h 1181100"/>
                  <a:gd name="connsiteX26" fmla="*/ 14986 w 285750"/>
                  <a:gd name="connsiteY26" fmla="*/ 1048988 h 1181100"/>
                  <a:gd name="connsiteX27" fmla="*/ 8604 w 285750"/>
                  <a:gd name="connsiteY27" fmla="*/ 1014413 h 1181100"/>
                  <a:gd name="connsiteX28" fmla="*/ 7271 w 285750"/>
                  <a:gd name="connsiteY28" fmla="*/ 1005459 h 1181100"/>
                  <a:gd name="connsiteX29" fmla="*/ 7271 w 285750"/>
                  <a:gd name="connsiteY29" fmla="*/ 1002792 h 1181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85750" h="1181100">
                    <a:moveTo>
                      <a:pt x="7271" y="1002792"/>
                    </a:moveTo>
                    <a:cubicBezTo>
                      <a:pt x="7392" y="1006845"/>
                      <a:pt x="7774" y="1010885"/>
                      <a:pt x="8414" y="1014889"/>
                    </a:cubicBezTo>
                    <a:cubicBezTo>
                      <a:pt x="9461" y="1022890"/>
                      <a:pt x="11366" y="1034606"/>
                      <a:pt x="14129" y="1049655"/>
                    </a:cubicBezTo>
                    <a:cubicBezTo>
                      <a:pt x="19653" y="1079850"/>
                      <a:pt x="28702" y="1123664"/>
                      <a:pt x="40799" y="1178338"/>
                    </a:cubicBezTo>
                    <a:lnTo>
                      <a:pt x="40799" y="1179481"/>
                    </a:lnTo>
                    <a:lnTo>
                      <a:pt x="41942" y="1179481"/>
                    </a:lnTo>
                    <a:lnTo>
                      <a:pt x="208725" y="1150239"/>
                    </a:lnTo>
                    <a:lnTo>
                      <a:pt x="209963" y="1150239"/>
                    </a:lnTo>
                    <a:lnTo>
                      <a:pt x="209963" y="1148906"/>
                    </a:lnTo>
                    <a:cubicBezTo>
                      <a:pt x="214630" y="1034606"/>
                      <a:pt x="220154" y="897731"/>
                      <a:pt x="226060" y="751142"/>
                    </a:cubicBezTo>
                    <a:cubicBezTo>
                      <a:pt x="232251" y="593312"/>
                      <a:pt x="237966" y="447008"/>
                      <a:pt x="242633" y="326898"/>
                    </a:cubicBezTo>
                    <a:lnTo>
                      <a:pt x="242633" y="326898"/>
                    </a:lnTo>
                    <a:cubicBezTo>
                      <a:pt x="255111" y="230410"/>
                      <a:pt x="265494" y="150686"/>
                      <a:pt x="272637" y="94869"/>
                    </a:cubicBezTo>
                    <a:lnTo>
                      <a:pt x="281019" y="29909"/>
                    </a:lnTo>
                    <a:lnTo>
                      <a:pt x="283019" y="12954"/>
                    </a:lnTo>
                    <a:cubicBezTo>
                      <a:pt x="283019" y="9144"/>
                      <a:pt x="283019" y="7144"/>
                      <a:pt x="283019" y="7144"/>
                    </a:cubicBezTo>
                    <a:cubicBezTo>
                      <a:pt x="283019" y="7144"/>
                      <a:pt x="283019" y="9144"/>
                      <a:pt x="282067" y="12954"/>
                    </a:cubicBezTo>
                    <a:cubicBezTo>
                      <a:pt x="281115" y="16764"/>
                      <a:pt x="280638" y="22479"/>
                      <a:pt x="279590" y="29813"/>
                    </a:cubicBezTo>
                    <a:cubicBezTo>
                      <a:pt x="277495" y="44768"/>
                      <a:pt x="274447" y="66485"/>
                      <a:pt x="270637" y="94202"/>
                    </a:cubicBezTo>
                    <a:cubicBezTo>
                      <a:pt x="263112" y="149924"/>
                      <a:pt x="252254" y="229648"/>
                      <a:pt x="239300" y="326041"/>
                    </a:cubicBezTo>
                    <a:lnTo>
                      <a:pt x="239300" y="326041"/>
                    </a:lnTo>
                    <a:cubicBezTo>
                      <a:pt x="234442" y="446056"/>
                      <a:pt x="228536" y="592741"/>
                      <a:pt x="222155" y="750189"/>
                    </a:cubicBezTo>
                    <a:cubicBezTo>
                      <a:pt x="216440" y="896874"/>
                      <a:pt x="211010" y="1033653"/>
                      <a:pt x="206629" y="1148049"/>
                    </a:cubicBezTo>
                    <a:lnTo>
                      <a:pt x="207867" y="1146525"/>
                    </a:lnTo>
                    <a:lnTo>
                      <a:pt x="41275" y="1176528"/>
                    </a:lnTo>
                    <a:lnTo>
                      <a:pt x="42704" y="1177481"/>
                    </a:lnTo>
                    <a:cubicBezTo>
                      <a:pt x="30321" y="1122807"/>
                      <a:pt x="20891" y="1079087"/>
                      <a:pt x="14986" y="1048988"/>
                    </a:cubicBezTo>
                    <a:cubicBezTo>
                      <a:pt x="12033" y="1033939"/>
                      <a:pt x="9842" y="1022318"/>
                      <a:pt x="8604" y="1014413"/>
                    </a:cubicBezTo>
                    <a:cubicBezTo>
                      <a:pt x="7937" y="1010508"/>
                      <a:pt x="7556" y="1007459"/>
                      <a:pt x="7271" y="1005459"/>
                    </a:cubicBezTo>
                    <a:cubicBezTo>
                      <a:pt x="6985" y="1003459"/>
                      <a:pt x="7271" y="1002792"/>
                      <a:pt x="7271" y="100279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5" name="Полилиния: фигура 844">
                <a:extLst>
                  <a:ext uri="{FF2B5EF4-FFF2-40B4-BE49-F238E27FC236}">
                    <a16:creationId xmlns:a16="http://schemas.microsoft.com/office/drawing/2014/main" id="{DD4C235F-1C13-47B5-A015-44F2F0729683}"/>
                  </a:ext>
                </a:extLst>
              </p:cNvPr>
              <p:cNvSpPr/>
              <p:nvPr/>
            </p:nvSpPr>
            <p:spPr>
              <a:xfrm>
                <a:off x="625608" y="4688750"/>
                <a:ext cx="723900" cy="971550"/>
              </a:xfrm>
              <a:custGeom>
                <a:avLst/>
                <a:gdLst>
                  <a:gd name="connsiteX0" fmla="*/ 175268 w 723900"/>
                  <a:gd name="connsiteY0" fmla="*/ 57531 h 971550"/>
                  <a:gd name="connsiteX1" fmla="*/ 63540 w 723900"/>
                  <a:gd name="connsiteY1" fmla="*/ 213836 h 971550"/>
                  <a:gd name="connsiteX2" fmla="*/ 12105 w 723900"/>
                  <a:gd name="connsiteY2" fmla="*/ 973836 h 971550"/>
                  <a:gd name="connsiteX3" fmla="*/ 725337 w 723900"/>
                  <a:gd name="connsiteY3" fmla="*/ 963359 h 971550"/>
                  <a:gd name="connsiteX4" fmla="*/ 647327 w 723900"/>
                  <a:gd name="connsiteY4" fmla="*/ 333565 h 971550"/>
                  <a:gd name="connsiteX5" fmla="*/ 592463 w 723900"/>
                  <a:gd name="connsiteY5" fmla="*/ 84963 h 971550"/>
                  <a:gd name="connsiteX6" fmla="*/ 567507 w 723900"/>
                  <a:gd name="connsiteY6" fmla="*/ 7144 h 971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3900" h="971550">
                    <a:moveTo>
                      <a:pt x="175268" y="57531"/>
                    </a:moveTo>
                    <a:cubicBezTo>
                      <a:pt x="175268" y="57531"/>
                      <a:pt x="98496" y="147638"/>
                      <a:pt x="63540" y="213836"/>
                    </a:cubicBezTo>
                    <a:cubicBezTo>
                      <a:pt x="-16470" y="365188"/>
                      <a:pt x="12105" y="973836"/>
                      <a:pt x="12105" y="973836"/>
                    </a:cubicBezTo>
                    <a:lnTo>
                      <a:pt x="725337" y="963359"/>
                    </a:lnTo>
                    <a:lnTo>
                      <a:pt x="647327" y="333565"/>
                    </a:lnTo>
                    <a:cubicBezTo>
                      <a:pt x="636840" y="249167"/>
                      <a:pt x="618472" y="165936"/>
                      <a:pt x="592463" y="84963"/>
                    </a:cubicBezTo>
                    <a:lnTo>
                      <a:pt x="567507" y="7144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6" name="Полилиния: фигура 845">
                <a:extLst>
                  <a:ext uri="{FF2B5EF4-FFF2-40B4-BE49-F238E27FC236}">
                    <a16:creationId xmlns:a16="http://schemas.microsoft.com/office/drawing/2014/main" id="{559D3CB0-AC00-46FA-B68A-70917BF29111}"/>
                  </a:ext>
                </a:extLst>
              </p:cNvPr>
              <p:cNvSpPr/>
              <p:nvPr/>
            </p:nvSpPr>
            <p:spPr>
              <a:xfrm>
                <a:off x="842196" y="3787400"/>
                <a:ext cx="266700" cy="542925"/>
              </a:xfrm>
              <a:custGeom>
                <a:avLst/>
                <a:gdLst>
                  <a:gd name="connsiteX0" fmla="*/ 255193 w 266700"/>
                  <a:gd name="connsiteY0" fmla="*/ 130969 h 542925"/>
                  <a:gd name="connsiteX1" fmla="*/ 121843 w 266700"/>
                  <a:gd name="connsiteY1" fmla="*/ 7144 h 542925"/>
                  <a:gd name="connsiteX2" fmla="*/ 114890 w 266700"/>
                  <a:gd name="connsiteY2" fmla="*/ 7144 h 542925"/>
                  <a:gd name="connsiteX3" fmla="*/ 7829 w 266700"/>
                  <a:gd name="connsiteY3" fmla="*/ 152400 h 542925"/>
                  <a:gd name="connsiteX4" fmla="*/ 20497 w 266700"/>
                  <a:gd name="connsiteY4" fmla="*/ 452628 h 542925"/>
                  <a:gd name="connsiteX5" fmla="*/ 28308 w 266700"/>
                  <a:gd name="connsiteY5" fmla="*/ 464344 h 542925"/>
                  <a:gd name="connsiteX6" fmla="*/ 196805 w 266700"/>
                  <a:gd name="connsiteY6" fmla="*/ 543401 h 542925"/>
                  <a:gd name="connsiteX7" fmla="*/ 191566 w 266700"/>
                  <a:gd name="connsiteY7" fmla="*/ 385763 h 542925"/>
                  <a:gd name="connsiteX8" fmla="*/ 264814 w 266700"/>
                  <a:gd name="connsiteY8" fmla="*/ 302609 h 542925"/>
                  <a:gd name="connsiteX9" fmla="*/ 255193 w 266700"/>
                  <a:gd name="connsiteY9" fmla="*/ 130969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6700" h="542925">
                    <a:moveTo>
                      <a:pt x="255193" y="130969"/>
                    </a:moveTo>
                    <a:cubicBezTo>
                      <a:pt x="249609" y="61344"/>
                      <a:pt x="191690" y="7563"/>
                      <a:pt x="121843" y="7144"/>
                    </a:cubicBezTo>
                    <a:lnTo>
                      <a:pt x="114890" y="7144"/>
                    </a:lnTo>
                    <a:cubicBezTo>
                      <a:pt x="39833" y="11335"/>
                      <a:pt x="1447" y="77533"/>
                      <a:pt x="7829" y="152400"/>
                    </a:cubicBezTo>
                    <a:lnTo>
                      <a:pt x="20497" y="452628"/>
                    </a:lnTo>
                    <a:cubicBezTo>
                      <a:pt x="20765" y="457667"/>
                      <a:pt x="23760" y="462159"/>
                      <a:pt x="28308" y="464344"/>
                    </a:cubicBezTo>
                    <a:lnTo>
                      <a:pt x="196805" y="543401"/>
                    </a:lnTo>
                    <a:lnTo>
                      <a:pt x="191566" y="385763"/>
                    </a:lnTo>
                    <a:cubicBezTo>
                      <a:pt x="191566" y="385763"/>
                      <a:pt x="263766" y="374714"/>
                      <a:pt x="264814" y="302609"/>
                    </a:cubicBezTo>
                    <a:cubicBezTo>
                      <a:pt x="265099" y="267748"/>
                      <a:pt x="260337" y="195929"/>
                      <a:pt x="255193" y="130969"/>
                    </a:cubicBezTo>
                    <a:close/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7" name="Полилиния: фигура 846">
                <a:extLst>
                  <a:ext uri="{FF2B5EF4-FFF2-40B4-BE49-F238E27FC236}">
                    <a16:creationId xmlns:a16="http://schemas.microsoft.com/office/drawing/2014/main" id="{2D5C807C-659C-41F5-B6D0-44D87AB62B4F}"/>
                  </a:ext>
                </a:extLst>
              </p:cNvPr>
              <p:cNvSpPr/>
              <p:nvPr/>
            </p:nvSpPr>
            <p:spPr>
              <a:xfrm>
                <a:off x="932606" y="4138110"/>
                <a:ext cx="104775" cy="57150"/>
              </a:xfrm>
              <a:custGeom>
                <a:avLst/>
                <a:gdLst>
                  <a:gd name="connsiteX0" fmla="*/ 101537 w 104775"/>
                  <a:gd name="connsiteY0" fmla="*/ 34957 h 57150"/>
                  <a:gd name="connsiteX1" fmla="*/ 7144 w 104775"/>
                  <a:gd name="connsiteY1" fmla="*/ 7144 h 57150"/>
                  <a:gd name="connsiteX2" fmla="*/ 101251 w 104775"/>
                  <a:gd name="connsiteY2" fmla="*/ 52673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57150">
                    <a:moveTo>
                      <a:pt x="101537" y="34957"/>
                    </a:moveTo>
                    <a:cubicBezTo>
                      <a:pt x="68060" y="34901"/>
                      <a:pt x="35302" y="25249"/>
                      <a:pt x="7144" y="7144"/>
                    </a:cubicBezTo>
                    <a:cubicBezTo>
                      <a:pt x="7144" y="7144"/>
                      <a:pt x="29242" y="59055"/>
                      <a:pt x="101251" y="52673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8" name="Полилиния: фигура 847">
                <a:extLst>
                  <a:ext uri="{FF2B5EF4-FFF2-40B4-BE49-F238E27FC236}">
                    <a16:creationId xmlns:a16="http://schemas.microsoft.com/office/drawing/2014/main" id="{81FDDE31-FC81-4EC1-B280-7298ADC7B7DB}"/>
                  </a:ext>
                </a:extLst>
              </p:cNvPr>
              <p:cNvSpPr/>
              <p:nvPr/>
            </p:nvSpPr>
            <p:spPr>
              <a:xfrm>
                <a:off x="1049954" y="3948302"/>
                <a:ext cx="28575" cy="28575"/>
              </a:xfrm>
              <a:custGeom>
                <a:avLst/>
                <a:gdLst>
                  <a:gd name="connsiteX0" fmla="*/ 27337 w 28575"/>
                  <a:gd name="connsiteY0" fmla="*/ 16739 h 28575"/>
                  <a:gd name="connsiteX1" fmla="*/ 17812 w 28575"/>
                  <a:gd name="connsiteY1" fmla="*/ 27121 h 28575"/>
                  <a:gd name="connsiteX2" fmla="*/ 7213 w 28575"/>
                  <a:gd name="connsiteY2" fmla="*/ 18808 h 28575"/>
                  <a:gd name="connsiteX3" fmla="*/ 7144 w 28575"/>
                  <a:gd name="connsiteY3" fmla="*/ 17596 h 28575"/>
                  <a:gd name="connsiteX4" fmla="*/ 16669 w 28575"/>
                  <a:gd name="connsiteY4" fmla="*/ 7214 h 28575"/>
                  <a:gd name="connsiteX5" fmla="*/ 27268 w 28575"/>
                  <a:gd name="connsiteY5" fmla="*/ 15526 h 28575"/>
                  <a:gd name="connsiteX6" fmla="*/ 27337 w 28575"/>
                  <a:gd name="connsiteY6" fmla="*/ 1673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28575">
                    <a:moveTo>
                      <a:pt x="27337" y="16739"/>
                    </a:moveTo>
                    <a:cubicBezTo>
                      <a:pt x="27402" y="22172"/>
                      <a:pt x="23231" y="26719"/>
                      <a:pt x="17812" y="27121"/>
                    </a:cubicBezTo>
                    <a:cubicBezTo>
                      <a:pt x="12590" y="27752"/>
                      <a:pt x="7844" y="24030"/>
                      <a:pt x="7213" y="18808"/>
                    </a:cubicBezTo>
                    <a:cubicBezTo>
                      <a:pt x="7164" y="18406"/>
                      <a:pt x="7141" y="18001"/>
                      <a:pt x="7144" y="17596"/>
                    </a:cubicBezTo>
                    <a:cubicBezTo>
                      <a:pt x="7126" y="12181"/>
                      <a:pt x="11272" y="7661"/>
                      <a:pt x="16669" y="7214"/>
                    </a:cubicBezTo>
                    <a:cubicBezTo>
                      <a:pt x="21891" y="6582"/>
                      <a:pt x="26637" y="10304"/>
                      <a:pt x="27268" y="15526"/>
                    </a:cubicBezTo>
                    <a:cubicBezTo>
                      <a:pt x="27317" y="15929"/>
                      <a:pt x="27340" y="16333"/>
                      <a:pt x="27337" y="1673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9" name="Полилиния: фигура 848">
                <a:extLst>
                  <a:ext uri="{FF2B5EF4-FFF2-40B4-BE49-F238E27FC236}">
                    <a16:creationId xmlns:a16="http://schemas.microsoft.com/office/drawing/2014/main" id="{974A36C2-E5F5-4BEF-910B-0A8464A4646B}"/>
                  </a:ext>
                </a:extLst>
              </p:cNvPr>
              <p:cNvSpPr/>
              <p:nvPr/>
            </p:nvSpPr>
            <p:spPr>
              <a:xfrm>
                <a:off x="1034394" y="3931894"/>
                <a:ext cx="47625" cy="19050"/>
              </a:xfrm>
              <a:custGeom>
                <a:avLst/>
                <a:gdLst>
                  <a:gd name="connsiteX0" fmla="*/ 48136 w 47625"/>
                  <a:gd name="connsiteY0" fmla="*/ 18003 h 19050"/>
                  <a:gd name="connsiteX1" fmla="*/ 27943 w 47625"/>
                  <a:gd name="connsiteY1" fmla="*/ 13621 h 19050"/>
                  <a:gd name="connsiteX2" fmla="*/ 7560 w 47625"/>
                  <a:gd name="connsiteY2" fmla="*/ 17717 h 19050"/>
                  <a:gd name="connsiteX3" fmla="*/ 11751 w 47625"/>
                  <a:gd name="connsiteY3" fmla="*/ 12192 h 19050"/>
                  <a:gd name="connsiteX4" fmla="*/ 28134 w 47625"/>
                  <a:gd name="connsiteY4" fmla="*/ 7144 h 19050"/>
                  <a:gd name="connsiteX5" fmla="*/ 44136 w 47625"/>
                  <a:gd name="connsiteY5" fmla="*/ 12383 h 19050"/>
                  <a:gd name="connsiteX6" fmla="*/ 48136 w 47625"/>
                  <a:gd name="connsiteY6" fmla="*/ 18003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48136" y="18003"/>
                    </a:moveTo>
                    <a:cubicBezTo>
                      <a:pt x="46803" y="19336"/>
                      <a:pt x="38611" y="13526"/>
                      <a:pt x="27943" y="13621"/>
                    </a:cubicBezTo>
                    <a:cubicBezTo>
                      <a:pt x="17275" y="13716"/>
                      <a:pt x="8893" y="19146"/>
                      <a:pt x="7560" y="17717"/>
                    </a:cubicBezTo>
                    <a:cubicBezTo>
                      <a:pt x="6226" y="16288"/>
                      <a:pt x="8226" y="14764"/>
                      <a:pt x="11751" y="12192"/>
                    </a:cubicBezTo>
                    <a:cubicBezTo>
                      <a:pt x="16566" y="8873"/>
                      <a:pt x="22285" y="7111"/>
                      <a:pt x="28134" y="7144"/>
                    </a:cubicBezTo>
                    <a:cubicBezTo>
                      <a:pt x="33894" y="7110"/>
                      <a:pt x="39510" y="8948"/>
                      <a:pt x="44136" y="12383"/>
                    </a:cubicBezTo>
                    <a:cubicBezTo>
                      <a:pt x="47374" y="14955"/>
                      <a:pt x="48708" y="17431"/>
                      <a:pt x="48136" y="1800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0" name="Полилиния: фигура 849">
                <a:extLst>
                  <a:ext uri="{FF2B5EF4-FFF2-40B4-BE49-F238E27FC236}">
                    <a16:creationId xmlns:a16="http://schemas.microsoft.com/office/drawing/2014/main" id="{B97F6CBE-0618-4FE3-A826-190011848D36}"/>
                  </a:ext>
                </a:extLst>
              </p:cNvPr>
              <p:cNvSpPr/>
              <p:nvPr/>
            </p:nvSpPr>
            <p:spPr>
              <a:xfrm>
                <a:off x="944893" y="3950219"/>
                <a:ext cx="28575" cy="28575"/>
              </a:xfrm>
              <a:custGeom>
                <a:avLst/>
                <a:gdLst>
                  <a:gd name="connsiteX0" fmla="*/ 27242 w 28575"/>
                  <a:gd name="connsiteY0" fmla="*/ 16727 h 28575"/>
                  <a:gd name="connsiteX1" fmla="*/ 17717 w 28575"/>
                  <a:gd name="connsiteY1" fmla="*/ 27110 h 28575"/>
                  <a:gd name="connsiteX2" fmla="*/ 7202 w 28575"/>
                  <a:gd name="connsiteY2" fmla="*/ 18690 h 28575"/>
                  <a:gd name="connsiteX3" fmla="*/ 7145 w 28575"/>
                  <a:gd name="connsiteY3" fmla="*/ 17585 h 28575"/>
                  <a:gd name="connsiteX4" fmla="*/ 16670 w 28575"/>
                  <a:gd name="connsiteY4" fmla="*/ 7202 h 28575"/>
                  <a:gd name="connsiteX5" fmla="*/ 27185 w 28575"/>
                  <a:gd name="connsiteY5" fmla="*/ 15622 h 28575"/>
                  <a:gd name="connsiteX6" fmla="*/ 27242 w 28575"/>
                  <a:gd name="connsiteY6" fmla="*/ 1672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28575">
                    <a:moveTo>
                      <a:pt x="27242" y="16727"/>
                    </a:moveTo>
                    <a:cubicBezTo>
                      <a:pt x="27307" y="22161"/>
                      <a:pt x="23136" y="26708"/>
                      <a:pt x="17717" y="27110"/>
                    </a:cubicBezTo>
                    <a:cubicBezTo>
                      <a:pt x="12489" y="27688"/>
                      <a:pt x="7781" y="23919"/>
                      <a:pt x="7202" y="18690"/>
                    </a:cubicBezTo>
                    <a:cubicBezTo>
                      <a:pt x="7162" y="18323"/>
                      <a:pt x="7142" y="17954"/>
                      <a:pt x="7145" y="17585"/>
                    </a:cubicBezTo>
                    <a:cubicBezTo>
                      <a:pt x="7079" y="12151"/>
                      <a:pt x="11251" y="7604"/>
                      <a:pt x="16670" y="7202"/>
                    </a:cubicBezTo>
                    <a:cubicBezTo>
                      <a:pt x="21898" y="6624"/>
                      <a:pt x="26606" y="10393"/>
                      <a:pt x="27185" y="15622"/>
                    </a:cubicBezTo>
                    <a:cubicBezTo>
                      <a:pt x="27225" y="15989"/>
                      <a:pt x="27245" y="16358"/>
                      <a:pt x="27242" y="1672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1" name="Полилиния: фигура 850">
                <a:extLst>
                  <a:ext uri="{FF2B5EF4-FFF2-40B4-BE49-F238E27FC236}">
                    <a16:creationId xmlns:a16="http://schemas.microsoft.com/office/drawing/2014/main" id="{C690D58A-9FE0-412F-905F-C1538876C71B}"/>
                  </a:ext>
                </a:extLst>
              </p:cNvPr>
              <p:cNvSpPr/>
              <p:nvPr/>
            </p:nvSpPr>
            <p:spPr>
              <a:xfrm>
                <a:off x="924639" y="3931894"/>
                <a:ext cx="47625" cy="19050"/>
              </a:xfrm>
              <a:custGeom>
                <a:avLst/>
                <a:gdLst>
                  <a:gd name="connsiteX0" fmla="*/ 48163 w 47625"/>
                  <a:gd name="connsiteY0" fmla="*/ 18003 h 19050"/>
                  <a:gd name="connsiteX1" fmla="*/ 28065 w 47625"/>
                  <a:gd name="connsiteY1" fmla="*/ 13621 h 19050"/>
                  <a:gd name="connsiteX2" fmla="*/ 7586 w 47625"/>
                  <a:gd name="connsiteY2" fmla="*/ 17717 h 19050"/>
                  <a:gd name="connsiteX3" fmla="*/ 11872 w 47625"/>
                  <a:gd name="connsiteY3" fmla="*/ 12192 h 19050"/>
                  <a:gd name="connsiteX4" fmla="*/ 28255 w 47625"/>
                  <a:gd name="connsiteY4" fmla="*/ 7144 h 19050"/>
                  <a:gd name="connsiteX5" fmla="*/ 44257 w 47625"/>
                  <a:gd name="connsiteY5" fmla="*/ 12383 h 19050"/>
                  <a:gd name="connsiteX6" fmla="*/ 48163 w 47625"/>
                  <a:gd name="connsiteY6" fmla="*/ 18003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9050">
                    <a:moveTo>
                      <a:pt x="48163" y="18003"/>
                    </a:moveTo>
                    <a:cubicBezTo>
                      <a:pt x="46924" y="19336"/>
                      <a:pt x="38638" y="13526"/>
                      <a:pt x="28065" y="13621"/>
                    </a:cubicBezTo>
                    <a:cubicBezTo>
                      <a:pt x="17492" y="13716"/>
                      <a:pt x="9015" y="19146"/>
                      <a:pt x="7586" y="17717"/>
                    </a:cubicBezTo>
                    <a:cubicBezTo>
                      <a:pt x="6157" y="16288"/>
                      <a:pt x="8348" y="14764"/>
                      <a:pt x="11872" y="12192"/>
                    </a:cubicBezTo>
                    <a:cubicBezTo>
                      <a:pt x="16688" y="8873"/>
                      <a:pt x="22406" y="7111"/>
                      <a:pt x="28255" y="7144"/>
                    </a:cubicBezTo>
                    <a:cubicBezTo>
                      <a:pt x="34011" y="7144"/>
                      <a:pt x="39617" y="8979"/>
                      <a:pt x="44257" y="12383"/>
                    </a:cubicBezTo>
                    <a:cubicBezTo>
                      <a:pt x="47686" y="14955"/>
                      <a:pt x="48829" y="17431"/>
                      <a:pt x="48163" y="1800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2" name="Полилиния: фигура 851">
                <a:extLst>
                  <a:ext uri="{FF2B5EF4-FFF2-40B4-BE49-F238E27FC236}">
                    <a16:creationId xmlns:a16="http://schemas.microsoft.com/office/drawing/2014/main" id="{C46DD658-9073-4AFF-B414-0ECCA617911D}"/>
                  </a:ext>
                </a:extLst>
              </p:cNvPr>
              <p:cNvSpPr/>
              <p:nvPr/>
            </p:nvSpPr>
            <p:spPr>
              <a:xfrm>
                <a:off x="1000520" y="3938276"/>
                <a:ext cx="38100" cy="104775"/>
              </a:xfrm>
              <a:custGeom>
                <a:avLst/>
                <a:gdLst>
                  <a:gd name="connsiteX0" fmla="*/ 12382 w 38100"/>
                  <a:gd name="connsiteY0" fmla="*/ 99441 h 104775"/>
                  <a:gd name="connsiteX1" fmla="*/ 30385 w 38100"/>
                  <a:gd name="connsiteY1" fmla="*/ 96298 h 104775"/>
                  <a:gd name="connsiteX2" fmla="*/ 36385 w 38100"/>
                  <a:gd name="connsiteY2" fmla="*/ 93440 h 104775"/>
                  <a:gd name="connsiteX3" fmla="*/ 34481 w 38100"/>
                  <a:gd name="connsiteY3" fmla="*/ 85058 h 104775"/>
                  <a:gd name="connsiteX4" fmla="*/ 26194 w 38100"/>
                  <a:gd name="connsiteY4" fmla="*/ 63532 h 104775"/>
                  <a:gd name="connsiteX5" fmla="*/ 7144 w 38100"/>
                  <a:gd name="connsiteY5" fmla="*/ 7144 h 104775"/>
                  <a:gd name="connsiteX6" fmla="*/ 30290 w 38100"/>
                  <a:gd name="connsiteY6" fmla="*/ 61913 h 104775"/>
                  <a:gd name="connsiteX7" fmla="*/ 38290 w 38100"/>
                  <a:gd name="connsiteY7" fmla="*/ 83629 h 104775"/>
                  <a:gd name="connsiteX8" fmla="*/ 39719 w 38100"/>
                  <a:gd name="connsiteY8" fmla="*/ 94679 h 104775"/>
                  <a:gd name="connsiteX9" fmla="*/ 35052 w 38100"/>
                  <a:gd name="connsiteY9" fmla="*/ 98870 h 104775"/>
                  <a:gd name="connsiteX10" fmla="*/ 30290 w 38100"/>
                  <a:gd name="connsiteY10" fmla="*/ 99441 h 104775"/>
                  <a:gd name="connsiteX11" fmla="*/ 12383 w 38100"/>
                  <a:gd name="connsiteY11" fmla="*/ 99441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100" h="104775">
                    <a:moveTo>
                      <a:pt x="12382" y="99441"/>
                    </a:moveTo>
                    <a:cubicBezTo>
                      <a:pt x="18235" y="97675"/>
                      <a:pt x="24280" y="96619"/>
                      <a:pt x="30385" y="96298"/>
                    </a:cubicBezTo>
                    <a:cubicBezTo>
                      <a:pt x="33242" y="96298"/>
                      <a:pt x="35909" y="95440"/>
                      <a:pt x="36385" y="93440"/>
                    </a:cubicBezTo>
                    <a:cubicBezTo>
                      <a:pt x="36639" y="90516"/>
                      <a:pt x="35973" y="87586"/>
                      <a:pt x="34481" y="85058"/>
                    </a:cubicBezTo>
                    <a:cubicBezTo>
                      <a:pt x="31909" y="78200"/>
                      <a:pt x="29146" y="71056"/>
                      <a:pt x="26194" y="63532"/>
                    </a:cubicBezTo>
                    <a:cubicBezTo>
                      <a:pt x="18379" y="45263"/>
                      <a:pt x="12010" y="26409"/>
                      <a:pt x="7144" y="7144"/>
                    </a:cubicBezTo>
                    <a:cubicBezTo>
                      <a:pt x="16338" y="24739"/>
                      <a:pt x="24079" y="43056"/>
                      <a:pt x="30290" y="61913"/>
                    </a:cubicBezTo>
                    <a:lnTo>
                      <a:pt x="38290" y="83629"/>
                    </a:lnTo>
                    <a:cubicBezTo>
                      <a:pt x="40043" y="87032"/>
                      <a:pt x="40548" y="90942"/>
                      <a:pt x="39719" y="94679"/>
                    </a:cubicBezTo>
                    <a:cubicBezTo>
                      <a:pt x="38848" y="96688"/>
                      <a:pt x="37144" y="98218"/>
                      <a:pt x="35052" y="98870"/>
                    </a:cubicBezTo>
                    <a:cubicBezTo>
                      <a:pt x="33496" y="99267"/>
                      <a:pt x="31895" y="99459"/>
                      <a:pt x="30290" y="99441"/>
                    </a:cubicBezTo>
                    <a:cubicBezTo>
                      <a:pt x="24348" y="100246"/>
                      <a:pt x="18324" y="100246"/>
                      <a:pt x="12383" y="9944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3" name="Полилиния: фигура 852">
                <a:extLst>
                  <a:ext uri="{FF2B5EF4-FFF2-40B4-BE49-F238E27FC236}">
                    <a16:creationId xmlns:a16="http://schemas.microsoft.com/office/drawing/2014/main" id="{CCD511C7-8567-4B6C-A660-D0692F42DFA7}"/>
                  </a:ext>
                </a:extLst>
              </p:cNvPr>
              <p:cNvSpPr/>
              <p:nvPr/>
            </p:nvSpPr>
            <p:spPr>
              <a:xfrm>
                <a:off x="917708" y="3896488"/>
                <a:ext cx="57150" cy="28575"/>
              </a:xfrm>
              <a:custGeom>
                <a:avLst/>
                <a:gdLst>
                  <a:gd name="connsiteX0" fmla="*/ 58046 w 57150"/>
                  <a:gd name="connsiteY0" fmla="*/ 15499 h 28575"/>
                  <a:gd name="connsiteX1" fmla="*/ 32900 w 57150"/>
                  <a:gd name="connsiteY1" fmla="*/ 18642 h 28575"/>
                  <a:gd name="connsiteX2" fmla="*/ 7659 w 57150"/>
                  <a:gd name="connsiteY2" fmla="*/ 21024 h 28575"/>
                  <a:gd name="connsiteX3" fmla="*/ 12993 w 57150"/>
                  <a:gd name="connsiteY3" fmla="*/ 13975 h 28575"/>
                  <a:gd name="connsiteX4" fmla="*/ 32043 w 57150"/>
                  <a:gd name="connsiteY4" fmla="*/ 7403 h 28575"/>
                  <a:gd name="connsiteX5" fmla="*/ 51760 w 57150"/>
                  <a:gd name="connsiteY5" fmla="*/ 9784 h 28575"/>
                  <a:gd name="connsiteX6" fmla="*/ 58046 w 57150"/>
                  <a:gd name="connsiteY6" fmla="*/ 1549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150" h="28575">
                    <a:moveTo>
                      <a:pt x="58046" y="15499"/>
                    </a:moveTo>
                    <a:cubicBezTo>
                      <a:pt x="56999" y="18547"/>
                      <a:pt x="45950" y="17118"/>
                      <a:pt x="32900" y="18642"/>
                    </a:cubicBezTo>
                    <a:cubicBezTo>
                      <a:pt x="19851" y="20166"/>
                      <a:pt x="9374" y="23691"/>
                      <a:pt x="7659" y="21024"/>
                    </a:cubicBezTo>
                    <a:cubicBezTo>
                      <a:pt x="5945" y="18357"/>
                      <a:pt x="8707" y="16833"/>
                      <a:pt x="12993" y="13975"/>
                    </a:cubicBezTo>
                    <a:cubicBezTo>
                      <a:pt x="18702" y="10243"/>
                      <a:pt x="25247" y="7985"/>
                      <a:pt x="32043" y="7403"/>
                    </a:cubicBezTo>
                    <a:cubicBezTo>
                      <a:pt x="38711" y="6674"/>
                      <a:pt x="45457" y="7488"/>
                      <a:pt x="51760" y="9784"/>
                    </a:cubicBezTo>
                    <a:cubicBezTo>
                      <a:pt x="56141" y="11689"/>
                      <a:pt x="58523" y="14070"/>
                      <a:pt x="58046" y="1549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4" name="Полилиния: фигура 853">
                <a:extLst>
                  <a:ext uri="{FF2B5EF4-FFF2-40B4-BE49-F238E27FC236}">
                    <a16:creationId xmlns:a16="http://schemas.microsoft.com/office/drawing/2014/main" id="{E4A5671D-04F2-459E-BA28-19F85AA0C7DC}"/>
                  </a:ext>
                </a:extLst>
              </p:cNvPr>
              <p:cNvSpPr/>
              <p:nvPr/>
            </p:nvSpPr>
            <p:spPr>
              <a:xfrm>
                <a:off x="1032219" y="3903104"/>
                <a:ext cx="47625" cy="19050"/>
              </a:xfrm>
              <a:custGeom>
                <a:avLst/>
                <a:gdLst>
                  <a:gd name="connsiteX0" fmla="*/ 45548 w 47625"/>
                  <a:gd name="connsiteY0" fmla="*/ 18408 h 19050"/>
                  <a:gd name="connsiteX1" fmla="*/ 26498 w 47625"/>
                  <a:gd name="connsiteY1" fmla="*/ 18408 h 19050"/>
                  <a:gd name="connsiteX2" fmla="*/ 7448 w 47625"/>
                  <a:gd name="connsiteY2" fmla="*/ 17455 h 19050"/>
                  <a:gd name="connsiteX3" fmla="*/ 11258 w 47625"/>
                  <a:gd name="connsiteY3" fmla="*/ 11264 h 19050"/>
                  <a:gd name="connsiteX4" fmla="*/ 41452 w 47625"/>
                  <a:gd name="connsiteY4" fmla="*/ 12312 h 19050"/>
                  <a:gd name="connsiteX5" fmla="*/ 45548 w 47625"/>
                  <a:gd name="connsiteY5" fmla="*/ 18408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625" h="19050">
                    <a:moveTo>
                      <a:pt x="45548" y="18408"/>
                    </a:moveTo>
                    <a:cubicBezTo>
                      <a:pt x="43643" y="20884"/>
                      <a:pt x="36023" y="18408"/>
                      <a:pt x="26498" y="18408"/>
                    </a:cubicBezTo>
                    <a:cubicBezTo>
                      <a:pt x="16973" y="18408"/>
                      <a:pt x="9544" y="20122"/>
                      <a:pt x="7448" y="17455"/>
                    </a:cubicBezTo>
                    <a:cubicBezTo>
                      <a:pt x="6591" y="16217"/>
                      <a:pt x="7448" y="13645"/>
                      <a:pt x="11258" y="11264"/>
                    </a:cubicBezTo>
                    <a:cubicBezTo>
                      <a:pt x="20591" y="5410"/>
                      <a:pt x="32547" y="5825"/>
                      <a:pt x="41452" y="12312"/>
                    </a:cubicBezTo>
                    <a:cubicBezTo>
                      <a:pt x="45358" y="14598"/>
                      <a:pt x="46405" y="17169"/>
                      <a:pt x="45548" y="18408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5" name="Полилиния: фигура 854">
                <a:extLst>
                  <a:ext uri="{FF2B5EF4-FFF2-40B4-BE49-F238E27FC236}">
                    <a16:creationId xmlns:a16="http://schemas.microsoft.com/office/drawing/2014/main" id="{67069AAF-265A-4179-A9EB-F937A095D1A6}"/>
                  </a:ext>
                </a:extLst>
              </p:cNvPr>
              <p:cNvSpPr/>
              <p:nvPr/>
            </p:nvSpPr>
            <p:spPr>
              <a:xfrm>
                <a:off x="806726" y="3983675"/>
                <a:ext cx="57150" cy="85725"/>
              </a:xfrm>
              <a:custGeom>
                <a:avLst/>
                <a:gdLst>
                  <a:gd name="connsiteX0" fmla="*/ 54824 w 57150"/>
                  <a:gd name="connsiteY0" fmla="*/ 9465 h 85725"/>
                  <a:gd name="connsiteX1" fmla="*/ 7199 w 57150"/>
                  <a:gd name="connsiteY1" fmla="*/ 44040 h 85725"/>
                  <a:gd name="connsiteX2" fmla="*/ 57872 w 57150"/>
                  <a:gd name="connsiteY2" fmla="*/ 80235 h 85725"/>
                  <a:gd name="connsiteX3" fmla="*/ 54824 w 57150"/>
                  <a:gd name="connsiteY3" fmla="*/ 9465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50" h="85725">
                    <a:moveTo>
                      <a:pt x="54824" y="9465"/>
                    </a:moveTo>
                    <a:cubicBezTo>
                      <a:pt x="53585" y="8893"/>
                      <a:pt x="5294" y="-5299"/>
                      <a:pt x="7199" y="44040"/>
                    </a:cubicBezTo>
                    <a:cubicBezTo>
                      <a:pt x="9104" y="93380"/>
                      <a:pt x="57872" y="82140"/>
                      <a:pt x="57872" y="80235"/>
                    </a:cubicBezTo>
                    <a:cubicBezTo>
                      <a:pt x="57872" y="78330"/>
                      <a:pt x="54824" y="9465"/>
                      <a:pt x="54824" y="9465"/>
                    </a:cubicBezTo>
                    <a:close/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6" name="Полилиния: фигура 855">
                <a:extLst>
                  <a:ext uri="{FF2B5EF4-FFF2-40B4-BE49-F238E27FC236}">
                    <a16:creationId xmlns:a16="http://schemas.microsoft.com/office/drawing/2014/main" id="{825FF47A-1943-4440-ADFF-0B820A27FF96}"/>
                  </a:ext>
                </a:extLst>
              </p:cNvPr>
              <p:cNvSpPr/>
              <p:nvPr/>
            </p:nvSpPr>
            <p:spPr>
              <a:xfrm>
                <a:off x="822058" y="3999241"/>
                <a:ext cx="28575" cy="57150"/>
              </a:xfrm>
              <a:custGeom>
                <a:avLst/>
                <a:gdLst>
                  <a:gd name="connsiteX0" fmla="*/ 29682 w 28575"/>
                  <a:gd name="connsiteY0" fmla="*/ 46477 h 57150"/>
                  <a:gd name="connsiteX1" fmla="*/ 27396 w 28575"/>
                  <a:gd name="connsiteY1" fmla="*/ 47811 h 57150"/>
                  <a:gd name="connsiteX2" fmla="*/ 21014 w 28575"/>
                  <a:gd name="connsiteY2" fmla="*/ 47811 h 57150"/>
                  <a:gd name="connsiteX3" fmla="*/ 10632 w 28575"/>
                  <a:gd name="connsiteY3" fmla="*/ 28761 h 57150"/>
                  <a:gd name="connsiteX4" fmla="*/ 12632 w 28575"/>
                  <a:gd name="connsiteY4" fmla="*/ 16378 h 57150"/>
                  <a:gd name="connsiteX5" fmla="*/ 18919 w 28575"/>
                  <a:gd name="connsiteY5" fmla="*/ 9615 h 57150"/>
                  <a:gd name="connsiteX6" fmla="*/ 24062 w 28575"/>
                  <a:gd name="connsiteY6" fmla="*/ 11806 h 57150"/>
                  <a:gd name="connsiteX7" fmla="*/ 24729 w 28575"/>
                  <a:gd name="connsiteY7" fmla="*/ 14283 h 57150"/>
                  <a:gd name="connsiteX8" fmla="*/ 25300 w 28575"/>
                  <a:gd name="connsiteY8" fmla="*/ 11330 h 57150"/>
                  <a:gd name="connsiteX9" fmla="*/ 23300 w 28575"/>
                  <a:gd name="connsiteY9" fmla="*/ 8377 h 57150"/>
                  <a:gd name="connsiteX10" fmla="*/ 18537 w 28575"/>
                  <a:gd name="connsiteY10" fmla="*/ 7234 h 57150"/>
                  <a:gd name="connsiteX11" fmla="*/ 9774 w 28575"/>
                  <a:gd name="connsiteY11" fmla="*/ 15140 h 57150"/>
                  <a:gd name="connsiteX12" fmla="*/ 7203 w 28575"/>
                  <a:gd name="connsiteY12" fmla="*/ 28951 h 57150"/>
                  <a:gd name="connsiteX13" fmla="*/ 20347 w 28575"/>
                  <a:gd name="connsiteY13" fmla="*/ 49906 h 57150"/>
                  <a:gd name="connsiteX14" fmla="*/ 28158 w 28575"/>
                  <a:gd name="connsiteY14" fmla="*/ 48382 h 57150"/>
                  <a:gd name="connsiteX15" fmla="*/ 29682 w 28575"/>
                  <a:gd name="connsiteY15" fmla="*/ 46477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75" h="57150">
                    <a:moveTo>
                      <a:pt x="29682" y="46477"/>
                    </a:moveTo>
                    <a:cubicBezTo>
                      <a:pt x="29682" y="46477"/>
                      <a:pt x="28920" y="47144"/>
                      <a:pt x="27396" y="47811"/>
                    </a:cubicBezTo>
                    <a:cubicBezTo>
                      <a:pt x="25354" y="48663"/>
                      <a:pt x="23056" y="48663"/>
                      <a:pt x="21014" y="47811"/>
                    </a:cubicBezTo>
                    <a:cubicBezTo>
                      <a:pt x="14327" y="43840"/>
                      <a:pt x="10344" y="36533"/>
                      <a:pt x="10632" y="28761"/>
                    </a:cubicBezTo>
                    <a:cubicBezTo>
                      <a:pt x="10373" y="24536"/>
                      <a:pt x="11056" y="20307"/>
                      <a:pt x="12632" y="16378"/>
                    </a:cubicBezTo>
                    <a:cubicBezTo>
                      <a:pt x="13528" y="13250"/>
                      <a:pt x="15864" y="10737"/>
                      <a:pt x="18919" y="9615"/>
                    </a:cubicBezTo>
                    <a:cubicBezTo>
                      <a:pt x="20934" y="9054"/>
                      <a:pt x="23070" y="9963"/>
                      <a:pt x="24062" y="11806"/>
                    </a:cubicBezTo>
                    <a:cubicBezTo>
                      <a:pt x="24729" y="13140"/>
                      <a:pt x="24062" y="14187"/>
                      <a:pt x="24729" y="14283"/>
                    </a:cubicBezTo>
                    <a:cubicBezTo>
                      <a:pt x="25395" y="14378"/>
                      <a:pt x="25776" y="13425"/>
                      <a:pt x="25300" y="11330"/>
                    </a:cubicBezTo>
                    <a:cubicBezTo>
                      <a:pt x="25007" y="10139"/>
                      <a:pt x="24298" y="9091"/>
                      <a:pt x="23300" y="8377"/>
                    </a:cubicBezTo>
                    <a:cubicBezTo>
                      <a:pt x="21937" y="7358"/>
                      <a:pt x="20215" y="6944"/>
                      <a:pt x="18537" y="7234"/>
                    </a:cubicBezTo>
                    <a:cubicBezTo>
                      <a:pt x="14442" y="8169"/>
                      <a:pt x="11125" y="11162"/>
                      <a:pt x="9774" y="15140"/>
                    </a:cubicBezTo>
                    <a:cubicBezTo>
                      <a:pt x="7781" y="19458"/>
                      <a:pt x="6897" y="24205"/>
                      <a:pt x="7203" y="28951"/>
                    </a:cubicBezTo>
                    <a:cubicBezTo>
                      <a:pt x="6976" y="37943"/>
                      <a:pt x="12154" y="46197"/>
                      <a:pt x="20347" y="49906"/>
                    </a:cubicBezTo>
                    <a:cubicBezTo>
                      <a:pt x="23048" y="50562"/>
                      <a:pt x="25901" y="50005"/>
                      <a:pt x="28158" y="48382"/>
                    </a:cubicBezTo>
                    <a:cubicBezTo>
                      <a:pt x="29682" y="47620"/>
                      <a:pt x="29872" y="46572"/>
                      <a:pt x="29682" y="46477"/>
                    </a:cubicBezTo>
                    <a:close/>
                  </a:path>
                </a:pathLst>
              </a:custGeom>
              <a:solidFill>
                <a:srgbClr val="EB99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7" name="Полилиния: фигура 856">
                <a:extLst>
                  <a:ext uri="{FF2B5EF4-FFF2-40B4-BE49-F238E27FC236}">
                    <a16:creationId xmlns:a16="http://schemas.microsoft.com/office/drawing/2014/main" id="{D03FBEDB-5DDF-4A41-8DA9-6E08BE604144}"/>
                  </a:ext>
                </a:extLst>
              </p:cNvPr>
              <p:cNvSpPr/>
              <p:nvPr/>
            </p:nvSpPr>
            <p:spPr>
              <a:xfrm>
                <a:off x="822259" y="3775392"/>
                <a:ext cx="276225" cy="247650"/>
              </a:xfrm>
              <a:custGeom>
                <a:avLst/>
                <a:gdLst>
                  <a:gd name="connsiteX0" fmla="*/ 70438 w 276225"/>
                  <a:gd name="connsiteY0" fmla="*/ 71158 h 247650"/>
                  <a:gd name="connsiteX1" fmla="*/ 276178 w 276225"/>
                  <a:gd name="connsiteY1" fmla="*/ 75634 h 247650"/>
                  <a:gd name="connsiteX2" fmla="*/ 245888 w 276225"/>
                  <a:gd name="connsiteY2" fmla="*/ 40678 h 247650"/>
                  <a:gd name="connsiteX3" fmla="*/ 152829 w 276225"/>
                  <a:gd name="connsiteY3" fmla="*/ 7150 h 247650"/>
                  <a:gd name="connsiteX4" fmla="*/ 26623 w 276225"/>
                  <a:gd name="connsiteY4" fmla="*/ 70586 h 247650"/>
                  <a:gd name="connsiteX5" fmla="*/ 7573 w 276225"/>
                  <a:gd name="connsiteY5" fmla="*/ 105162 h 247650"/>
                  <a:gd name="connsiteX6" fmla="*/ 25289 w 276225"/>
                  <a:gd name="connsiteY6" fmla="*/ 188315 h 247650"/>
                  <a:gd name="connsiteX7" fmla="*/ 34243 w 276225"/>
                  <a:gd name="connsiteY7" fmla="*/ 242608 h 247650"/>
                  <a:gd name="connsiteX8" fmla="*/ 34243 w 276225"/>
                  <a:gd name="connsiteY8" fmla="*/ 242608 h 247650"/>
                  <a:gd name="connsiteX9" fmla="*/ 48149 w 276225"/>
                  <a:gd name="connsiteY9" fmla="*/ 222415 h 247650"/>
                  <a:gd name="connsiteX10" fmla="*/ 45959 w 276225"/>
                  <a:gd name="connsiteY10" fmla="*/ 178409 h 247650"/>
                  <a:gd name="connsiteX11" fmla="*/ 66247 w 276225"/>
                  <a:gd name="connsiteY11" fmla="*/ 100876 h 247650"/>
                  <a:gd name="connsiteX12" fmla="*/ 70438 w 276225"/>
                  <a:gd name="connsiteY12" fmla="*/ 7115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6225" h="247650">
                    <a:moveTo>
                      <a:pt x="70438" y="71158"/>
                    </a:moveTo>
                    <a:lnTo>
                      <a:pt x="276178" y="75634"/>
                    </a:lnTo>
                    <a:cubicBezTo>
                      <a:pt x="269130" y="61655"/>
                      <a:pt x="258722" y="49644"/>
                      <a:pt x="245888" y="40678"/>
                    </a:cubicBezTo>
                    <a:cubicBezTo>
                      <a:pt x="219125" y="20069"/>
                      <a:pt x="186587" y="8346"/>
                      <a:pt x="152829" y="7150"/>
                    </a:cubicBezTo>
                    <a:cubicBezTo>
                      <a:pt x="119206" y="6578"/>
                      <a:pt x="51007" y="47440"/>
                      <a:pt x="26623" y="70586"/>
                    </a:cubicBezTo>
                    <a:cubicBezTo>
                      <a:pt x="7573" y="89065"/>
                      <a:pt x="7573" y="105162"/>
                      <a:pt x="7573" y="105162"/>
                    </a:cubicBezTo>
                    <a:cubicBezTo>
                      <a:pt x="4430" y="131737"/>
                      <a:pt x="19384" y="162312"/>
                      <a:pt x="25289" y="188315"/>
                    </a:cubicBezTo>
                    <a:cubicBezTo>
                      <a:pt x="28337" y="201746"/>
                      <a:pt x="34243" y="242608"/>
                      <a:pt x="34243" y="242608"/>
                    </a:cubicBezTo>
                    <a:lnTo>
                      <a:pt x="34243" y="242608"/>
                    </a:lnTo>
                    <a:cubicBezTo>
                      <a:pt x="45578" y="242608"/>
                      <a:pt x="49864" y="233083"/>
                      <a:pt x="48149" y="222415"/>
                    </a:cubicBezTo>
                    <a:lnTo>
                      <a:pt x="45959" y="178409"/>
                    </a:lnTo>
                    <a:cubicBezTo>
                      <a:pt x="69233" y="159966"/>
                      <a:pt x="77505" y="128354"/>
                      <a:pt x="66247" y="100876"/>
                    </a:cubicBezTo>
                    <a:cubicBezTo>
                      <a:pt x="63104" y="96875"/>
                      <a:pt x="56912" y="78587"/>
                      <a:pt x="70438" y="71158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8" name="Полилиния: фигура 857">
                <a:extLst>
                  <a:ext uri="{FF2B5EF4-FFF2-40B4-BE49-F238E27FC236}">
                    <a16:creationId xmlns:a16="http://schemas.microsoft.com/office/drawing/2014/main" id="{D0C32A42-A09B-47F6-B7D9-10031D18437F}"/>
                  </a:ext>
                </a:extLst>
              </p:cNvPr>
              <p:cNvSpPr/>
              <p:nvPr/>
            </p:nvSpPr>
            <p:spPr>
              <a:xfrm>
                <a:off x="927233" y="3992723"/>
                <a:ext cx="9525" cy="9525"/>
              </a:xfrm>
              <a:custGeom>
                <a:avLst/>
                <a:gdLst>
                  <a:gd name="connsiteX0" fmla="*/ 8708 w 9525"/>
                  <a:gd name="connsiteY0" fmla="*/ 9752 h 9525"/>
                  <a:gd name="connsiteX1" fmla="*/ 7210 w 9525"/>
                  <a:gd name="connsiteY1" fmla="*/ 8845 h 9525"/>
                  <a:gd name="connsiteX2" fmla="*/ 7184 w 9525"/>
                  <a:gd name="connsiteY2" fmla="*/ 8704 h 9525"/>
                  <a:gd name="connsiteX3" fmla="*/ 8072 w 9525"/>
                  <a:gd name="connsiteY3" fmla="*/ 7195 h 9525"/>
                  <a:gd name="connsiteX4" fmla="*/ 8136 w 9525"/>
                  <a:gd name="connsiteY4" fmla="*/ 7180 h 9525"/>
                  <a:gd name="connsiteX5" fmla="*/ 9634 w 9525"/>
                  <a:gd name="connsiteY5" fmla="*/ 8087 h 9525"/>
                  <a:gd name="connsiteX6" fmla="*/ 9660 w 9525"/>
                  <a:gd name="connsiteY6" fmla="*/ 8228 h 9525"/>
                  <a:gd name="connsiteX7" fmla="*/ 8772 w 9525"/>
                  <a:gd name="connsiteY7" fmla="*/ 9737 h 9525"/>
                  <a:gd name="connsiteX8" fmla="*/ 8708 w 9525"/>
                  <a:gd name="connsiteY8" fmla="*/ 9752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25" h="9525">
                    <a:moveTo>
                      <a:pt x="8708" y="9752"/>
                    </a:moveTo>
                    <a:cubicBezTo>
                      <a:pt x="8044" y="9915"/>
                      <a:pt x="7373" y="9509"/>
                      <a:pt x="7210" y="8845"/>
                    </a:cubicBezTo>
                    <a:cubicBezTo>
                      <a:pt x="7198" y="8798"/>
                      <a:pt x="7190" y="8751"/>
                      <a:pt x="7184" y="8704"/>
                    </a:cubicBezTo>
                    <a:cubicBezTo>
                      <a:pt x="7012" y="8042"/>
                      <a:pt x="7410" y="7366"/>
                      <a:pt x="8072" y="7195"/>
                    </a:cubicBezTo>
                    <a:cubicBezTo>
                      <a:pt x="8093" y="7189"/>
                      <a:pt x="8115" y="7184"/>
                      <a:pt x="8136" y="7180"/>
                    </a:cubicBezTo>
                    <a:cubicBezTo>
                      <a:pt x="8800" y="7017"/>
                      <a:pt x="9471" y="7423"/>
                      <a:pt x="9634" y="8087"/>
                    </a:cubicBezTo>
                    <a:cubicBezTo>
                      <a:pt x="9645" y="8133"/>
                      <a:pt x="9654" y="8180"/>
                      <a:pt x="9660" y="8228"/>
                    </a:cubicBezTo>
                    <a:cubicBezTo>
                      <a:pt x="9832" y="8890"/>
                      <a:pt x="9434" y="9565"/>
                      <a:pt x="8772" y="9737"/>
                    </a:cubicBezTo>
                    <a:cubicBezTo>
                      <a:pt x="8751" y="9742"/>
                      <a:pt x="8729" y="9747"/>
                      <a:pt x="8708" y="9752"/>
                    </a:cubicBezTo>
                    <a:close/>
                  </a:path>
                </a:pathLst>
              </a:custGeom>
              <a:solidFill>
                <a:srgbClr val="AA655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9" name="Полилиния: фигура 858">
                <a:extLst>
                  <a:ext uri="{FF2B5EF4-FFF2-40B4-BE49-F238E27FC236}">
                    <a16:creationId xmlns:a16="http://schemas.microsoft.com/office/drawing/2014/main" id="{D4183B57-8739-4EB3-B3E2-1D0C66A2271F}"/>
                  </a:ext>
                </a:extLst>
              </p:cNvPr>
              <p:cNvSpPr/>
              <p:nvPr/>
            </p:nvSpPr>
            <p:spPr>
              <a:xfrm>
                <a:off x="948352" y="3987588"/>
                <a:ext cx="9525" cy="9525"/>
              </a:xfrm>
              <a:custGeom>
                <a:avLst/>
                <a:gdLst>
                  <a:gd name="connsiteX0" fmla="*/ 8734 w 9525"/>
                  <a:gd name="connsiteY0" fmla="*/ 10124 h 9525"/>
                  <a:gd name="connsiteX1" fmla="*/ 7210 w 9525"/>
                  <a:gd name="connsiteY1" fmla="*/ 8886 h 9525"/>
                  <a:gd name="connsiteX2" fmla="*/ 8163 w 9525"/>
                  <a:gd name="connsiteY2" fmla="*/ 7171 h 9525"/>
                  <a:gd name="connsiteX3" fmla="*/ 9687 w 9525"/>
                  <a:gd name="connsiteY3" fmla="*/ 8409 h 9525"/>
                  <a:gd name="connsiteX4" fmla="*/ 8734 w 9525"/>
                  <a:gd name="connsiteY4" fmla="*/ 10124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25" h="9525">
                    <a:moveTo>
                      <a:pt x="8734" y="10124"/>
                    </a:moveTo>
                    <a:cubicBezTo>
                      <a:pt x="8067" y="10124"/>
                      <a:pt x="7401" y="10124"/>
                      <a:pt x="7210" y="8886"/>
                    </a:cubicBezTo>
                    <a:cubicBezTo>
                      <a:pt x="7020" y="7647"/>
                      <a:pt x="7210" y="7266"/>
                      <a:pt x="8163" y="7171"/>
                    </a:cubicBezTo>
                    <a:cubicBezTo>
                      <a:pt x="9115" y="7076"/>
                      <a:pt x="9496" y="7171"/>
                      <a:pt x="9687" y="8409"/>
                    </a:cubicBezTo>
                    <a:cubicBezTo>
                      <a:pt x="9877" y="9648"/>
                      <a:pt x="9591" y="10029"/>
                      <a:pt x="8734" y="10124"/>
                    </a:cubicBezTo>
                    <a:close/>
                  </a:path>
                </a:pathLst>
              </a:custGeom>
              <a:solidFill>
                <a:srgbClr val="AA655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0" name="Полилиния: фигура 859">
                <a:extLst>
                  <a:ext uri="{FF2B5EF4-FFF2-40B4-BE49-F238E27FC236}">
                    <a16:creationId xmlns:a16="http://schemas.microsoft.com/office/drawing/2014/main" id="{FB7A0A35-8695-4571-A3D2-36A53A3AF116}"/>
                  </a:ext>
                </a:extLst>
              </p:cNvPr>
              <p:cNvSpPr/>
              <p:nvPr/>
            </p:nvSpPr>
            <p:spPr>
              <a:xfrm>
                <a:off x="962772" y="3986275"/>
                <a:ext cx="9525" cy="9525"/>
              </a:xfrm>
              <a:custGeom>
                <a:avLst/>
                <a:gdLst>
                  <a:gd name="connsiteX0" fmla="*/ 8602 w 9525"/>
                  <a:gd name="connsiteY0" fmla="*/ 11151 h 9525"/>
                  <a:gd name="connsiteX1" fmla="*/ 7173 w 9525"/>
                  <a:gd name="connsiteY1" fmla="*/ 9342 h 9525"/>
                  <a:gd name="connsiteX2" fmla="*/ 8125 w 9525"/>
                  <a:gd name="connsiteY2" fmla="*/ 7151 h 9525"/>
                  <a:gd name="connsiteX3" fmla="*/ 9554 w 9525"/>
                  <a:gd name="connsiteY3" fmla="*/ 9056 h 9525"/>
                  <a:gd name="connsiteX4" fmla="*/ 8602 w 9525"/>
                  <a:gd name="connsiteY4" fmla="*/ 11151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25" h="9525">
                    <a:moveTo>
                      <a:pt x="8602" y="11151"/>
                    </a:moveTo>
                    <a:cubicBezTo>
                      <a:pt x="7935" y="11151"/>
                      <a:pt x="7268" y="10389"/>
                      <a:pt x="7173" y="9342"/>
                    </a:cubicBezTo>
                    <a:cubicBezTo>
                      <a:pt x="7078" y="8294"/>
                      <a:pt x="7173" y="7246"/>
                      <a:pt x="8125" y="7151"/>
                    </a:cubicBezTo>
                    <a:cubicBezTo>
                      <a:pt x="9078" y="7056"/>
                      <a:pt x="9459" y="7913"/>
                      <a:pt x="9554" y="9056"/>
                    </a:cubicBezTo>
                    <a:cubicBezTo>
                      <a:pt x="9649" y="10199"/>
                      <a:pt x="9268" y="11056"/>
                      <a:pt x="8602" y="11151"/>
                    </a:cubicBezTo>
                    <a:close/>
                  </a:path>
                </a:pathLst>
              </a:custGeom>
              <a:solidFill>
                <a:srgbClr val="AA655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1" name="Полилиния: фигура 860">
                <a:extLst>
                  <a:ext uri="{FF2B5EF4-FFF2-40B4-BE49-F238E27FC236}">
                    <a16:creationId xmlns:a16="http://schemas.microsoft.com/office/drawing/2014/main" id="{898473D8-EC1C-4A2B-A513-482B5ACD3869}"/>
                  </a:ext>
                </a:extLst>
              </p:cNvPr>
              <p:cNvSpPr/>
              <p:nvPr/>
            </p:nvSpPr>
            <p:spPr>
              <a:xfrm>
                <a:off x="937941" y="4007142"/>
                <a:ext cx="9525" cy="9525"/>
              </a:xfrm>
              <a:custGeom>
                <a:avLst/>
                <a:gdLst>
                  <a:gd name="connsiteX0" fmla="*/ 8382 w 9525"/>
                  <a:gd name="connsiteY0" fmla="*/ 8668 h 9525"/>
                  <a:gd name="connsiteX1" fmla="*/ 7144 w 9525"/>
                  <a:gd name="connsiteY1" fmla="*/ 7906 h 9525"/>
                  <a:gd name="connsiteX2" fmla="*/ 8382 w 9525"/>
                  <a:gd name="connsiteY2" fmla="*/ 7144 h 9525"/>
                  <a:gd name="connsiteX3" fmla="*/ 9620 w 9525"/>
                  <a:gd name="connsiteY3" fmla="*/ 7906 h 9525"/>
                  <a:gd name="connsiteX4" fmla="*/ 8382 w 9525"/>
                  <a:gd name="connsiteY4" fmla="*/ 8668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25" h="9525">
                    <a:moveTo>
                      <a:pt x="8382" y="8668"/>
                    </a:moveTo>
                    <a:cubicBezTo>
                      <a:pt x="7715" y="8668"/>
                      <a:pt x="7144" y="8668"/>
                      <a:pt x="7144" y="7906"/>
                    </a:cubicBezTo>
                    <a:cubicBezTo>
                      <a:pt x="7144" y="7144"/>
                      <a:pt x="7715" y="7144"/>
                      <a:pt x="8382" y="7144"/>
                    </a:cubicBezTo>
                    <a:cubicBezTo>
                      <a:pt x="9049" y="7144"/>
                      <a:pt x="9620" y="7144"/>
                      <a:pt x="9620" y="7906"/>
                    </a:cubicBezTo>
                    <a:cubicBezTo>
                      <a:pt x="9620" y="8668"/>
                      <a:pt x="9049" y="8668"/>
                      <a:pt x="8382" y="8668"/>
                    </a:cubicBezTo>
                    <a:close/>
                  </a:path>
                </a:pathLst>
              </a:custGeom>
              <a:solidFill>
                <a:srgbClr val="AA655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2" name="Полилиния: фигура 861">
                <a:extLst>
                  <a:ext uri="{FF2B5EF4-FFF2-40B4-BE49-F238E27FC236}">
                    <a16:creationId xmlns:a16="http://schemas.microsoft.com/office/drawing/2014/main" id="{EF229EE0-0BC2-430A-B1D4-CA08646C95E3}"/>
                  </a:ext>
                </a:extLst>
              </p:cNvPr>
              <p:cNvSpPr/>
              <p:nvPr/>
            </p:nvSpPr>
            <p:spPr>
              <a:xfrm>
                <a:off x="957258" y="4001426"/>
                <a:ext cx="9525" cy="9525"/>
              </a:xfrm>
              <a:custGeom>
                <a:avLst/>
                <a:gdLst>
                  <a:gd name="connsiteX0" fmla="*/ 8495 w 9525"/>
                  <a:gd name="connsiteY0" fmla="*/ 9906 h 9525"/>
                  <a:gd name="connsiteX1" fmla="*/ 7165 w 9525"/>
                  <a:gd name="connsiteY1" fmla="*/ 8767 h 9525"/>
                  <a:gd name="connsiteX2" fmla="*/ 7162 w 9525"/>
                  <a:gd name="connsiteY2" fmla="*/ 8668 h 9525"/>
                  <a:gd name="connsiteX3" fmla="*/ 8210 w 9525"/>
                  <a:gd name="connsiteY3" fmla="*/ 7144 h 9525"/>
                  <a:gd name="connsiteX4" fmla="*/ 9543 w 9525"/>
                  <a:gd name="connsiteY4" fmla="*/ 8477 h 9525"/>
                  <a:gd name="connsiteX5" fmla="*/ 8724 w 9525"/>
                  <a:gd name="connsiteY5" fmla="*/ 9871 h 9525"/>
                  <a:gd name="connsiteX6" fmla="*/ 8495 w 9525"/>
                  <a:gd name="connsiteY6" fmla="*/ 9906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525" h="9525">
                    <a:moveTo>
                      <a:pt x="8495" y="9906"/>
                    </a:moveTo>
                    <a:cubicBezTo>
                      <a:pt x="7813" y="9959"/>
                      <a:pt x="7218" y="9449"/>
                      <a:pt x="7165" y="8767"/>
                    </a:cubicBezTo>
                    <a:cubicBezTo>
                      <a:pt x="7163" y="8734"/>
                      <a:pt x="7162" y="8701"/>
                      <a:pt x="7162" y="8668"/>
                    </a:cubicBezTo>
                    <a:cubicBezTo>
                      <a:pt x="7045" y="7961"/>
                      <a:pt x="7508" y="7288"/>
                      <a:pt x="8210" y="7144"/>
                    </a:cubicBezTo>
                    <a:cubicBezTo>
                      <a:pt x="8946" y="7144"/>
                      <a:pt x="9543" y="7741"/>
                      <a:pt x="9543" y="8477"/>
                    </a:cubicBezTo>
                    <a:cubicBezTo>
                      <a:pt x="9702" y="9088"/>
                      <a:pt x="9335" y="9712"/>
                      <a:pt x="8724" y="9871"/>
                    </a:cubicBezTo>
                    <a:cubicBezTo>
                      <a:pt x="8649" y="9890"/>
                      <a:pt x="8573" y="9902"/>
                      <a:pt x="8495" y="9906"/>
                    </a:cubicBezTo>
                    <a:close/>
                  </a:path>
                </a:pathLst>
              </a:custGeom>
              <a:solidFill>
                <a:srgbClr val="AA655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3" name="Полилиния: фигура 862">
                <a:extLst>
                  <a:ext uri="{FF2B5EF4-FFF2-40B4-BE49-F238E27FC236}">
                    <a16:creationId xmlns:a16="http://schemas.microsoft.com/office/drawing/2014/main" id="{47EA3334-A099-4657-834D-D0219E6B2F29}"/>
                  </a:ext>
                </a:extLst>
              </p:cNvPr>
              <p:cNvSpPr/>
              <p:nvPr/>
            </p:nvSpPr>
            <p:spPr>
              <a:xfrm>
                <a:off x="1058277" y="3989600"/>
                <a:ext cx="9525" cy="9525"/>
              </a:xfrm>
              <a:custGeom>
                <a:avLst/>
                <a:gdLst>
                  <a:gd name="connsiteX0" fmla="*/ 8537 w 9525"/>
                  <a:gd name="connsiteY0" fmla="*/ 9921 h 9525"/>
                  <a:gd name="connsiteX1" fmla="*/ 7144 w 9525"/>
                  <a:gd name="connsiteY1" fmla="*/ 8458 h 9525"/>
                  <a:gd name="connsiteX2" fmla="*/ 8061 w 9525"/>
                  <a:gd name="connsiteY2" fmla="*/ 7159 h 9525"/>
                  <a:gd name="connsiteX3" fmla="*/ 9477 w 9525"/>
                  <a:gd name="connsiteY3" fmla="*/ 8189 h 9525"/>
                  <a:gd name="connsiteX4" fmla="*/ 9489 w 9525"/>
                  <a:gd name="connsiteY4" fmla="*/ 8302 h 9525"/>
                  <a:gd name="connsiteX5" fmla="*/ 8537 w 9525"/>
                  <a:gd name="connsiteY5" fmla="*/ 9921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525" h="9525">
                    <a:moveTo>
                      <a:pt x="8537" y="9921"/>
                    </a:moveTo>
                    <a:cubicBezTo>
                      <a:pt x="7748" y="9902"/>
                      <a:pt x="7125" y="9246"/>
                      <a:pt x="7144" y="8458"/>
                    </a:cubicBezTo>
                    <a:cubicBezTo>
                      <a:pt x="7159" y="7879"/>
                      <a:pt x="7520" y="7366"/>
                      <a:pt x="8061" y="7159"/>
                    </a:cubicBezTo>
                    <a:cubicBezTo>
                      <a:pt x="8736" y="7052"/>
                      <a:pt x="9370" y="7514"/>
                      <a:pt x="9477" y="8189"/>
                    </a:cubicBezTo>
                    <a:cubicBezTo>
                      <a:pt x="9483" y="8227"/>
                      <a:pt x="9487" y="8264"/>
                      <a:pt x="9489" y="8302"/>
                    </a:cubicBezTo>
                    <a:cubicBezTo>
                      <a:pt x="9671" y="9012"/>
                      <a:pt x="9245" y="9735"/>
                      <a:pt x="8537" y="9921"/>
                    </a:cubicBezTo>
                    <a:close/>
                  </a:path>
                </a:pathLst>
              </a:custGeom>
              <a:solidFill>
                <a:srgbClr val="AA655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4" name="Полилиния: фигура 863">
                <a:extLst>
                  <a:ext uri="{FF2B5EF4-FFF2-40B4-BE49-F238E27FC236}">
                    <a16:creationId xmlns:a16="http://schemas.microsoft.com/office/drawing/2014/main" id="{59D2411E-5BD3-48C1-AA28-B7CBC59775D2}"/>
                  </a:ext>
                </a:extLst>
              </p:cNvPr>
              <p:cNvSpPr/>
              <p:nvPr/>
            </p:nvSpPr>
            <p:spPr>
              <a:xfrm>
                <a:off x="1073254" y="3987996"/>
                <a:ext cx="9525" cy="9525"/>
              </a:xfrm>
              <a:custGeom>
                <a:avLst/>
                <a:gdLst>
                  <a:gd name="connsiteX0" fmla="*/ 8514 w 9525"/>
                  <a:gd name="connsiteY0" fmla="*/ 10192 h 9525"/>
                  <a:gd name="connsiteX1" fmla="*/ 7177 w 9525"/>
                  <a:gd name="connsiteY1" fmla="*/ 8862 h 9525"/>
                  <a:gd name="connsiteX2" fmla="*/ 7180 w 9525"/>
                  <a:gd name="connsiteY2" fmla="*/ 8763 h 9525"/>
                  <a:gd name="connsiteX3" fmla="*/ 8168 w 9525"/>
                  <a:gd name="connsiteY3" fmla="*/ 7157 h 9525"/>
                  <a:gd name="connsiteX4" fmla="*/ 8228 w 9525"/>
                  <a:gd name="connsiteY4" fmla="*/ 7144 h 9525"/>
                  <a:gd name="connsiteX5" fmla="*/ 9562 w 9525"/>
                  <a:gd name="connsiteY5" fmla="*/ 8573 h 9525"/>
                  <a:gd name="connsiteX6" fmla="*/ 8514 w 9525"/>
                  <a:gd name="connsiteY6" fmla="*/ 10192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525" h="9525">
                    <a:moveTo>
                      <a:pt x="8514" y="10192"/>
                    </a:moveTo>
                    <a:cubicBezTo>
                      <a:pt x="7777" y="10194"/>
                      <a:pt x="7179" y="9598"/>
                      <a:pt x="7177" y="8862"/>
                    </a:cubicBezTo>
                    <a:cubicBezTo>
                      <a:pt x="7177" y="8829"/>
                      <a:pt x="7178" y="8796"/>
                      <a:pt x="7180" y="8763"/>
                    </a:cubicBezTo>
                    <a:cubicBezTo>
                      <a:pt x="7010" y="8047"/>
                      <a:pt x="7452" y="7327"/>
                      <a:pt x="8168" y="7157"/>
                    </a:cubicBezTo>
                    <a:cubicBezTo>
                      <a:pt x="8188" y="7152"/>
                      <a:pt x="8208" y="7148"/>
                      <a:pt x="8228" y="7144"/>
                    </a:cubicBezTo>
                    <a:cubicBezTo>
                      <a:pt x="8895" y="7144"/>
                      <a:pt x="9466" y="7715"/>
                      <a:pt x="9562" y="8573"/>
                    </a:cubicBezTo>
                    <a:cubicBezTo>
                      <a:pt x="9657" y="9430"/>
                      <a:pt x="8514" y="10192"/>
                      <a:pt x="8514" y="10192"/>
                    </a:cubicBezTo>
                    <a:close/>
                  </a:path>
                </a:pathLst>
              </a:custGeom>
              <a:solidFill>
                <a:srgbClr val="AA655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5" name="Полилиния: фигура 864">
                <a:extLst>
                  <a:ext uri="{FF2B5EF4-FFF2-40B4-BE49-F238E27FC236}">
                    <a16:creationId xmlns:a16="http://schemas.microsoft.com/office/drawing/2014/main" id="{8E201052-9EAB-4BB4-8EFC-6E1FEFA2EDC3}"/>
                  </a:ext>
                </a:extLst>
              </p:cNvPr>
              <p:cNvSpPr/>
              <p:nvPr/>
            </p:nvSpPr>
            <p:spPr>
              <a:xfrm>
                <a:off x="1045555" y="3990544"/>
                <a:ext cx="9525" cy="9525"/>
              </a:xfrm>
              <a:custGeom>
                <a:avLst/>
                <a:gdLst>
                  <a:gd name="connsiteX0" fmla="*/ 8591 w 9525"/>
                  <a:gd name="connsiteY0" fmla="*/ 9264 h 9525"/>
                  <a:gd name="connsiteX1" fmla="*/ 7163 w 9525"/>
                  <a:gd name="connsiteY1" fmla="*/ 8505 h 9525"/>
                  <a:gd name="connsiteX2" fmla="*/ 7162 w 9525"/>
                  <a:gd name="connsiteY2" fmla="*/ 8501 h 9525"/>
                  <a:gd name="connsiteX3" fmla="*/ 8083 w 9525"/>
                  <a:gd name="connsiteY3" fmla="*/ 7173 h 9525"/>
                  <a:gd name="connsiteX4" fmla="*/ 8115 w 9525"/>
                  <a:gd name="connsiteY4" fmla="*/ 7168 h 9525"/>
                  <a:gd name="connsiteX5" fmla="*/ 9543 w 9525"/>
                  <a:gd name="connsiteY5" fmla="*/ 8025 h 9525"/>
                  <a:gd name="connsiteX6" fmla="*/ 8591 w 9525"/>
                  <a:gd name="connsiteY6" fmla="*/ 9264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525" h="9525">
                    <a:moveTo>
                      <a:pt x="8591" y="9264"/>
                    </a:moveTo>
                    <a:cubicBezTo>
                      <a:pt x="7987" y="9448"/>
                      <a:pt x="7348" y="9109"/>
                      <a:pt x="7163" y="8505"/>
                    </a:cubicBezTo>
                    <a:cubicBezTo>
                      <a:pt x="7163" y="8504"/>
                      <a:pt x="7163" y="8503"/>
                      <a:pt x="7162" y="8501"/>
                    </a:cubicBezTo>
                    <a:cubicBezTo>
                      <a:pt x="7050" y="7880"/>
                      <a:pt x="7462" y="7286"/>
                      <a:pt x="8083" y="7173"/>
                    </a:cubicBezTo>
                    <a:cubicBezTo>
                      <a:pt x="8094" y="7171"/>
                      <a:pt x="8104" y="7170"/>
                      <a:pt x="8115" y="7168"/>
                    </a:cubicBezTo>
                    <a:cubicBezTo>
                      <a:pt x="8741" y="7043"/>
                      <a:pt x="9359" y="7414"/>
                      <a:pt x="9543" y="8025"/>
                    </a:cubicBezTo>
                    <a:cubicBezTo>
                      <a:pt x="9602" y="8624"/>
                      <a:pt x="9185" y="9166"/>
                      <a:pt x="8591" y="9264"/>
                    </a:cubicBezTo>
                    <a:close/>
                  </a:path>
                </a:pathLst>
              </a:custGeom>
              <a:solidFill>
                <a:srgbClr val="AA655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6" name="Полилиния: фигура 865">
                <a:extLst>
                  <a:ext uri="{FF2B5EF4-FFF2-40B4-BE49-F238E27FC236}">
                    <a16:creationId xmlns:a16="http://schemas.microsoft.com/office/drawing/2014/main" id="{EC35A84A-B4B7-4E70-93A4-E4205ACB2ED4}"/>
                  </a:ext>
                </a:extLst>
              </p:cNvPr>
              <p:cNvSpPr/>
              <p:nvPr/>
            </p:nvSpPr>
            <p:spPr>
              <a:xfrm>
                <a:off x="1055896" y="4004772"/>
                <a:ext cx="9525" cy="9525"/>
              </a:xfrm>
              <a:custGeom>
                <a:avLst/>
                <a:gdLst>
                  <a:gd name="connsiteX0" fmla="*/ 8918 w 9525"/>
                  <a:gd name="connsiteY0" fmla="*/ 9799 h 9525"/>
                  <a:gd name="connsiteX1" fmla="*/ 7186 w 9525"/>
                  <a:gd name="connsiteY1" fmla="*/ 8758 h 9525"/>
                  <a:gd name="connsiteX2" fmla="*/ 7775 w 9525"/>
                  <a:gd name="connsiteY2" fmla="*/ 7227 h 9525"/>
                  <a:gd name="connsiteX3" fmla="*/ 9376 w 9525"/>
                  <a:gd name="connsiteY3" fmla="*/ 7937 h 9525"/>
                  <a:gd name="connsiteX4" fmla="*/ 9394 w 9525"/>
                  <a:gd name="connsiteY4" fmla="*/ 7989 h 9525"/>
                  <a:gd name="connsiteX5" fmla="*/ 8918 w 9525"/>
                  <a:gd name="connsiteY5" fmla="*/ 9799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525" h="9525">
                    <a:moveTo>
                      <a:pt x="8918" y="9799"/>
                    </a:moveTo>
                    <a:cubicBezTo>
                      <a:pt x="8152" y="9989"/>
                      <a:pt x="7377" y="9523"/>
                      <a:pt x="7186" y="8758"/>
                    </a:cubicBezTo>
                    <a:cubicBezTo>
                      <a:pt x="7041" y="8174"/>
                      <a:pt x="7276" y="7562"/>
                      <a:pt x="7775" y="7227"/>
                    </a:cubicBezTo>
                    <a:cubicBezTo>
                      <a:pt x="8413" y="6981"/>
                      <a:pt x="9130" y="7299"/>
                      <a:pt x="9376" y="7937"/>
                    </a:cubicBezTo>
                    <a:cubicBezTo>
                      <a:pt x="9382" y="7954"/>
                      <a:pt x="9388" y="7971"/>
                      <a:pt x="9394" y="7989"/>
                    </a:cubicBezTo>
                    <a:cubicBezTo>
                      <a:pt x="9756" y="8621"/>
                      <a:pt x="9544" y="9427"/>
                      <a:pt x="8918" y="9799"/>
                    </a:cubicBezTo>
                    <a:close/>
                  </a:path>
                </a:pathLst>
              </a:custGeom>
              <a:solidFill>
                <a:srgbClr val="AA655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7" name="Полилиния: фигура 866">
                <a:extLst>
                  <a:ext uri="{FF2B5EF4-FFF2-40B4-BE49-F238E27FC236}">
                    <a16:creationId xmlns:a16="http://schemas.microsoft.com/office/drawing/2014/main" id="{6726AE3E-4A97-4DC3-A342-C4C959066D69}"/>
                  </a:ext>
                </a:extLst>
              </p:cNvPr>
              <p:cNvSpPr/>
              <p:nvPr/>
            </p:nvSpPr>
            <p:spPr>
              <a:xfrm>
                <a:off x="1069055" y="4002671"/>
                <a:ext cx="9525" cy="9525"/>
              </a:xfrm>
              <a:custGeom>
                <a:avLst/>
                <a:gdLst>
                  <a:gd name="connsiteX0" fmla="*/ 8045 w 9525"/>
                  <a:gd name="connsiteY0" fmla="*/ 9138 h 9525"/>
                  <a:gd name="connsiteX1" fmla="*/ 7145 w 9525"/>
                  <a:gd name="connsiteY1" fmla="*/ 8136 h 9525"/>
                  <a:gd name="connsiteX2" fmla="*/ 7188 w 9525"/>
                  <a:gd name="connsiteY2" fmla="*/ 7900 h 9525"/>
                  <a:gd name="connsiteX3" fmla="*/ 8486 w 9525"/>
                  <a:gd name="connsiteY3" fmla="*/ 7186 h 9525"/>
                  <a:gd name="connsiteX4" fmla="*/ 8617 w 9525"/>
                  <a:gd name="connsiteY4" fmla="*/ 7233 h 9525"/>
                  <a:gd name="connsiteX5" fmla="*/ 9517 w 9525"/>
                  <a:gd name="connsiteY5" fmla="*/ 8235 h 9525"/>
                  <a:gd name="connsiteX6" fmla="*/ 9474 w 9525"/>
                  <a:gd name="connsiteY6" fmla="*/ 8471 h 9525"/>
                  <a:gd name="connsiteX7" fmla="*/ 8176 w 9525"/>
                  <a:gd name="connsiteY7" fmla="*/ 9185 h 9525"/>
                  <a:gd name="connsiteX8" fmla="*/ 8045 w 9525"/>
                  <a:gd name="connsiteY8" fmla="*/ 9138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25" h="9525">
                    <a:moveTo>
                      <a:pt x="8045" y="9138"/>
                    </a:moveTo>
                    <a:cubicBezTo>
                      <a:pt x="7520" y="9110"/>
                      <a:pt x="7117" y="8661"/>
                      <a:pt x="7145" y="8136"/>
                    </a:cubicBezTo>
                    <a:cubicBezTo>
                      <a:pt x="7149" y="8056"/>
                      <a:pt x="7164" y="7976"/>
                      <a:pt x="7188" y="7900"/>
                    </a:cubicBezTo>
                    <a:cubicBezTo>
                      <a:pt x="7349" y="7344"/>
                      <a:pt x="7931" y="7024"/>
                      <a:pt x="8486" y="7186"/>
                    </a:cubicBezTo>
                    <a:cubicBezTo>
                      <a:pt x="8531" y="7198"/>
                      <a:pt x="8574" y="7214"/>
                      <a:pt x="8617" y="7233"/>
                    </a:cubicBezTo>
                    <a:cubicBezTo>
                      <a:pt x="9142" y="7261"/>
                      <a:pt x="9545" y="7710"/>
                      <a:pt x="9517" y="8235"/>
                    </a:cubicBezTo>
                    <a:cubicBezTo>
                      <a:pt x="9513" y="8315"/>
                      <a:pt x="9498" y="8395"/>
                      <a:pt x="9474" y="8471"/>
                    </a:cubicBezTo>
                    <a:cubicBezTo>
                      <a:pt x="9313" y="9027"/>
                      <a:pt x="8732" y="9347"/>
                      <a:pt x="8176" y="9185"/>
                    </a:cubicBezTo>
                    <a:cubicBezTo>
                      <a:pt x="8131" y="9173"/>
                      <a:pt x="8088" y="9157"/>
                      <a:pt x="8045" y="9138"/>
                    </a:cubicBezTo>
                    <a:close/>
                  </a:path>
                </a:pathLst>
              </a:custGeom>
              <a:solidFill>
                <a:srgbClr val="AA655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8" name="Полилиния: фигура 867">
                <a:extLst>
                  <a:ext uri="{FF2B5EF4-FFF2-40B4-BE49-F238E27FC236}">
                    <a16:creationId xmlns:a16="http://schemas.microsoft.com/office/drawing/2014/main" id="{82C23FBF-0106-42D6-A683-AFAD6D540322}"/>
                  </a:ext>
                </a:extLst>
              </p:cNvPr>
              <p:cNvSpPr/>
              <p:nvPr/>
            </p:nvSpPr>
            <p:spPr>
              <a:xfrm>
                <a:off x="838566" y="3764731"/>
                <a:ext cx="295275" cy="142875"/>
              </a:xfrm>
              <a:custGeom>
                <a:avLst/>
                <a:gdLst>
                  <a:gd name="connsiteX0" fmla="*/ 8982 w 295275"/>
                  <a:gd name="connsiteY0" fmla="*/ 84105 h 142875"/>
                  <a:gd name="connsiteX1" fmla="*/ 53235 w 295275"/>
                  <a:gd name="connsiteY1" fmla="*/ 10276 h 142875"/>
                  <a:gd name="connsiteX2" fmla="*/ 69752 w 295275"/>
                  <a:gd name="connsiteY2" fmla="*/ 8476 h 142875"/>
                  <a:gd name="connsiteX3" fmla="*/ 98327 w 295275"/>
                  <a:gd name="connsiteY3" fmla="*/ 10572 h 142875"/>
                  <a:gd name="connsiteX4" fmla="*/ 139189 w 295275"/>
                  <a:gd name="connsiteY4" fmla="*/ 7429 h 142875"/>
                  <a:gd name="connsiteX5" fmla="*/ 202435 w 295275"/>
                  <a:gd name="connsiteY5" fmla="*/ 24859 h 142875"/>
                  <a:gd name="connsiteX6" fmla="*/ 226819 w 295275"/>
                  <a:gd name="connsiteY6" fmla="*/ 12382 h 142875"/>
                  <a:gd name="connsiteX7" fmla="*/ 220437 w 295275"/>
                  <a:gd name="connsiteY7" fmla="*/ 28669 h 142875"/>
                  <a:gd name="connsiteX8" fmla="*/ 247107 w 295275"/>
                  <a:gd name="connsiteY8" fmla="*/ 12382 h 142875"/>
                  <a:gd name="connsiteX9" fmla="*/ 240249 w 295275"/>
                  <a:gd name="connsiteY9" fmla="*/ 36385 h 142875"/>
                  <a:gd name="connsiteX10" fmla="*/ 268157 w 295275"/>
                  <a:gd name="connsiteY10" fmla="*/ 50767 h 142875"/>
                  <a:gd name="connsiteX11" fmla="*/ 285207 w 295275"/>
                  <a:gd name="connsiteY11" fmla="*/ 42480 h 142875"/>
                  <a:gd name="connsiteX12" fmla="*/ 266157 w 295275"/>
                  <a:gd name="connsiteY12" fmla="*/ 134492 h 142875"/>
                  <a:gd name="connsiteX13" fmla="*/ 209007 w 295275"/>
                  <a:gd name="connsiteY13" fmla="*/ 130396 h 142875"/>
                  <a:gd name="connsiteX14" fmla="*/ 161858 w 295275"/>
                  <a:gd name="connsiteY14" fmla="*/ 107632 h 142875"/>
                  <a:gd name="connsiteX15" fmla="*/ 109375 w 295275"/>
                  <a:gd name="connsiteY15" fmla="*/ 121919 h 142875"/>
                  <a:gd name="connsiteX16" fmla="*/ 85658 w 295275"/>
                  <a:gd name="connsiteY16" fmla="*/ 106012 h 142875"/>
                  <a:gd name="connsiteX17" fmla="*/ 61179 w 295275"/>
                  <a:gd name="connsiteY17" fmla="*/ 91915 h 142875"/>
                  <a:gd name="connsiteX18" fmla="*/ 46511 w 295275"/>
                  <a:gd name="connsiteY18" fmla="*/ 104584 h 142875"/>
                  <a:gd name="connsiteX19" fmla="*/ 8411 w 295275"/>
                  <a:gd name="connsiteY19" fmla="*/ 84105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5275" h="142875">
                    <a:moveTo>
                      <a:pt x="8982" y="84105"/>
                    </a:moveTo>
                    <a:cubicBezTo>
                      <a:pt x="815" y="51497"/>
                      <a:pt x="20627" y="18443"/>
                      <a:pt x="53235" y="10276"/>
                    </a:cubicBezTo>
                    <a:cubicBezTo>
                      <a:pt x="58632" y="8924"/>
                      <a:pt x="64190" y="8318"/>
                      <a:pt x="69752" y="8476"/>
                    </a:cubicBezTo>
                    <a:cubicBezTo>
                      <a:pt x="79212" y="9876"/>
                      <a:pt x="88763" y="10577"/>
                      <a:pt x="98327" y="10572"/>
                    </a:cubicBezTo>
                    <a:cubicBezTo>
                      <a:pt x="111736" y="7636"/>
                      <a:pt x="125488" y="6578"/>
                      <a:pt x="139189" y="7429"/>
                    </a:cubicBezTo>
                    <a:cubicBezTo>
                      <a:pt x="159001" y="9333"/>
                      <a:pt x="187957" y="22002"/>
                      <a:pt x="202435" y="24859"/>
                    </a:cubicBezTo>
                    <a:cubicBezTo>
                      <a:pt x="216913" y="27717"/>
                      <a:pt x="226819" y="12382"/>
                      <a:pt x="226819" y="12382"/>
                    </a:cubicBezTo>
                    <a:cubicBezTo>
                      <a:pt x="227771" y="20001"/>
                      <a:pt x="226152" y="25812"/>
                      <a:pt x="220437" y="28669"/>
                    </a:cubicBezTo>
                    <a:cubicBezTo>
                      <a:pt x="235487" y="30098"/>
                      <a:pt x="247107" y="12382"/>
                      <a:pt x="247107" y="12382"/>
                    </a:cubicBezTo>
                    <a:cubicBezTo>
                      <a:pt x="249581" y="21036"/>
                      <a:pt x="246921" y="30344"/>
                      <a:pt x="240249" y="36385"/>
                    </a:cubicBezTo>
                    <a:cubicBezTo>
                      <a:pt x="248822" y="42478"/>
                      <a:pt x="258219" y="47321"/>
                      <a:pt x="268157" y="50767"/>
                    </a:cubicBezTo>
                    <a:cubicBezTo>
                      <a:pt x="268157" y="50767"/>
                      <a:pt x="287969" y="53529"/>
                      <a:pt x="285207" y="42480"/>
                    </a:cubicBezTo>
                    <a:cubicBezTo>
                      <a:pt x="285207" y="42480"/>
                      <a:pt x="319592" y="89058"/>
                      <a:pt x="266157" y="134492"/>
                    </a:cubicBezTo>
                    <a:cubicBezTo>
                      <a:pt x="251203" y="147160"/>
                      <a:pt x="226533" y="140017"/>
                      <a:pt x="209007" y="130396"/>
                    </a:cubicBezTo>
                    <a:cubicBezTo>
                      <a:pt x="193481" y="121824"/>
                      <a:pt x="179575" y="107060"/>
                      <a:pt x="161858" y="107632"/>
                    </a:cubicBezTo>
                    <a:cubicBezTo>
                      <a:pt x="144142" y="108203"/>
                      <a:pt x="127378" y="125443"/>
                      <a:pt x="109375" y="121919"/>
                    </a:cubicBezTo>
                    <a:cubicBezTo>
                      <a:pt x="100138" y="118938"/>
                      <a:pt x="91921" y="113428"/>
                      <a:pt x="85658" y="106012"/>
                    </a:cubicBezTo>
                    <a:cubicBezTo>
                      <a:pt x="79445" y="98540"/>
                      <a:pt x="70761" y="93539"/>
                      <a:pt x="61179" y="91915"/>
                    </a:cubicBezTo>
                    <a:cubicBezTo>
                      <a:pt x="51654" y="91344"/>
                      <a:pt x="43082" y="95535"/>
                      <a:pt x="46511" y="104584"/>
                    </a:cubicBezTo>
                    <a:lnTo>
                      <a:pt x="8411" y="84105"/>
                    </a:ln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9" name="Полилиния: фигура 868">
                <a:extLst>
                  <a:ext uri="{FF2B5EF4-FFF2-40B4-BE49-F238E27FC236}">
                    <a16:creationId xmlns:a16="http://schemas.microsoft.com/office/drawing/2014/main" id="{F2DDE5E2-908E-46D3-843F-E178AB3E347F}"/>
                  </a:ext>
                </a:extLst>
              </p:cNvPr>
              <p:cNvSpPr/>
              <p:nvPr/>
            </p:nvSpPr>
            <p:spPr>
              <a:xfrm>
                <a:off x="968299" y="4042323"/>
                <a:ext cx="47625" cy="47625"/>
              </a:xfrm>
              <a:custGeom>
                <a:avLst/>
                <a:gdLst>
                  <a:gd name="connsiteX0" fmla="*/ 43556 w 47625"/>
                  <a:gd name="connsiteY0" fmla="*/ 27779 h 47625"/>
                  <a:gd name="connsiteX1" fmla="*/ 34698 w 47625"/>
                  <a:gd name="connsiteY1" fmla="*/ 10253 h 47625"/>
                  <a:gd name="connsiteX2" fmla="*/ 15648 w 47625"/>
                  <a:gd name="connsiteY2" fmla="*/ 9205 h 47625"/>
                  <a:gd name="connsiteX3" fmla="*/ 7361 w 47625"/>
                  <a:gd name="connsiteY3" fmla="*/ 26541 h 47625"/>
                  <a:gd name="connsiteX4" fmla="*/ 31714 w 47625"/>
                  <a:gd name="connsiteY4" fmla="*/ 40396 h 47625"/>
                  <a:gd name="connsiteX5" fmla="*/ 36698 w 47625"/>
                  <a:gd name="connsiteY5" fmla="*/ 38257 h 47625"/>
                  <a:gd name="connsiteX6" fmla="*/ 43461 w 47625"/>
                  <a:gd name="connsiteY6" fmla="*/ 2616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47625">
                    <a:moveTo>
                      <a:pt x="43556" y="27779"/>
                    </a:moveTo>
                    <a:cubicBezTo>
                      <a:pt x="43627" y="20845"/>
                      <a:pt x="40323" y="14308"/>
                      <a:pt x="34698" y="10253"/>
                    </a:cubicBezTo>
                    <a:cubicBezTo>
                      <a:pt x="28993" y="6520"/>
                      <a:pt x="21728" y="6120"/>
                      <a:pt x="15648" y="9205"/>
                    </a:cubicBezTo>
                    <a:cubicBezTo>
                      <a:pt x="9541" y="12690"/>
                      <a:pt x="6238" y="19600"/>
                      <a:pt x="7361" y="26541"/>
                    </a:cubicBezTo>
                    <a:cubicBezTo>
                      <a:pt x="10260" y="37092"/>
                      <a:pt x="21163" y="43295"/>
                      <a:pt x="31714" y="40396"/>
                    </a:cubicBezTo>
                    <a:cubicBezTo>
                      <a:pt x="33465" y="39915"/>
                      <a:pt x="35143" y="39195"/>
                      <a:pt x="36698" y="38257"/>
                    </a:cubicBezTo>
                    <a:cubicBezTo>
                      <a:pt x="40888" y="35661"/>
                      <a:pt x="43444" y="31089"/>
                      <a:pt x="43461" y="26160"/>
                    </a:cubicBezTo>
                  </a:path>
                </a:pathLst>
              </a:custGeom>
              <a:solidFill>
                <a:srgbClr val="9950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0" name="Полилиния: фигура 869">
                <a:extLst>
                  <a:ext uri="{FF2B5EF4-FFF2-40B4-BE49-F238E27FC236}">
                    <a16:creationId xmlns:a16="http://schemas.microsoft.com/office/drawing/2014/main" id="{0CA0AE95-1920-4AFB-8D72-549447B1C098}"/>
                  </a:ext>
                </a:extLst>
              </p:cNvPr>
              <p:cNvSpPr/>
              <p:nvPr/>
            </p:nvSpPr>
            <p:spPr>
              <a:xfrm>
                <a:off x="972601" y="4042955"/>
                <a:ext cx="47625" cy="38100"/>
              </a:xfrm>
              <a:custGeom>
                <a:avLst/>
                <a:gdLst>
                  <a:gd name="connsiteX0" fmla="*/ 8202 w 47625"/>
                  <a:gd name="connsiteY0" fmla="*/ 7144 h 38100"/>
                  <a:gd name="connsiteX1" fmla="*/ 21347 w 47625"/>
                  <a:gd name="connsiteY1" fmla="*/ 23717 h 38100"/>
                  <a:gd name="connsiteX2" fmla="*/ 42968 w 47625"/>
                  <a:gd name="connsiteY2" fmla="*/ 28670 h 38100"/>
                  <a:gd name="connsiteX3" fmla="*/ 35920 w 47625"/>
                  <a:gd name="connsiteY3" fmla="*/ 31909 h 38100"/>
                  <a:gd name="connsiteX4" fmla="*/ 18013 w 47625"/>
                  <a:gd name="connsiteY4" fmla="*/ 28289 h 38100"/>
                  <a:gd name="connsiteX5" fmla="*/ 7631 w 47625"/>
                  <a:gd name="connsiteY5" fmla="*/ 14383 h 38100"/>
                  <a:gd name="connsiteX6" fmla="*/ 8202 w 47625"/>
                  <a:gd name="connsiteY6" fmla="*/ 714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38100">
                    <a:moveTo>
                      <a:pt x="8202" y="7144"/>
                    </a:moveTo>
                    <a:cubicBezTo>
                      <a:pt x="9726" y="7144"/>
                      <a:pt x="11250" y="17431"/>
                      <a:pt x="21347" y="23717"/>
                    </a:cubicBezTo>
                    <a:cubicBezTo>
                      <a:pt x="31443" y="30004"/>
                      <a:pt x="42683" y="27242"/>
                      <a:pt x="42968" y="28670"/>
                    </a:cubicBezTo>
                    <a:cubicBezTo>
                      <a:pt x="43254" y="30099"/>
                      <a:pt x="40682" y="31052"/>
                      <a:pt x="35920" y="31909"/>
                    </a:cubicBezTo>
                    <a:cubicBezTo>
                      <a:pt x="29711" y="32856"/>
                      <a:pt x="23366" y="31574"/>
                      <a:pt x="18013" y="28289"/>
                    </a:cubicBezTo>
                    <a:cubicBezTo>
                      <a:pt x="12866" y="25191"/>
                      <a:pt x="9138" y="20198"/>
                      <a:pt x="7631" y="14383"/>
                    </a:cubicBezTo>
                    <a:cubicBezTo>
                      <a:pt x="6583" y="9716"/>
                      <a:pt x="7440" y="7144"/>
                      <a:pt x="8202" y="714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1" name="Полилиния: фигура 870">
                <a:extLst>
                  <a:ext uri="{FF2B5EF4-FFF2-40B4-BE49-F238E27FC236}">
                    <a16:creationId xmlns:a16="http://schemas.microsoft.com/office/drawing/2014/main" id="{23EFC3D1-5DC2-4994-91F6-E15185C3C3F9}"/>
                  </a:ext>
                </a:extLst>
              </p:cNvPr>
              <p:cNvSpPr/>
              <p:nvPr/>
            </p:nvSpPr>
            <p:spPr>
              <a:xfrm>
                <a:off x="937343" y="3750174"/>
                <a:ext cx="209550" cy="152400"/>
              </a:xfrm>
              <a:custGeom>
                <a:avLst/>
                <a:gdLst>
                  <a:gd name="connsiteX0" fmla="*/ 158617 w 209550"/>
                  <a:gd name="connsiteY0" fmla="*/ 148859 h 152400"/>
                  <a:gd name="connsiteX1" fmla="*/ 159665 w 209550"/>
                  <a:gd name="connsiteY1" fmla="*/ 152860 h 152400"/>
                  <a:gd name="connsiteX2" fmla="*/ 197765 w 209550"/>
                  <a:gd name="connsiteY2" fmla="*/ 110664 h 152400"/>
                  <a:gd name="connsiteX3" fmla="*/ 201765 w 209550"/>
                  <a:gd name="connsiteY3" fmla="*/ 55228 h 152400"/>
                  <a:gd name="connsiteX4" fmla="*/ 155760 w 209550"/>
                  <a:gd name="connsiteY4" fmla="*/ 28273 h 152400"/>
                  <a:gd name="connsiteX5" fmla="*/ 113487 w 209550"/>
                  <a:gd name="connsiteY5" fmla="*/ 9292 h 152400"/>
                  <a:gd name="connsiteX6" fmla="*/ 106134 w 209550"/>
                  <a:gd name="connsiteY6" fmla="*/ 13223 h 152400"/>
                  <a:gd name="connsiteX7" fmla="*/ 90894 w 209550"/>
                  <a:gd name="connsiteY7" fmla="*/ 24177 h 152400"/>
                  <a:gd name="connsiteX8" fmla="*/ 62319 w 209550"/>
                  <a:gd name="connsiteY8" fmla="*/ 18176 h 152400"/>
                  <a:gd name="connsiteX9" fmla="*/ 36030 w 209550"/>
                  <a:gd name="connsiteY9" fmla="*/ 14461 h 152400"/>
                  <a:gd name="connsiteX10" fmla="*/ 13170 w 209550"/>
                  <a:gd name="connsiteY10" fmla="*/ 27225 h 152400"/>
                  <a:gd name="connsiteX11" fmla="*/ 12123 w 209550"/>
                  <a:gd name="connsiteY11" fmla="*/ 65325 h 152400"/>
                  <a:gd name="connsiteX12" fmla="*/ 43936 w 209550"/>
                  <a:gd name="connsiteY12" fmla="*/ 89423 h 152400"/>
                  <a:gd name="connsiteX13" fmla="*/ 84322 w 209550"/>
                  <a:gd name="connsiteY13" fmla="*/ 94662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9550" h="152400">
                    <a:moveTo>
                      <a:pt x="158617" y="148859"/>
                    </a:moveTo>
                    <a:lnTo>
                      <a:pt x="159665" y="152860"/>
                    </a:lnTo>
                    <a:cubicBezTo>
                      <a:pt x="175277" y="141726"/>
                      <a:pt x="188278" y="127327"/>
                      <a:pt x="197765" y="110664"/>
                    </a:cubicBezTo>
                    <a:cubicBezTo>
                      <a:pt x="207244" y="93690"/>
                      <a:pt x="208709" y="73387"/>
                      <a:pt x="201765" y="55228"/>
                    </a:cubicBezTo>
                    <a:cubicBezTo>
                      <a:pt x="194188" y="36962"/>
                      <a:pt x="175399" y="25953"/>
                      <a:pt x="155760" y="28273"/>
                    </a:cubicBezTo>
                    <a:cubicBezTo>
                      <a:pt x="149328" y="11358"/>
                      <a:pt x="130402" y="2860"/>
                      <a:pt x="113487" y="9292"/>
                    </a:cubicBezTo>
                    <a:cubicBezTo>
                      <a:pt x="110879" y="10284"/>
                      <a:pt x="108408" y="11605"/>
                      <a:pt x="106134" y="13223"/>
                    </a:cubicBezTo>
                    <a:cubicBezTo>
                      <a:pt x="101618" y="17600"/>
                      <a:pt x="96483" y="21291"/>
                      <a:pt x="90894" y="24177"/>
                    </a:cubicBezTo>
                    <a:cubicBezTo>
                      <a:pt x="81369" y="27511"/>
                      <a:pt x="71844" y="21796"/>
                      <a:pt x="62319" y="18176"/>
                    </a:cubicBezTo>
                    <a:cubicBezTo>
                      <a:pt x="54014" y="14726"/>
                      <a:pt x="44967" y="13447"/>
                      <a:pt x="36030" y="14461"/>
                    </a:cubicBezTo>
                    <a:cubicBezTo>
                      <a:pt x="27038" y="15574"/>
                      <a:pt x="18836" y="20154"/>
                      <a:pt x="13170" y="27225"/>
                    </a:cubicBezTo>
                    <a:cubicBezTo>
                      <a:pt x="5531" y="38669"/>
                      <a:pt x="5124" y="53478"/>
                      <a:pt x="12123" y="65325"/>
                    </a:cubicBezTo>
                    <a:cubicBezTo>
                      <a:pt x="19435" y="76967"/>
                      <a:pt x="30748" y="85537"/>
                      <a:pt x="43936" y="89423"/>
                    </a:cubicBezTo>
                    <a:cubicBezTo>
                      <a:pt x="57062" y="93169"/>
                      <a:pt x="70674" y="94935"/>
                      <a:pt x="84322" y="94662"/>
                    </a:cubicBez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2" name="Полилиния: фигура 871">
                <a:extLst>
                  <a:ext uri="{FF2B5EF4-FFF2-40B4-BE49-F238E27FC236}">
                    <a16:creationId xmlns:a16="http://schemas.microsoft.com/office/drawing/2014/main" id="{5D35FDCA-3C21-4EC5-AC5B-76A2B4AB644E}"/>
                  </a:ext>
                </a:extLst>
              </p:cNvPr>
              <p:cNvSpPr/>
              <p:nvPr/>
            </p:nvSpPr>
            <p:spPr>
              <a:xfrm>
                <a:off x="643427" y="4440846"/>
                <a:ext cx="552450" cy="400050"/>
              </a:xfrm>
              <a:custGeom>
                <a:avLst/>
                <a:gdLst>
                  <a:gd name="connsiteX0" fmla="*/ 7144 w 552450"/>
                  <a:gd name="connsiteY0" fmla="*/ 238951 h 400050"/>
                  <a:gd name="connsiteX1" fmla="*/ 26860 w 552450"/>
                  <a:gd name="connsiteY1" fmla="*/ 355823 h 400050"/>
                  <a:gd name="connsiteX2" fmla="*/ 91440 w 552450"/>
                  <a:gd name="connsiteY2" fmla="*/ 400686 h 400050"/>
                  <a:gd name="connsiteX3" fmla="*/ 224790 w 552450"/>
                  <a:gd name="connsiteY3" fmla="*/ 370015 h 400050"/>
                  <a:gd name="connsiteX4" fmla="*/ 316801 w 552450"/>
                  <a:gd name="connsiteY4" fmla="*/ 191897 h 400050"/>
                  <a:gd name="connsiteX5" fmla="*/ 376618 w 552450"/>
                  <a:gd name="connsiteY5" fmla="*/ 208471 h 400050"/>
                  <a:gd name="connsiteX6" fmla="*/ 457391 w 552450"/>
                  <a:gd name="connsiteY6" fmla="*/ 259239 h 400050"/>
                  <a:gd name="connsiteX7" fmla="*/ 455390 w 552450"/>
                  <a:gd name="connsiteY7" fmla="*/ 238951 h 400050"/>
                  <a:gd name="connsiteX8" fmla="*/ 417290 w 552450"/>
                  <a:gd name="connsiteY8" fmla="*/ 197232 h 400050"/>
                  <a:gd name="connsiteX9" fmla="*/ 488061 w 552450"/>
                  <a:gd name="connsiteY9" fmla="*/ 249429 h 400050"/>
                  <a:gd name="connsiteX10" fmla="*/ 504063 w 552450"/>
                  <a:gd name="connsiteY10" fmla="*/ 238189 h 400050"/>
                  <a:gd name="connsiteX11" fmla="*/ 444151 w 552450"/>
                  <a:gd name="connsiteY11" fmla="*/ 181611 h 400050"/>
                  <a:gd name="connsiteX12" fmla="*/ 523208 w 552450"/>
                  <a:gd name="connsiteY12" fmla="*/ 226949 h 400050"/>
                  <a:gd name="connsiteX13" fmla="*/ 536067 w 552450"/>
                  <a:gd name="connsiteY13" fmla="*/ 214186 h 400050"/>
                  <a:gd name="connsiteX14" fmla="*/ 450342 w 552450"/>
                  <a:gd name="connsiteY14" fmla="*/ 146368 h 400050"/>
                  <a:gd name="connsiteX15" fmla="*/ 543116 w 552450"/>
                  <a:gd name="connsiteY15" fmla="*/ 162465 h 400050"/>
                  <a:gd name="connsiteX16" fmla="*/ 548354 w 552450"/>
                  <a:gd name="connsiteY16" fmla="*/ 144939 h 400050"/>
                  <a:gd name="connsiteX17" fmla="*/ 401384 w 552450"/>
                  <a:gd name="connsiteY17" fmla="*/ 91218 h 400050"/>
                  <a:gd name="connsiteX18" fmla="*/ 436721 w 552450"/>
                  <a:gd name="connsiteY18" fmla="*/ 34640 h 400050"/>
                  <a:gd name="connsiteX19" fmla="*/ 427196 w 552450"/>
                  <a:gd name="connsiteY19" fmla="*/ 7779 h 400050"/>
                  <a:gd name="connsiteX20" fmla="*/ 412147 w 552450"/>
                  <a:gd name="connsiteY20" fmla="*/ 26067 h 400050"/>
                  <a:gd name="connsiteX21" fmla="*/ 367856 w 552450"/>
                  <a:gd name="connsiteY21" fmla="*/ 66834 h 400050"/>
                  <a:gd name="connsiteX22" fmla="*/ 256222 w 552450"/>
                  <a:gd name="connsiteY22" fmla="*/ 109601 h 400050"/>
                  <a:gd name="connsiteX23" fmla="*/ 100108 w 552450"/>
                  <a:gd name="connsiteY23" fmla="*/ 252000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52450" h="400050">
                    <a:moveTo>
                      <a:pt x="7144" y="238951"/>
                    </a:moveTo>
                    <a:cubicBezTo>
                      <a:pt x="7144" y="238951"/>
                      <a:pt x="22574" y="343155"/>
                      <a:pt x="26860" y="355823"/>
                    </a:cubicBezTo>
                    <a:cubicBezTo>
                      <a:pt x="31147" y="368491"/>
                      <a:pt x="66103" y="398590"/>
                      <a:pt x="91440" y="400686"/>
                    </a:cubicBezTo>
                    <a:cubicBezTo>
                      <a:pt x="116776" y="402781"/>
                      <a:pt x="189643" y="400686"/>
                      <a:pt x="224790" y="370015"/>
                    </a:cubicBezTo>
                    <a:cubicBezTo>
                      <a:pt x="275368" y="326486"/>
                      <a:pt x="316801" y="191897"/>
                      <a:pt x="316801" y="191897"/>
                    </a:cubicBezTo>
                    <a:lnTo>
                      <a:pt x="376618" y="208471"/>
                    </a:lnTo>
                    <a:cubicBezTo>
                      <a:pt x="376618" y="208471"/>
                      <a:pt x="445961" y="267526"/>
                      <a:pt x="457391" y="259239"/>
                    </a:cubicBezTo>
                    <a:cubicBezTo>
                      <a:pt x="468820" y="250953"/>
                      <a:pt x="455390" y="238951"/>
                      <a:pt x="455390" y="238951"/>
                    </a:cubicBezTo>
                    <a:lnTo>
                      <a:pt x="417290" y="197232"/>
                    </a:lnTo>
                    <a:cubicBezTo>
                      <a:pt x="417290" y="197232"/>
                      <a:pt x="480822" y="244856"/>
                      <a:pt x="488061" y="249429"/>
                    </a:cubicBezTo>
                    <a:cubicBezTo>
                      <a:pt x="495300" y="254001"/>
                      <a:pt x="507111" y="246666"/>
                      <a:pt x="504063" y="238189"/>
                    </a:cubicBezTo>
                    <a:cubicBezTo>
                      <a:pt x="501015" y="229712"/>
                      <a:pt x="444151" y="181611"/>
                      <a:pt x="444151" y="181611"/>
                    </a:cubicBezTo>
                    <a:cubicBezTo>
                      <a:pt x="444151" y="181611"/>
                      <a:pt x="512731" y="224473"/>
                      <a:pt x="523208" y="226949"/>
                    </a:cubicBezTo>
                    <a:cubicBezTo>
                      <a:pt x="530638" y="228664"/>
                      <a:pt x="540258" y="222663"/>
                      <a:pt x="536067" y="214186"/>
                    </a:cubicBezTo>
                    <a:cubicBezTo>
                      <a:pt x="531876" y="205709"/>
                      <a:pt x="450342" y="146368"/>
                      <a:pt x="450342" y="146368"/>
                    </a:cubicBezTo>
                    <a:cubicBezTo>
                      <a:pt x="450342" y="146368"/>
                      <a:pt x="538067" y="161894"/>
                      <a:pt x="543116" y="162465"/>
                    </a:cubicBezTo>
                    <a:cubicBezTo>
                      <a:pt x="550736" y="163418"/>
                      <a:pt x="558260" y="149130"/>
                      <a:pt x="548354" y="144939"/>
                    </a:cubicBezTo>
                    <a:cubicBezTo>
                      <a:pt x="538448" y="140748"/>
                      <a:pt x="401384" y="91218"/>
                      <a:pt x="401384" y="91218"/>
                    </a:cubicBezTo>
                    <a:cubicBezTo>
                      <a:pt x="401384" y="91218"/>
                      <a:pt x="438150" y="54452"/>
                      <a:pt x="436721" y="34640"/>
                    </a:cubicBezTo>
                    <a:cubicBezTo>
                      <a:pt x="437034" y="24807"/>
                      <a:pt x="433633" y="15218"/>
                      <a:pt x="427196" y="7779"/>
                    </a:cubicBezTo>
                    <a:cubicBezTo>
                      <a:pt x="427196" y="7779"/>
                      <a:pt x="425387" y="1874"/>
                      <a:pt x="412147" y="26067"/>
                    </a:cubicBezTo>
                    <a:cubicBezTo>
                      <a:pt x="403397" y="45009"/>
                      <a:pt x="387456" y="59681"/>
                      <a:pt x="367856" y="66834"/>
                    </a:cubicBezTo>
                    <a:cubicBezTo>
                      <a:pt x="349472" y="74264"/>
                      <a:pt x="256222" y="109601"/>
                      <a:pt x="256222" y="109601"/>
                    </a:cubicBezTo>
                    <a:lnTo>
                      <a:pt x="100108" y="252000"/>
                    </a:lnTo>
                    <a:close/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3" name="Полилиния: фигура 872">
                <a:extLst>
                  <a:ext uri="{FF2B5EF4-FFF2-40B4-BE49-F238E27FC236}">
                    <a16:creationId xmlns:a16="http://schemas.microsoft.com/office/drawing/2014/main" id="{18584C1D-0882-403E-A268-EADB7222DC30}"/>
                  </a:ext>
                </a:extLst>
              </p:cNvPr>
              <p:cNvSpPr/>
              <p:nvPr/>
            </p:nvSpPr>
            <p:spPr>
              <a:xfrm>
                <a:off x="765372" y="4510062"/>
                <a:ext cx="19050" cy="152400"/>
              </a:xfrm>
              <a:custGeom>
                <a:avLst/>
                <a:gdLst>
                  <a:gd name="connsiteX0" fmla="*/ 17692 w 19050"/>
                  <a:gd name="connsiteY0" fmla="*/ 7144 h 152400"/>
                  <a:gd name="connsiteX1" fmla="*/ 19978 w 19050"/>
                  <a:gd name="connsiteY1" fmla="*/ 28384 h 152400"/>
                  <a:gd name="connsiteX2" fmla="*/ 19121 w 19050"/>
                  <a:gd name="connsiteY2" fmla="*/ 79915 h 152400"/>
                  <a:gd name="connsiteX3" fmla="*/ 12644 w 19050"/>
                  <a:gd name="connsiteY3" fmla="*/ 130969 h 152400"/>
                  <a:gd name="connsiteX4" fmla="*/ 7405 w 19050"/>
                  <a:gd name="connsiteY4" fmla="*/ 151733 h 152400"/>
                  <a:gd name="connsiteX5" fmla="*/ 14168 w 19050"/>
                  <a:gd name="connsiteY5" fmla="*/ 79534 h 152400"/>
                  <a:gd name="connsiteX6" fmla="*/ 17692 w 19050"/>
                  <a:gd name="connsiteY6" fmla="*/ 7144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50" h="152400">
                    <a:moveTo>
                      <a:pt x="17692" y="7144"/>
                    </a:moveTo>
                    <a:cubicBezTo>
                      <a:pt x="19337" y="14101"/>
                      <a:pt x="20105" y="21237"/>
                      <a:pt x="19978" y="28384"/>
                    </a:cubicBezTo>
                    <a:cubicBezTo>
                      <a:pt x="20644" y="45564"/>
                      <a:pt x="20358" y="62767"/>
                      <a:pt x="19121" y="79915"/>
                    </a:cubicBezTo>
                    <a:cubicBezTo>
                      <a:pt x="17935" y="97042"/>
                      <a:pt x="15772" y="114088"/>
                      <a:pt x="12644" y="130969"/>
                    </a:cubicBezTo>
                    <a:cubicBezTo>
                      <a:pt x="11747" y="138077"/>
                      <a:pt x="9988" y="145050"/>
                      <a:pt x="7405" y="151733"/>
                    </a:cubicBezTo>
                    <a:cubicBezTo>
                      <a:pt x="5881" y="151733"/>
                      <a:pt x="11405" y="119443"/>
                      <a:pt x="14168" y="79534"/>
                    </a:cubicBezTo>
                    <a:cubicBezTo>
                      <a:pt x="16930" y="39624"/>
                      <a:pt x="16168" y="7239"/>
                      <a:pt x="17692" y="7144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4" name="Полилиния: фигура 873">
                <a:extLst>
                  <a:ext uri="{FF2B5EF4-FFF2-40B4-BE49-F238E27FC236}">
                    <a16:creationId xmlns:a16="http://schemas.microsoft.com/office/drawing/2014/main" id="{4D02CD51-4F19-4D56-9F34-8C32F946ED7B}"/>
                  </a:ext>
                </a:extLst>
              </p:cNvPr>
              <p:cNvSpPr/>
              <p:nvPr/>
            </p:nvSpPr>
            <p:spPr>
              <a:xfrm>
                <a:off x="1154730" y="4557591"/>
                <a:ext cx="161925" cy="200025"/>
              </a:xfrm>
              <a:custGeom>
                <a:avLst/>
                <a:gdLst>
                  <a:gd name="connsiteX0" fmla="*/ 54769 w 161925"/>
                  <a:gd name="connsiteY0" fmla="*/ 55817 h 200025"/>
                  <a:gd name="connsiteX1" fmla="*/ 7144 w 161925"/>
                  <a:gd name="connsiteY1" fmla="*/ 200692 h 200025"/>
                  <a:gd name="connsiteX2" fmla="*/ 117919 w 161925"/>
                  <a:gd name="connsiteY2" fmla="*/ 162211 h 200025"/>
                  <a:gd name="connsiteX3" fmla="*/ 162496 w 161925"/>
                  <a:gd name="connsiteY3" fmla="*/ 14669 h 200025"/>
                  <a:gd name="connsiteX4" fmla="*/ 158496 w 161925"/>
                  <a:gd name="connsiteY4" fmla="*/ 7144 h 200025"/>
                  <a:gd name="connsiteX5" fmla="*/ 54769 w 161925"/>
                  <a:gd name="connsiteY5" fmla="*/ 55817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1925" h="200025">
                    <a:moveTo>
                      <a:pt x="54769" y="55817"/>
                    </a:moveTo>
                    <a:lnTo>
                      <a:pt x="7144" y="200692"/>
                    </a:lnTo>
                    <a:lnTo>
                      <a:pt x="117919" y="162211"/>
                    </a:lnTo>
                    <a:lnTo>
                      <a:pt x="162496" y="14669"/>
                    </a:lnTo>
                    <a:lnTo>
                      <a:pt x="158496" y="7144"/>
                    </a:lnTo>
                    <a:lnTo>
                      <a:pt x="54769" y="55817"/>
                    </a:ln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5" name="Полилиния: фигура 874">
                <a:extLst>
                  <a:ext uri="{FF2B5EF4-FFF2-40B4-BE49-F238E27FC236}">
                    <a16:creationId xmlns:a16="http://schemas.microsoft.com/office/drawing/2014/main" id="{3CBEC6F5-A720-40EB-A63B-07B88BFC4DA0}"/>
                  </a:ext>
                </a:extLst>
              </p:cNvPr>
              <p:cNvSpPr/>
              <p:nvPr/>
            </p:nvSpPr>
            <p:spPr>
              <a:xfrm>
                <a:off x="1156123" y="4538637"/>
                <a:ext cx="200025" cy="180975"/>
              </a:xfrm>
              <a:custGeom>
                <a:avLst/>
                <a:gdLst>
                  <a:gd name="connsiteX0" fmla="*/ 58423 w 200025"/>
                  <a:gd name="connsiteY0" fmla="*/ 7144 h 180975"/>
                  <a:gd name="connsiteX1" fmla="*/ 74036 w 200025"/>
                  <a:gd name="connsiteY1" fmla="*/ 42511 h 180975"/>
                  <a:gd name="connsiteX2" fmla="*/ 75568 w 200025"/>
                  <a:gd name="connsiteY2" fmla="*/ 43053 h 180975"/>
                  <a:gd name="connsiteX3" fmla="*/ 128337 w 200025"/>
                  <a:gd name="connsiteY3" fmla="*/ 54959 h 180975"/>
                  <a:gd name="connsiteX4" fmla="*/ 128337 w 200025"/>
                  <a:gd name="connsiteY4" fmla="*/ 78105 h 180975"/>
                  <a:gd name="connsiteX5" fmla="*/ 61090 w 200025"/>
                  <a:gd name="connsiteY5" fmla="*/ 106108 h 180975"/>
                  <a:gd name="connsiteX6" fmla="*/ 48327 w 200025"/>
                  <a:gd name="connsiteY6" fmla="*/ 105156 h 180975"/>
                  <a:gd name="connsiteX7" fmla="*/ 29277 w 200025"/>
                  <a:gd name="connsiteY7" fmla="*/ 106394 h 180975"/>
                  <a:gd name="connsiteX8" fmla="*/ 32420 w 200025"/>
                  <a:gd name="connsiteY8" fmla="*/ 122682 h 180975"/>
                  <a:gd name="connsiteX9" fmla="*/ 61852 w 200025"/>
                  <a:gd name="connsiteY9" fmla="*/ 129350 h 180975"/>
                  <a:gd name="connsiteX10" fmla="*/ 16894 w 200025"/>
                  <a:gd name="connsiteY10" fmla="*/ 129350 h 180975"/>
                  <a:gd name="connsiteX11" fmla="*/ 27562 w 200025"/>
                  <a:gd name="connsiteY11" fmla="*/ 152209 h 180975"/>
                  <a:gd name="connsiteX12" fmla="*/ 53566 w 200025"/>
                  <a:gd name="connsiteY12" fmla="*/ 158686 h 180975"/>
                  <a:gd name="connsiteX13" fmla="*/ 7655 w 200025"/>
                  <a:gd name="connsiteY13" fmla="*/ 155162 h 180975"/>
                  <a:gd name="connsiteX14" fmla="*/ 15561 w 200025"/>
                  <a:gd name="connsiteY14" fmla="*/ 173736 h 180975"/>
                  <a:gd name="connsiteX15" fmla="*/ 53661 w 200025"/>
                  <a:gd name="connsiteY15" fmla="*/ 181356 h 180975"/>
                  <a:gd name="connsiteX16" fmla="*/ 129099 w 200025"/>
                  <a:gd name="connsiteY16" fmla="*/ 181356 h 180975"/>
                  <a:gd name="connsiteX17" fmla="*/ 187392 w 200025"/>
                  <a:gd name="connsiteY17" fmla="*/ 122301 h 180975"/>
                  <a:gd name="connsiteX18" fmla="*/ 195583 w 200025"/>
                  <a:gd name="connsiteY18" fmla="*/ 94297 h 180975"/>
                  <a:gd name="connsiteX19" fmla="*/ 190345 w 200025"/>
                  <a:gd name="connsiteY19" fmla="*/ 73057 h 180975"/>
                  <a:gd name="connsiteX20" fmla="*/ 147863 w 200025"/>
                  <a:gd name="connsiteY20" fmla="*/ 35719 h 180975"/>
                  <a:gd name="connsiteX21" fmla="*/ 85760 w 200025"/>
                  <a:gd name="connsiteY21" fmla="*/ 18859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0025" h="180975">
                    <a:moveTo>
                      <a:pt x="58423" y="7144"/>
                    </a:moveTo>
                    <a:cubicBezTo>
                      <a:pt x="52968" y="21221"/>
                      <a:pt x="59958" y="37056"/>
                      <a:pt x="74036" y="42511"/>
                    </a:cubicBezTo>
                    <a:cubicBezTo>
                      <a:pt x="74541" y="42707"/>
                      <a:pt x="75052" y="42888"/>
                      <a:pt x="75568" y="43053"/>
                    </a:cubicBezTo>
                    <a:cubicBezTo>
                      <a:pt x="92677" y="48913"/>
                      <a:pt x="110369" y="52905"/>
                      <a:pt x="128337" y="54959"/>
                    </a:cubicBezTo>
                    <a:lnTo>
                      <a:pt x="128337" y="78105"/>
                    </a:lnTo>
                    <a:lnTo>
                      <a:pt x="61090" y="106108"/>
                    </a:lnTo>
                    <a:cubicBezTo>
                      <a:pt x="61090" y="106108"/>
                      <a:pt x="54994" y="105537"/>
                      <a:pt x="48327" y="105156"/>
                    </a:cubicBezTo>
                    <a:cubicBezTo>
                      <a:pt x="41951" y="104569"/>
                      <a:pt x="35523" y="104987"/>
                      <a:pt x="29277" y="106394"/>
                    </a:cubicBezTo>
                    <a:cubicBezTo>
                      <a:pt x="26324" y="108966"/>
                      <a:pt x="19180" y="118110"/>
                      <a:pt x="32420" y="122682"/>
                    </a:cubicBezTo>
                    <a:cubicBezTo>
                      <a:pt x="42009" y="125791"/>
                      <a:pt x="51860" y="128023"/>
                      <a:pt x="61852" y="129350"/>
                    </a:cubicBezTo>
                    <a:lnTo>
                      <a:pt x="16894" y="129350"/>
                    </a:lnTo>
                    <a:cubicBezTo>
                      <a:pt x="16894" y="129350"/>
                      <a:pt x="2321" y="147542"/>
                      <a:pt x="27562" y="152209"/>
                    </a:cubicBezTo>
                    <a:cubicBezTo>
                      <a:pt x="36472" y="153247"/>
                      <a:pt x="45211" y="155423"/>
                      <a:pt x="53566" y="158686"/>
                    </a:cubicBezTo>
                    <a:lnTo>
                      <a:pt x="7655" y="155162"/>
                    </a:lnTo>
                    <a:cubicBezTo>
                      <a:pt x="5816" y="162427"/>
                      <a:pt x="9050" y="170026"/>
                      <a:pt x="15561" y="173736"/>
                    </a:cubicBezTo>
                    <a:cubicBezTo>
                      <a:pt x="26991" y="182118"/>
                      <a:pt x="53661" y="181356"/>
                      <a:pt x="53661" y="181356"/>
                    </a:cubicBezTo>
                    <a:lnTo>
                      <a:pt x="129099" y="181356"/>
                    </a:lnTo>
                    <a:lnTo>
                      <a:pt x="187392" y="122301"/>
                    </a:lnTo>
                    <a:cubicBezTo>
                      <a:pt x="193021" y="114070"/>
                      <a:pt x="195889" y="104264"/>
                      <a:pt x="195583" y="94297"/>
                    </a:cubicBezTo>
                    <a:cubicBezTo>
                      <a:pt x="194821" y="78296"/>
                      <a:pt x="194821" y="76771"/>
                      <a:pt x="190345" y="73057"/>
                    </a:cubicBezTo>
                    <a:cubicBezTo>
                      <a:pt x="185868" y="69342"/>
                      <a:pt x="147863" y="35719"/>
                      <a:pt x="147863" y="35719"/>
                    </a:cubicBezTo>
                    <a:lnTo>
                      <a:pt x="85760" y="18859"/>
                    </a:lnTo>
                    <a:close/>
                  </a:path>
                </a:pathLst>
              </a:custGeom>
              <a:solidFill>
                <a:srgbClr val="FFBE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6" name="Полилиния: фигура 875">
                <a:extLst>
                  <a:ext uri="{FF2B5EF4-FFF2-40B4-BE49-F238E27FC236}">
                    <a16:creationId xmlns:a16="http://schemas.microsoft.com/office/drawing/2014/main" id="{A9171297-32B7-41B0-918A-CA80F16ED3D6}"/>
                  </a:ext>
                </a:extLst>
              </p:cNvPr>
              <p:cNvSpPr/>
              <p:nvPr/>
            </p:nvSpPr>
            <p:spPr>
              <a:xfrm>
                <a:off x="1020427" y="4937734"/>
                <a:ext cx="76200" cy="552450"/>
              </a:xfrm>
              <a:custGeom>
                <a:avLst/>
                <a:gdLst>
                  <a:gd name="connsiteX0" fmla="*/ 67913 w 76200"/>
                  <a:gd name="connsiteY0" fmla="*/ 552450 h 552450"/>
                  <a:gd name="connsiteX1" fmla="*/ 67913 w 76200"/>
                  <a:gd name="connsiteY1" fmla="*/ 546830 h 552450"/>
                  <a:gd name="connsiteX2" fmla="*/ 67913 w 76200"/>
                  <a:gd name="connsiteY2" fmla="*/ 530828 h 552450"/>
                  <a:gd name="connsiteX3" fmla="*/ 66770 w 76200"/>
                  <a:gd name="connsiteY3" fmla="*/ 471868 h 552450"/>
                  <a:gd name="connsiteX4" fmla="*/ 53245 w 76200"/>
                  <a:gd name="connsiteY4" fmla="*/ 278034 h 552450"/>
                  <a:gd name="connsiteX5" fmla="*/ 23241 w 76200"/>
                  <a:gd name="connsiteY5" fmla="*/ 86106 h 552450"/>
                  <a:gd name="connsiteX6" fmla="*/ 11240 w 76200"/>
                  <a:gd name="connsiteY6" fmla="*/ 28384 h 552450"/>
                  <a:gd name="connsiteX7" fmla="*/ 7906 w 76200"/>
                  <a:gd name="connsiteY7" fmla="*/ 12668 h 552450"/>
                  <a:gd name="connsiteX8" fmla="*/ 7144 w 76200"/>
                  <a:gd name="connsiteY8" fmla="*/ 7144 h 552450"/>
                  <a:gd name="connsiteX9" fmla="*/ 8858 w 76200"/>
                  <a:gd name="connsiteY9" fmla="*/ 12478 h 552450"/>
                  <a:gd name="connsiteX10" fmla="*/ 13049 w 76200"/>
                  <a:gd name="connsiteY10" fmla="*/ 27908 h 552450"/>
                  <a:gd name="connsiteX11" fmla="*/ 26670 w 76200"/>
                  <a:gd name="connsiteY11" fmla="*/ 85058 h 552450"/>
                  <a:gd name="connsiteX12" fmla="*/ 58103 w 76200"/>
                  <a:gd name="connsiteY12" fmla="*/ 277177 h 552450"/>
                  <a:gd name="connsiteX13" fmla="*/ 70199 w 76200"/>
                  <a:gd name="connsiteY13" fmla="*/ 471488 h 552450"/>
                  <a:gd name="connsiteX14" fmla="*/ 70199 w 76200"/>
                  <a:gd name="connsiteY14" fmla="*/ 530542 h 552450"/>
                  <a:gd name="connsiteX15" fmla="*/ 69533 w 76200"/>
                  <a:gd name="connsiteY15" fmla="*/ 546544 h 552450"/>
                  <a:gd name="connsiteX16" fmla="*/ 67913 w 76200"/>
                  <a:gd name="connsiteY16" fmla="*/ 552450 h 552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6200" h="552450">
                    <a:moveTo>
                      <a:pt x="67913" y="552450"/>
                    </a:moveTo>
                    <a:cubicBezTo>
                      <a:pt x="67748" y="550580"/>
                      <a:pt x="67748" y="548700"/>
                      <a:pt x="67913" y="546830"/>
                    </a:cubicBezTo>
                    <a:cubicBezTo>
                      <a:pt x="67913" y="542639"/>
                      <a:pt x="67913" y="537305"/>
                      <a:pt x="67913" y="530828"/>
                    </a:cubicBezTo>
                    <a:cubicBezTo>
                      <a:pt x="67913" y="516922"/>
                      <a:pt x="67437" y="496729"/>
                      <a:pt x="66770" y="471868"/>
                    </a:cubicBezTo>
                    <a:cubicBezTo>
                      <a:pt x="65342" y="422148"/>
                      <a:pt x="61627" y="353473"/>
                      <a:pt x="53245" y="278034"/>
                    </a:cubicBezTo>
                    <a:cubicBezTo>
                      <a:pt x="44863" y="202597"/>
                      <a:pt x="32956" y="135159"/>
                      <a:pt x="23241" y="86106"/>
                    </a:cubicBezTo>
                    <a:cubicBezTo>
                      <a:pt x="18383" y="61627"/>
                      <a:pt x="13716" y="42005"/>
                      <a:pt x="11240" y="28384"/>
                    </a:cubicBezTo>
                    <a:lnTo>
                      <a:pt x="7906" y="12668"/>
                    </a:lnTo>
                    <a:cubicBezTo>
                      <a:pt x="7419" y="10866"/>
                      <a:pt x="7163" y="9010"/>
                      <a:pt x="7144" y="7144"/>
                    </a:cubicBezTo>
                    <a:cubicBezTo>
                      <a:pt x="7898" y="8858"/>
                      <a:pt x="8472" y="10645"/>
                      <a:pt x="8858" y="12478"/>
                    </a:cubicBezTo>
                    <a:cubicBezTo>
                      <a:pt x="10001" y="16478"/>
                      <a:pt x="11335" y="22003"/>
                      <a:pt x="13049" y="27908"/>
                    </a:cubicBezTo>
                    <a:cubicBezTo>
                      <a:pt x="16669" y="41434"/>
                      <a:pt x="21336" y="60960"/>
                      <a:pt x="26670" y="85058"/>
                    </a:cubicBezTo>
                    <a:cubicBezTo>
                      <a:pt x="37243" y="133731"/>
                      <a:pt x="49530" y="201549"/>
                      <a:pt x="58103" y="277177"/>
                    </a:cubicBezTo>
                    <a:cubicBezTo>
                      <a:pt x="66675" y="352806"/>
                      <a:pt x="69723" y="421672"/>
                      <a:pt x="70199" y="471488"/>
                    </a:cubicBezTo>
                    <a:cubicBezTo>
                      <a:pt x="70199" y="496443"/>
                      <a:pt x="70199" y="516636"/>
                      <a:pt x="70199" y="530542"/>
                    </a:cubicBezTo>
                    <a:lnTo>
                      <a:pt x="69533" y="546544"/>
                    </a:lnTo>
                    <a:cubicBezTo>
                      <a:pt x="69276" y="548580"/>
                      <a:pt x="68730" y="550568"/>
                      <a:pt x="67913" y="552450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6" name="Полилиния: фигура 615">
                <a:extLst>
                  <a:ext uri="{FF2B5EF4-FFF2-40B4-BE49-F238E27FC236}">
                    <a16:creationId xmlns:a16="http://schemas.microsoft.com/office/drawing/2014/main" id="{203EFCB6-46A7-479A-A8C9-155577AD222A}"/>
                  </a:ext>
                </a:extLst>
              </p:cNvPr>
              <p:cNvSpPr/>
              <p:nvPr/>
            </p:nvSpPr>
            <p:spPr>
              <a:xfrm>
                <a:off x="2551988" y="4345615"/>
                <a:ext cx="252131" cy="143962"/>
              </a:xfrm>
              <a:custGeom>
                <a:avLst/>
                <a:gdLst>
                  <a:gd name="connsiteX0" fmla="*/ 18288 w 161925"/>
                  <a:gd name="connsiteY0" fmla="*/ 69534 h 76200"/>
                  <a:gd name="connsiteX1" fmla="*/ 104965 w 161925"/>
                  <a:gd name="connsiteY1" fmla="*/ 12384 h 76200"/>
                  <a:gd name="connsiteX2" fmla="*/ 128778 w 161925"/>
                  <a:gd name="connsiteY2" fmla="*/ 13146 h 76200"/>
                  <a:gd name="connsiteX3" fmla="*/ 140589 w 161925"/>
                  <a:gd name="connsiteY3" fmla="*/ 21624 h 76200"/>
                  <a:gd name="connsiteX4" fmla="*/ 153924 w 161925"/>
                  <a:gd name="connsiteY4" fmla="*/ 26195 h 76200"/>
                  <a:gd name="connsiteX5" fmla="*/ 161640 w 161925"/>
                  <a:gd name="connsiteY5" fmla="*/ 16671 h 76200"/>
                  <a:gd name="connsiteX6" fmla="*/ 161544 w 161925"/>
                  <a:gd name="connsiteY6" fmla="*/ 16004 h 76200"/>
                  <a:gd name="connsiteX7" fmla="*/ 7144 w 161925"/>
                  <a:gd name="connsiteY7" fmla="*/ 68772 h 76200"/>
                  <a:gd name="connsiteX0" fmla="*/ 11144 w 154544"/>
                  <a:gd name="connsiteY0" fmla="*/ 62391 h 62391"/>
                  <a:gd name="connsiteX1" fmla="*/ 105985 w 154544"/>
                  <a:gd name="connsiteY1" fmla="*/ 54226 h 62391"/>
                  <a:gd name="connsiteX2" fmla="*/ 121634 w 154544"/>
                  <a:gd name="connsiteY2" fmla="*/ 6003 h 62391"/>
                  <a:gd name="connsiteX3" fmla="*/ 133445 w 154544"/>
                  <a:gd name="connsiteY3" fmla="*/ 14481 h 62391"/>
                  <a:gd name="connsiteX4" fmla="*/ 146780 w 154544"/>
                  <a:gd name="connsiteY4" fmla="*/ 19052 h 62391"/>
                  <a:gd name="connsiteX5" fmla="*/ 154496 w 154544"/>
                  <a:gd name="connsiteY5" fmla="*/ 9528 h 62391"/>
                  <a:gd name="connsiteX6" fmla="*/ 154400 w 154544"/>
                  <a:gd name="connsiteY6" fmla="*/ 8861 h 62391"/>
                  <a:gd name="connsiteX7" fmla="*/ 0 w 154544"/>
                  <a:gd name="connsiteY7" fmla="*/ 61629 h 62391"/>
                  <a:gd name="connsiteX0" fmla="*/ 15226 w 154544"/>
                  <a:gd name="connsiteY0" fmla="*/ 104573 h 104573"/>
                  <a:gd name="connsiteX1" fmla="*/ 105985 w 154544"/>
                  <a:gd name="connsiteY1" fmla="*/ 54226 h 104573"/>
                  <a:gd name="connsiteX2" fmla="*/ 121634 w 154544"/>
                  <a:gd name="connsiteY2" fmla="*/ 6003 h 104573"/>
                  <a:gd name="connsiteX3" fmla="*/ 133445 w 154544"/>
                  <a:gd name="connsiteY3" fmla="*/ 14481 h 104573"/>
                  <a:gd name="connsiteX4" fmla="*/ 146780 w 154544"/>
                  <a:gd name="connsiteY4" fmla="*/ 19052 h 104573"/>
                  <a:gd name="connsiteX5" fmla="*/ 154496 w 154544"/>
                  <a:gd name="connsiteY5" fmla="*/ 9528 h 104573"/>
                  <a:gd name="connsiteX6" fmla="*/ 154400 w 154544"/>
                  <a:gd name="connsiteY6" fmla="*/ 8861 h 104573"/>
                  <a:gd name="connsiteX7" fmla="*/ 0 w 154544"/>
                  <a:gd name="connsiteY7" fmla="*/ 61629 h 104573"/>
                  <a:gd name="connsiteX0" fmla="*/ 15226 w 172250"/>
                  <a:gd name="connsiteY0" fmla="*/ 104573 h 104573"/>
                  <a:gd name="connsiteX1" fmla="*/ 105985 w 172250"/>
                  <a:gd name="connsiteY1" fmla="*/ 54226 h 104573"/>
                  <a:gd name="connsiteX2" fmla="*/ 171980 w 172250"/>
                  <a:gd name="connsiteY2" fmla="*/ 50907 h 104573"/>
                  <a:gd name="connsiteX3" fmla="*/ 133445 w 172250"/>
                  <a:gd name="connsiteY3" fmla="*/ 14481 h 104573"/>
                  <a:gd name="connsiteX4" fmla="*/ 146780 w 172250"/>
                  <a:gd name="connsiteY4" fmla="*/ 19052 h 104573"/>
                  <a:gd name="connsiteX5" fmla="*/ 154496 w 172250"/>
                  <a:gd name="connsiteY5" fmla="*/ 9528 h 104573"/>
                  <a:gd name="connsiteX6" fmla="*/ 154400 w 172250"/>
                  <a:gd name="connsiteY6" fmla="*/ 8861 h 104573"/>
                  <a:gd name="connsiteX7" fmla="*/ 0 w 172250"/>
                  <a:gd name="connsiteY7" fmla="*/ 61629 h 104573"/>
                  <a:gd name="connsiteX0" fmla="*/ 15226 w 202875"/>
                  <a:gd name="connsiteY0" fmla="*/ 104573 h 104573"/>
                  <a:gd name="connsiteX1" fmla="*/ 105985 w 202875"/>
                  <a:gd name="connsiteY1" fmla="*/ 54226 h 104573"/>
                  <a:gd name="connsiteX2" fmla="*/ 171980 w 202875"/>
                  <a:gd name="connsiteY2" fmla="*/ 50907 h 104573"/>
                  <a:gd name="connsiteX3" fmla="*/ 133445 w 202875"/>
                  <a:gd name="connsiteY3" fmla="*/ 14481 h 104573"/>
                  <a:gd name="connsiteX4" fmla="*/ 202569 w 202875"/>
                  <a:gd name="connsiteY4" fmla="*/ 39462 h 104573"/>
                  <a:gd name="connsiteX5" fmla="*/ 154496 w 202875"/>
                  <a:gd name="connsiteY5" fmla="*/ 9528 h 104573"/>
                  <a:gd name="connsiteX6" fmla="*/ 154400 w 202875"/>
                  <a:gd name="connsiteY6" fmla="*/ 8861 h 104573"/>
                  <a:gd name="connsiteX7" fmla="*/ 0 w 202875"/>
                  <a:gd name="connsiteY7" fmla="*/ 61629 h 104573"/>
                  <a:gd name="connsiteX0" fmla="*/ 15226 w 202875"/>
                  <a:gd name="connsiteY0" fmla="*/ 104573 h 104573"/>
                  <a:gd name="connsiteX1" fmla="*/ 105985 w 202875"/>
                  <a:gd name="connsiteY1" fmla="*/ 54226 h 104573"/>
                  <a:gd name="connsiteX2" fmla="*/ 171980 w 202875"/>
                  <a:gd name="connsiteY2" fmla="*/ 50907 h 104573"/>
                  <a:gd name="connsiteX3" fmla="*/ 178348 w 202875"/>
                  <a:gd name="connsiteY3" fmla="*/ 55302 h 104573"/>
                  <a:gd name="connsiteX4" fmla="*/ 202569 w 202875"/>
                  <a:gd name="connsiteY4" fmla="*/ 39462 h 104573"/>
                  <a:gd name="connsiteX5" fmla="*/ 154496 w 202875"/>
                  <a:gd name="connsiteY5" fmla="*/ 9528 h 104573"/>
                  <a:gd name="connsiteX6" fmla="*/ 154400 w 202875"/>
                  <a:gd name="connsiteY6" fmla="*/ 8861 h 104573"/>
                  <a:gd name="connsiteX7" fmla="*/ 0 w 202875"/>
                  <a:gd name="connsiteY7" fmla="*/ 61629 h 104573"/>
                  <a:gd name="connsiteX0" fmla="*/ 15226 w 202875"/>
                  <a:gd name="connsiteY0" fmla="*/ 113714 h 113714"/>
                  <a:gd name="connsiteX1" fmla="*/ 105985 w 202875"/>
                  <a:gd name="connsiteY1" fmla="*/ 63367 h 113714"/>
                  <a:gd name="connsiteX2" fmla="*/ 171980 w 202875"/>
                  <a:gd name="connsiteY2" fmla="*/ 60048 h 113714"/>
                  <a:gd name="connsiteX3" fmla="*/ 178348 w 202875"/>
                  <a:gd name="connsiteY3" fmla="*/ 64443 h 113714"/>
                  <a:gd name="connsiteX4" fmla="*/ 202569 w 202875"/>
                  <a:gd name="connsiteY4" fmla="*/ 48603 h 113714"/>
                  <a:gd name="connsiteX5" fmla="*/ 154496 w 202875"/>
                  <a:gd name="connsiteY5" fmla="*/ 18669 h 113714"/>
                  <a:gd name="connsiteX6" fmla="*/ 157693 w 202875"/>
                  <a:gd name="connsiteY6" fmla="*/ 7301 h 113714"/>
                  <a:gd name="connsiteX7" fmla="*/ 0 w 202875"/>
                  <a:gd name="connsiteY7" fmla="*/ 70770 h 113714"/>
                  <a:gd name="connsiteX0" fmla="*/ 15226 w 211067"/>
                  <a:gd name="connsiteY0" fmla="*/ 113714 h 113714"/>
                  <a:gd name="connsiteX1" fmla="*/ 105985 w 211067"/>
                  <a:gd name="connsiteY1" fmla="*/ 63367 h 113714"/>
                  <a:gd name="connsiteX2" fmla="*/ 171980 w 211067"/>
                  <a:gd name="connsiteY2" fmla="*/ 60048 h 113714"/>
                  <a:gd name="connsiteX3" fmla="*/ 178348 w 211067"/>
                  <a:gd name="connsiteY3" fmla="*/ 64443 h 113714"/>
                  <a:gd name="connsiteX4" fmla="*/ 210801 w 211067"/>
                  <a:gd name="connsiteY4" fmla="*/ 46133 h 113714"/>
                  <a:gd name="connsiteX5" fmla="*/ 154496 w 211067"/>
                  <a:gd name="connsiteY5" fmla="*/ 18669 h 113714"/>
                  <a:gd name="connsiteX6" fmla="*/ 157693 w 211067"/>
                  <a:gd name="connsiteY6" fmla="*/ 7301 h 113714"/>
                  <a:gd name="connsiteX7" fmla="*/ 0 w 211067"/>
                  <a:gd name="connsiteY7" fmla="*/ 70770 h 113714"/>
                  <a:gd name="connsiteX0" fmla="*/ 15226 w 211218"/>
                  <a:gd name="connsiteY0" fmla="*/ 113714 h 113714"/>
                  <a:gd name="connsiteX1" fmla="*/ 105985 w 211218"/>
                  <a:gd name="connsiteY1" fmla="*/ 63367 h 113714"/>
                  <a:gd name="connsiteX2" fmla="*/ 171980 w 211218"/>
                  <a:gd name="connsiteY2" fmla="*/ 60048 h 113714"/>
                  <a:gd name="connsiteX3" fmla="*/ 178348 w 211218"/>
                  <a:gd name="connsiteY3" fmla="*/ 64443 h 113714"/>
                  <a:gd name="connsiteX4" fmla="*/ 210801 w 211218"/>
                  <a:gd name="connsiteY4" fmla="*/ 46133 h 113714"/>
                  <a:gd name="connsiteX5" fmla="*/ 177544 w 211218"/>
                  <a:gd name="connsiteY5" fmla="*/ 12085 h 113714"/>
                  <a:gd name="connsiteX6" fmla="*/ 157693 w 211218"/>
                  <a:gd name="connsiteY6" fmla="*/ 7301 h 113714"/>
                  <a:gd name="connsiteX7" fmla="*/ 0 w 211218"/>
                  <a:gd name="connsiteY7" fmla="*/ 70770 h 113714"/>
                  <a:gd name="connsiteX0" fmla="*/ 15226 w 213664"/>
                  <a:gd name="connsiteY0" fmla="*/ 113714 h 113714"/>
                  <a:gd name="connsiteX1" fmla="*/ 105985 w 213664"/>
                  <a:gd name="connsiteY1" fmla="*/ 63367 h 113714"/>
                  <a:gd name="connsiteX2" fmla="*/ 171980 w 213664"/>
                  <a:gd name="connsiteY2" fmla="*/ 60048 h 113714"/>
                  <a:gd name="connsiteX3" fmla="*/ 178348 w 213664"/>
                  <a:gd name="connsiteY3" fmla="*/ 64443 h 113714"/>
                  <a:gd name="connsiteX4" fmla="*/ 213271 w 213664"/>
                  <a:gd name="connsiteY4" fmla="*/ 53541 h 113714"/>
                  <a:gd name="connsiteX5" fmla="*/ 177544 w 213664"/>
                  <a:gd name="connsiteY5" fmla="*/ 12085 h 113714"/>
                  <a:gd name="connsiteX6" fmla="*/ 157693 w 213664"/>
                  <a:gd name="connsiteY6" fmla="*/ 7301 h 113714"/>
                  <a:gd name="connsiteX7" fmla="*/ 0 w 213664"/>
                  <a:gd name="connsiteY7" fmla="*/ 70770 h 113714"/>
                  <a:gd name="connsiteX0" fmla="*/ 15226 w 213664"/>
                  <a:gd name="connsiteY0" fmla="*/ 113714 h 113714"/>
                  <a:gd name="connsiteX1" fmla="*/ 105985 w 213664"/>
                  <a:gd name="connsiteY1" fmla="*/ 63367 h 113714"/>
                  <a:gd name="connsiteX2" fmla="*/ 156340 w 213664"/>
                  <a:gd name="connsiteY2" fmla="*/ 69103 h 113714"/>
                  <a:gd name="connsiteX3" fmla="*/ 178348 w 213664"/>
                  <a:gd name="connsiteY3" fmla="*/ 64443 h 113714"/>
                  <a:gd name="connsiteX4" fmla="*/ 213271 w 213664"/>
                  <a:gd name="connsiteY4" fmla="*/ 53541 h 113714"/>
                  <a:gd name="connsiteX5" fmla="*/ 177544 w 213664"/>
                  <a:gd name="connsiteY5" fmla="*/ 12085 h 113714"/>
                  <a:gd name="connsiteX6" fmla="*/ 157693 w 213664"/>
                  <a:gd name="connsiteY6" fmla="*/ 7301 h 113714"/>
                  <a:gd name="connsiteX7" fmla="*/ 0 w 213664"/>
                  <a:gd name="connsiteY7" fmla="*/ 70770 h 113714"/>
                  <a:gd name="connsiteX0" fmla="*/ 16049 w 214487"/>
                  <a:gd name="connsiteY0" fmla="*/ 113922 h 113922"/>
                  <a:gd name="connsiteX1" fmla="*/ 106808 w 214487"/>
                  <a:gd name="connsiteY1" fmla="*/ 63575 h 113922"/>
                  <a:gd name="connsiteX2" fmla="*/ 157163 w 214487"/>
                  <a:gd name="connsiteY2" fmla="*/ 69311 h 113922"/>
                  <a:gd name="connsiteX3" fmla="*/ 179171 w 214487"/>
                  <a:gd name="connsiteY3" fmla="*/ 64651 h 113922"/>
                  <a:gd name="connsiteX4" fmla="*/ 214094 w 214487"/>
                  <a:gd name="connsiteY4" fmla="*/ 53749 h 113922"/>
                  <a:gd name="connsiteX5" fmla="*/ 178367 w 214487"/>
                  <a:gd name="connsiteY5" fmla="*/ 12293 h 113922"/>
                  <a:gd name="connsiteX6" fmla="*/ 158516 w 214487"/>
                  <a:gd name="connsiteY6" fmla="*/ 7509 h 113922"/>
                  <a:gd name="connsiteX7" fmla="*/ 0 w 214487"/>
                  <a:gd name="connsiteY7" fmla="*/ 69332 h 113922"/>
                  <a:gd name="connsiteX0" fmla="*/ 16049 w 214487"/>
                  <a:gd name="connsiteY0" fmla="*/ 114540 h 114540"/>
                  <a:gd name="connsiteX1" fmla="*/ 106808 w 214487"/>
                  <a:gd name="connsiteY1" fmla="*/ 64193 h 114540"/>
                  <a:gd name="connsiteX2" fmla="*/ 157163 w 214487"/>
                  <a:gd name="connsiteY2" fmla="*/ 69929 h 114540"/>
                  <a:gd name="connsiteX3" fmla="*/ 179171 w 214487"/>
                  <a:gd name="connsiteY3" fmla="*/ 65269 h 114540"/>
                  <a:gd name="connsiteX4" fmla="*/ 214094 w 214487"/>
                  <a:gd name="connsiteY4" fmla="*/ 54367 h 114540"/>
                  <a:gd name="connsiteX5" fmla="*/ 178367 w 214487"/>
                  <a:gd name="connsiteY5" fmla="*/ 12911 h 114540"/>
                  <a:gd name="connsiteX6" fmla="*/ 158516 w 214487"/>
                  <a:gd name="connsiteY6" fmla="*/ 8127 h 114540"/>
                  <a:gd name="connsiteX7" fmla="*/ 0 w 214487"/>
                  <a:gd name="connsiteY7" fmla="*/ 69950 h 114540"/>
                  <a:gd name="connsiteX0" fmla="*/ 16049 w 214487"/>
                  <a:gd name="connsiteY0" fmla="*/ 114540 h 114540"/>
                  <a:gd name="connsiteX1" fmla="*/ 106808 w 214487"/>
                  <a:gd name="connsiteY1" fmla="*/ 64193 h 114540"/>
                  <a:gd name="connsiteX2" fmla="*/ 157163 w 214487"/>
                  <a:gd name="connsiteY2" fmla="*/ 69929 h 114540"/>
                  <a:gd name="connsiteX3" fmla="*/ 214094 w 214487"/>
                  <a:gd name="connsiteY3" fmla="*/ 54367 h 114540"/>
                  <a:gd name="connsiteX4" fmla="*/ 178367 w 214487"/>
                  <a:gd name="connsiteY4" fmla="*/ 12911 h 114540"/>
                  <a:gd name="connsiteX5" fmla="*/ 158516 w 214487"/>
                  <a:gd name="connsiteY5" fmla="*/ 8127 h 114540"/>
                  <a:gd name="connsiteX6" fmla="*/ 0 w 214487"/>
                  <a:gd name="connsiteY6" fmla="*/ 69950 h 114540"/>
                  <a:gd name="connsiteX0" fmla="*/ 16049 w 214487"/>
                  <a:gd name="connsiteY0" fmla="*/ 114540 h 114540"/>
                  <a:gd name="connsiteX1" fmla="*/ 106808 w 214487"/>
                  <a:gd name="connsiteY1" fmla="*/ 64193 h 114540"/>
                  <a:gd name="connsiteX2" fmla="*/ 157163 w 214487"/>
                  <a:gd name="connsiteY2" fmla="*/ 69929 h 114540"/>
                  <a:gd name="connsiteX3" fmla="*/ 214094 w 214487"/>
                  <a:gd name="connsiteY3" fmla="*/ 54367 h 114540"/>
                  <a:gd name="connsiteX4" fmla="*/ 178367 w 214487"/>
                  <a:gd name="connsiteY4" fmla="*/ 12911 h 114540"/>
                  <a:gd name="connsiteX5" fmla="*/ 158516 w 214487"/>
                  <a:gd name="connsiteY5" fmla="*/ 8127 h 114540"/>
                  <a:gd name="connsiteX6" fmla="*/ 0 w 214487"/>
                  <a:gd name="connsiteY6" fmla="*/ 69950 h 114540"/>
                  <a:gd name="connsiteX0" fmla="*/ 16049 w 217787"/>
                  <a:gd name="connsiteY0" fmla="*/ 114540 h 114540"/>
                  <a:gd name="connsiteX1" fmla="*/ 106808 w 217787"/>
                  <a:gd name="connsiteY1" fmla="*/ 64193 h 114540"/>
                  <a:gd name="connsiteX2" fmla="*/ 157163 w 217787"/>
                  <a:gd name="connsiteY2" fmla="*/ 69929 h 114540"/>
                  <a:gd name="connsiteX3" fmla="*/ 214094 w 217787"/>
                  <a:gd name="connsiteY3" fmla="*/ 54367 h 114540"/>
                  <a:gd name="connsiteX4" fmla="*/ 178367 w 217787"/>
                  <a:gd name="connsiteY4" fmla="*/ 12911 h 114540"/>
                  <a:gd name="connsiteX5" fmla="*/ 158516 w 217787"/>
                  <a:gd name="connsiteY5" fmla="*/ 8127 h 114540"/>
                  <a:gd name="connsiteX6" fmla="*/ 0 w 217787"/>
                  <a:gd name="connsiteY6" fmla="*/ 69950 h 114540"/>
                  <a:gd name="connsiteX0" fmla="*/ 16049 w 221326"/>
                  <a:gd name="connsiteY0" fmla="*/ 114540 h 114540"/>
                  <a:gd name="connsiteX1" fmla="*/ 106808 w 221326"/>
                  <a:gd name="connsiteY1" fmla="*/ 64193 h 114540"/>
                  <a:gd name="connsiteX2" fmla="*/ 157163 w 221326"/>
                  <a:gd name="connsiteY2" fmla="*/ 69929 h 114540"/>
                  <a:gd name="connsiteX3" fmla="*/ 217833 w 221326"/>
                  <a:gd name="connsiteY3" fmla="*/ 66473 h 114540"/>
                  <a:gd name="connsiteX4" fmla="*/ 178367 w 221326"/>
                  <a:gd name="connsiteY4" fmla="*/ 12911 h 114540"/>
                  <a:gd name="connsiteX5" fmla="*/ 158516 w 221326"/>
                  <a:gd name="connsiteY5" fmla="*/ 8127 h 114540"/>
                  <a:gd name="connsiteX6" fmla="*/ 0 w 221326"/>
                  <a:gd name="connsiteY6" fmla="*/ 69950 h 114540"/>
                  <a:gd name="connsiteX0" fmla="*/ 16049 w 225623"/>
                  <a:gd name="connsiteY0" fmla="*/ 114540 h 114540"/>
                  <a:gd name="connsiteX1" fmla="*/ 106808 w 225623"/>
                  <a:gd name="connsiteY1" fmla="*/ 64193 h 114540"/>
                  <a:gd name="connsiteX2" fmla="*/ 157163 w 225623"/>
                  <a:gd name="connsiteY2" fmla="*/ 69929 h 114540"/>
                  <a:gd name="connsiteX3" fmla="*/ 217833 w 225623"/>
                  <a:gd name="connsiteY3" fmla="*/ 66473 h 114540"/>
                  <a:gd name="connsiteX4" fmla="*/ 178367 w 225623"/>
                  <a:gd name="connsiteY4" fmla="*/ 12911 h 114540"/>
                  <a:gd name="connsiteX5" fmla="*/ 158516 w 225623"/>
                  <a:gd name="connsiteY5" fmla="*/ 8127 h 114540"/>
                  <a:gd name="connsiteX6" fmla="*/ 0 w 225623"/>
                  <a:gd name="connsiteY6" fmla="*/ 69950 h 114540"/>
                  <a:gd name="connsiteX0" fmla="*/ 16049 w 217834"/>
                  <a:gd name="connsiteY0" fmla="*/ 114540 h 114540"/>
                  <a:gd name="connsiteX1" fmla="*/ 106808 w 217834"/>
                  <a:gd name="connsiteY1" fmla="*/ 64193 h 114540"/>
                  <a:gd name="connsiteX2" fmla="*/ 157163 w 217834"/>
                  <a:gd name="connsiteY2" fmla="*/ 69929 h 114540"/>
                  <a:gd name="connsiteX3" fmla="*/ 217833 w 217834"/>
                  <a:gd name="connsiteY3" fmla="*/ 66473 h 114540"/>
                  <a:gd name="connsiteX4" fmla="*/ 158516 w 217834"/>
                  <a:gd name="connsiteY4" fmla="*/ 8127 h 114540"/>
                  <a:gd name="connsiteX5" fmla="*/ 0 w 217834"/>
                  <a:gd name="connsiteY5" fmla="*/ 69950 h 114540"/>
                  <a:gd name="connsiteX0" fmla="*/ 16049 w 217834"/>
                  <a:gd name="connsiteY0" fmla="*/ 114540 h 114540"/>
                  <a:gd name="connsiteX1" fmla="*/ 106808 w 217834"/>
                  <a:gd name="connsiteY1" fmla="*/ 64193 h 114540"/>
                  <a:gd name="connsiteX2" fmla="*/ 217833 w 217834"/>
                  <a:gd name="connsiteY2" fmla="*/ 66473 h 114540"/>
                  <a:gd name="connsiteX3" fmla="*/ 158516 w 217834"/>
                  <a:gd name="connsiteY3" fmla="*/ 8127 h 114540"/>
                  <a:gd name="connsiteX4" fmla="*/ 0 w 217834"/>
                  <a:gd name="connsiteY4" fmla="*/ 69950 h 114540"/>
                  <a:gd name="connsiteX0" fmla="*/ 16049 w 217834"/>
                  <a:gd name="connsiteY0" fmla="*/ 114540 h 114540"/>
                  <a:gd name="connsiteX1" fmla="*/ 106808 w 217834"/>
                  <a:gd name="connsiteY1" fmla="*/ 64193 h 114540"/>
                  <a:gd name="connsiteX2" fmla="*/ 217833 w 217834"/>
                  <a:gd name="connsiteY2" fmla="*/ 66473 h 114540"/>
                  <a:gd name="connsiteX3" fmla="*/ 158516 w 217834"/>
                  <a:gd name="connsiteY3" fmla="*/ 8127 h 114540"/>
                  <a:gd name="connsiteX4" fmla="*/ 0 w 217834"/>
                  <a:gd name="connsiteY4" fmla="*/ 69950 h 114540"/>
                  <a:gd name="connsiteX0" fmla="*/ 16049 w 217834"/>
                  <a:gd name="connsiteY0" fmla="*/ 114540 h 114540"/>
                  <a:gd name="connsiteX1" fmla="*/ 106808 w 217834"/>
                  <a:gd name="connsiteY1" fmla="*/ 64193 h 114540"/>
                  <a:gd name="connsiteX2" fmla="*/ 217833 w 217834"/>
                  <a:gd name="connsiteY2" fmla="*/ 66473 h 114540"/>
                  <a:gd name="connsiteX3" fmla="*/ 158516 w 217834"/>
                  <a:gd name="connsiteY3" fmla="*/ 8127 h 114540"/>
                  <a:gd name="connsiteX4" fmla="*/ 0 w 217834"/>
                  <a:gd name="connsiteY4" fmla="*/ 69950 h 114540"/>
                  <a:gd name="connsiteX0" fmla="*/ 16049 w 219289"/>
                  <a:gd name="connsiteY0" fmla="*/ 119256 h 119256"/>
                  <a:gd name="connsiteX1" fmla="*/ 106808 w 219289"/>
                  <a:gd name="connsiteY1" fmla="*/ 68909 h 119256"/>
                  <a:gd name="connsiteX2" fmla="*/ 217833 w 219289"/>
                  <a:gd name="connsiteY2" fmla="*/ 71189 h 119256"/>
                  <a:gd name="connsiteX3" fmla="*/ 158516 w 219289"/>
                  <a:gd name="connsiteY3" fmla="*/ 7388 h 119256"/>
                  <a:gd name="connsiteX4" fmla="*/ 0 w 219289"/>
                  <a:gd name="connsiteY4" fmla="*/ 74666 h 119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9289" h="119256">
                    <a:moveTo>
                      <a:pt x="16049" y="119256"/>
                    </a:moveTo>
                    <a:cubicBezTo>
                      <a:pt x="36933" y="90198"/>
                      <a:pt x="71872" y="76656"/>
                      <a:pt x="106808" y="68909"/>
                    </a:cubicBezTo>
                    <a:cubicBezTo>
                      <a:pt x="148664" y="75141"/>
                      <a:pt x="209215" y="81442"/>
                      <a:pt x="217833" y="71189"/>
                    </a:cubicBezTo>
                    <a:cubicBezTo>
                      <a:pt x="226451" y="60936"/>
                      <a:pt x="195568" y="16779"/>
                      <a:pt x="158516" y="7388"/>
                    </a:cubicBezTo>
                    <a:cubicBezTo>
                      <a:pt x="101076" y="-15385"/>
                      <a:pt x="10909" y="16563"/>
                      <a:pt x="0" y="74666"/>
                    </a:cubicBez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8" name="Полилиния: фигура 347">
                <a:extLst>
                  <a:ext uri="{FF2B5EF4-FFF2-40B4-BE49-F238E27FC236}">
                    <a16:creationId xmlns:a16="http://schemas.microsoft.com/office/drawing/2014/main" id="{DDD86B5B-34A1-4396-BB26-D22B59E1AA5D}"/>
                  </a:ext>
                </a:extLst>
              </p:cNvPr>
              <p:cNvSpPr/>
              <p:nvPr/>
            </p:nvSpPr>
            <p:spPr>
              <a:xfrm>
                <a:off x="4999782" y="6167965"/>
                <a:ext cx="209550" cy="238125"/>
              </a:xfrm>
              <a:custGeom>
                <a:avLst/>
                <a:gdLst>
                  <a:gd name="connsiteX0" fmla="*/ 157067 w 209550"/>
                  <a:gd name="connsiteY0" fmla="*/ 87535 h 238125"/>
                  <a:gd name="connsiteX1" fmla="*/ 152209 w 209550"/>
                  <a:gd name="connsiteY1" fmla="*/ 93345 h 238125"/>
                  <a:gd name="connsiteX2" fmla="*/ 203549 w 209550"/>
                  <a:gd name="connsiteY2" fmla="*/ 236220 h 238125"/>
                  <a:gd name="connsiteX3" fmla="*/ 7144 w 209550"/>
                  <a:gd name="connsiteY3" fmla="*/ 70295 h 238125"/>
                  <a:gd name="connsiteX4" fmla="*/ 64960 w 209550"/>
                  <a:gd name="connsiteY4" fmla="*/ 7144 h 238125"/>
                  <a:gd name="connsiteX5" fmla="*/ 157067 w 209550"/>
                  <a:gd name="connsiteY5" fmla="*/ 87535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0" h="238125">
                    <a:moveTo>
                      <a:pt x="157067" y="87535"/>
                    </a:moveTo>
                    <a:lnTo>
                      <a:pt x="152209" y="93345"/>
                    </a:lnTo>
                    <a:cubicBezTo>
                      <a:pt x="152209" y="93345"/>
                      <a:pt x="218218" y="216218"/>
                      <a:pt x="203549" y="236220"/>
                    </a:cubicBezTo>
                    <a:lnTo>
                      <a:pt x="7144" y="70295"/>
                    </a:lnTo>
                    <a:lnTo>
                      <a:pt x="64960" y="7144"/>
                    </a:lnTo>
                    <a:cubicBezTo>
                      <a:pt x="82521" y="46052"/>
                      <a:pt x="116141" y="75396"/>
                      <a:pt x="157067" y="87535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9" name="Полилиния: фигура 348">
                <a:extLst>
                  <a:ext uri="{FF2B5EF4-FFF2-40B4-BE49-F238E27FC236}">
                    <a16:creationId xmlns:a16="http://schemas.microsoft.com/office/drawing/2014/main" id="{C25FAC17-AA3F-45FE-B46E-66F821EA774A}"/>
                  </a:ext>
                </a:extLst>
              </p:cNvPr>
              <p:cNvSpPr/>
              <p:nvPr/>
            </p:nvSpPr>
            <p:spPr>
              <a:xfrm>
                <a:off x="5045491" y="6204814"/>
                <a:ext cx="28575" cy="28575"/>
              </a:xfrm>
              <a:custGeom>
                <a:avLst/>
                <a:gdLst>
                  <a:gd name="connsiteX0" fmla="*/ 21538 w 28575"/>
                  <a:gd name="connsiteY0" fmla="*/ 8015 h 28575"/>
                  <a:gd name="connsiteX1" fmla="*/ 8298 w 28575"/>
                  <a:gd name="connsiteY1" fmla="*/ 12492 h 28575"/>
                  <a:gd name="connsiteX2" fmla="*/ 12130 w 28575"/>
                  <a:gd name="connsiteY2" fmla="*/ 25406 h 28575"/>
                  <a:gd name="connsiteX3" fmla="*/ 12584 w 28575"/>
                  <a:gd name="connsiteY3" fmla="*/ 25637 h 28575"/>
                  <a:gd name="connsiteX4" fmla="*/ 26585 w 28575"/>
                  <a:gd name="connsiteY4" fmla="*/ 20874 h 28575"/>
                  <a:gd name="connsiteX5" fmla="*/ 20585 w 28575"/>
                  <a:gd name="connsiteY5" fmla="*/ 763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575" h="28575">
                    <a:moveTo>
                      <a:pt x="21538" y="8015"/>
                    </a:moveTo>
                    <a:cubicBezTo>
                      <a:pt x="16630" y="5869"/>
                      <a:pt x="10896" y="7808"/>
                      <a:pt x="8298" y="12492"/>
                    </a:cubicBezTo>
                    <a:cubicBezTo>
                      <a:pt x="5790" y="17116"/>
                      <a:pt x="7506" y="22898"/>
                      <a:pt x="12130" y="25406"/>
                    </a:cubicBezTo>
                    <a:cubicBezTo>
                      <a:pt x="12279" y="25487"/>
                      <a:pt x="12430" y="25564"/>
                      <a:pt x="12584" y="25637"/>
                    </a:cubicBezTo>
                    <a:cubicBezTo>
                      <a:pt x="17782" y="27867"/>
                      <a:pt x="23826" y="25812"/>
                      <a:pt x="26585" y="20874"/>
                    </a:cubicBezTo>
                    <a:cubicBezTo>
                      <a:pt x="28470" y="15566"/>
                      <a:pt x="25819" y="9717"/>
                      <a:pt x="20585" y="7634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0" name="Полилиния: фигура 349">
                <a:extLst>
                  <a:ext uri="{FF2B5EF4-FFF2-40B4-BE49-F238E27FC236}">
                    <a16:creationId xmlns:a16="http://schemas.microsoft.com/office/drawing/2014/main" id="{7EC36B72-8056-43BE-A08E-8DDB2B4D7DBF}"/>
                  </a:ext>
                </a:extLst>
              </p:cNvPr>
              <p:cNvSpPr/>
              <p:nvPr/>
            </p:nvSpPr>
            <p:spPr>
              <a:xfrm>
                <a:off x="4999782" y="6215972"/>
                <a:ext cx="209550" cy="190500"/>
              </a:xfrm>
              <a:custGeom>
                <a:avLst/>
                <a:gdLst>
                  <a:gd name="connsiteX0" fmla="*/ 7144 w 209550"/>
                  <a:gd name="connsiteY0" fmla="*/ 22288 h 190500"/>
                  <a:gd name="connsiteX1" fmla="*/ 21050 w 209550"/>
                  <a:gd name="connsiteY1" fmla="*/ 7144 h 190500"/>
                  <a:gd name="connsiteX2" fmla="*/ 204216 w 209550"/>
                  <a:gd name="connsiteY2" fmla="*/ 171450 h 190500"/>
                  <a:gd name="connsiteX3" fmla="*/ 203549 w 209550"/>
                  <a:gd name="connsiteY3" fmla="*/ 187928 h 19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90500">
                    <a:moveTo>
                      <a:pt x="7144" y="22288"/>
                    </a:moveTo>
                    <a:lnTo>
                      <a:pt x="21050" y="7144"/>
                    </a:lnTo>
                    <a:lnTo>
                      <a:pt x="204216" y="171450"/>
                    </a:lnTo>
                    <a:cubicBezTo>
                      <a:pt x="204216" y="171450"/>
                      <a:pt x="209740" y="182594"/>
                      <a:pt x="203549" y="18792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1" name="Полилиния: фигура 350">
                <a:extLst>
                  <a:ext uri="{FF2B5EF4-FFF2-40B4-BE49-F238E27FC236}">
                    <a16:creationId xmlns:a16="http://schemas.microsoft.com/office/drawing/2014/main" id="{EFF63389-50DC-4E1F-9098-42D92584E38E}"/>
                  </a:ext>
                </a:extLst>
              </p:cNvPr>
              <p:cNvSpPr/>
              <p:nvPr/>
            </p:nvSpPr>
            <p:spPr>
              <a:xfrm>
                <a:off x="5117950" y="6247289"/>
                <a:ext cx="38100" cy="19050"/>
              </a:xfrm>
              <a:custGeom>
                <a:avLst/>
                <a:gdLst>
                  <a:gd name="connsiteX0" fmla="*/ 34232 w 38100"/>
                  <a:gd name="connsiteY0" fmla="*/ 15165 h 19050"/>
                  <a:gd name="connsiteX1" fmla="*/ 20992 w 38100"/>
                  <a:gd name="connsiteY1" fmla="*/ 11641 h 19050"/>
                  <a:gd name="connsiteX2" fmla="*/ 7181 w 38100"/>
                  <a:gd name="connsiteY2" fmla="*/ 11641 h 19050"/>
                  <a:gd name="connsiteX3" fmla="*/ 21564 w 38100"/>
                  <a:gd name="connsiteY3" fmla="*/ 7355 h 19050"/>
                  <a:gd name="connsiteX4" fmla="*/ 34232 w 38100"/>
                  <a:gd name="connsiteY4" fmla="*/ 15165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34232" y="15165"/>
                    </a:moveTo>
                    <a:cubicBezTo>
                      <a:pt x="33470" y="16118"/>
                      <a:pt x="28231" y="12498"/>
                      <a:pt x="20992" y="11641"/>
                    </a:cubicBezTo>
                    <a:cubicBezTo>
                      <a:pt x="13753" y="10784"/>
                      <a:pt x="7752" y="12594"/>
                      <a:pt x="7181" y="11641"/>
                    </a:cubicBezTo>
                    <a:cubicBezTo>
                      <a:pt x="6609" y="10689"/>
                      <a:pt x="12705" y="6117"/>
                      <a:pt x="21564" y="7355"/>
                    </a:cubicBezTo>
                    <a:cubicBezTo>
                      <a:pt x="30422" y="8593"/>
                      <a:pt x="35184" y="14499"/>
                      <a:pt x="34232" y="15165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2" name="Полилиния: фигура 351">
                <a:extLst>
                  <a:ext uri="{FF2B5EF4-FFF2-40B4-BE49-F238E27FC236}">
                    <a16:creationId xmlns:a16="http://schemas.microsoft.com/office/drawing/2014/main" id="{A4E3BFF8-D814-4191-A563-32381241BCFE}"/>
                  </a:ext>
                </a:extLst>
              </p:cNvPr>
              <p:cNvSpPr/>
              <p:nvPr/>
            </p:nvSpPr>
            <p:spPr>
              <a:xfrm>
                <a:off x="5133492" y="6277208"/>
                <a:ext cx="38100" cy="19050"/>
              </a:xfrm>
              <a:custGeom>
                <a:avLst/>
                <a:gdLst>
                  <a:gd name="connsiteX0" fmla="*/ 32120 w 38100"/>
                  <a:gd name="connsiteY0" fmla="*/ 11152 h 19050"/>
                  <a:gd name="connsiteX1" fmla="*/ 19356 w 38100"/>
                  <a:gd name="connsiteY1" fmla="*/ 11724 h 19050"/>
                  <a:gd name="connsiteX2" fmla="*/ 7260 w 38100"/>
                  <a:gd name="connsiteY2" fmla="*/ 15629 h 19050"/>
                  <a:gd name="connsiteX3" fmla="*/ 18595 w 38100"/>
                  <a:gd name="connsiteY3" fmla="*/ 7438 h 19050"/>
                  <a:gd name="connsiteX4" fmla="*/ 32120 w 38100"/>
                  <a:gd name="connsiteY4" fmla="*/ 11152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19050">
                    <a:moveTo>
                      <a:pt x="32120" y="11152"/>
                    </a:moveTo>
                    <a:cubicBezTo>
                      <a:pt x="31548" y="12296"/>
                      <a:pt x="26024" y="10391"/>
                      <a:pt x="19356" y="11724"/>
                    </a:cubicBezTo>
                    <a:cubicBezTo>
                      <a:pt x="12689" y="13058"/>
                      <a:pt x="8117" y="16487"/>
                      <a:pt x="7260" y="15629"/>
                    </a:cubicBezTo>
                    <a:cubicBezTo>
                      <a:pt x="6402" y="14772"/>
                      <a:pt x="10308" y="8867"/>
                      <a:pt x="18595" y="7438"/>
                    </a:cubicBezTo>
                    <a:cubicBezTo>
                      <a:pt x="26881" y="6009"/>
                      <a:pt x="32882" y="10200"/>
                      <a:pt x="32120" y="1115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3" name="Полилиния: фигура 352">
                <a:extLst>
                  <a:ext uri="{FF2B5EF4-FFF2-40B4-BE49-F238E27FC236}">
                    <a16:creationId xmlns:a16="http://schemas.microsoft.com/office/drawing/2014/main" id="{BFDA9F85-9B37-4D09-BD28-7FB402B4ED23}"/>
                  </a:ext>
                </a:extLst>
              </p:cNvPr>
              <p:cNvSpPr/>
              <p:nvPr/>
            </p:nvSpPr>
            <p:spPr>
              <a:xfrm>
                <a:off x="5149199" y="6304605"/>
                <a:ext cx="28575" cy="19050"/>
              </a:xfrm>
              <a:custGeom>
                <a:avLst/>
                <a:gdLst>
                  <a:gd name="connsiteX0" fmla="*/ 7364 w 28575"/>
                  <a:gd name="connsiteY0" fmla="*/ 18429 h 19050"/>
                  <a:gd name="connsiteX1" fmla="*/ 15937 w 28575"/>
                  <a:gd name="connsiteY1" fmla="*/ 8904 h 19050"/>
                  <a:gd name="connsiteX2" fmla="*/ 28795 w 28575"/>
                  <a:gd name="connsiteY2" fmla="*/ 8904 h 19050"/>
                  <a:gd name="connsiteX3" fmla="*/ 17746 w 28575"/>
                  <a:gd name="connsiteY3" fmla="*/ 13190 h 19050"/>
                  <a:gd name="connsiteX4" fmla="*/ 7364 w 28575"/>
                  <a:gd name="connsiteY4" fmla="*/ 18429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19050">
                    <a:moveTo>
                      <a:pt x="7364" y="18429"/>
                    </a:moveTo>
                    <a:cubicBezTo>
                      <a:pt x="6316" y="17857"/>
                      <a:pt x="8983" y="11952"/>
                      <a:pt x="15937" y="8904"/>
                    </a:cubicBezTo>
                    <a:cubicBezTo>
                      <a:pt x="22890" y="5855"/>
                      <a:pt x="29081" y="7380"/>
                      <a:pt x="28795" y="8904"/>
                    </a:cubicBezTo>
                    <a:cubicBezTo>
                      <a:pt x="28510" y="10428"/>
                      <a:pt x="23366" y="10523"/>
                      <a:pt x="17746" y="13190"/>
                    </a:cubicBezTo>
                    <a:cubicBezTo>
                      <a:pt x="12126" y="15857"/>
                      <a:pt x="8411" y="19000"/>
                      <a:pt x="7364" y="1842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pic>
          <p:nvPicPr>
            <p:cNvPr id="2822" name="Рисунок 2821">
              <a:extLst>
                <a:ext uri="{FF2B5EF4-FFF2-40B4-BE49-F238E27FC236}">
                  <a16:creationId xmlns:a16="http://schemas.microsoft.com/office/drawing/2014/main" id="{D868324B-1CCE-4A67-AC6D-94B66DC257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-137987" y="2669178"/>
              <a:ext cx="6236749" cy="4157832"/>
            </a:xfrm>
            <a:custGeom>
              <a:avLst/>
              <a:gdLst>
                <a:gd name="connsiteX0" fmla="*/ 0 w 6180542"/>
                <a:gd name="connsiteY0" fmla="*/ 0 h 4120361"/>
                <a:gd name="connsiteX1" fmla="*/ 2707015 w 6180542"/>
                <a:gd name="connsiteY1" fmla="*/ 0 h 4120361"/>
                <a:gd name="connsiteX2" fmla="*/ 2707015 w 6180542"/>
                <a:gd name="connsiteY2" fmla="*/ 1087022 h 4120361"/>
                <a:gd name="connsiteX3" fmla="*/ 3556100 w 6180542"/>
                <a:gd name="connsiteY3" fmla="*/ 1087022 h 4120361"/>
                <a:gd name="connsiteX4" fmla="*/ 3556100 w 6180542"/>
                <a:gd name="connsiteY4" fmla="*/ 0 h 4120361"/>
                <a:gd name="connsiteX5" fmla="*/ 6180542 w 6180542"/>
                <a:gd name="connsiteY5" fmla="*/ 0 h 4120361"/>
                <a:gd name="connsiteX6" fmla="*/ 6180542 w 6180542"/>
                <a:gd name="connsiteY6" fmla="*/ 4120361 h 4120361"/>
                <a:gd name="connsiteX7" fmla="*/ 0 w 6180542"/>
                <a:gd name="connsiteY7" fmla="*/ 4120361 h 4120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80542" h="4120361">
                  <a:moveTo>
                    <a:pt x="0" y="0"/>
                  </a:moveTo>
                  <a:lnTo>
                    <a:pt x="2707015" y="0"/>
                  </a:lnTo>
                  <a:lnTo>
                    <a:pt x="2707015" y="1087022"/>
                  </a:lnTo>
                  <a:lnTo>
                    <a:pt x="3556100" y="1087022"/>
                  </a:lnTo>
                  <a:lnTo>
                    <a:pt x="3556100" y="0"/>
                  </a:lnTo>
                  <a:lnTo>
                    <a:pt x="6180542" y="0"/>
                  </a:lnTo>
                  <a:lnTo>
                    <a:pt x="6180542" y="4120361"/>
                  </a:lnTo>
                  <a:lnTo>
                    <a:pt x="0" y="4120361"/>
                  </a:lnTo>
                  <a:close/>
                </a:path>
              </a:pathLst>
            </a:custGeom>
          </p:spPr>
        </p:pic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724B47AA-6CA6-480A-B893-F6DF2B03DDF0}"/>
              </a:ext>
            </a:extLst>
          </p:cNvPr>
          <p:cNvGrpSpPr/>
          <p:nvPr/>
        </p:nvGrpSpPr>
        <p:grpSpPr>
          <a:xfrm>
            <a:off x="3781921" y="3552527"/>
            <a:ext cx="474923" cy="465611"/>
            <a:chOff x="10773168" y="4015170"/>
            <a:chExt cx="474923" cy="465611"/>
          </a:xfrm>
        </p:grpSpPr>
        <p:sp>
          <p:nvSpPr>
            <p:cNvPr id="881" name="Полилиния: фигура 880">
              <a:extLst>
                <a:ext uri="{FF2B5EF4-FFF2-40B4-BE49-F238E27FC236}">
                  <a16:creationId xmlns:a16="http://schemas.microsoft.com/office/drawing/2014/main" id="{5E918AD4-0B07-46D3-985F-20DCEB0E1FDC}"/>
                </a:ext>
              </a:extLst>
            </p:cNvPr>
            <p:cNvSpPr/>
            <p:nvPr/>
          </p:nvSpPr>
          <p:spPr>
            <a:xfrm>
              <a:off x="10773168" y="4015758"/>
              <a:ext cx="474923" cy="456299"/>
            </a:xfrm>
            <a:custGeom>
              <a:avLst/>
              <a:gdLst>
                <a:gd name="connsiteX0" fmla="*/ 7144 w 485775"/>
                <a:gd name="connsiteY0" fmla="*/ 443776 h 466725"/>
                <a:gd name="connsiteX1" fmla="*/ 55816 w 485775"/>
                <a:gd name="connsiteY1" fmla="*/ 358051 h 466725"/>
                <a:gd name="connsiteX2" fmla="*/ 131495 w 485775"/>
                <a:gd name="connsiteY2" fmla="*/ 41251 h 466725"/>
                <a:gd name="connsiteX3" fmla="*/ 448295 w 485775"/>
                <a:gd name="connsiteY3" fmla="*/ 116930 h 466725"/>
                <a:gd name="connsiteX4" fmla="*/ 372616 w 485775"/>
                <a:gd name="connsiteY4" fmla="*/ 433730 h 466725"/>
                <a:gd name="connsiteX5" fmla="*/ 111157 w 485775"/>
                <a:gd name="connsiteY5" fmla="*/ 419678 h 466725"/>
                <a:gd name="connsiteX6" fmla="*/ 111157 w 485775"/>
                <a:gd name="connsiteY6" fmla="*/ 419678 h 466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5775" h="466725">
                  <a:moveTo>
                    <a:pt x="7144" y="443776"/>
                  </a:moveTo>
                  <a:lnTo>
                    <a:pt x="55816" y="358051"/>
                  </a:lnTo>
                  <a:cubicBezTo>
                    <a:pt x="-10767" y="249671"/>
                    <a:pt x="23115" y="107835"/>
                    <a:pt x="131495" y="41251"/>
                  </a:cubicBezTo>
                  <a:cubicBezTo>
                    <a:pt x="239875" y="-25332"/>
                    <a:pt x="381712" y="8550"/>
                    <a:pt x="448295" y="116930"/>
                  </a:cubicBezTo>
                  <a:cubicBezTo>
                    <a:pt x="514879" y="225310"/>
                    <a:pt x="480996" y="367147"/>
                    <a:pt x="372616" y="433730"/>
                  </a:cubicBezTo>
                  <a:cubicBezTo>
                    <a:pt x="291018" y="483861"/>
                    <a:pt x="186912" y="478266"/>
                    <a:pt x="111157" y="419678"/>
                  </a:cubicBezTo>
                  <a:lnTo>
                    <a:pt x="111157" y="419678"/>
                  </a:lnTo>
                  <a:close/>
                </a:path>
              </a:pathLst>
            </a:custGeom>
            <a:solidFill>
              <a:srgbClr val="FAFAF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ru-RU" b="1" dirty="0">
                  <a:solidFill>
                    <a:srgbClr val="00ADEB"/>
                  </a:solidFill>
                </a:rPr>
                <a:t>!</a:t>
              </a:r>
            </a:p>
          </p:txBody>
        </p:sp>
        <p:sp>
          <p:nvSpPr>
            <p:cNvPr id="882" name="Полилиния: фигура 881">
              <a:extLst>
                <a:ext uri="{FF2B5EF4-FFF2-40B4-BE49-F238E27FC236}">
                  <a16:creationId xmlns:a16="http://schemas.microsoft.com/office/drawing/2014/main" id="{3CAFC827-69EF-4178-8EE4-1C9E0863A673}"/>
                </a:ext>
              </a:extLst>
            </p:cNvPr>
            <p:cNvSpPr/>
            <p:nvPr/>
          </p:nvSpPr>
          <p:spPr>
            <a:xfrm>
              <a:off x="10773168" y="4015170"/>
              <a:ext cx="474923" cy="465611"/>
            </a:xfrm>
            <a:custGeom>
              <a:avLst/>
              <a:gdLst>
                <a:gd name="connsiteX0" fmla="*/ 7144 w 485775"/>
                <a:gd name="connsiteY0" fmla="*/ 444377 h 476250"/>
                <a:gd name="connsiteX1" fmla="*/ 110585 w 485775"/>
                <a:gd name="connsiteY1" fmla="*/ 418755 h 476250"/>
                <a:gd name="connsiteX2" fmla="*/ 109918 w 485775"/>
                <a:gd name="connsiteY2" fmla="*/ 420660 h 476250"/>
                <a:gd name="connsiteX3" fmla="*/ 109918 w 485775"/>
                <a:gd name="connsiteY3" fmla="*/ 420660 h 476250"/>
                <a:gd name="connsiteX4" fmla="*/ 109918 w 485775"/>
                <a:gd name="connsiteY4" fmla="*/ 418946 h 476250"/>
                <a:gd name="connsiteX5" fmla="*/ 111442 w 485775"/>
                <a:gd name="connsiteY5" fmla="*/ 418946 h 476250"/>
                <a:gd name="connsiteX6" fmla="*/ 220599 w 485775"/>
                <a:gd name="connsiteY6" fmla="*/ 464189 h 476250"/>
                <a:gd name="connsiteX7" fmla="*/ 256508 w 485775"/>
                <a:gd name="connsiteY7" fmla="*/ 465809 h 476250"/>
                <a:gd name="connsiteX8" fmla="*/ 275558 w 485775"/>
                <a:gd name="connsiteY8" fmla="*/ 464761 h 476250"/>
                <a:gd name="connsiteX9" fmla="*/ 294608 w 485775"/>
                <a:gd name="connsiteY9" fmla="*/ 461713 h 476250"/>
                <a:gd name="connsiteX10" fmla="*/ 473747 w 485775"/>
                <a:gd name="connsiteY10" fmla="*/ 195998 h 476250"/>
                <a:gd name="connsiteX11" fmla="*/ 470821 w 485775"/>
                <a:gd name="connsiteY11" fmla="*/ 183012 h 476250"/>
                <a:gd name="connsiteX12" fmla="*/ 422434 w 485775"/>
                <a:gd name="connsiteY12" fmla="*/ 90333 h 476250"/>
                <a:gd name="connsiteX13" fmla="*/ 335566 w 485775"/>
                <a:gd name="connsiteY13" fmla="*/ 28230 h 476250"/>
                <a:gd name="connsiteX14" fmla="*/ 234982 w 485775"/>
                <a:gd name="connsiteY14" fmla="*/ 12514 h 476250"/>
                <a:gd name="connsiteX15" fmla="*/ 142018 w 485775"/>
                <a:gd name="connsiteY15" fmla="*/ 39851 h 476250"/>
                <a:gd name="connsiteX16" fmla="*/ 34385 w 485775"/>
                <a:gd name="connsiteY16" fmla="*/ 171582 h 476250"/>
                <a:gd name="connsiteX17" fmla="*/ 24193 w 485775"/>
                <a:gd name="connsiteY17" fmla="*/ 245210 h 476250"/>
                <a:gd name="connsiteX18" fmla="*/ 57340 w 485775"/>
                <a:gd name="connsiteY18" fmla="*/ 358081 h 476250"/>
                <a:gd name="connsiteX19" fmla="*/ 57340 w 485775"/>
                <a:gd name="connsiteY19" fmla="*/ 359224 h 476250"/>
                <a:gd name="connsiteX20" fmla="*/ 7620 w 485775"/>
                <a:gd name="connsiteY20" fmla="*/ 444377 h 476250"/>
                <a:gd name="connsiteX21" fmla="*/ 55245 w 485775"/>
                <a:gd name="connsiteY21" fmla="*/ 358081 h 476250"/>
                <a:gd name="connsiteX22" fmla="*/ 55245 w 485775"/>
                <a:gd name="connsiteY22" fmla="*/ 359319 h 476250"/>
                <a:gd name="connsiteX23" fmla="*/ 20764 w 485775"/>
                <a:gd name="connsiteY23" fmla="*/ 245019 h 476250"/>
                <a:gd name="connsiteX24" fmla="*/ 30289 w 485775"/>
                <a:gd name="connsiteY24" fmla="*/ 170153 h 476250"/>
                <a:gd name="connsiteX25" fmla="*/ 139732 w 485775"/>
                <a:gd name="connsiteY25" fmla="*/ 35850 h 476250"/>
                <a:gd name="connsiteX26" fmla="*/ 234505 w 485775"/>
                <a:gd name="connsiteY26" fmla="*/ 7751 h 476250"/>
                <a:gd name="connsiteX27" fmla="*/ 337757 w 485775"/>
                <a:gd name="connsiteY27" fmla="*/ 23658 h 476250"/>
                <a:gd name="connsiteX28" fmla="*/ 426625 w 485775"/>
                <a:gd name="connsiteY28" fmla="*/ 86999 h 476250"/>
                <a:gd name="connsiteX29" fmla="*/ 475965 w 485775"/>
                <a:gd name="connsiteY29" fmla="*/ 182249 h 476250"/>
                <a:gd name="connsiteX30" fmla="*/ 478632 w 485775"/>
                <a:gd name="connsiteY30" fmla="*/ 284738 h 476250"/>
                <a:gd name="connsiteX31" fmla="*/ 373285 w 485775"/>
                <a:gd name="connsiteY31" fmla="*/ 435614 h 476250"/>
                <a:gd name="connsiteX32" fmla="*/ 295752 w 485775"/>
                <a:gd name="connsiteY32" fmla="*/ 465999 h 476250"/>
                <a:gd name="connsiteX33" fmla="*/ 276225 w 485775"/>
                <a:gd name="connsiteY33" fmla="*/ 468857 h 476250"/>
                <a:gd name="connsiteX34" fmla="*/ 257175 w 485775"/>
                <a:gd name="connsiteY34" fmla="*/ 469905 h 476250"/>
                <a:gd name="connsiteX35" fmla="*/ 220789 w 485775"/>
                <a:gd name="connsiteY35" fmla="*/ 468000 h 476250"/>
                <a:gd name="connsiteX36" fmla="*/ 110490 w 485775"/>
                <a:gd name="connsiteY36" fmla="*/ 421327 h 476250"/>
                <a:gd name="connsiteX37" fmla="*/ 112204 w 485775"/>
                <a:gd name="connsiteY37" fmla="*/ 419612 h 476250"/>
                <a:gd name="connsiteX38" fmla="*/ 112204 w 485775"/>
                <a:gd name="connsiteY38" fmla="*/ 419612 h 476250"/>
                <a:gd name="connsiteX39" fmla="*/ 112204 w 485775"/>
                <a:gd name="connsiteY39" fmla="*/ 421327 h 476250"/>
                <a:gd name="connsiteX40" fmla="*/ 111633 w 485775"/>
                <a:gd name="connsiteY40" fmla="*/ 421327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85775" h="476250">
                  <a:moveTo>
                    <a:pt x="7144" y="444377"/>
                  </a:moveTo>
                  <a:lnTo>
                    <a:pt x="110585" y="418755"/>
                  </a:lnTo>
                  <a:lnTo>
                    <a:pt x="109918" y="420660"/>
                  </a:lnTo>
                  <a:lnTo>
                    <a:pt x="109918" y="420660"/>
                  </a:lnTo>
                  <a:cubicBezTo>
                    <a:pt x="109458" y="420181"/>
                    <a:pt x="109458" y="419425"/>
                    <a:pt x="109918" y="418946"/>
                  </a:cubicBezTo>
                  <a:cubicBezTo>
                    <a:pt x="110384" y="418652"/>
                    <a:pt x="110977" y="418652"/>
                    <a:pt x="111442" y="418946"/>
                  </a:cubicBezTo>
                  <a:cubicBezTo>
                    <a:pt x="143202" y="443388"/>
                    <a:pt x="180860" y="458996"/>
                    <a:pt x="220599" y="464189"/>
                  </a:cubicBezTo>
                  <a:cubicBezTo>
                    <a:pt x="232497" y="465793"/>
                    <a:pt x="244514" y="466335"/>
                    <a:pt x="256508" y="465809"/>
                  </a:cubicBezTo>
                  <a:cubicBezTo>
                    <a:pt x="262699" y="465809"/>
                    <a:pt x="268986" y="465237"/>
                    <a:pt x="275558" y="464761"/>
                  </a:cubicBezTo>
                  <a:lnTo>
                    <a:pt x="294608" y="461713"/>
                  </a:lnTo>
                  <a:cubicBezTo>
                    <a:pt x="417451" y="437806"/>
                    <a:pt x="497654" y="318841"/>
                    <a:pt x="473747" y="195998"/>
                  </a:cubicBezTo>
                  <a:cubicBezTo>
                    <a:pt x="472899" y="191642"/>
                    <a:pt x="471923" y="187311"/>
                    <a:pt x="470821" y="183012"/>
                  </a:cubicBezTo>
                  <a:cubicBezTo>
                    <a:pt x="462295" y="148709"/>
                    <a:pt x="445707" y="116936"/>
                    <a:pt x="422434" y="90333"/>
                  </a:cubicBezTo>
                  <a:cubicBezTo>
                    <a:pt x="398836" y="63011"/>
                    <a:pt x="369054" y="41719"/>
                    <a:pt x="335566" y="28230"/>
                  </a:cubicBezTo>
                  <a:cubicBezTo>
                    <a:pt x="303621" y="15585"/>
                    <a:pt x="269261" y="10217"/>
                    <a:pt x="234982" y="12514"/>
                  </a:cubicBezTo>
                  <a:cubicBezTo>
                    <a:pt x="202366" y="14711"/>
                    <a:pt x="170631" y="24043"/>
                    <a:pt x="142018" y="39851"/>
                  </a:cubicBezTo>
                  <a:cubicBezTo>
                    <a:pt x="90581" y="68341"/>
                    <a:pt x="52051" y="115498"/>
                    <a:pt x="34385" y="171582"/>
                  </a:cubicBezTo>
                  <a:cubicBezTo>
                    <a:pt x="27255" y="195462"/>
                    <a:pt x="23818" y="220291"/>
                    <a:pt x="24193" y="245210"/>
                  </a:cubicBezTo>
                  <a:cubicBezTo>
                    <a:pt x="25154" y="285089"/>
                    <a:pt x="36585" y="324015"/>
                    <a:pt x="57340" y="358081"/>
                  </a:cubicBezTo>
                  <a:cubicBezTo>
                    <a:pt x="57527" y="358439"/>
                    <a:pt x="57527" y="358866"/>
                    <a:pt x="57340" y="359224"/>
                  </a:cubicBezTo>
                  <a:cubicBezTo>
                    <a:pt x="26384" y="412278"/>
                    <a:pt x="11811" y="437329"/>
                    <a:pt x="7620" y="444377"/>
                  </a:cubicBezTo>
                  <a:cubicBezTo>
                    <a:pt x="11620" y="437234"/>
                    <a:pt x="25622" y="411802"/>
                    <a:pt x="55245" y="358081"/>
                  </a:cubicBezTo>
                  <a:lnTo>
                    <a:pt x="55245" y="359319"/>
                  </a:lnTo>
                  <a:cubicBezTo>
                    <a:pt x="33880" y="324924"/>
                    <a:pt x="21985" y="285492"/>
                    <a:pt x="20764" y="245019"/>
                  </a:cubicBezTo>
                  <a:cubicBezTo>
                    <a:pt x="20124" y="219725"/>
                    <a:pt x="23336" y="194481"/>
                    <a:pt x="30289" y="170153"/>
                  </a:cubicBezTo>
                  <a:cubicBezTo>
                    <a:pt x="48133" y="112972"/>
                    <a:pt x="87331" y="64870"/>
                    <a:pt x="139732" y="35850"/>
                  </a:cubicBezTo>
                  <a:cubicBezTo>
                    <a:pt x="168876" y="19638"/>
                    <a:pt x="201234" y="10044"/>
                    <a:pt x="234505" y="7751"/>
                  </a:cubicBezTo>
                  <a:cubicBezTo>
                    <a:pt x="269681" y="5213"/>
                    <a:pt x="304976" y="10650"/>
                    <a:pt x="337757" y="23658"/>
                  </a:cubicBezTo>
                  <a:cubicBezTo>
                    <a:pt x="372019" y="37361"/>
                    <a:pt x="402495" y="59082"/>
                    <a:pt x="426625" y="86999"/>
                  </a:cubicBezTo>
                  <a:cubicBezTo>
                    <a:pt x="450470" y="114334"/>
                    <a:pt x="467392" y="147003"/>
                    <a:pt x="475965" y="182249"/>
                  </a:cubicBezTo>
                  <a:cubicBezTo>
                    <a:pt x="484395" y="215798"/>
                    <a:pt x="485306" y="250796"/>
                    <a:pt x="478632" y="284738"/>
                  </a:cubicBezTo>
                  <a:cubicBezTo>
                    <a:pt x="465780" y="347387"/>
                    <a:pt x="427671" y="401966"/>
                    <a:pt x="373285" y="435614"/>
                  </a:cubicBezTo>
                  <a:cubicBezTo>
                    <a:pt x="349455" y="450276"/>
                    <a:pt x="323199" y="460566"/>
                    <a:pt x="295752" y="465999"/>
                  </a:cubicBezTo>
                  <a:lnTo>
                    <a:pt x="276225" y="468857"/>
                  </a:lnTo>
                  <a:cubicBezTo>
                    <a:pt x="269843" y="469428"/>
                    <a:pt x="263461" y="469523"/>
                    <a:pt x="257175" y="469905"/>
                  </a:cubicBezTo>
                  <a:cubicBezTo>
                    <a:pt x="245014" y="470341"/>
                    <a:pt x="232838" y="469703"/>
                    <a:pt x="220789" y="468000"/>
                  </a:cubicBezTo>
                  <a:cubicBezTo>
                    <a:pt x="180529" y="462521"/>
                    <a:pt x="142455" y="446411"/>
                    <a:pt x="110490" y="421327"/>
                  </a:cubicBezTo>
                  <a:lnTo>
                    <a:pt x="112204" y="419612"/>
                  </a:lnTo>
                  <a:lnTo>
                    <a:pt x="112204" y="419612"/>
                  </a:lnTo>
                  <a:cubicBezTo>
                    <a:pt x="112620" y="420108"/>
                    <a:pt x="112620" y="420831"/>
                    <a:pt x="112204" y="421327"/>
                  </a:cubicBezTo>
                  <a:lnTo>
                    <a:pt x="111633" y="421327"/>
                  </a:lnTo>
                  <a:close/>
                </a:path>
              </a:pathLst>
            </a:custGeom>
            <a:solidFill>
              <a:srgbClr val="2632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7654864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: скругленные углы 45">
            <a:extLst>
              <a:ext uri="{FF2B5EF4-FFF2-40B4-BE49-F238E27FC236}">
                <a16:creationId xmlns:a16="http://schemas.microsoft.com/office/drawing/2014/main" id="{48331190-F272-4A98-8A7D-E6BCC8090DB7}"/>
              </a:ext>
            </a:extLst>
          </p:cNvPr>
          <p:cNvSpPr/>
          <p:nvPr/>
        </p:nvSpPr>
        <p:spPr bwMode="auto">
          <a:xfrm>
            <a:off x="908527" y="1540179"/>
            <a:ext cx="4472815" cy="591331"/>
          </a:xfrm>
          <a:prstGeom prst="roundRect">
            <a:avLst>
              <a:gd name="adj" fmla="val 10165"/>
            </a:avLst>
          </a:prstGeom>
          <a:solidFill>
            <a:srgbClr val="CDF0FF"/>
          </a:solidFill>
          <a:ln>
            <a:noFill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tlCol="0" anchor="t"/>
          <a:lstStyle/>
          <a:p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id="{C8D1B7B9-F442-4B16-9F55-625D325AE777}"/>
              </a:ext>
            </a:extLst>
          </p:cNvPr>
          <p:cNvSpPr/>
          <p:nvPr/>
        </p:nvSpPr>
        <p:spPr bwMode="auto">
          <a:xfrm>
            <a:off x="908527" y="2191734"/>
            <a:ext cx="4472815" cy="591331"/>
          </a:xfrm>
          <a:prstGeom prst="roundRect">
            <a:avLst>
              <a:gd name="adj" fmla="val 10165"/>
            </a:avLst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tlCol="0" anchor="t"/>
          <a:lstStyle/>
          <a:p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48" name="Прямоугольник: скругленные углы 47">
            <a:extLst>
              <a:ext uri="{FF2B5EF4-FFF2-40B4-BE49-F238E27FC236}">
                <a16:creationId xmlns:a16="http://schemas.microsoft.com/office/drawing/2014/main" id="{B951A0DC-7318-4084-B76F-4AB36766E479}"/>
              </a:ext>
            </a:extLst>
          </p:cNvPr>
          <p:cNvSpPr/>
          <p:nvPr/>
        </p:nvSpPr>
        <p:spPr bwMode="auto">
          <a:xfrm>
            <a:off x="908527" y="2843289"/>
            <a:ext cx="4472815" cy="591331"/>
          </a:xfrm>
          <a:prstGeom prst="roundRect">
            <a:avLst>
              <a:gd name="adj" fmla="val 10165"/>
            </a:avLst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tlCol="0" anchor="t"/>
          <a:lstStyle/>
          <a:p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162" name="Прямоугольник: скругленные углы 161">
            <a:extLst>
              <a:ext uri="{FF2B5EF4-FFF2-40B4-BE49-F238E27FC236}">
                <a16:creationId xmlns:a16="http://schemas.microsoft.com/office/drawing/2014/main" id="{49641EF9-29AB-41AA-9C5B-17CCD67D0469}"/>
              </a:ext>
            </a:extLst>
          </p:cNvPr>
          <p:cNvSpPr/>
          <p:nvPr/>
        </p:nvSpPr>
        <p:spPr bwMode="auto">
          <a:xfrm>
            <a:off x="932575" y="4210718"/>
            <a:ext cx="5329562" cy="591331"/>
          </a:xfrm>
          <a:prstGeom prst="roundRect">
            <a:avLst>
              <a:gd name="adj" fmla="val 10165"/>
            </a:avLst>
          </a:prstGeom>
          <a:solidFill>
            <a:srgbClr val="CDF0FF"/>
          </a:solidFill>
          <a:ln>
            <a:noFill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tlCol="0" anchor="t"/>
          <a:lstStyle/>
          <a:p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44" name="Прямоугольник: скругленные углы 43">
            <a:extLst>
              <a:ext uri="{FF2B5EF4-FFF2-40B4-BE49-F238E27FC236}">
                <a16:creationId xmlns:a16="http://schemas.microsoft.com/office/drawing/2014/main" id="{C54871F7-0E87-47BA-A760-BAEB34CD71BA}"/>
              </a:ext>
            </a:extLst>
          </p:cNvPr>
          <p:cNvSpPr/>
          <p:nvPr/>
        </p:nvSpPr>
        <p:spPr bwMode="auto">
          <a:xfrm>
            <a:off x="932575" y="4862273"/>
            <a:ext cx="5329562" cy="591331"/>
          </a:xfrm>
          <a:prstGeom prst="roundRect">
            <a:avLst>
              <a:gd name="adj" fmla="val 10165"/>
            </a:avLst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tlCol="0" anchor="t"/>
          <a:lstStyle/>
          <a:p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45" name="Прямоугольник: скругленные углы 44">
            <a:extLst>
              <a:ext uri="{FF2B5EF4-FFF2-40B4-BE49-F238E27FC236}">
                <a16:creationId xmlns:a16="http://schemas.microsoft.com/office/drawing/2014/main" id="{5BF43331-026C-47C8-9BA6-CB9ADB819F89}"/>
              </a:ext>
            </a:extLst>
          </p:cNvPr>
          <p:cNvSpPr/>
          <p:nvPr/>
        </p:nvSpPr>
        <p:spPr bwMode="auto">
          <a:xfrm>
            <a:off x="932575" y="5513828"/>
            <a:ext cx="5329562" cy="703247"/>
          </a:xfrm>
          <a:prstGeom prst="roundRect">
            <a:avLst>
              <a:gd name="adj" fmla="val 7822"/>
            </a:avLst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tlCol="0" anchor="t"/>
          <a:lstStyle/>
          <a:p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237BF71-48AD-46F4-A29A-9C3859207445}"/>
              </a:ext>
            </a:extLst>
          </p:cNvPr>
          <p:cNvSpPr txBox="1">
            <a:spLocks/>
          </p:cNvSpPr>
          <p:nvPr/>
        </p:nvSpPr>
        <p:spPr>
          <a:xfrm>
            <a:off x="432620" y="351735"/>
            <a:ext cx="9189362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ьерный рост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8D273BEF-9025-4DB5-99F2-86BD1DC7CBC3}"/>
              </a:ext>
            </a:extLst>
          </p:cNvPr>
          <p:cNvGrpSpPr/>
          <p:nvPr/>
        </p:nvGrpSpPr>
        <p:grpSpPr>
          <a:xfrm>
            <a:off x="6451600" y="-698417"/>
            <a:ext cx="3410651" cy="558800"/>
            <a:chOff x="6451600" y="-698417"/>
            <a:chExt cx="3410651" cy="558800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C2F3579C-F60A-49E2-A7D0-D22B1124AB5B}"/>
                </a:ext>
              </a:extLst>
            </p:cNvPr>
            <p:cNvSpPr/>
            <p:nvPr userDrawn="1"/>
          </p:nvSpPr>
          <p:spPr>
            <a:xfrm>
              <a:off x="6451600" y="-698417"/>
              <a:ext cx="558800" cy="558800"/>
            </a:xfrm>
            <a:prstGeom prst="rect">
              <a:avLst/>
            </a:prstGeom>
            <a:solidFill>
              <a:srgbClr val="017F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F46C3C10-A7AC-4E6E-A539-F593EE34AA07}"/>
                </a:ext>
              </a:extLst>
            </p:cNvPr>
            <p:cNvSpPr/>
            <p:nvPr userDrawn="1"/>
          </p:nvSpPr>
          <p:spPr>
            <a:xfrm>
              <a:off x="7010400" y="-698417"/>
              <a:ext cx="558800" cy="558800"/>
            </a:xfrm>
            <a:prstGeom prst="rect">
              <a:avLst/>
            </a:prstGeom>
            <a:solidFill>
              <a:srgbClr val="00AD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EBC0EAA1-1645-44A8-A88B-9458E02F407C}"/>
                </a:ext>
              </a:extLst>
            </p:cNvPr>
            <p:cNvSpPr/>
            <p:nvPr userDrawn="1"/>
          </p:nvSpPr>
          <p:spPr>
            <a:xfrm>
              <a:off x="7581463" y="-698417"/>
              <a:ext cx="558800" cy="558800"/>
            </a:xfrm>
            <a:prstGeom prst="rect">
              <a:avLst/>
            </a:prstGeom>
            <a:solidFill>
              <a:srgbClr val="F0F3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14BE3DC5-F378-47E6-A083-0F2805D90FCF}"/>
                </a:ext>
              </a:extLst>
            </p:cNvPr>
            <p:cNvSpPr/>
            <p:nvPr userDrawn="1"/>
          </p:nvSpPr>
          <p:spPr>
            <a:xfrm>
              <a:off x="8162911" y="-698417"/>
              <a:ext cx="558800" cy="558800"/>
            </a:xfrm>
            <a:prstGeom prst="rect">
              <a:avLst/>
            </a:prstGeom>
            <a:solidFill>
              <a:srgbClr val="0059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31B9DA23-9E5A-4832-BBDB-FF1551027F5D}"/>
                </a:ext>
              </a:extLst>
            </p:cNvPr>
            <p:cNvSpPr/>
            <p:nvPr userDrawn="1"/>
          </p:nvSpPr>
          <p:spPr>
            <a:xfrm>
              <a:off x="8721062" y="-698417"/>
              <a:ext cx="558800" cy="558800"/>
            </a:xfrm>
            <a:prstGeom prst="rect">
              <a:avLst/>
            </a:prstGeom>
            <a:solidFill>
              <a:srgbClr val="BEE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164B16D0-21EE-48D8-80AA-EB7871A3705C}"/>
                </a:ext>
              </a:extLst>
            </p:cNvPr>
            <p:cNvSpPr/>
            <p:nvPr userDrawn="1"/>
          </p:nvSpPr>
          <p:spPr>
            <a:xfrm>
              <a:off x="9303451" y="-698417"/>
              <a:ext cx="558800" cy="558800"/>
            </a:xfrm>
            <a:prstGeom prst="rect">
              <a:avLst/>
            </a:prstGeom>
            <a:solidFill>
              <a:srgbClr val="1515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0" name="TextBox 139">
            <a:extLst>
              <a:ext uri="{FF2B5EF4-FFF2-40B4-BE49-F238E27FC236}">
                <a16:creationId xmlns:a16="http://schemas.microsoft.com/office/drawing/2014/main" id="{C77D825C-539D-44AC-A4B2-3D0BF78F8A82}"/>
              </a:ext>
            </a:extLst>
          </p:cNvPr>
          <p:cNvSpPr txBox="1"/>
          <p:nvPr/>
        </p:nvSpPr>
        <p:spPr>
          <a:xfrm>
            <a:off x="882725" y="1230885"/>
            <a:ext cx="449861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Возможность роста в самом проекте:</a:t>
            </a:r>
          </a:p>
        </p:txBody>
      </p:sp>
      <p:sp>
        <p:nvSpPr>
          <p:cNvPr id="143" name="Заголовок">
            <a:extLst>
              <a:ext uri="{FF2B5EF4-FFF2-40B4-BE49-F238E27FC236}">
                <a16:creationId xmlns:a16="http://schemas.microsoft.com/office/drawing/2014/main" id="{C9E4DEFF-5ADE-49C4-AC93-92587A0F260D}"/>
              </a:ext>
            </a:extLst>
          </p:cNvPr>
          <p:cNvSpPr txBox="1"/>
          <p:nvPr/>
        </p:nvSpPr>
        <p:spPr>
          <a:xfrm>
            <a:off x="1123681" y="2961610"/>
            <a:ext cx="11226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cs typeface="Arial" panose="020B0604020202020204" pitchFamily="34" charset="0"/>
              </a:rPr>
              <a:t>Инженер</a:t>
            </a:r>
          </a:p>
        </p:txBody>
      </p:sp>
      <p:sp>
        <p:nvSpPr>
          <p:cNvPr id="146" name="Заголовок">
            <a:extLst>
              <a:ext uri="{FF2B5EF4-FFF2-40B4-BE49-F238E27FC236}">
                <a16:creationId xmlns:a16="http://schemas.microsoft.com/office/drawing/2014/main" id="{A0E71209-B0B8-4A0B-8575-2FEBDBCD7EB0}"/>
              </a:ext>
            </a:extLst>
          </p:cNvPr>
          <p:cNvSpPr txBox="1"/>
          <p:nvPr/>
        </p:nvSpPr>
        <p:spPr>
          <a:xfrm>
            <a:off x="1119515" y="2303093"/>
            <a:ext cx="40809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cs typeface="Arial" panose="020B0604020202020204" pitchFamily="34" charset="0"/>
              </a:rPr>
              <a:t>Эксперты по </a:t>
            </a:r>
            <a:r>
              <a:rPr lang="en-US" sz="1600" dirty="0">
                <a:cs typeface="Arial" panose="020B0604020202020204" pitchFamily="34" charset="0"/>
              </a:rPr>
              <a:t>POS-</a:t>
            </a:r>
            <a:r>
              <a:rPr lang="ru-RU" sz="1600" dirty="0">
                <a:cs typeface="Arial" panose="020B0604020202020204" pitchFamily="34" charset="0"/>
              </a:rPr>
              <a:t>терминалам</a:t>
            </a:r>
          </a:p>
        </p:txBody>
      </p:sp>
      <p:sp>
        <p:nvSpPr>
          <p:cNvPr id="157" name="Заголовок">
            <a:extLst>
              <a:ext uri="{FF2B5EF4-FFF2-40B4-BE49-F238E27FC236}">
                <a16:creationId xmlns:a16="http://schemas.microsoft.com/office/drawing/2014/main" id="{DEA816D9-5DDB-4555-836D-FFB16D91D81B}"/>
              </a:ext>
            </a:extLst>
          </p:cNvPr>
          <p:cNvSpPr txBox="1"/>
          <p:nvPr/>
        </p:nvSpPr>
        <p:spPr>
          <a:xfrm>
            <a:off x="1119515" y="1654015"/>
            <a:ext cx="40809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+mj-lt"/>
                <a:cs typeface="Arial" panose="020B0604020202020204" pitchFamily="34" charset="0"/>
              </a:rPr>
              <a:t>Руководители проектных групп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4DA4EC23-1F5C-4CC4-99CD-B449C41CBB30}"/>
              </a:ext>
            </a:extLst>
          </p:cNvPr>
          <p:cNvSpPr txBox="1"/>
          <p:nvPr/>
        </p:nvSpPr>
        <p:spPr>
          <a:xfrm>
            <a:off x="908527" y="3881638"/>
            <a:ext cx="480647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Возможность роста внутри организации:</a:t>
            </a:r>
          </a:p>
        </p:txBody>
      </p:sp>
      <p:sp>
        <p:nvSpPr>
          <p:cNvPr id="74" name="Заголовок">
            <a:extLst>
              <a:ext uri="{FF2B5EF4-FFF2-40B4-BE49-F238E27FC236}">
                <a16:creationId xmlns:a16="http://schemas.microsoft.com/office/drawing/2014/main" id="{770F228F-76D7-417C-AFF4-FFEEE4BF4063}"/>
              </a:ext>
            </a:extLst>
          </p:cNvPr>
          <p:cNvSpPr txBox="1"/>
          <p:nvPr/>
        </p:nvSpPr>
        <p:spPr>
          <a:xfrm>
            <a:off x="1119397" y="5586572"/>
            <a:ext cx="42619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cs typeface="Arial" panose="020B0604020202020204" pitchFamily="34" charset="0"/>
              </a:rPr>
              <a:t>Специалисты по поддержке АРМ </a:t>
            </a:r>
            <a:r>
              <a:rPr lang="ru-RU" sz="1200" dirty="0">
                <a:cs typeface="Arial" panose="020B0604020202020204" pitchFamily="34" charset="0"/>
              </a:rPr>
              <a:t>(техническая поддержка пользователей)</a:t>
            </a:r>
            <a:endParaRPr lang="ru-RU" sz="1600" dirty="0">
              <a:cs typeface="Arial" panose="020B0604020202020204" pitchFamily="34" charset="0"/>
            </a:endParaRPr>
          </a:p>
        </p:txBody>
      </p:sp>
      <p:sp>
        <p:nvSpPr>
          <p:cNvPr id="75" name="Заголовок">
            <a:extLst>
              <a:ext uri="{FF2B5EF4-FFF2-40B4-BE49-F238E27FC236}">
                <a16:creationId xmlns:a16="http://schemas.microsoft.com/office/drawing/2014/main" id="{54084E51-39EB-4969-BE27-0B14D7B93955}"/>
              </a:ext>
            </a:extLst>
          </p:cNvPr>
          <p:cNvSpPr txBox="1"/>
          <p:nvPr/>
        </p:nvSpPr>
        <p:spPr>
          <a:xfrm>
            <a:off x="1119397" y="4974987"/>
            <a:ext cx="37872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cs typeface="Arial" panose="020B0604020202020204" pitchFamily="34" charset="0"/>
              </a:rPr>
              <a:t>Системные администраторы</a:t>
            </a:r>
          </a:p>
        </p:txBody>
      </p:sp>
      <p:sp>
        <p:nvSpPr>
          <p:cNvPr id="76" name="Заголовок">
            <a:extLst>
              <a:ext uri="{FF2B5EF4-FFF2-40B4-BE49-F238E27FC236}">
                <a16:creationId xmlns:a16="http://schemas.microsoft.com/office/drawing/2014/main" id="{49DA2C37-CD35-4CC2-8AEB-C92BB2129166}"/>
              </a:ext>
            </a:extLst>
          </p:cNvPr>
          <p:cNvSpPr txBox="1"/>
          <p:nvPr/>
        </p:nvSpPr>
        <p:spPr>
          <a:xfrm>
            <a:off x="1119397" y="4341698"/>
            <a:ext cx="40809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+mj-lt"/>
                <a:cs typeface="Arial" panose="020B0604020202020204" pitchFamily="34" charset="0"/>
              </a:rPr>
              <a:t>Сетевые инженеры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34A3D071-21DF-464E-B369-73D101A6FA54}"/>
              </a:ext>
            </a:extLst>
          </p:cNvPr>
          <p:cNvGrpSpPr/>
          <p:nvPr/>
        </p:nvGrpSpPr>
        <p:grpSpPr>
          <a:xfrm>
            <a:off x="6597361" y="1161184"/>
            <a:ext cx="5151727" cy="5270818"/>
            <a:chOff x="6593759" y="1670120"/>
            <a:chExt cx="5151727" cy="5270818"/>
          </a:xfrm>
        </p:grpSpPr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F3628106-7B28-4CD7-A17D-1D4D84D5BD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8954" r="15697" b="22693"/>
            <a:stretch/>
          </p:blipFill>
          <p:spPr>
            <a:xfrm>
              <a:off x="6626277" y="4390574"/>
              <a:ext cx="2391315" cy="2550364"/>
            </a:xfrm>
            <a:prstGeom prst="roundRect">
              <a:avLst>
                <a:gd name="adj" fmla="val 4751"/>
              </a:avLst>
            </a:prstGeom>
          </p:spPr>
        </p:pic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id="{73F99196-C4AE-43ED-9157-DBDC19B4B6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20796" b="4477"/>
            <a:stretch/>
          </p:blipFill>
          <p:spPr>
            <a:xfrm>
              <a:off x="9177527" y="1675571"/>
              <a:ext cx="2567957" cy="2558686"/>
            </a:xfrm>
            <a:prstGeom prst="roundRect">
              <a:avLst>
                <a:gd name="adj" fmla="val 3337"/>
              </a:avLst>
            </a:prstGeom>
          </p:spPr>
        </p:pic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id="{85E9513E-CF44-4056-B3E0-8261DD22E0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1711" t="18203" r="12746" b="21637"/>
            <a:stretch/>
          </p:blipFill>
          <p:spPr>
            <a:xfrm>
              <a:off x="6593759" y="1675571"/>
              <a:ext cx="2409659" cy="2558686"/>
            </a:xfrm>
            <a:prstGeom prst="roundRect">
              <a:avLst>
                <a:gd name="adj" fmla="val 4692"/>
              </a:avLst>
            </a:prstGeom>
          </p:spPr>
        </p:pic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642013E9-C531-4B6D-867D-571CE3F257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-140" t="15289" r="140" b="10226"/>
            <a:stretch/>
          </p:blipFill>
          <p:spPr>
            <a:xfrm flipH="1">
              <a:off x="9177528" y="4390574"/>
              <a:ext cx="2567957" cy="2550364"/>
            </a:xfrm>
            <a:prstGeom prst="roundRect">
              <a:avLst>
                <a:gd name="adj" fmla="val 4666"/>
              </a:avLst>
            </a:prstGeom>
          </p:spPr>
        </p:pic>
        <p:sp>
          <p:nvSpPr>
            <p:cNvPr id="37" name="Блок-схема: ручной ввод 75">
              <a:extLst>
                <a:ext uri="{FF2B5EF4-FFF2-40B4-BE49-F238E27FC236}">
                  <a16:creationId xmlns:a16="http://schemas.microsoft.com/office/drawing/2014/main" id="{6DC20DBE-F493-4FEF-89BB-10A3042CFE10}"/>
                </a:ext>
              </a:extLst>
            </p:cNvPr>
            <p:cNvSpPr/>
            <p:nvPr/>
          </p:nvSpPr>
          <p:spPr>
            <a:xfrm rot="16200000" flipH="1">
              <a:off x="6557475" y="1752927"/>
              <a:ext cx="5270818" cy="5105204"/>
            </a:xfrm>
            <a:prstGeom prst="roundRect">
              <a:avLst>
                <a:gd name="adj" fmla="val 2049"/>
              </a:avLst>
            </a:prstGeom>
            <a:gradFill flip="none" rotWithShape="1">
              <a:gsLst>
                <a:gs pos="48000">
                  <a:srgbClr val="35BCED">
                    <a:alpha val="15000"/>
                  </a:srgbClr>
                </a:gs>
                <a:gs pos="0">
                  <a:srgbClr val="BEEBFF">
                    <a:alpha val="34000"/>
                  </a:srgbClr>
                </a:gs>
                <a:gs pos="100000">
                  <a:schemeClr val="accent1">
                    <a:lumMod val="100000"/>
                    <a:alpha val="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35" name="Стрелка: вправо 34">
            <a:extLst>
              <a:ext uri="{FF2B5EF4-FFF2-40B4-BE49-F238E27FC236}">
                <a16:creationId xmlns:a16="http://schemas.microsoft.com/office/drawing/2014/main" id="{893855BE-EA5D-408D-8105-A1912FAC093F}"/>
              </a:ext>
            </a:extLst>
          </p:cNvPr>
          <p:cNvSpPr/>
          <p:nvPr/>
        </p:nvSpPr>
        <p:spPr>
          <a:xfrm rot="16200000">
            <a:off x="-328726" y="5068027"/>
            <a:ext cx="1787120" cy="491029"/>
          </a:xfrm>
          <a:prstGeom prst="rightArrow">
            <a:avLst/>
          </a:prstGeom>
          <a:solidFill>
            <a:srgbClr val="BEEBFF">
              <a:alpha val="4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tlCol="0" anchor="t"/>
          <a:lstStyle/>
          <a:p>
            <a:pPr algn="l"/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49" name="Стрелка: вправо 48">
            <a:extLst>
              <a:ext uri="{FF2B5EF4-FFF2-40B4-BE49-F238E27FC236}">
                <a16:creationId xmlns:a16="http://schemas.microsoft.com/office/drawing/2014/main" id="{01CC681D-B9FF-48D4-A010-5056F96152C8}"/>
              </a:ext>
            </a:extLst>
          </p:cNvPr>
          <p:cNvSpPr/>
          <p:nvPr/>
        </p:nvSpPr>
        <p:spPr>
          <a:xfrm rot="16200000">
            <a:off x="-283699" y="2347737"/>
            <a:ext cx="1697070" cy="491029"/>
          </a:xfrm>
          <a:prstGeom prst="rightArrow">
            <a:avLst/>
          </a:prstGeom>
          <a:solidFill>
            <a:srgbClr val="BEEBFF">
              <a:alpha val="4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tlCol="0" anchor="t"/>
          <a:lstStyle/>
          <a:p>
            <a:pPr algn="l"/>
            <a:endParaRPr lang="ru-RU" sz="16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2054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D2D1BE9-3923-40CE-A3E8-B8BB08D9D9B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0689"/>
          <a:stretch/>
        </p:blipFill>
        <p:spPr>
          <a:xfrm>
            <a:off x="6371440" y="2377794"/>
            <a:ext cx="5696234" cy="4480206"/>
          </a:xfrm>
          <a:prstGeom prst="rect">
            <a:avLst/>
          </a:prstGeom>
        </p:spPr>
      </p:pic>
      <p:sp>
        <p:nvSpPr>
          <p:cNvPr id="5" name="Заголовок">
            <a:extLst>
              <a:ext uri="{FF2B5EF4-FFF2-40B4-BE49-F238E27FC236}">
                <a16:creationId xmlns:a16="http://schemas.microsoft.com/office/drawing/2014/main" id="{BDE1D9EA-F859-41BC-AB88-837D31EEDDBF}"/>
              </a:ext>
            </a:extLst>
          </p:cNvPr>
          <p:cNvSpPr txBox="1"/>
          <p:nvPr/>
        </p:nvSpPr>
        <p:spPr>
          <a:xfrm>
            <a:off x="527137" y="1954490"/>
            <a:ext cx="7779178" cy="16522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00"/>
              </a:lnSpc>
            </a:pPr>
            <a:r>
              <a:rPr lang="ru-RU" sz="4000" b="1" dirty="0">
                <a:latin typeface="+mj-lt"/>
                <a:cs typeface="Arial" panose="020B0604020202020204" pitchFamily="34" charset="0"/>
              </a:rPr>
              <a:t>Присоединяйтесь </a:t>
            </a:r>
            <a:br>
              <a:rPr lang="ru-RU" sz="4000" b="1" dirty="0">
                <a:latin typeface="+mj-lt"/>
                <a:cs typeface="Arial" panose="020B0604020202020204" pitchFamily="34" charset="0"/>
              </a:rPr>
            </a:br>
            <a:r>
              <a:rPr lang="ru-RU" sz="4000" b="1" dirty="0">
                <a:latin typeface="+mj-lt"/>
                <a:cs typeface="Arial" panose="020B0604020202020204" pitchFamily="34" charset="0"/>
              </a:rPr>
              <a:t>к команде профессионалов </a:t>
            </a:r>
            <a:br>
              <a:rPr lang="ru-RU" sz="4000" b="1" dirty="0">
                <a:latin typeface="+mj-lt"/>
                <a:cs typeface="Arial" panose="020B0604020202020204" pitchFamily="34" charset="0"/>
              </a:rPr>
            </a:br>
            <a:r>
              <a:rPr lang="ru-RU" sz="4000" b="1" dirty="0">
                <a:latin typeface="+mj-lt"/>
                <a:cs typeface="Arial" panose="020B0604020202020204" pitchFamily="34" charset="0"/>
              </a:rPr>
              <a:t>ИТ -бизнеса</a:t>
            </a: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39D7386B-B7AB-496F-A457-96BEDB5CA5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137" y="392413"/>
            <a:ext cx="2282294" cy="306705"/>
          </a:xfrm>
          <a:prstGeom prst="rect">
            <a:avLst/>
          </a:prstGeom>
        </p:spPr>
      </p:pic>
      <p:pic>
        <p:nvPicPr>
          <p:cNvPr id="3" name="Image 1" descr=" ">
            <a:extLst>
              <a:ext uri="{FF2B5EF4-FFF2-40B4-BE49-F238E27FC236}">
                <a16:creationId xmlns:a16="http://schemas.microsoft.com/office/drawing/2014/main" id="{15EDA73C-0C54-E0E4-3E92-4033FAD9DF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9974" y="4395649"/>
            <a:ext cx="1952742" cy="2333448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3B17973-1759-1653-4B70-5B9F3AD8BF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6186" y="3719101"/>
            <a:ext cx="2108923" cy="2108923"/>
          </a:xfrm>
          <a:prstGeom prst="rect">
            <a:avLst/>
          </a:prstGeom>
        </p:spPr>
      </p:pic>
      <p:sp>
        <p:nvSpPr>
          <p:cNvPr id="6" name="Text 0">
            <a:extLst>
              <a:ext uri="{FF2B5EF4-FFF2-40B4-BE49-F238E27FC236}">
                <a16:creationId xmlns:a16="http://schemas.microsoft.com/office/drawing/2014/main" id="{C2F8675F-E6E5-9F57-026D-E73CCDCD6D33}"/>
              </a:ext>
            </a:extLst>
          </p:cNvPr>
          <p:cNvSpPr/>
          <p:nvPr/>
        </p:nvSpPr>
        <p:spPr>
          <a:xfrm>
            <a:off x="634276" y="5818148"/>
            <a:ext cx="1952742" cy="46041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1980"/>
              </a:lnSpc>
            </a:pPr>
            <a:r>
              <a:rPr lang="en-US" sz="2475" kern="0" spc="-37" dirty="0">
                <a:solidFill>
                  <a:srgbClr val="000000">
                    <a:alpha val="100000"/>
                  </a:srgbClr>
                </a:solidFill>
                <a:latin typeface="ALS Hauss Medium" pitchFamily="34" charset="0"/>
                <a:ea typeface="ALS Hauss Medium" pitchFamily="34" charset="-122"/>
                <a:cs typeface="ALS Hauss Medium" pitchFamily="34" charset="-120"/>
              </a:rPr>
              <a:t>career.t1.ru</a:t>
            </a:r>
            <a:endParaRPr lang="en-US" sz="2475" dirty="0"/>
          </a:p>
        </p:txBody>
      </p:sp>
    </p:spTree>
    <p:extLst>
      <p:ext uri="{BB962C8B-B14F-4D97-AF65-F5344CB8AC3E}">
        <p14:creationId xmlns:p14="http://schemas.microsoft.com/office/powerpoint/2010/main" val="39654713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rvionica">
  <a:themeElements>
    <a:clrScheme name="Т1">
      <a:dk1>
        <a:srgbClr val="353535"/>
      </a:dk1>
      <a:lt1>
        <a:srgbClr val="FFFFFF"/>
      </a:lt1>
      <a:dk2>
        <a:srgbClr val="00AAE6"/>
      </a:dk2>
      <a:lt2>
        <a:srgbClr val="00AAE6"/>
      </a:lt2>
      <a:accent1>
        <a:srgbClr val="00AAE6"/>
      </a:accent1>
      <a:accent2>
        <a:srgbClr val="005AAA"/>
      </a:accent2>
      <a:accent3>
        <a:srgbClr val="C4C4C4"/>
      </a:accent3>
      <a:accent4>
        <a:srgbClr val="353535"/>
      </a:accent4>
      <a:accent5>
        <a:srgbClr val="11E9BA"/>
      </a:accent5>
      <a:accent6>
        <a:srgbClr val="1ECAE4"/>
      </a:accent6>
      <a:hlink>
        <a:srgbClr val="00AAE6"/>
      </a:hlink>
      <a:folHlink>
        <a:srgbClr val="005AAA"/>
      </a:folHlink>
    </a:clrScheme>
    <a:fontScheme name="Т1 Standart">
      <a:majorFont>
        <a:latin typeface="ALS Hauss Bold"/>
        <a:ea typeface=""/>
        <a:cs typeface=""/>
      </a:majorFont>
      <a:minorFont>
        <a:latin typeface="ALS Hauss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  <a:alpha val="70000"/>
          </a:schemeClr>
        </a:solidFill>
        <a:ln>
          <a:noFill/>
        </a:ln>
      </a:spPr>
      <a:bodyPr lIns="144000" tIns="108000" rtlCol="0" anchor="t"/>
      <a:lstStyle>
        <a:defPPr algn="l">
          <a:defRPr sz="1600" b="1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>
          <a:tailEnd type="arrow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ervionica" id="{CFD37AD6-3755-8E44-89CB-ED53ADCB6975}" vid="{ADEF2671-AE78-EF4F-8767-EF81D2FD8BC2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ervionica</Template>
  <TotalTime>11573</TotalTime>
  <Words>489</Words>
  <Application>Microsoft Office PowerPoint</Application>
  <DocSecurity>0</DocSecurity>
  <PresentationFormat>Широкоэкранный</PresentationFormat>
  <Paragraphs>143</Paragraphs>
  <Slides>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6" baseType="lpstr">
      <vt:lpstr>ALS Hauss Medium</vt:lpstr>
      <vt:lpstr>Arial</vt:lpstr>
      <vt:lpstr>Calibri</vt:lpstr>
      <vt:lpstr>ALS Hauss</vt:lpstr>
      <vt:lpstr>Verdana</vt:lpstr>
      <vt:lpstr>ALS Hauss Bold</vt:lpstr>
      <vt:lpstr>Servionica</vt:lpstr>
      <vt:lpstr>think-cell Slide</vt:lpstr>
      <vt:lpstr>Презентация PowerPoint</vt:lpstr>
      <vt:lpstr>Т1 в цифрах</vt:lpstr>
      <vt:lpstr>Сервионика — ведущий российский провайдер полного спектра услуг</vt:lpstr>
      <vt:lpstr>Сервионика сегодня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/>
  <dc:creator>Кочегарова Ксения</dc:creator>
  <cp:keywords/>
  <dc:description/>
  <cp:lastModifiedBy>Баранкина Елизавета Александровна</cp:lastModifiedBy>
  <cp:revision>299</cp:revision>
  <dcterms:created xsi:type="dcterms:W3CDTF">2023-05-22T09:26:54Z</dcterms:created>
  <dcterms:modified xsi:type="dcterms:W3CDTF">2025-09-09T11:50:54Z</dcterms:modified>
  <cp:category/>
  <dc:identifier/>
  <cp:contentStatus/>
  <dc:language/>
  <cp:version/>
</cp:coreProperties>
</file>